
<file path=[Content_Types].xml><?xml version="1.0" encoding="utf-8"?>
<Types xmlns="http://schemas.openxmlformats.org/package/2006/content-types">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bookmarkIdSeed="3">
  <p:sldMasterIdLst>
    <p:sldMasterId id="2147483648" r:id="rId2"/>
  </p:sldMasterIdLst>
  <p:notesMasterIdLst>
    <p:notesMasterId r:id="rId49"/>
  </p:notesMasterIdLst>
  <p:handoutMasterIdLst>
    <p:handoutMasterId r:id="rId50"/>
  </p:handoutMasterIdLst>
  <p:sldIdLst>
    <p:sldId id="256" r:id="rId3"/>
    <p:sldId id="314" r:id="rId4"/>
    <p:sldId id="315" r:id="rId5"/>
    <p:sldId id="319" r:id="rId6"/>
    <p:sldId id="301" r:id="rId7"/>
    <p:sldId id="311" r:id="rId8"/>
    <p:sldId id="312" r:id="rId9"/>
    <p:sldId id="313" r:id="rId10"/>
    <p:sldId id="257" r:id="rId11"/>
    <p:sldId id="258" r:id="rId12"/>
    <p:sldId id="259" r:id="rId13"/>
    <p:sldId id="320" r:id="rId14"/>
    <p:sldId id="260" r:id="rId15"/>
    <p:sldId id="263" r:id="rId16"/>
    <p:sldId id="264" r:id="rId17"/>
    <p:sldId id="265" r:id="rId18"/>
    <p:sldId id="267" r:id="rId19"/>
    <p:sldId id="305" r:id="rId20"/>
    <p:sldId id="306" r:id="rId21"/>
    <p:sldId id="307" r:id="rId22"/>
    <p:sldId id="323" r:id="rId23"/>
    <p:sldId id="276" r:id="rId24"/>
    <p:sldId id="268" r:id="rId25"/>
    <p:sldId id="316" r:id="rId26"/>
    <p:sldId id="277" r:id="rId27"/>
    <p:sldId id="278" r:id="rId28"/>
    <p:sldId id="280" r:id="rId29"/>
    <p:sldId id="281" r:id="rId30"/>
    <p:sldId id="285" r:id="rId31"/>
    <p:sldId id="283" r:id="rId32"/>
    <p:sldId id="288" r:id="rId33"/>
    <p:sldId id="282" r:id="rId34"/>
    <p:sldId id="291" r:id="rId35"/>
    <p:sldId id="292" r:id="rId36"/>
    <p:sldId id="324" r:id="rId37"/>
    <p:sldId id="322" r:id="rId38"/>
    <p:sldId id="325" r:id="rId39"/>
    <p:sldId id="300" r:id="rId40"/>
    <p:sldId id="317" r:id="rId41"/>
    <p:sldId id="293" r:id="rId42"/>
    <p:sldId id="298" r:id="rId43"/>
    <p:sldId id="297" r:id="rId44"/>
    <p:sldId id="299" r:id="rId45"/>
    <p:sldId id="294" r:id="rId46"/>
    <p:sldId id="296" r:id="rId47"/>
    <p:sldId id="321" r:id="rId48"/>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ichail M" initials="MM" lastIdx="7" clrIdx="0">
    <p:extLst>
      <p:ext uri="{19B8F6BF-5375-455C-9EA6-DF929625EA0E}">
        <p15:presenceInfo xmlns:p15="http://schemas.microsoft.com/office/powerpoint/2012/main" userId="984e34b0a2497e21"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7743C"/>
    <a:srgbClr val="D5FA68"/>
    <a:srgbClr val="448B91"/>
    <a:srgbClr val="DDC855"/>
    <a:srgbClr val="BAC48E"/>
    <a:srgbClr val="C2D181"/>
    <a:srgbClr val="B1789C"/>
    <a:srgbClr val="B5BD95"/>
    <a:srgbClr val="B1B69C"/>
    <a:srgbClr val="BFCC8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584" autoAdjust="0"/>
    <p:restoredTop sz="72268" autoAdjust="0"/>
  </p:normalViewPr>
  <p:slideViewPr>
    <p:cSldViewPr snapToGrid="0">
      <p:cViewPr varScale="1">
        <p:scale>
          <a:sx n="82" d="100"/>
          <a:sy n="82" d="100"/>
        </p:scale>
        <p:origin x="1848" y="90"/>
      </p:cViewPr>
      <p:guideLst/>
    </p:cSldViewPr>
  </p:slideViewPr>
  <p:notesTextViewPr>
    <p:cViewPr>
      <p:scale>
        <a:sx n="1" d="1"/>
        <a:sy n="1" d="1"/>
      </p:scale>
      <p:origin x="0" y="0"/>
    </p:cViewPr>
  </p:notesTextViewPr>
  <p:notesViewPr>
    <p:cSldViewPr snapToGrid="0">
      <p:cViewPr varScale="1">
        <p:scale>
          <a:sx n="87" d="100"/>
          <a:sy n="87" d="100"/>
        </p:scale>
        <p:origin x="3840" y="66"/>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handoutMaster" Target="handoutMasters/handoutMaster1.xml"/><Relationship Id="rId55" Type="http://schemas.openxmlformats.org/officeDocument/2006/relationships/tableStyles" Target="tableStyles.xml"/><Relationship Id="rId7" Type="http://schemas.openxmlformats.org/officeDocument/2006/relationships/slide" Target="slides/slide5.xml"/><Relationship Id="rId2" Type="http://schemas.openxmlformats.org/officeDocument/2006/relationships/slideMaster" Target="slideMasters/slideMaster1.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viewProps" Target="viewProps.xml"/><Relationship Id="rId5" Type="http://schemas.openxmlformats.org/officeDocument/2006/relationships/slide" Target="slides/slide3.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8" Type="http://schemas.openxmlformats.org/officeDocument/2006/relationships/slide" Target="slides/slide6.xml"/><Relationship Id="rId51" Type="http://schemas.openxmlformats.org/officeDocument/2006/relationships/commentAuthors" Target="commentAuthors.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en-US" dirty="0">
                <a:latin typeface="Sora" pitchFamily="2" charset="0"/>
                <a:cs typeface="Sora" pitchFamily="2" charset="0"/>
              </a:rPr>
              <a:t>Gamers Around the Globe</a:t>
            </a:r>
          </a:p>
        </c:rich>
      </c:tx>
      <c:overlay val="0"/>
      <c:spPr>
        <a:noFill/>
        <a:ln>
          <a:noFill/>
        </a:ln>
        <a:effectLst/>
      </c:spPr>
      <c:txPr>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en-US"/>
        </a:p>
      </c:txPr>
    </c:title>
    <c:autoTitleDeleted val="0"/>
    <c:plotArea>
      <c:layout/>
      <c:lineChart>
        <c:grouping val="standard"/>
        <c:varyColors val="0"/>
        <c:ser>
          <c:idx val="0"/>
          <c:order val="0"/>
          <c:tx>
            <c:strRef>
              <c:f>Sheet1!$B$1</c:f>
              <c:strCache>
                <c:ptCount val="1"/>
                <c:pt idx="0">
                  <c:v>Population</c:v>
                </c:pt>
              </c:strCache>
            </c:strRef>
          </c:tx>
          <c:spPr>
            <a:ln w="34925" cap="rnd">
              <a:solidFill>
                <a:schemeClr val="tx2">
                  <a:lumMod val="60000"/>
                  <a:lumOff val="40000"/>
                </a:schemeClr>
              </a:solidFill>
              <a:round/>
            </a:ln>
            <a:effectLst>
              <a:outerShdw blurRad="57150" dist="19050" dir="5400000" algn="ctr" rotWithShape="0">
                <a:srgbClr val="000000">
                  <a:alpha val="63000"/>
                </a:srgbClr>
              </a:outerShdw>
            </a:effectLst>
          </c:spPr>
          <c:marker>
            <c:symbol val="none"/>
          </c:marker>
          <c:trendline>
            <c:spPr>
              <a:ln w="19050" cap="rnd">
                <a:solidFill>
                  <a:srgbClr val="E1FF6D"/>
                </a:solidFill>
              </a:ln>
              <a:effectLst/>
            </c:spPr>
            <c:trendlineType val="linear"/>
            <c:dispRSqr val="0"/>
            <c:dispEq val="0"/>
          </c:trendline>
          <c:cat>
            <c:strRef>
              <c:f>Sheet1!$A$2:$A$8</c:f>
              <c:strCache>
                <c:ptCount val="7"/>
                <c:pt idx="0">
                  <c:v>1978</c:v>
                </c:pt>
                <c:pt idx="1">
                  <c:v>1988</c:v>
                </c:pt>
                <c:pt idx="2">
                  <c:v>1998</c:v>
                </c:pt>
                <c:pt idx="3">
                  <c:v>2008</c:v>
                </c:pt>
                <c:pt idx="4">
                  <c:v>2018</c:v>
                </c:pt>
                <c:pt idx="5">
                  <c:v>2020</c:v>
                </c:pt>
                <c:pt idx="6">
                  <c:v>202x+</c:v>
                </c:pt>
              </c:strCache>
            </c:strRef>
          </c:cat>
          <c:val>
            <c:numRef>
              <c:f>Sheet1!$B$2:$B$8</c:f>
              <c:numCache>
                <c:formatCode>General</c:formatCode>
                <c:ptCount val="7"/>
                <c:pt idx="0">
                  <c:v>1</c:v>
                </c:pt>
                <c:pt idx="1">
                  <c:v>2</c:v>
                </c:pt>
                <c:pt idx="2">
                  <c:v>3</c:v>
                </c:pt>
                <c:pt idx="3">
                  <c:v>4</c:v>
                </c:pt>
                <c:pt idx="4">
                  <c:v>5</c:v>
                </c:pt>
                <c:pt idx="5">
                  <c:v>6</c:v>
                </c:pt>
                <c:pt idx="6">
                  <c:v>10</c:v>
                </c:pt>
              </c:numCache>
            </c:numRef>
          </c:val>
          <c:smooth val="0"/>
          <c:extLst>
            <c:ext xmlns:c16="http://schemas.microsoft.com/office/drawing/2014/chart" uri="{C3380CC4-5D6E-409C-BE32-E72D297353CC}">
              <c16:uniqueId val="{00000000-ED4D-4167-AE54-C51A8FAB6471}"/>
            </c:ext>
          </c:extLst>
        </c:ser>
        <c:dLbls>
          <c:showLegendKey val="0"/>
          <c:showVal val="0"/>
          <c:showCatName val="0"/>
          <c:showSerName val="0"/>
          <c:showPercent val="0"/>
          <c:showBubbleSize val="0"/>
        </c:dLbls>
        <c:smooth val="0"/>
        <c:axId val="483793792"/>
        <c:axId val="483770496"/>
      </c:lineChart>
      <c:catAx>
        <c:axId val="483793792"/>
        <c:scaling>
          <c:orientation val="minMax"/>
        </c:scaling>
        <c:delete val="0"/>
        <c:axPos val="b"/>
        <c:title>
          <c:tx>
            <c:rich>
              <a:bodyPr rot="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r>
                  <a:rPr lang="en-US" dirty="0"/>
                  <a:t>Years to come</a:t>
                </a:r>
              </a:p>
            </c:rich>
          </c:tx>
          <c:overlay val="0"/>
          <c:spPr>
            <a:noFill/>
            <a:ln>
              <a:noFill/>
            </a:ln>
            <a:effectLst/>
          </c:spPr>
          <c:txPr>
            <a:bodyPr rot="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lt1">
                <a:lumMod val="95000"/>
                <a:alpha val="10000"/>
              </a:schemeClr>
            </a:solidFill>
            <a:round/>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crossAx val="483770496"/>
        <c:crosses val="autoZero"/>
        <c:auto val="1"/>
        <c:lblAlgn val="ctr"/>
        <c:lblOffset val="100"/>
        <c:noMultiLvlLbl val="0"/>
      </c:catAx>
      <c:valAx>
        <c:axId val="483770496"/>
        <c:scaling>
          <c:orientation val="minMax"/>
        </c:scaling>
        <c:delete val="1"/>
        <c:axPos val="l"/>
        <c:majorGridlines>
          <c:spPr>
            <a:ln w="9525" cap="flat" cmpd="sng" algn="ctr">
              <a:solidFill>
                <a:schemeClr val="lt1">
                  <a:lumMod val="95000"/>
                  <a:alpha val="10000"/>
                </a:schemeClr>
              </a:solidFill>
              <a:round/>
            </a:ln>
            <a:effectLst/>
          </c:spPr>
        </c:majorGridlines>
        <c:title>
          <c:tx>
            <c:rich>
              <a:bodyPr rot="-540000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r>
                  <a:rPr lang="en-US" dirty="0"/>
                  <a:t>Population</a:t>
                </a:r>
              </a:p>
            </c:rich>
          </c:tx>
          <c:overlay val="0"/>
          <c:spPr>
            <a:noFill/>
            <a:ln>
              <a:noFill/>
            </a:ln>
            <a:effectLst/>
          </c:spPr>
          <c:txPr>
            <a:bodyPr rot="-540000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endParaRPr lang="en-US"/>
            </a:p>
          </c:txPr>
        </c:title>
        <c:numFmt formatCode="General" sourceLinked="1"/>
        <c:majorTickMark val="none"/>
        <c:minorTickMark val="none"/>
        <c:tickLblPos val="nextTo"/>
        <c:crossAx val="4837937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r>
              <a:rPr lang="en-US" dirty="0"/>
              <a:t>Total Players 24-12-2021</a:t>
            </a:r>
          </a:p>
        </c:rich>
      </c:tx>
      <c:overlay val="0"/>
      <c:spPr>
        <a:noFill/>
        <a:ln>
          <a:noFill/>
        </a:ln>
        <a:effectLst/>
      </c:spPr>
      <c:txPr>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Players</c:v>
                </c:pt>
              </c:strCache>
            </c:strRef>
          </c:tx>
          <c:dPt>
            <c:idx val="0"/>
            <c:bubble3D val="0"/>
            <c:spPr>
              <a:solidFill>
                <a:schemeClr val="accent1"/>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3-3D7F-42E9-83BB-A44B4156BBF6}"/>
              </c:ext>
            </c:extLst>
          </c:dPt>
          <c:dPt>
            <c:idx val="1"/>
            <c:bubble3D val="0"/>
            <c:spPr>
              <a:solidFill>
                <a:schemeClr val="accent2"/>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4-3D7F-42E9-83BB-A44B4156BBF6}"/>
              </c:ext>
            </c:extLst>
          </c:dPt>
          <c:dLbls>
            <c:dLbl>
              <c:idx val="0"/>
              <c:spPr>
                <a:noFill/>
                <a:ln>
                  <a:noFill/>
                </a:ln>
                <a:effectLst/>
              </c:spPr>
              <c:txPr>
                <a:bodyPr rot="0" spcFirstLastPara="1" vertOverflow="ellipsis" vert="horz" wrap="square" lIns="38100" tIns="19050" rIns="38100" bIns="19050" anchor="ctr" anchorCtr="1">
                  <a:spAutoFit/>
                </a:bodyPr>
                <a:lstStyle/>
                <a:p>
                  <a:pPr>
                    <a:defRPr sz="1600" b="1" i="0" u="none" strike="noStrike" kern="1200" spc="0" baseline="0">
                      <a:solidFill>
                        <a:schemeClr val="accent1"/>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3D7F-42E9-83BB-A44B4156BBF6}"/>
                </c:ext>
              </c:extLst>
            </c:dLbl>
            <c:dLbl>
              <c:idx val="1"/>
              <c:spPr>
                <a:noFill/>
                <a:ln>
                  <a:noFill/>
                </a:ln>
                <a:effectLst/>
              </c:spPr>
              <c:txPr>
                <a:bodyPr rot="0" spcFirstLastPara="1" vertOverflow="ellipsis" vert="horz" wrap="square" lIns="38100" tIns="19050" rIns="38100" bIns="19050" anchor="ctr" anchorCtr="1">
                  <a:spAutoFit/>
                </a:bodyPr>
                <a:lstStyle/>
                <a:p>
                  <a:pPr>
                    <a:defRPr sz="1600" b="1" i="0" u="none" strike="noStrike" kern="1200" spc="0" baseline="0">
                      <a:solidFill>
                        <a:schemeClr val="accent2"/>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4-3D7F-42E9-83BB-A44B4156BBF6}"/>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spc="0" baseline="0">
                    <a:solidFill>
                      <a:schemeClr val="accent1"/>
                    </a:solidFill>
                    <a:latin typeface="+mn-lt"/>
                    <a:ea typeface="+mn-ea"/>
                    <a:cs typeface="+mn-cs"/>
                  </a:defRPr>
                </a:pPr>
                <a:endParaRPr lang="en-US"/>
              </a:p>
            </c:txPr>
            <c:dLblPos val="outEnd"/>
            <c:showLegendKey val="1"/>
            <c:showVal val="1"/>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Fortnite</c:v>
                </c:pt>
                <c:pt idx="1">
                  <c:v>Subnautica</c:v>
                </c:pt>
              </c:strCache>
            </c:strRef>
          </c:cat>
          <c:val>
            <c:numRef>
              <c:f>Sheet1!$B$2:$B$3</c:f>
              <c:numCache>
                <c:formatCode>#,##0</c:formatCode>
                <c:ptCount val="2"/>
                <c:pt idx="0">
                  <c:v>937919</c:v>
                </c:pt>
                <c:pt idx="1">
                  <c:v>50876</c:v>
                </c:pt>
              </c:numCache>
            </c:numRef>
          </c:val>
          <c:extLst>
            <c:ext xmlns:c16="http://schemas.microsoft.com/office/drawing/2014/chart" uri="{C3380CC4-5D6E-409C-BE32-E72D297353CC}">
              <c16:uniqueId val="{00000000-3D7F-42E9-83BB-A44B4156BBF6}"/>
            </c:ext>
          </c:extLst>
        </c:ser>
        <c:dLbls>
          <c:dLblPos val="outEnd"/>
          <c:showLegendKey val="0"/>
          <c:showVal val="0"/>
          <c:showCatName val="1"/>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33">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9525" cap="flat" cmpd="sng" algn="ctr">
        <a:solidFill>
          <a:schemeClr val="lt1">
            <a:lumMod val="95000"/>
            <a:alpha val="10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tx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tx1"/>
    </cs:fontRef>
    <cs:spPr>
      <a:ln w="9525">
        <a:solidFill>
          <a:schemeClr val="lt1">
            <a:lumMod val="95000"/>
            <a:alpha val="54000"/>
          </a:schemeClr>
        </a:solidFill>
        <a:prstDash val="dash"/>
      </a:ln>
    </cs:spPr>
  </cs:dropLine>
  <cs:errorBar>
    <cs:lnRef idx="0"/>
    <cs:fillRef idx="0"/>
    <cs:effectRef idx="0"/>
    <cs:fontRef idx="minor">
      <a:schemeClr val="tx1"/>
    </cs:fontRef>
    <cs:spPr>
      <a:ln w="9525" cap="flat" cmpd="sng" algn="ctr">
        <a:solidFill>
          <a:schemeClr val="lt1">
            <a:lumMod val="9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lt1">
            <a:lumMod val="95000"/>
            <a:alpha val="10000"/>
          </a:schemeClr>
        </a:solidFill>
        <a:round/>
      </a:ln>
    </cs:spPr>
  </cs:gridlineMajor>
  <cs:gridlineMinor>
    <cs:lnRef idx="0"/>
    <cs:fillRef idx="0"/>
    <cs:effectRef idx="0"/>
    <cs:fontRef idx="minor">
      <a:schemeClr val="tx1"/>
    </cs:fontRef>
    <cs:spPr>
      <a:ln>
        <a:solidFill>
          <a:schemeClr val="lt1">
            <a:lumMod val="95000"/>
            <a:alpha val="5000"/>
          </a:schemeClr>
        </a:solidFill>
      </a:ln>
    </cs:spPr>
  </cs:gridlineMinor>
  <cs:hiLoLine>
    <cs:lnRef idx="0"/>
    <cs:fillRef idx="0"/>
    <cs:effectRef idx="0"/>
    <cs:fontRef idx="minor">
      <a:schemeClr val="tx1"/>
    </cs:fontRef>
    <cs:spPr>
      <a:ln w="9525">
        <a:solidFill>
          <a:schemeClr val="lt1">
            <a:lumMod val="95000"/>
            <a:alpha val="54000"/>
          </a:schemeClr>
        </a:solidFill>
        <a:prstDash val="dash"/>
      </a:ln>
    </cs:spPr>
  </cs:hiLoLine>
  <cs:leaderLine>
    <cs:lnRef idx="0"/>
    <cs:fillRef idx="0"/>
    <cs:effectRef idx="0"/>
    <cs:fontRef idx="minor">
      <a:schemeClr val="tx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tx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tx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4BB5D80-CA8E-4D1E-B182-179EB674DFAD}" type="doc">
      <dgm:prSet loTypeId="urn:microsoft.com/office/officeart/2005/8/layout/chevron1" loCatId="process" qsTypeId="urn:microsoft.com/office/officeart/2005/8/quickstyle/simple1" qsCatId="simple" csTypeId="urn:microsoft.com/office/officeart/2005/8/colors/accent1_2" csCatId="accent1" phldr="1"/>
      <dgm:spPr/>
    </dgm:pt>
    <dgm:pt modelId="{597D6924-6009-4265-BC32-0899A9456CB6}">
      <dgm:prSet phldrT="[Text]"/>
      <dgm:spPr/>
      <dgm:t>
        <a:bodyPr/>
        <a:lstStyle/>
        <a:p>
          <a:r>
            <a:rPr lang="en-US" dirty="0"/>
            <a:t>1978</a:t>
          </a:r>
        </a:p>
      </dgm:t>
    </dgm:pt>
    <dgm:pt modelId="{A305068E-00D1-4342-A4D4-BEB033943A31}" type="parTrans" cxnId="{752FAC48-C4E0-4F46-AE56-147C262396BA}">
      <dgm:prSet/>
      <dgm:spPr/>
      <dgm:t>
        <a:bodyPr/>
        <a:lstStyle/>
        <a:p>
          <a:endParaRPr lang="en-US"/>
        </a:p>
      </dgm:t>
    </dgm:pt>
    <dgm:pt modelId="{7E623978-21EF-429E-BC9E-48FE98607532}" type="sibTrans" cxnId="{752FAC48-C4E0-4F46-AE56-147C262396BA}">
      <dgm:prSet/>
      <dgm:spPr/>
      <dgm:t>
        <a:bodyPr/>
        <a:lstStyle/>
        <a:p>
          <a:endParaRPr lang="en-US"/>
        </a:p>
      </dgm:t>
    </dgm:pt>
    <dgm:pt modelId="{4EDFE152-4D6E-4BA7-81AA-D346A79FB50B}">
      <dgm:prSet phldrT="[Text]"/>
      <dgm:spPr/>
      <dgm:t>
        <a:bodyPr/>
        <a:lstStyle/>
        <a:p>
          <a:r>
            <a:rPr lang="en-US" dirty="0"/>
            <a:t>1983</a:t>
          </a:r>
        </a:p>
      </dgm:t>
    </dgm:pt>
    <dgm:pt modelId="{07B8FEDF-424D-4913-9E50-7E1809BFDFE9}" type="parTrans" cxnId="{E94FD5E7-785E-46D6-A3A4-B69BA18F51F6}">
      <dgm:prSet/>
      <dgm:spPr/>
      <dgm:t>
        <a:bodyPr/>
        <a:lstStyle/>
        <a:p>
          <a:endParaRPr lang="en-US"/>
        </a:p>
      </dgm:t>
    </dgm:pt>
    <dgm:pt modelId="{EEE8AB5B-55FA-466B-AEA8-F78F72EDEBDC}" type="sibTrans" cxnId="{E94FD5E7-785E-46D6-A3A4-B69BA18F51F6}">
      <dgm:prSet/>
      <dgm:spPr/>
      <dgm:t>
        <a:bodyPr/>
        <a:lstStyle/>
        <a:p>
          <a:endParaRPr lang="en-US"/>
        </a:p>
      </dgm:t>
    </dgm:pt>
    <dgm:pt modelId="{847F3880-A03D-46F5-8524-E7453D989CB0}">
      <dgm:prSet phldrT="[Text]"/>
      <dgm:spPr/>
      <dgm:t>
        <a:bodyPr/>
        <a:lstStyle/>
        <a:p>
          <a:r>
            <a:rPr lang="en-US" dirty="0"/>
            <a:t>2007+</a:t>
          </a:r>
        </a:p>
      </dgm:t>
    </dgm:pt>
    <dgm:pt modelId="{2A1F14DC-7D82-4AB2-998F-B3123D255FB4}" type="parTrans" cxnId="{CE6F0D7B-A8B0-48AD-B35F-7B79115F4996}">
      <dgm:prSet/>
      <dgm:spPr/>
      <dgm:t>
        <a:bodyPr/>
        <a:lstStyle/>
        <a:p>
          <a:endParaRPr lang="en-US"/>
        </a:p>
      </dgm:t>
    </dgm:pt>
    <dgm:pt modelId="{D402811F-F974-4A8C-990B-E7EA545E02C5}" type="sibTrans" cxnId="{CE6F0D7B-A8B0-48AD-B35F-7B79115F4996}">
      <dgm:prSet/>
      <dgm:spPr/>
      <dgm:t>
        <a:bodyPr/>
        <a:lstStyle/>
        <a:p>
          <a:endParaRPr lang="en-US"/>
        </a:p>
      </dgm:t>
    </dgm:pt>
    <dgm:pt modelId="{A2E0077B-6368-447F-8269-5488A9B8A1A2}" type="pres">
      <dgm:prSet presAssocID="{F4BB5D80-CA8E-4D1E-B182-179EB674DFAD}" presName="Name0" presStyleCnt="0">
        <dgm:presLayoutVars>
          <dgm:dir/>
          <dgm:animLvl val="lvl"/>
          <dgm:resizeHandles val="exact"/>
        </dgm:presLayoutVars>
      </dgm:prSet>
      <dgm:spPr/>
    </dgm:pt>
    <dgm:pt modelId="{5AF2951A-B672-4474-AA49-342988DF40CD}" type="pres">
      <dgm:prSet presAssocID="{597D6924-6009-4265-BC32-0899A9456CB6}" presName="parTxOnly" presStyleLbl="node1" presStyleIdx="0" presStyleCnt="3" custLinFactX="-35511" custLinFactNeighborX="-100000" custLinFactNeighborY="-3093">
        <dgm:presLayoutVars>
          <dgm:chMax val="0"/>
          <dgm:chPref val="0"/>
          <dgm:bulletEnabled val="1"/>
        </dgm:presLayoutVars>
      </dgm:prSet>
      <dgm:spPr/>
    </dgm:pt>
    <dgm:pt modelId="{7AC6C5D1-09DC-4AF4-B072-BB62A97DECED}" type="pres">
      <dgm:prSet presAssocID="{7E623978-21EF-429E-BC9E-48FE98607532}" presName="parTxOnlySpace" presStyleCnt="0"/>
      <dgm:spPr/>
    </dgm:pt>
    <dgm:pt modelId="{85256D47-5FAA-47C1-9F9B-AD8DC7BA94F9}" type="pres">
      <dgm:prSet presAssocID="{4EDFE152-4D6E-4BA7-81AA-D346A79FB50B}" presName="parTxOnly" presStyleLbl="node1" presStyleIdx="1" presStyleCnt="3">
        <dgm:presLayoutVars>
          <dgm:chMax val="0"/>
          <dgm:chPref val="0"/>
          <dgm:bulletEnabled val="1"/>
        </dgm:presLayoutVars>
      </dgm:prSet>
      <dgm:spPr/>
    </dgm:pt>
    <dgm:pt modelId="{EE25390C-0E1E-4150-9A0E-97B6048CF603}" type="pres">
      <dgm:prSet presAssocID="{EEE8AB5B-55FA-466B-AEA8-F78F72EDEBDC}" presName="parTxOnlySpace" presStyleCnt="0"/>
      <dgm:spPr/>
    </dgm:pt>
    <dgm:pt modelId="{AE459F26-3F44-4024-B1EF-C751EE0EAA19}" type="pres">
      <dgm:prSet presAssocID="{847F3880-A03D-46F5-8524-E7453D989CB0}" presName="parTxOnly" presStyleLbl="node1" presStyleIdx="2" presStyleCnt="3">
        <dgm:presLayoutVars>
          <dgm:chMax val="0"/>
          <dgm:chPref val="0"/>
          <dgm:bulletEnabled val="1"/>
        </dgm:presLayoutVars>
      </dgm:prSet>
      <dgm:spPr/>
    </dgm:pt>
  </dgm:ptLst>
  <dgm:cxnLst>
    <dgm:cxn modelId="{053BA111-0787-4276-85B7-FCCBB0177850}" type="presOf" srcId="{F4BB5D80-CA8E-4D1E-B182-179EB674DFAD}" destId="{A2E0077B-6368-447F-8269-5488A9B8A1A2}" srcOrd="0" destOrd="0" presId="urn:microsoft.com/office/officeart/2005/8/layout/chevron1"/>
    <dgm:cxn modelId="{73E5433B-A5EA-42EB-9247-0550C6F3708C}" type="presOf" srcId="{847F3880-A03D-46F5-8524-E7453D989CB0}" destId="{AE459F26-3F44-4024-B1EF-C751EE0EAA19}" srcOrd="0" destOrd="0" presId="urn:microsoft.com/office/officeart/2005/8/layout/chevron1"/>
    <dgm:cxn modelId="{752FAC48-C4E0-4F46-AE56-147C262396BA}" srcId="{F4BB5D80-CA8E-4D1E-B182-179EB674DFAD}" destId="{597D6924-6009-4265-BC32-0899A9456CB6}" srcOrd="0" destOrd="0" parTransId="{A305068E-00D1-4342-A4D4-BEB033943A31}" sibTransId="{7E623978-21EF-429E-BC9E-48FE98607532}"/>
    <dgm:cxn modelId="{CE6F0D7B-A8B0-48AD-B35F-7B79115F4996}" srcId="{F4BB5D80-CA8E-4D1E-B182-179EB674DFAD}" destId="{847F3880-A03D-46F5-8524-E7453D989CB0}" srcOrd="2" destOrd="0" parTransId="{2A1F14DC-7D82-4AB2-998F-B3123D255FB4}" sibTransId="{D402811F-F974-4A8C-990B-E7EA545E02C5}"/>
    <dgm:cxn modelId="{8F9E738A-773E-4DC1-8A0F-FE90A8A8FDD5}" type="presOf" srcId="{597D6924-6009-4265-BC32-0899A9456CB6}" destId="{5AF2951A-B672-4474-AA49-342988DF40CD}" srcOrd="0" destOrd="0" presId="urn:microsoft.com/office/officeart/2005/8/layout/chevron1"/>
    <dgm:cxn modelId="{E94FD5E7-785E-46D6-A3A4-B69BA18F51F6}" srcId="{F4BB5D80-CA8E-4D1E-B182-179EB674DFAD}" destId="{4EDFE152-4D6E-4BA7-81AA-D346A79FB50B}" srcOrd="1" destOrd="0" parTransId="{07B8FEDF-424D-4913-9E50-7E1809BFDFE9}" sibTransId="{EEE8AB5B-55FA-466B-AEA8-F78F72EDEBDC}"/>
    <dgm:cxn modelId="{C5296AF7-ECEA-486C-AEE9-E889D454BD8A}" type="presOf" srcId="{4EDFE152-4D6E-4BA7-81AA-D346A79FB50B}" destId="{85256D47-5FAA-47C1-9F9B-AD8DC7BA94F9}" srcOrd="0" destOrd="0" presId="urn:microsoft.com/office/officeart/2005/8/layout/chevron1"/>
    <dgm:cxn modelId="{F3B0CEEC-C524-4A58-968F-C03A2DD49955}" type="presParOf" srcId="{A2E0077B-6368-447F-8269-5488A9B8A1A2}" destId="{5AF2951A-B672-4474-AA49-342988DF40CD}" srcOrd="0" destOrd="0" presId="urn:microsoft.com/office/officeart/2005/8/layout/chevron1"/>
    <dgm:cxn modelId="{6F6CA083-DDDD-49A9-A3BB-941EDAD3E6B6}" type="presParOf" srcId="{A2E0077B-6368-447F-8269-5488A9B8A1A2}" destId="{7AC6C5D1-09DC-4AF4-B072-BB62A97DECED}" srcOrd="1" destOrd="0" presId="urn:microsoft.com/office/officeart/2005/8/layout/chevron1"/>
    <dgm:cxn modelId="{3B378508-B1B0-4395-B722-FAD220C5BFF1}" type="presParOf" srcId="{A2E0077B-6368-447F-8269-5488A9B8A1A2}" destId="{85256D47-5FAA-47C1-9F9B-AD8DC7BA94F9}" srcOrd="2" destOrd="0" presId="urn:microsoft.com/office/officeart/2005/8/layout/chevron1"/>
    <dgm:cxn modelId="{1C859384-7A46-4210-AB0E-0D1A7B0E2308}" type="presParOf" srcId="{A2E0077B-6368-447F-8269-5488A9B8A1A2}" destId="{EE25390C-0E1E-4150-9A0E-97B6048CF603}" srcOrd="3" destOrd="0" presId="urn:microsoft.com/office/officeart/2005/8/layout/chevron1"/>
    <dgm:cxn modelId="{F453A9E9-31EA-4416-B974-74696623FA14}" type="presParOf" srcId="{A2E0077B-6368-447F-8269-5488A9B8A1A2}" destId="{AE459F26-3F44-4024-B1EF-C751EE0EAA19}" srcOrd="4" destOrd="0" presId="urn:microsoft.com/office/officeart/2005/8/layout/chevron1"/>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4BB5D80-CA8E-4D1E-B182-179EB674DFAD}" type="doc">
      <dgm:prSet loTypeId="urn:microsoft.com/office/officeart/2005/8/layout/chevron1" loCatId="process" qsTypeId="urn:microsoft.com/office/officeart/2005/8/quickstyle/simple1" qsCatId="simple" csTypeId="urn:microsoft.com/office/officeart/2005/8/colors/accent1_2" csCatId="accent1" phldr="1"/>
      <dgm:spPr/>
    </dgm:pt>
    <dgm:pt modelId="{597D6924-6009-4265-BC32-0899A9456CB6}">
      <dgm:prSet phldrT="[Text]"/>
      <dgm:spPr/>
      <dgm:t>
        <a:bodyPr/>
        <a:lstStyle/>
        <a:p>
          <a:r>
            <a:rPr lang="en-US" dirty="0"/>
            <a:t>2019</a:t>
          </a:r>
        </a:p>
      </dgm:t>
    </dgm:pt>
    <dgm:pt modelId="{A305068E-00D1-4342-A4D4-BEB033943A31}" type="parTrans" cxnId="{752FAC48-C4E0-4F46-AE56-147C262396BA}">
      <dgm:prSet/>
      <dgm:spPr/>
      <dgm:t>
        <a:bodyPr/>
        <a:lstStyle/>
        <a:p>
          <a:endParaRPr lang="en-US"/>
        </a:p>
      </dgm:t>
    </dgm:pt>
    <dgm:pt modelId="{7E623978-21EF-429E-BC9E-48FE98607532}" type="sibTrans" cxnId="{752FAC48-C4E0-4F46-AE56-147C262396BA}">
      <dgm:prSet/>
      <dgm:spPr/>
      <dgm:t>
        <a:bodyPr/>
        <a:lstStyle/>
        <a:p>
          <a:endParaRPr lang="en-US"/>
        </a:p>
      </dgm:t>
    </dgm:pt>
    <dgm:pt modelId="{4EDFE152-4D6E-4BA7-81AA-D346A79FB50B}">
      <dgm:prSet phldrT="[Text]"/>
      <dgm:spPr/>
      <dgm:t>
        <a:bodyPr/>
        <a:lstStyle/>
        <a:p>
          <a:r>
            <a:rPr lang="en-US" dirty="0"/>
            <a:t>2024+</a:t>
          </a:r>
        </a:p>
      </dgm:t>
    </dgm:pt>
    <dgm:pt modelId="{07B8FEDF-424D-4913-9E50-7E1809BFDFE9}" type="parTrans" cxnId="{E94FD5E7-785E-46D6-A3A4-B69BA18F51F6}">
      <dgm:prSet/>
      <dgm:spPr/>
      <dgm:t>
        <a:bodyPr/>
        <a:lstStyle/>
        <a:p>
          <a:endParaRPr lang="en-US"/>
        </a:p>
      </dgm:t>
    </dgm:pt>
    <dgm:pt modelId="{EEE8AB5B-55FA-466B-AEA8-F78F72EDEBDC}" type="sibTrans" cxnId="{E94FD5E7-785E-46D6-A3A4-B69BA18F51F6}">
      <dgm:prSet/>
      <dgm:spPr/>
      <dgm:t>
        <a:bodyPr/>
        <a:lstStyle/>
        <a:p>
          <a:endParaRPr lang="en-US"/>
        </a:p>
      </dgm:t>
    </dgm:pt>
    <dgm:pt modelId="{847F3880-A03D-46F5-8524-E7453D989CB0}">
      <dgm:prSet phldrT="[Text]"/>
      <dgm:spPr/>
      <dgm:t>
        <a:bodyPr/>
        <a:lstStyle/>
        <a:p>
          <a:r>
            <a:rPr lang="en-US" dirty="0"/>
            <a:t>????</a:t>
          </a:r>
        </a:p>
      </dgm:t>
    </dgm:pt>
    <dgm:pt modelId="{2A1F14DC-7D82-4AB2-998F-B3123D255FB4}" type="parTrans" cxnId="{CE6F0D7B-A8B0-48AD-B35F-7B79115F4996}">
      <dgm:prSet/>
      <dgm:spPr/>
      <dgm:t>
        <a:bodyPr/>
        <a:lstStyle/>
        <a:p>
          <a:endParaRPr lang="en-US"/>
        </a:p>
      </dgm:t>
    </dgm:pt>
    <dgm:pt modelId="{D402811F-F974-4A8C-990B-E7EA545E02C5}" type="sibTrans" cxnId="{CE6F0D7B-A8B0-48AD-B35F-7B79115F4996}">
      <dgm:prSet/>
      <dgm:spPr/>
      <dgm:t>
        <a:bodyPr/>
        <a:lstStyle/>
        <a:p>
          <a:endParaRPr lang="en-US"/>
        </a:p>
      </dgm:t>
    </dgm:pt>
    <dgm:pt modelId="{A2E0077B-6368-447F-8269-5488A9B8A1A2}" type="pres">
      <dgm:prSet presAssocID="{F4BB5D80-CA8E-4D1E-B182-179EB674DFAD}" presName="Name0" presStyleCnt="0">
        <dgm:presLayoutVars>
          <dgm:dir/>
          <dgm:animLvl val="lvl"/>
          <dgm:resizeHandles val="exact"/>
        </dgm:presLayoutVars>
      </dgm:prSet>
      <dgm:spPr/>
    </dgm:pt>
    <dgm:pt modelId="{5AF2951A-B672-4474-AA49-342988DF40CD}" type="pres">
      <dgm:prSet presAssocID="{597D6924-6009-4265-BC32-0899A9456CB6}" presName="parTxOnly" presStyleLbl="node1" presStyleIdx="0" presStyleCnt="3" custLinFactX="-35511" custLinFactNeighborX="-100000" custLinFactNeighborY="-3093">
        <dgm:presLayoutVars>
          <dgm:chMax val="0"/>
          <dgm:chPref val="0"/>
          <dgm:bulletEnabled val="1"/>
        </dgm:presLayoutVars>
      </dgm:prSet>
      <dgm:spPr/>
    </dgm:pt>
    <dgm:pt modelId="{7AC6C5D1-09DC-4AF4-B072-BB62A97DECED}" type="pres">
      <dgm:prSet presAssocID="{7E623978-21EF-429E-BC9E-48FE98607532}" presName="parTxOnlySpace" presStyleCnt="0"/>
      <dgm:spPr/>
    </dgm:pt>
    <dgm:pt modelId="{85256D47-5FAA-47C1-9F9B-AD8DC7BA94F9}" type="pres">
      <dgm:prSet presAssocID="{4EDFE152-4D6E-4BA7-81AA-D346A79FB50B}" presName="parTxOnly" presStyleLbl="node1" presStyleIdx="1" presStyleCnt="3">
        <dgm:presLayoutVars>
          <dgm:chMax val="0"/>
          <dgm:chPref val="0"/>
          <dgm:bulletEnabled val="1"/>
        </dgm:presLayoutVars>
      </dgm:prSet>
      <dgm:spPr/>
    </dgm:pt>
    <dgm:pt modelId="{EE25390C-0E1E-4150-9A0E-97B6048CF603}" type="pres">
      <dgm:prSet presAssocID="{EEE8AB5B-55FA-466B-AEA8-F78F72EDEBDC}" presName="parTxOnlySpace" presStyleCnt="0"/>
      <dgm:spPr/>
    </dgm:pt>
    <dgm:pt modelId="{AE459F26-3F44-4024-B1EF-C751EE0EAA19}" type="pres">
      <dgm:prSet presAssocID="{847F3880-A03D-46F5-8524-E7453D989CB0}" presName="parTxOnly" presStyleLbl="node1" presStyleIdx="2" presStyleCnt="3">
        <dgm:presLayoutVars>
          <dgm:chMax val="0"/>
          <dgm:chPref val="0"/>
          <dgm:bulletEnabled val="1"/>
        </dgm:presLayoutVars>
      </dgm:prSet>
      <dgm:spPr/>
    </dgm:pt>
  </dgm:ptLst>
  <dgm:cxnLst>
    <dgm:cxn modelId="{053BA111-0787-4276-85B7-FCCBB0177850}" type="presOf" srcId="{F4BB5D80-CA8E-4D1E-B182-179EB674DFAD}" destId="{A2E0077B-6368-447F-8269-5488A9B8A1A2}" srcOrd="0" destOrd="0" presId="urn:microsoft.com/office/officeart/2005/8/layout/chevron1"/>
    <dgm:cxn modelId="{73E5433B-A5EA-42EB-9247-0550C6F3708C}" type="presOf" srcId="{847F3880-A03D-46F5-8524-E7453D989CB0}" destId="{AE459F26-3F44-4024-B1EF-C751EE0EAA19}" srcOrd="0" destOrd="0" presId="urn:microsoft.com/office/officeart/2005/8/layout/chevron1"/>
    <dgm:cxn modelId="{752FAC48-C4E0-4F46-AE56-147C262396BA}" srcId="{F4BB5D80-CA8E-4D1E-B182-179EB674DFAD}" destId="{597D6924-6009-4265-BC32-0899A9456CB6}" srcOrd="0" destOrd="0" parTransId="{A305068E-00D1-4342-A4D4-BEB033943A31}" sibTransId="{7E623978-21EF-429E-BC9E-48FE98607532}"/>
    <dgm:cxn modelId="{CE6F0D7B-A8B0-48AD-B35F-7B79115F4996}" srcId="{F4BB5D80-CA8E-4D1E-B182-179EB674DFAD}" destId="{847F3880-A03D-46F5-8524-E7453D989CB0}" srcOrd="2" destOrd="0" parTransId="{2A1F14DC-7D82-4AB2-998F-B3123D255FB4}" sibTransId="{D402811F-F974-4A8C-990B-E7EA545E02C5}"/>
    <dgm:cxn modelId="{8F9E738A-773E-4DC1-8A0F-FE90A8A8FDD5}" type="presOf" srcId="{597D6924-6009-4265-BC32-0899A9456CB6}" destId="{5AF2951A-B672-4474-AA49-342988DF40CD}" srcOrd="0" destOrd="0" presId="urn:microsoft.com/office/officeart/2005/8/layout/chevron1"/>
    <dgm:cxn modelId="{E94FD5E7-785E-46D6-A3A4-B69BA18F51F6}" srcId="{F4BB5D80-CA8E-4D1E-B182-179EB674DFAD}" destId="{4EDFE152-4D6E-4BA7-81AA-D346A79FB50B}" srcOrd="1" destOrd="0" parTransId="{07B8FEDF-424D-4913-9E50-7E1809BFDFE9}" sibTransId="{EEE8AB5B-55FA-466B-AEA8-F78F72EDEBDC}"/>
    <dgm:cxn modelId="{C5296AF7-ECEA-486C-AEE9-E889D454BD8A}" type="presOf" srcId="{4EDFE152-4D6E-4BA7-81AA-D346A79FB50B}" destId="{85256D47-5FAA-47C1-9F9B-AD8DC7BA94F9}" srcOrd="0" destOrd="0" presId="urn:microsoft.com/office/officeart/2005/8/layout/chevron1"/>
    <dgm:cxn modelId="{F3B0CEEC-C524-4A58-968F-C03A2DD49955}" type="presParOf" srcId="{A2E0077B-6368-447F-8269-5488A9B8A1A2}" destId="{5AF2951A-B672-4474-AA49-342988DF40CD}" srcOrd="0" destOrd="0" presId="urn:microsoft.com/office/officeart/2005/8/layout/chevron1"/>
    <dgm:cxn modelId="{6F6CA083-DDDD-49A9-A3BB-941EDAD3E6B6}" type="presParOf" srcId="{A2E0077B-6368-447F-8269-5488A9B8A1A2}" destId="{7AC6C5D1-09DC-4AF4-B072-BB62A97DECED}" srcOrd="1" destOrd="0" presId="urn:microsoft.com/office/officeart/2005/8/layout/chevron1"/>
    <dgm:cxn modelId="{3B378508-B1B0-4395-B722-FAD220C5BFF1}" type="presParOf" srcId="{A2E0077B-6368-447F-8269-5488A9B8A1A2}" destId="{85256D47-5FAA-47C1-9F9B-AD8DC7BA94F9}" srcOrd="2" destOrd="0" presId="urn:microsoft.com/office/officeart/2005/8/layout/chevron1"/>
    <dgm:cxn modelId="{1C859384-7A46-4210-AB0E-0D1A7B0E2308}" type="presParOf" srcId="{A2E0077B-6368-447F-8269-5488A9B8A1A2}" destId="{EE25390C-0E1E-4150-9A0E-97B6048CF603}" srcOrd="3" destOrd="0" presId="urn:microsoft.com/office/officeart/2005/8/layout/chevron1"/>
    <dgm:cxn modelId="{F453A9E9-31EA-4416-B974-74696623FA14}" type="presParOf" srcId="{A2E0077B-6368-447F-8269-5488A9B8A1A2}" destId="{AE459F26-3F44-4024-B1EF-C751EE0EAA19}" srcOrd="4" destOrd="0" presId="urn:microsoft.com/office/officeart/2005/8/layout/chevron1"/>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F8573D5-C6B2-4F8A-A32F-0F3CE86E8F1B}" type="doc">
      <dgm:prSet loTypeId="urn:microsoft.com/office/officeart/2005/8/layout/hierarchy3" loCatId="list" qsTypeId="urn:microsoft.com/office/officeart/2005/8/quickstyle/simple1" qsCatId="simple" csTypeId="urn:microsoft.com/office/officeart/2005/8/colors/accent1_2" csCatId="accent1" phldr="1"/>
      <dgm:spPr/>
      <dgm:t>
        <a:bodyPr/>
        <a:lstStyle/>
        <a:p>
          <a:endParaRPr lang="en-US"/>
        </a:p>
      </dgm:t>
    </dgm:pt>
    <dgm:pt modelId="{5FE7B847-91C7-43AD-B212-883ED2C5FCF9}">
      <dgm:prSet phldrT="[Text]"/>
      <dgm:spPr/>
      <dgm:t>
        <a:bodyPr/>
        <a:lstStyle/>
        <a:p>
          <a:r>
            <a:rPr lang="en-US" b="1" dirty="0">
              <a:latin typeface="Sora" pitchFamily="2" charset="0"/>
              <a:cs typeface="Sora" pitchFamily="2" charset="0"/>
            </a:rPr>
            <a:t>Web 1.0 - static</a:t>
          </a:r>
        </a:p>
      </dgm:t>
    </dgm:pt>
    <dgm:pt modelId="{4436B7E3-F318-4918-BDC1-8F2BC6E683D1}" type="parTrans" cxnId="{3E794A94-B2B8-48ED-9E74-8F955D3D1AF4}">
      <dgm:prSet/>
      <dgm:spPr/>
      <dgm:t>
        <a:bodyPr/>
        <a:lstStyle/>
        <a:p>
          <a:endParaRPr lang="en-US"/>
        </a:p>
      </dgm:t>
    </dgm:pt>
    <dgm:pt modelId="{54556CB8-E3AD-47FA-AC6C-788C5151F7EB}" type="sibTrans" cxnId="{3E794A94-B2B8-48ED-9E74-8F955D3D1AF4}">
      <dgm:prSet/>
      <dgm:spPr/>
      <dgm:t>
        <a:bodyPr/>
        <a:lstStyle/>
        <a:p>
          <a:endParaRPr lang="en-US"/>
        </a:p>
      </dgm:t>
    </dgm:pt>
    <dgm:pt modelId="{1F117E15-A5F1-4B2C-A6D6-3B4ACFB2F51C}">
      <dgm:prSet phldrT="[Text]"/>
      <dgm:spPr/>
      <dgm:t>
        <a:bodyPr/>
        <a:lstStyle/>
        <a:p>
          <a:r>
            <a:rPr lang="en-US" dirty="0">
              <a:latin typeface="Sora" pitchFamily="2" charset="0"/>
              <a:cs typeface="Sora" pitchFamily="2" charset="0"/>
            </a:rPr>
            <a:t>Browser</a:t>
          </a:r>
        </a:p>
      </dgm:t>
    </dgm:pt>
    <dgm:pt modelId="{A18C4AF1-3FFB-419F-B710-61CE759D6E4E}" type="parTrans" cxnId="{1E99F6DD-0A40-4FA0-997C-84C895D8F4D0}">
      <dgm:prSet/>
      <dgm:spPr/>
      <dgm:t>
        <a:bodyPr/>
        <a:lstStyle/>
        <a:p>
          <a:endParaRPr lang="en-US"/>
        </a:p>
      </dgm:t>
    </dgm:pt>
    <dgm:pt modelId="{6632D7E7-09E9-4997-B192-0EB8E77EE9B3}" type="sibTrans" cxnId="{1E99F6DD-0A40-4FA0-997C-84C895D8F4D0}">
      <dgm:prSet/>
      <dgm:spPr/>
      <dgm:t>
        <a:bodyPr/>
        <a:lstStyle/>
        <a:p>
          <a:endParaRPr lang="en-US"/>
        </a:p>
      </dgm:t>
    </dgm:pt>
    <dgm:pt modelId="{3EB6E66B-F475-42DB-BB41-0A33C30919BE}">
      <dgm:prSet phldrT="[Text]"/>
      <dgm:spPr/>
      <dgm:t>
        <a:bodyPr/>
        <a:lstStyle/>
        <a:p>
          <a:r>
            <a:rPr lang="en-US" dirty="0">
              <a:latin typeface="Sora" pitchFamily="2" charset="0"/>
              <a:cs typeface="Sora" pitchFamily="2" charset="0"/>
            </a:rPr>
            <a:t>Websites</a:t>
          </a:r>
        </a:p>
      </dgm:t>
    </dgm:pt>
    <dgm:pt modelId="{F45EB8DE-4517-4F0A-A300-AE8A38D31003}" type="parTrans" cxnId="{DFD3F792-C560-4328-90D1-2FAA4517F3BC}">
      <dgm:prSet/>
      <dgm:spPr/>
      <dgm:t>
        <a:bodyPr/>
        <a:lstStyle/>
        <a:p>
          <a:endParaRPr lang="en-US"/>
        </a:p>
      </dgm:t>
    </dgm:pt>
    <dgm:pt modelId="{DB7920F0-94CC-4861-9D7E-366C48724CCE}" type="sibTrans" cxnId="{DFD3F792-C560-4328-90D1-2FAA4517F3BC}">
      <dgm:prSet/>
      <dgm:spPr/>
      <dgm:t>
        <a:bodyPr/>
        <a:lstStyle/>
        <a:p>
          <a:endParaRPr lang="en-US"/>
        </a:p>
      </dgm:t>
    </dgm:pt>
    <dgm:pt modelId="{3DAD3983-E4D3-4D2A-8908-56F92B29D124}">
      <dgm:prSet phldrT="[Text]"/>
      <dgm:spPr/>
      <dgm:t>
        <a:bodyPr/>
        <a:lstStyle/>
        <a:p>
          <a:r>
            <a:rPr lang="en-US" b="1" dirty="0">
              <a:latin typeface="Sora" pitchFamily="2" charset="0"/>
              <a:cs typeface="Sora" pitchFamily="2" charset="0"/>
            </a:rPr>
            <a:t>Web 2.0 - centralized</a:t>
          </a:r>
        </a:p>
      </dgm:t>
    </dgm:pt>
    <dgm:pt modelId="{80622DBA-2249-4B8B-BA26-93233873ADB4}" type="parTrans" cxnId="{853019A5-D687-4A19-8051-E72DA1DAEEB9}">
      <dgm:prSet/>
      <dgm:spPr/>
      <dgm:t>
        <a:bodyPr/>
        <a:lstStyle/>
        <a:p>
          <a:endParaRPr lang="en-US"/>
        </a:p>
      </dgm:t>
    </dgm:pt>
    <dgm:pt modelId="{FA301B3E-8496-4B80-9D2C-74DE35A167D1}" type="sibTrans" cxnId="{853019A5-D687-4A19-8051-E72DA1DAEEB9}">
      <dgm:prSet/>
      <dgm:spPr/>
      <dgm:t>
        <a:bodyPr/>
        <a:lstStyle/>
        <a:p>
          <a:endParaRPr lang="en-US"/>
        </a:p>
      </dgm:t>
    </dgm:pt>
    <dgm:pt modelId="{4B494B15-2E01-457A-A792-6E27F557A1F0}">
      <dgm:prSet phldrT="[Text]"/>
      <dgm:spPr/>
      <dgm:t>
        <a:bodyPr/>
        <a:lstStyle/>
        <a:p>
          <a:r>
            <a:rPr lang="en-US" dirty="0">
              <a:latin typeface="Sora" pitchFamily="2" charset="0"/>
              <a:cs typeface="Sora" pitchFamily="2" charset="0"/>
            </a:rPr>
            <a:t>Mobile</a:t>
          </a:r>
        </a:p>
      </dgm:t>
    </dgm:pt>
    <dgm:pt modelId="{51CDDCAC-F403-4919-978B-7550D3F79F53}" type="parTrans" cxnId="{BDD6B2B7-B053-4148-A0A4-4B57941C7BD3}">
      <dgm:prSet/>
      <dgm:spPr/>
      <dgm:t>
        <a:bodyPr/>
        <a:lstStyle/>
        <a:p>
          <a:endParaRPr lang="en-US"/>
        </a:p>
      </dgm:t>
    </dgm:pt>
    <dgm:pt modelId="{B7C449DF-0238-4CE5-9209-395F5237E34C}" type="sibTrans" cxnId="{BDD6B2B7-B053-4148-A0A4-4B57941C7BD3}">
      <dgm:prSet/>
      <dgm:spPr/>
      <dgm:t>
        <a:bodyPr/>
        <a:lstStyle/>
        <a:p>
          <a:endParaRPr lang="en-US"/>
        </a:p>
      </dgm:t>
    </dgm:pt>
    <dgm:pt modelId="{30608B58-314A-4336-8411-F3ED2599822C}">
      <dgm:prSet phldrT="[Text]"/>
      <dgm:spPr/>
      <dgm:t>
        <a:bodyPr/>
        <a:lstStyle/>
        <a:p>
          <a:r>
            <a:rPr lang="en-US" dirty="0">
              <a:latin typeface="Sora" pitchFamily="2" charset="0"/>
              <a:cs typeface="Sora" pitchFamily="2" charset="0"/>
            </a:rPr>
            <a:t>Apps</a:t>
          </a:r>
        </a:p>
      </dgm:t>
    </dgm:pt>
    <dgm:pt modelId="{5710641C-7F3F-494D-B930-08845F7B6D09}" type="parTrans" cxnId="{708698EF-9CB0-43C3-B44E-C1166B788DD7}">
      <dgm:prSet/>
      <dgm:spPr/>
      <dgm:t>
        <a:bodyPr/>
        <a:lstStyle/>
        <a:p>
          <a:endParaRPr lang="en-US"/>
        </a:p>
      </dgm:t>
    </dgm:pt>
    <dgm:pt modelId="{5F990060-F781-4FB0-A6A4-37977917C08F}" type="sibTrans" cxnId="{708698EF-9CB0-43C3-B44E-C1166B788DD7}">
      <dgm:prSet/>
      <dgm:spPr/>
      <dgm:t>
        <a:bodyPr/>
        <a:lstStyle/>
        <a:p>
          <a:endParaRPr lang="en-US"/>
        </a:p>
      </dgm:t>
    </dgm:pt>
    <dgm:pt modelId="{5AEC650C-2689-4012-9024-144AA27C99BB}">
      <dgm:prSet phldrT="[Text]"/>
      <dgm:spPr/>
      <dgm:t>
        <a:bodyPr/>
        <a:lstStyle/>
        <a:p>
          <a:r>
            <a:rPr lang="en-US" dirty="0">
              <a:latin typeface="Sora" pitchFamily="2" charset="0"/>
              <a:cs typeface="Sora" pitchFamily="2" charset="0"/>
            </a:rPr>
            <a:t>Servers</a:t>
          </a:r>
        </a:p>
      </dgm:t>
    </dgm:pt>
    <dgm:pt modelId="{EB581A00-0A58-4B99-B713-677D75B28A84}" type="parTrans" cxnId="{FCD06824-8EB9-414A-B04B-68A47F4196FF}">
      <dgm:prSet/>
      <dgm:spPr/>
      <dgm:t>
        <a:bodyPr/>
        <a:lstStyle/>
        <a:p>
          <a:endParaRPr lang="en-US"/>
        </a:p>
      </dgm:t>
    </dgm:pt>
    <dgm:pt modelId="{DAF95190-36D4-457D-A5E3-265AC4214EE4}" type="sibTrans" cxnId="{FCD06824-8EB9-414A-B04B-68A47F4196FF}">
      <dgm:prSet/>
      <dgm:spPr/>
      <dgm:t>
        <a:bodyPr/>
        <a:lstStyle/>
        <a:p>
          <a:endParaRPr lang="en-US"/>
        </a:p>
      </dgm:t>
    </dgm:pt>
    <dgm:pt modelId="{711A6AEE-CAC4-4DDF-A96A-1BB01916719F}">
      <dgm:prSet phldrT="[Text]"/>
      <dgm:spPr/>
      <dgm:t>
        <a:bodyPr/>
        <a:lstStyle/>
        <a:p>
          <a:r>
            <a:rPr lang="en-US" b="1" dirty="0">
              <a:latin typeface="Sora" pitchFamily="2" charset="0"/>
              <a:cs typeface="Sora" pitchFamily="2" charset="0"/>
            </a:rPr>
            <a:t>Web 3.0 - decentralized</a:t>
          </a:r>
        </a:p>
      </dgm:t>
    </dgm:pt>
    <dgm:pt modelId="{342762AB-F185-4909-A2A5-4DFA57220E71}" type="sibTrans" cxnId="{B7233AB5-E61E-434D-AC3F-29B9F84B6D1D}">
      <dgm:prSet/>
      <dgm:spPr/>
      <dgm:t>
        <a:bodyPr/>
        <a:lstStyle/>
        <a:p>
          <a:endParaRPr lang="en-US"/>
        </a:p>
      </dgm:t>
    </dgm:pt>
    <dgm:pt modelId="{6FB70FD6-E707-4205-B0A2-025B51677442}" type="parTrans" cxnId="{B7233AB5-E61E-434D-AC3F-29B9F84B6D1D}">
      <dgm:prSet/>
      <dgm:spPr/>
      <dgm:t>
        <a:bodyPr/>
        <a:lstStyle/>
        <a:p>
          <a:endParaRPr lang="en-US"/>
        </a:p>
      </dgm:t>
    </dgm:pt>
    <dgm:pt modelId="{7950D0E0-0F3F-48FF-9404-270FCBE3A34C}">
      <dgm:prSet phldrT="[Text]"/>
      <dgm:spPr/>
      <dgm:t>
        <a:bodyPr/>
        <a:lstStyle/>
        <a:p>
          <a:pPr algn="ctr"/>
          <a:r>
            <a:rPr lang="en-US" dirty="0">
              <a:latin typeface="Sora" pitchFamily="2" charset="0"/>
              <a:cs typeface="Sora" pitchFamily="2" charset="0"/>
            </a:rPr>
            <a:t>XR</a:t>
          </a:r>
        </a:p>
      </dgm:t>
    </dgm:pt>
    <dgm:pt modelId="{0DDE3D10-5857-43A7-B0B9-C4E075C3D64F}" type="parTrans" cxnId="{AB10B52D-1A0E-4FA1-A40A-321778740A0D}">
      <dgm:prSet/>
      <dgm:spPr/>
      <dgm:t>
        <a:bodyPr/>
        <a:lstStyle/>
        <a:p>
          <a:endParaRPr lang="en-US"/>
        </a:p>
      </dgm:t>
    </dgm:pt>
    <dgm:pt modelId="{811C618D-D323-49FB-8408-7F6B5862EA2C}" type="sibTrans" cxnId="{AB10B52D-1A0E-4FA1-A40A-321778740A0D}">
      <dgm:prSet/>
      <dgm:spPr/>
      <dgm:t>
        <a:bodyPr/>
        <a:lstStyle/>
        <a:p>
          <a:endParaRPr lang="en-US"/>
        </a:p>
      </dgm:t>
    </dgm:pt>
    <dgm:pt modelId="{D722CDB3-32A4-4AEC-95C9-18153B86C40C}">
      <dgm:prSet phldrT="[Text]"/>
      <dgm:spPr/>
      <dgm:t>
        <a:bodyPr/>
        <a:lstStyle/>
        <a:p>
          <a:r>
            <a:rPr lang="en-US" dirty="0">
              <a:latin typeface="Sora" pitchFamily="2" charset="0"/>
              <a:cs typeface="Sora" pitchFamily="2" charset="0"/>
            </a:rPr>
            <a:t>A.I</a:t>
          </a:r>
        </a:p>
      </dgm:t>
    </dgm:pt>
    <dgm:pt modelId="{4EF1BE70-20B6-4973-8B8A-491C28A23106}" type="parTrans" cxnId="{D779AA29-848D-448B-ABAA-79723B56FC19}">
      <dgm:prSet/>
      <dgm:spPr/>
      <dgm:t>
        <a:bodyPr/>
        <a:lstStyle/>
        <a:p>
          <a:endParaRPr lang="en-US"/>
        </a:p>
      </dgm:t>
    </dgm:pt>
    <dgm:pt modelId="{2047FE27-3786-442A-A096-AD14D71CBCBE}" type="sibTrans" cxnId="{D779AA29-848D-448B-ABAA-79723B56FC19}">
      <dgm:prSet/>
      <dgm:spPr/>
      <dgm:t>
        <a:bodyPr/>
        <a:lstStyle/>
        <a:p>
          <a:endParaRPr lang="en-US"/>
        </a:p>
      </dgm:t>
    </dgm:pt>
    <dgm:pt modelId="{940E4AA7-74AB-45C5-B086-3FB52FBCFE16}">
      <dgm:prSet phldrT="[Text]"/>
      <dgm:spPr/>
      <dgm:t>
        <a:bodyPr/>
        <a:lstStyle/>
        <a:p>
          <a:r>
            <a:rPr lang="en-US" dirty="0">
              <a:latin typeface="Sora" pitchFamily="2" charset="0"/>
              <a:cs typeface="Sora" pitchFamily="2" charset="0"/>
            </a:rPr>
            <a:t>Blockchain</a:t>
          </a:r>
        </a:p>
      </dgm:t>
    </dgm:pt>
    <dgm:pt modelId="{F5422D5A-8F77-43DE-B3C2-5A25851D9488}" type="parTrans" cxnId="{3C70F259-5A49-4784-835F-1683E6F02221}">
      <dgm:prSet/>
      <dgm:spPr/>
      <dgm:t>
        <a:bodyPr/>
        <a:lstStyle/>
        <a:p>
          <a:endParaRPr lang="en-US"/>
        </a:p>
      </dgm:t>
    </dgm:pt>
    <dgm:pt modelId="{F313C869-F6B4-49BD-BBA6-83E5EDB49268}" type="sibTrans" cxnId="{3C70F259-5A49-4784-835F-1683E6F02221}">
      <dgm:prSet/>
      <dgm:spPr/>
      <dgm:t>
        <a:bodyPr/>
        <a:lstStyle/>
        <a:p>
          <a:endParaRPr lang="en-US"/>
        </a:p>
      </dgm:t>
    </dgm:pt>
    <dgm:pt modelId="{A4A140CE-7F57-4AF3-8180-9A73E984E8EC}">
      <dgm:prSet phldrT="[Text]"/>
      <dgm:spPr/>
      <dgm:t>
        <a:bodyPr/>
        <a:lstStyle/>
        <a:p>
          <a:r>
            <a:rPr lang="en-US" dirty="0">
              <a:latin typeface="Sora" pitchFamily="2" charset="0"/>
              <a:cs typeface="Sora" pitchFamily="2" charset="0"/>
            </a:rPr>
            <a:t>Cloud</a:t>
          </a:r>
        </a:p>
      </dgm:t>
    </dgm:pt>
    <dgm:pt modelId="{606E6FC1-28B3-4230-A92C-34E7E2856763}" type="parTrans" cxnId="{21F4C0C1-C76A-45CF-BC7C-1B8E7A6646C0}">
      <dgm:prSet/>
      <dgm:spPr/>
      <dgm:t>
        <a:bodyPr/>
        <a:lstStyle/>
        <a:p>
          <a:endParaRPr lang="en-US"/>
        </a:p>
      </dgm:t>
    </dgm:pt>
    <dgm:pt modelId="{0E254708-0C1D-4DA0-BA70-78320FA5A3C2}" type="sibTrans" cxnId="{21F4C0C1-C76A-45CF-BC7C-1B8E7A6646C0}">
      <dgm:prSet/>
      <dgm:spPr/>
      <dgm:t>
        <a:bodyPr/>
        <a:lstStyle/>
        <a:p>
          <a:endParaRPr lang="en-US"/>
        </a:p>
      </dgm:t>
    </dgm:pt>
    <dgm:pt modelId="{1DC85D11-614B-40BC-AE6D-875702420051}" type="pres">
      <dgm:prSet presAssocID="{DF8573D5-C6B2-4F8A-A32F-0F3CE86E8F1B}" presName="diagram" presStyleCnt="0">
        <dgm:presLayoutVars>
          <dgm:chPref val="1"/>
          <dgm:dir/>
          <dgm:animOne val="branch"/>
          <dgm:animLvl val="lvl"/>
          <dgm:resizeHandles/>
        </dgm:presLayoutVars>
      </dgm:prSet>
      <dgm:spPr/>
    </dgm:pt>
    <dgm:pt modelId="{3C7722D2-DFD8-4ED0-805B-C49F83B98D71}" type="pres">
      <dgm:prSet presAssocID="{5FE7B847-91C7-43AD-B212-883ED2C5FCF9}" presName="root" presStyleCnt="0"/>
      <dgm:spPr/>
    </dgm:pt>
    <dgm:pt modelId="{654D1B6E-B36C-4E6C-8A59-13E30E500630}" type="pres">
      <dgm:prSet presAssocID="{5FE7B847-91C7-43AD-B212-883ED2C5FCF9}" presName="rootComposite" presStyleCnt="0"/>
      <dgm:spPr/>
    </dgm:pt>
    <dgm:pt modelId="{2C1788AB-B3CB-47B4-AD01-4BE1EEC06DB1}" type="pres">
      <dgm:prSet presAssocID="{5FE7B847-91C7-43AD-B212-883ED2C5FCF9}" presName="rootText" presStyleLbl="node1" presStyleIdx="0" presStyleCnt="3"/>
      <dgm:spPr/>
    </dgm:pt>
    <dgm:pt modelId="{33A7F60F-08AE-4405-84AD-DEDB636D2851}" type="pres">
      <dgm:prSet presAssocID="{5FE7B847-91C7-43AD-B212-883ED2C5FCF9}" presName="rootConnector" presStyleLbl="node1" presStyleIdx="0" presStyleCnt="3"/>
      <dgm:spPr/>
    </dgm:pt>
    <dgm:pt modelId="{143FDE89-B686-4E38-8A2C-E56FA34A4271}" type="pres">
      <dgm:prSet presAssocID="{5FE7B847-91C7-43AD-B212-883ED2C5FCF9}" presName="childShape" presStyleCnt="0"/>
      <dgm:spPr/>
    </dgm:pt>
    <dgm:pt modelId="{CD482211-B6D5-43FE-ABEE-4664D5B3FBAC}" type="pres">
      <dgm:prSet presAssocID="{A18C4AF1-3FFB-419F-B710-61CE759D6E4E}" presName="Name13" presStyleLbl="parChTrans1D2" presStyleIdx="0" presStyleCnt="9"/>
      <dgm:spPr/>
    </dgm:pt>
    <dgm:pt modelId="{DA26AFC3-342C-4E28-B92E-F65342CB017D}" type="pres">
      <dgm:prSet presAssocID="{1F117E15-A5F1-4B2C-A6D6-3B4ACFB2F51C}" presName="childText" presStyleLbl="bgAcc1" presStyleIdx="0" presStyleCnt="9">
        <dgm:presLayoutVars>
          <dgm:bulletEnabled val="1"/>
        </dgm:presLayoutVars>
      </dgm:prSet>
      <dgm:spPr/>
    </dgm:pt>
    <dgm:pt modelId="{025DA7A9-14F3-4194-8615-727A670418C4}" type="pres">
      <dgm:prSet presAssocID="{F45EB8DE-4517-4F0A-A300-AE8A38D31003}" presName="Name13" presStyleLbl="parChTrans1D2" presStyleIdx="1" presStyleCnt="9"/>
      <dgm:spPr/>
    </dgm:pt>
    <dgm:pt modelId="{B1B26888-48E6-4E75-BED8-0C19BEC329A6}" type="pres">
      <dgm:prSet presAssocID="{3EB6E66B-F475-42DB-BB41-0A33C30919BE}" presName="childText" presStyleLbl="bgAcc1" presStyleIdx="1" presStyleCnt="9">
        <dgm:presLayoutVars>
          <dgm:bulletEnabled val="1"/>
        </dgm:presLayoutVars>
      </dgm:prSet>
      <dgm:spPr/>
    </dgm:pt>
    <dgm:pt modelId="{0F7D15A0-BA0C-4F7A-8E16-CFD7AE14D761}" type="pres">
      <dgm:prSet presAssocID="{EB581A00-0A58-4B99-B713-677D75B28A84}" presName="Name13" presStyleLbl="parChTrans1D2" presStyleIdx="2" presStyleCnt="9"/>
      <dgm:spPr/>
    </dgm:pt>
    <dgm:pt modelId="{F54D6BCE-B989-464A-B2E1-CAAE6AE4D6B0}" type="pres">
      <dgm:prSet presAssocID="{5AEC650C-2689-4012-9024-144AA27C99BB}" presName="childText" presStyleLbl="bgAcc1" presStyleIdx="2" presStyleCnt="9">
        <dgm:presLayoutVars>
          <dgm:bulletEnabled val="1"/>
        </dgm:presLayoutVars>
      </dgm:prSet>
      <dgm:spPr/>
    </dgm:pt>
    <dgm:pt modelId="{B63C590B-3F38-4049-911C-2706930DCD1A}" type="pres">
      <dgm:prSet presAssocID="{3DAD3983-E4D3-4D2A-8908-56F92B29D124}" presName="root" presStyleCnt="0"/>
      <dgm:spPr/>
    </dgm:pt>
    <dgm:pt modelId="{7AD2DF28-73FD-4BE8-9208-6D0E296D922F}" type="pres">
      <dgm:prSet presAssocID="{3DAD3983-E4D3-4D2A-8908-56F92B29D124}" presName="rootComposite" presStyleCnt="0"/>
      <dgm:spPr/>
    </dgm:pt>
    <dgm:pt modelId="{288CE51C-AB1A-4BFA-9130-9B0DD1626D88}" type="pres">
      <dgm:prSet presAssocID="{3DAD3983-E4D3-4D2A-8908-56F92B29D124}" presName="rootText" presStyleLbl="node1" presStyleIdx="1" presStyleCnt="3"/>
      <dgm:spPr/>
    </dgm:pt>
    <dgm:pt modelId="{DFFCFF26-AD99-42B6-A72B-743ACA7DD74B}" type="pres">
      <dgm:prSet presAssocID="{3DAD3983-E4D3-4D2A-8908-56F92B29D124}" presName="rootConnector" presStyleLbl="node1" presStyleIdx="1" presStyleCnt="3"/>
      <dgm:spPr/>
    </dgm:pt>
    <dgm:pt modelId="{1999E721-7F41-4C99-A729-BE03B8038BC2}" type="pres">
      <dgm:prSet presAssocID="{3DAD3983-E4D3-4D2A-8908-56F92B29D124}" presName="childShape" presStyleCnt="0"/>
      <dgm:spPr/>
    </dgm:pt>
    <dgm:pt modelId="{780F9F98-CBFF-42F6-B21E-8E490ED86E7F}" type="pres">
      <dgm:prSet presAssocID="{51CDDCAC-F403-4919-978B-7550D3F79F53}" presName="Name13" presStyleLbl="parChTrans1D2" presStyleIdx="3" presStyleCnt="9"/>
      <dgm:spPr/>
    </dgm:pt>
    <dgm:pt modelId="{202F257D-07C2-4C02-9FBB-DFC8F5F95E15}" type="pres">
      <dgm:prSet presAssocID="{4B494B15-2E01-457A-A792-6E27F557A1F0}" presName="childText" presStyleLbl="bgAcc1" presStyleIdx="3" presStyleCnt="9">
        <dgm:presLayoutVars>
          <dgm:bulletEnabled val="1"/>
        </dgm:presLayoutVars>
      </dgm:prSet>
      <dgm:spPr/>
    </dgm:pt>
    <dgm:pt modelId="{1B388535-E09A-4809-8D94-D62B0C1A500E}" type="pres">
      <dgm:prSet presAssocID="{5710641C-7F3F-494D-B930-08845F7B6D09}" presName="Name13" presStyleLbl="parChTrans1D2" presStyleIdx="4" presStyleCnt="9"/>
      <dgm:spPr/>
    </dgm:pt>
    <dgm:pt modelId="{0A4BB71C-6694-4807-BB9B-9D7B9EB1DE37}" type="pres">
      <dgm:prSet presAssocID="{30608B58-314A-4336-8411-F3ED2599822C}" presName="childText" presStyleLbl="bgAcc1" presStyleIdx="4" presStyleCnt="9">
        <dgm:presLayoutVars>
          <dgm:bulletEnabled val="1"/>
        </dgm:presLayoutVars>
      </dgm:prSet>
      <dgm:spPr/>
    </dgm:pt>
    <dgm:pt modelId="{5550740B-BC52-4252-8446-0A1FCA709C91}" type="pres">
      <dgm:prSet presAssocID="{606E6FC1-28B3-4230-A92C-34E7E2856763}" presName="Name13" presStyleLbl="parChTrans1D2" presStyleIdx="5" presStyleCnt="9"/>
      <dgm:spPr/>
    </dgm:pt>
    <dgm:pt modelId="{17FFCF69-7E81-48AE-BF54-0BBC1DACF6CC}" type="pres">
      <dgm:prSet presAssocID="{A4A140CE-7F57-4AF3-8180-9A73E984E8EC}" presName="childText" presStyleLbl="bgAcc1" presStyleIdx="5" presStyleCnt="9">
        <dgm:presLayoutVars>
          <dgm:bulletEnabled val="1"/>
        </dgm:presLayoutVars>
      </dgm:prSet>
      <dgm:spPr/>
    </dgm:pt>
    <dgm:pt modelId="{9110DC4B-59C1-442C-981E-F47F6C5A656A}" type="pres">
      <dgm:prSet presAssocID="{711A6AEE-CAC4-4DDF-A96A-1BB01916719F}" presName="root" presStyleCnt="0"/>
      <dgm:spPr/>
    </dgm:pt>
    <dgm:pt modelId="{907C1F0E-3FF1-48FB-A3F0-5275CE3B3CB8}" type="pres">
      <dgm:prSet presAssocID="{711A6AEE-CAC4-4DDF-A96A-1BB01916719F}" presName="rootComposite" presStyleCnt="0"/>
      <dgm:spPr/>
    </dgm:pt>
    <dgm:pt modelId="{5EB1177D-6D01-4885-BAE3-85234B18A075}" type="pres">
      <dgm:prSet presAssocID="{711A6AEE-CAC4-4DDF-A96A-1BB01916719F}" presName="rootText" presStyleLbl="node1" presStyleIdx="2" presStyleCnt="3"/>
      <dgm:spPr/>
    </dgm:pt>
    <dgm:pt modelId="{52AEEB6C-3705-4908-9950-3B7E9C99C4A7}" type="pres">
      <dgm:prSet presAssocID="{711A6AEE-CAC4-4DDF-A96A-1BB01916719F}" presName="rootConnector" presStyleLbl="node1" presStyleIdx="2" presStyleCnt="3"/>
      <dgm:spPr/>
    </dgm:pt>
    <dgm:pt modelId="{D34A0324-920C-4896-B015-31624F787262}" type="pres">
      <dgm:prSet presAssocID="{711A6AEE-CAC4-4DDF-A96A-1BB01916719F}" presName="childShape" presStyleCnt="0"/>
      <dgm:spPr/>
    </dgm:pt>
    <dgm:pt modelId="{1039483A-2431-4EC7-9572-D9261C5B0258}" type="pres">
      <dgm:prSet presAssocID="{0DDE3D10-5857-43A7-B0B9-C4E075C3D64F}" presName="Name13" presStyleLbl="parChTrans1D2" presStyleIdx="6" presStyleCnt="9"/>
      <dgm:spPr/>
    </dgm:pt>
    <dgm:pt modelId="{BFCC0870-7052-47D3-8579-4CC3218438AA}" type="pres">
      <dgm:prSet presAssocID="{7950D0E0-0F3F-48FF-9404-270FCBE3A34C}" presName="childText" presStyleLbl="bgAcc1" presStyleIdx="6" presStyleCnt="9">
        <dgm:presLayoutVars>
          <dgm:bulletEnabled val="1"/>
        </dgm:presLayoutVars>
      </dgm:prSet>
      <dgm:spPr/>
    </dgm:pt>
    <dgm:pt modelId="{0DE09620-207E-4258-BB6D-5C74E6B6587D}" type="pres">
      <dgm:prSet presAssocID="{4EF1BE70-20B6-4973-8B8A-491C28A23106}" presName="Name13" presStyleLbl="parChTrans1D2" presStyleIdx="7" presStyleCnt="9"/>
      <dgm:spPr/>
    </dgm:pt>
    <dgm:pt modelId="{E3D75512-173D-446A-9224-18C290772749}" type="pres">
      <dgm:prSet presAssocID="{D722CDB3-32A4-4AEC-95C9-18153B86C40C}" presName="childText" presStyleLbl="bgAcc1" presStyleIdx="7" presStyleCnt="9">
        <dgm:presLayoutVars>
          <dgm:bulletEnabled val="1"/>
        </dgm:presLayoutVars>
      </dgm:prSet>
      <dgm:spPr/>
    </dgm:pt>
    <dgm:pt modelId="{03E078D2-C267-4144-A4DB-F925B49741EA}" type="pres">
      <dgm:prSet presAssocID="{F5422D5A-8F77-43DE-B3C2-5A25851D9488}" presName="Name13" presStyleLbl="parChTrans1D2" presStyleIdx="8" presStyleCnt="9"/>
      <dgm:spPr/>
    </dgm:pt>
    <dgm:pt modelId="{21072D59-03F9-4502-BB00-2A13EAC7CDCA}" type="pres">
      <dgm:prSet presAssocID="{940E4AA7-74AB-45C5-B086-3FB52FBCFE16}" presName="childText" presStyleLbl="bgAcc1" presStyleIdx="8" presStyleCnt="9">
        <dgm:presLayoutVars>
          <dgm:bulletEnabled val="1"/>
        </dgm:presLayoutVars>
      </dgm:prSet>
      <dgm:spPr/>
    </dgm:pt>
  </dgm:ptLst>
  <dgm:cxnLst>
    <dgm:cxn modelId="{DE2C3304-2B66-4B04-8848-7D00B3900F6E}" type="presOf" srcId="{5710641C-7F3F-494D-B930-08845F7B6D09}" destId="{1B388535-E09A-4809-8D94-D62B0C1A500E}" srcOrd="0" destOrd="0" presId="urn:microsoft.com/office/officeart/2005/8/layout/hierarchy3"/>
    <dgm:cxn modelId="{CBA6290C-E25D-4463-A1EE-F75859C45127}" type="presOf" srcId="{1F117E15-A5F1-4B2C-A6D6-3B4ACFB2F51C}" destId="{DA26AFC3-342C-4E28-B92E-F65342CB017D}" srcOrd="0" destOrd="0" presId="urn:microsoft.com/office/officeart/2005/8/layout/hierarchy3"/>
    <dgm:cxn modelId="{1C471816-8585-4A2E-B93C-46107A13E39D}" type="presOf" srcId="{940E4AA7-74AB-45C5-B086-3FB52FBCFE16}" destId="{21072D59-03F9-4502-BB00-2A13EAC7CDCA}" srcOrd="0" destOrd="0" presId="urn:microsoft.com/office/officeart/2005/8/layout/hierarchy3"/>
    <dgm:cxn modelId="{FCD06824-8EB9-414A-B04B-68A47F4196FF}" srcId="{5FE7B847-91C7-43AD-B212-883ED2C5FCF9}" destId="{5AEC650C-2689-4012-9024-144AA27C99BB}" srcOrd="2" destOrd="0" parTransId="{EB581A00-0A58-4B99-B713-677D75B28A84}" sibTransId="{DAF95190-36D4-457D-A5E3-265AC4214EE4}"/>
    <dgm:cxn modelId="{319F0128-A9E3-4F0B-891A-01B9AE449397}" type="presOf" srcId="{3DAD3983-E4D3-4D2A-8908-56F92B29D124}" destId="{DFFCFF26-AD99-42B6-A72B-743ACA7DD74B}" srcOrd="1" destOrd="0" presId="urn:microsoft.com/office/officeart/2005/8/layout/hierarchy3"/>
    <dgm:cxn modelId="{D779AA29-848D-448B-ABAA-79723B56FC19}" srcId="{711A6AEE-CAC4-4DDF-A96A-1BB01916719F}" destId="{D722CDB3-32A4-4AEC-95C9-18153B86C40C}" srcOrd="1" destOrd="0" parTransId="{4EF1BE70-20B6-4973-8B8A-491C28A23106}" sibTransId="{2047FE27-3786-442A-A096-AD14D71CBCBE}"/>
    <dgm:cxn modelId="{AB10B52D-1A0E-4FA1-A40A-321778740A0D}" srcId="{711A6AEE-CAC4-4DDF-A96A-1BB01916719F}" destId="{7950D0E0-0F3F-48FF-9404-270FCBE3A34C}" srcOrd="0" destOrd="0" parTransId="{0DDE3D10-5857-43A7-B0B9-C4E075C3D64F}" sibTransId="{811C618D-D323-49FB-8408-7F6B5862EA2C}"/>
    <dgm:cxn modelId="{D8721538-72AE-4225-A2FC-E66CDE58ED4E}" type="presOf" srcId="{5FE7B847-91C7-43AD-B212-883ED2C5FCF9}" destId="{2C1788AB-B3CB-47B4-AD01-4BE1EEC06DB1}" srcOrd="0" destOrd="0" presId="urn:microsoft.com/office/officeart/2005/8/layout/hierarchy3"/>
    <dgm:cxn modelId="{6835883F-EA2C-4E15-9552-667B9DB5E070}" type="presOf" srcId="{F45EB8DE-4517-4F0A-A300-AE8A38D31003}" destId="{025DA7A9-14F3-4194-8615-727A670418C4}" srcOrd="0" destOrd="0" presId="urn:microsoft.com/office/officeart/2005/8/layout/hierarchy3"/>
    <dgm:cxn modelId="{602EA95D-FECB-402F-AA71-C829F9EA21CF}" type="presOf" srcId="{30608B58-314A-4336-8411-F3ED2599822C}" destId="{0A4BB71C-6694-4807-BB9B-9D7B9EB1DE37}" srcOrd="0" destOrd="0" presId="urn:microsoft.com/office/officeart/2005/8/layout/hierarchy3"/>
    <dgm:cxn modelId="{0718E95D-BCFB-41D7-9827-2A59D28EE7D3}" type="presOf" srcId="{7950D0E0-0F3F-48FF-9404-270FCBE3A34C}" destId="{BFCC0870-7052-47D3-8579-4CC3218438AA}" srcOrd="0" destOrd="0" presId="urn:microsoft.com/office/officeart/2005/8/layout/hierarchy3"/>
    <dgm:cxn modelId="{6C659245-7CE9-4754-BBE3-8AD01BD88209}" type="presOf" srcId="{4EF1BE70-20B6-4973-8B8A-491C28A23106}" destId="{0DE09620-207E-4258-BB6D-5C74E6B6587D}" srcOrd="0" destOrd="0" presId="urn:microsoft.com/office/officeart/2005/8/layout/hierarchy3"/>
    <dgm:cxn modelId="{FAE30E6D-2667-4F44-91F1-AC04C970540D}" type="presOf" srcId="{EB581A00-0A58-4B99-B713-677D75B28A84}" destId="{0F7D15A0-BA0C-4F7A-8E16-CFD7AE14D761}" srcOrd="0" destOrd="0" presId="urn:microsoft.com/office/officeart/2005/8/layout/hierarchy3"/>
    <dgm:cxn modelId="{9278F252-509A-4B27-AEDB-E70D4E0C7CFB}" type="presOf" srcId="{711A6AEE-CAC4-4DDF-A96A-1BB01916719F}" destId="{52AEEB6C-3705-4908-9950-3B7E9C99C4A7}" srcOrd="1" destOrd="0" presId="urn:microsoft.com/office/officeart/2005/8/layout/hierarchy3"/>
    <dgm:cxn modelId="{3C70F259-5A49-4784-835F-1683E6F02221}" srcId="{711A6AEE-CAC4-4DDF-A96A-1BB01916719F}" destId="{940E4AA7-74AB-45C5-B086-3FB52FBCFE16}" srcOrd="2" destOrd="0" parTransId="{F5422D5A-8F77-43DE-B3C2-5A25851D9488}" sibTransId="{F313C869-F6B4-49BD-BBA6-83E5EDB49268}"/>
    <dgm:cxn modelId="{1683EB89-BDB7-4F8B-A316-260740D417EB}" type="presOf" srcId="{5AEC650C-2689-4012-9024-144AA27C99BB}" destId="{F54D6BCE-B989-464A-B2E1-CAAE6AE4D6B0}" srcOrd="0" destOrd="0" presId="urn:microsoft.com/office/officeart/2005/8/layout/hierarchy3"/>
    <dgm:cxn modelId="{DFD3F792-C560-4328-90D1-2FAA4517F3BC}" srcId="{5FE7B847-91C7-43AD-B212-883ED2C5FCF9}" destId="{3EB6E66B-F475-42DB-BB41-0A33C30919BE}" srcOrd="1" destOrd="0" parTransId="{F45EB8DE-4517-4F0A-A300-AE8A38D31003}" sibTransId="{DB7920F0-94CC-4861-9D7E-366C48724CCE}"/>
    <dgm:cxn modelId="{F15A0993-89F4-437A-875B-1D2BE5C2A6C8}" type="presOf" srcId="{A18C4AF1-3FFB-419F-B710-61CE759D6E4E}" destId="{CD482211-B6D5-43FE-ABEE-4664D5B3FBAC}" srcOrd="0" destOrd="0" presId="urn:microsoft.com/office/officeart/2005/8/layout/hierarchy3"/>
    <dgm:cxn modelId="{3E794A94-B2B8-48ED-9E74-8F955D3D1AF4}" srcId="{DF8573D5-C6B2-4F8A-A32F-0F3CE86E8F1B}" destId="{5FE7B847-91C7-43AD-B212-883ED2C5FCF9}" srcOrd="0" destOrd="0" parTransId="{4436B7E3-F318-4918-BDC1-8F2BC6E683D1}" sibTransId="{54556CB8-E3AD-47FA-AC6C-788C5151F7EB}"/>
    <dgm:cxn modelId="{E168A6A4-E7D4-43CC-8EA1-F42019E4FF46}" type="presOf" srcId="{51CDDCAC-F403-4919-978B-7550D3F79F53}" destId="{780F9F98-CBFF-42F6-B21E-8E490ED86E7F}" srcOrd="0" destOrd="0" presId="urn:microsoft.com/office/officeart/2005/8/layout/hierarchy3"/>
    <dgm:cxn modelId="{853019A5-D687-4A19-8051-E72DA1DAEEB9}" srcId="{DF8573D5-C6B2-4F8A-A32F-0F3CE86E8F1B}" destId="{3DAD3983-E4D3-4D2A-8908-56F92B29D124}" srcOrd="1" destOrd="0" parTransId="{80622DBA-2249-4B8B-BA26-93233873ADB4}" sibTransId="{FA301B3E-8496-4B80-9D2C-74DE35A167D1}"/>
    <dgm:cxn modelId="{3EA5C4A9-41F8-4B9F-B8D0-A777DED92CAA}" type="presOf" srcId="{A4A140CE-7F57-4AF3-8180-9A73E984E8EC}" destId="{17FFCF69-7E81-48AE-BF54-0BBC1DACF6CC}" srcOrd="0" destOrd="0" presId="urn:microsoft.com/office/officeart/2005/8/layout/hierarchy3"/>
    <dgm:cxn modelId="{B7233AB5-E61E-434D-AC3F-29B9F84B6D1D}" srcId="{DF8573D5-C6B2-4F8A-A32F-0F3CE86E8F1B}" destId="{711A6AEE-CAC4-4DDF-A96A-1BB01916719F}" srcOrd="2" destOrd="0" parTransId="{6FB70FD6-E707-4205-B0A2-025B51677442}" sibTransId="{342762AB-F185-4909-A2A5-4DFA57220E71}"/>
    <dgm:cxn modelId="{BDD6B2B7-B053-4148-A0A4-4B57941C7BD3}" srcId="{3DAD3983-E4D3-4D2A-8908-56F92B29D124}" destId="{4B494B15-2E01-457A-A792-6E27F557A1F0}" srcOrd="0" destOrd="0" parTransId="{51CDDCAC-F403-4919-978B-7550D3F79F53}" sibTransId="{B7C449DF-0238-4CE5-9209-395F5237E34C}"/>
    <dgm:cxn modelId="{21F4C0C1-C76A-45CF-BC7C-1B8E7A6646C0}" srcId="{3DAD3983-E4D3-4D2A-8908-56F92B29D124}" destId="{A4A140CE-7F57-4AF3-8180-9A73E984E8EC}" srcOrd="2" destOrd="0" parTransId="{606E6FC1-28B3-4230-A92C-34E7E2856763}" sibTransId="{0E254708-0C1D-4DA0-BA70-78320FA5A3C2}"/>
    <dgm:cxn modelId="{6EBF3FCE-1CA1-4995-92D4-7BB311E0F682}" type="presOf" srcId="{3DAD3983-E4D3-4D2A-8908-56F92B29D124}" destId="{288CE51C-AB1A-4BFA-9130-9B0DD1626D88}" srcOrd="0" destOrd="0" presId="urn:microsoft.com/office/officeart/2005/8/layout/hierarchy3"/>
    <dgm:cxn modelId="{026172CF-E381-4EF6-8D8C-8A7DFF1CD4C6}" type="presOf" srcId="{5FE7B847-91C7-43AD-B212-883ED2C5FCF9}" destId="{33A7F60F-08AE-4405-84AD-DEDB636D2851}" srcOrd="1" destOrd="0" presId="urn:microsoft.com/office/officeart/2005/8/layout/hierarchy3"/>
    <dgm:cxn modelId="{E52269D2-1CAD-4A56-A93C-2A9F2831A4ED}" type="presOf" srcId="{D722CDB3-32A4-4AEC-95C9-18153B86C40C}" destId="{E3D75512-173D-446A-9224-18C290772749}" srcOrd="0" destOrd="0" presId="urn:microsoft.com/office/officeart/2005/8/layout/hierarchy3"/>
    <dgm:cxn modelId="{80509AD4-58D3-43C4-9770-5E697DA439BE}" type="presOf" srcId="{606E6FC1-28B3-4230-A92C-34E7E2856763}" destId="{5550740B-BC52-4252-8446-0A1FCA709C91}" srcOrd="0" destOrd="0" presId="urn:microsoft.com/office/officeart/2005/8/layout/hierarchy3"/>
    <dgm:cxn modelId="{1E99F6DD-0A40-4FA0-997C-84C895D8F4D0}" srcId="{5FE7B847-91C7-43AD-B212-883ED2C5FCF9}" destId="{1F117E15-A5F1-4B2C-A6D6-3B4ACFB2F51C}" srcOrd="0" destOrd="0" parTransId="{A18C4AF1-3FFB-419F-B710-61CE759D6E4E}" sibTransId="{6632D7E7-09E9-4997-B192-0EB8E77EE9B3}"/>
    <dgm:cxn modelId="{D8A9AFE8-0075-4B70-93F6-8E95FA329515}" type="presOf" srcId="{3EB6E66B-F475-42DB-BB41-0A33C30919BE}" destId="{B1B26888-48E6-4E75-BED8-0C19BEC329A6}" srcOrd="0" destOrd="0" presId="urn:microsoft.com/office/officeart/2005/8/layout/hierarchy3"/>
    <dgm:cxn modelId="{744178E9-DF40-4CF5-B4A6-26F9C08F8A20}" type="presOf" srcId="{4B494B15-2E01-457A-A792-6E27F557A1F0}" destId="{202F257D-07C2-4C02-9FBB-DFC8F5F95E15}" srcOrd="0" destOrd="0" presId="urn:microsoft.com/office/officeart/2005/8/layout/hierarchy3"/>
    <dgm:cxn modelId="{2F906DEE-F4F3-4615-B545-EC4FCE15CA5D}" type="presOf" srcId="{711A6AEE-CAC4-4DDF-A96A-1BB01916719F}" destId="{5EB1177D-6D01-4885-BAE3-85234B18A075}" srcOrd="0" destOrd="0" presId="urn:microsoft.com/office/officeart/2005/8/layout/hierarchy3"/>
    <dgm:cxn modelId="{708698EF-9CB0-43C3-B44E-C1166B788DD7}" srcId="{3DAD3983-E4D3-4D2A-8908-56F92B29D124}" destId="{30608B58-314A-4336-8411-F3ED2599822C}" srcOrd="1" destOrd="0" parTransId="{5710641C-7F3F-494D-B930-08845F7B6D09}" sibTransId="{5F990060-F781-4FB0-A6A4-37977917C08F}"/>
    <dgm:cxn modelId="{9E6524F5-4CDD-4F2A-A9AA-A15FC0DBA4F2}" type="presOf" srcId="{F5422D5A-8F77-43DE-B3C2-5A25851D9488}" destId="{03E078D2-C267-4144-A4DB-F925B49741EA}" srcOrd="0" destOrd="0" presId="urn:microsoft.com/office/officeart/2005/8/layout/hierarchy3"/>
    <dgm:cxn modelId="{279225F7-7B3A-46E8-9818-A0EE18DA81A8}" type="presOf" srcId="{0DDE3D10-5857-43A7-B0B9-C4E075C3D64F}" destId="{1039483A-2431-4EC7-9572-D9261C5B0258}" srcOrd="0" destOrd="0" presId="urn:microsoft.com/office/officeart/2005/8/layout/hierarchy3"/>
    <dgm:cxn modelId="{08037DFB-E5F6-4732-98AD-398E6DEED72B}" type="presOf" srcId="{DF8573D5-C6B2-4F8A-A32F-0F3CE86E8F1B}" destId="{1DC85D11-614B-40BC-AE6D-875702420051}" srcOrd="0" destOrd="0" presId="urn:microsoft.com/office/officeart/2005/8/layout/hierarchy3"/>
    <dgm:cxn modelId="{9B11E32C-F5C7-4121-9D5D-9FAF8995C434}" type="presParOf" srcId="{1DC85D11-614B-40BC-AE6D-875702420051}" destId="{3C7722D2-DFD8-4ED0-805B-C49F83B98D71}" srcOrd="0" destOrd="0" presId="urn:microsoft.com/office/officeart/2005/8/layout/hierarchy3"/>
    <dgm:cxn modelId="{08A12F33-571A-46F8-B677-1A5B83596232}" type="presParOf" srcId="{3C7722D2-DFD8-4ED0-805B-C49F83B98D71}" destId="{654D1B6E-B36C-4E6C-8A59-13E30E500630}" srcOrd="0" destOrd="0" presId="urn:microsoft.com/office/officeart/2005/8/layout/hierarchy3"/>
    <dgm:cxn modelId="{57664833-BD9D-466A-A7FC-FE7976CC1836}" type="presParOf" srcId="{654D1B6E-B36C-4E6C-8A59-13E30E500630}" destId="{2C1788AB-B3CB-47B4-AD01-4BE1EEC06DB1}" srcOrd="0" destOrd="0" presId="urn:microsoft.com/office/officeart/2005/8/layout/hierarchy3"/>
    <dgm:cxn modelId="{5FEF86DF-7ACA-46CE-8DFC-180190076D46}" type="presParOf" srcId="{654D1B6E-B36C-4E6C-8A59-13E30E500630}" destId="{33A7F60F-08AE-4405-84AD-DEDB636D2851}" srcOrd="1" destOrd="0" presId="urn:microsoft.com/office/officeart/2005/8/layout/hierarchy3"/>
    <dgm:cxn modelId="{CCA7DCC9-1A10-4BF5-A0F7-22DFE9A1F5B0}" type="presParOf" srcId="{3C7722D2-DFD8-4ED0-805B-C49F83B98D71}" destId="{143FDE89-B686-4E38-8A2C-E56FA34A4271}" srcOrd="1" destOrd="0" presId="urn:microsoft.com/office/officeart/2005/8/layout/hierarchy3"/>
    <dgm:cxn modelId="{B7CC6947-ADB5-44B7-8EA4-C0B43D6533FC}" type="presParOf" srcId="{143FDE89-B686-4E38-8A2C-E56FA34A4271}" destId="{CD482211-B6D5-43FE-ABEE-4664D5B3FBAC}" srcOrd="0" destOrd="0" presId="urn:microsoft.com/office/officeart/2005/8/layout/hierarchy3"/>
    <dgm:cxn modelId="{70AD8630-793D-41BF-9A8E-52D5FCCC743D}" type="presParOf" srcId="{143FDE89-B686-4E38-8A2C-E56FA34A4271}" destId="{DA26AFC3-342C-4E28-B92E-F65342CB017D}" srcOrd="1" destOrd="0" presId="urn:microsoft.com/office/officeart/2005/8/layout/hierarchy3"/>
    <dgm:cxn modelId="{03F2C8D1-3D9D-4E40-B837-9429A7206BCF}" type="presParOf" srcId="{143FDE89-B686-4E38-8A2C-E56FA34A4271}" destId="{025DA7A9-14F3-4194-8615-727A670418C4}" srcOrd="2" destOrd="0" presId="urn:microsoft.com/office/officeart/2005/8/layout/hierarchy3"/>
    <dgm:cxn modelId="{4FF4832A-84DD-45B3-8D8C-9F4FF27D79D9}" type="presParOf" srcId="{143FDE89-B686-4E38-8A2C-E56FA34A4271}" destId="{B1B26888-48E6-4E75-BED8-0C19BEC329A6}" srcOrd="3" destOrd="0" presId="urn:microsoft.com/office/officeart/2005/8/layout/hierarchy3"/>
    <dgm:cxn modelId="{4A3B96FD-EAD6-4C5A-B7A4-614E1E0D1689}" type="presParOf" srcId="{143FDE89-B686-4E38-8A2C-E56FA34A4271}" destId="{0F7D15A0-BA0C-4F7A-8E16-CFD7AE14D761}" srcOrd="4" destOrd="0" presId="urn:microsoft.com/office/officeart/2005/8/layout/hierarchy3"/>
    <dgm:cxn modelId="{CEFE8D87-AFE3-44FB-9315-5F3A62642702}" type="presParOf" srcId="{143FDE89-B686-4E38-8A2C-E56FA34A4271}" destId="{F54D6BCE-B989-464A-B2E1-CAAE6AE4D6B0}" srcOrd="5" destOrd="0" presId="urn:microsoft.com/office/officeart/2005/8/layout/hierarchy3"/>
    <dgm:cxn modelId="{679FF09C-7ECC-4D6B-8C21-9E4691365835}" type="presParOf" srcId="{1DC85D11-614B-40BC-AE6D-875702420051}" destId="{B63C590B-3F38-4049-911C-2706930DCD1A}" srcOrd="1" destOrd="0" presId="urn:microsoft.com/office/officeart/2005/8/layout/hierarchy3"/>
    <dgm:cxn modelId="{842F598A-7C00-4007-A026-BC9C20C70737}" type="presParOf" srcId="{B63C590B-3F38-4049-911C-2706930DCD1A}" destId="{7AD2DF28-73FD-4BE8-9208-6D0E296D922F}" srcOrd="0" destOrd="0" presId="urn:microsoft.com/office/officeart/2005/8/layout/hierarchy3"/>
    <dgm:cxn modelId="{5DE5ABD8-9EEC-4DA2-9D46-262966F022E4}" type="presParOf" srcId="{7AD2DF28-73FD-4BE8-9208-6D0E296D922F}" destId="{288CE51C-AB1A-4BFA-9130-9B0DD1626D88}" srcOrd="0" destOrd="0" presId="urn:microsoft.com/office/officeart/2005/8/layout/hierarchy3"/>
    <dgm:cxn modelId="{F79ECACA-7F91-4FF1-A706-3DD5DBDD6840}" type="presParOf" srcId="{7AD2DF28-73FD-4BE8-9208-6D0E296D922F}" destId="{DFFCFF26-AD99-42B6-A72B-743ACA7DD74B}" srcOrd="1" destOrd="0" presId="urn:microsoft.com/office/officeart/2005/8/layout/hierarchy3"/>
    <dgm:cxn modelId="{60E4FDB4-6ADB-4B3A-863D-818C536CA948}" type="presParOf" srcId="{B63C590B-3F38-4049-911C-2706930DCD1A}" destId="{1999E721-7F41-4C99-A729-BE03B8038BC2}" srcOrd="1" destOrd="0" presId="urn:microsoft.com/office/officeart/2005/8/layout/hierarchy3"/>
    <dgm:cxn modelId="{D38BA249-B142-481E-9E41-235A802816AF}" type="presParOf" srcId="{1999E721-7F41-4C99-A729-BE03B8038BC2}" destId="{780F9F98-CBFF-42F6-B21E-8E490ED86E7F}" srcOrd="0" destOrd="0" presId="urn:microsoft.com/office/officeart/2005/8/layout/hierarchy3"/>
    <dgm:cxn modelId="{BB3B1BB0-EB58-4A79-A2EB-9057E4DDB0B4}" type="presParOf" srcId="{1999E721-7F41-4C99-A729-BE03B8038BC2}" destId="{202F257D-07C2-4C02-9FBB-DFC8F5F95E15}" srcOrd="1" destOrd="0" presId="urn:microsoft.com/office/officeart/2005/8/layout/hierarchy3"/>
    <dgm:cxn modelId="{4A26DCD4-C70D-4B7C-B72C-D248A0BB558A}" type="presParOf" srcId="{1999E721-7F41-4C99-A729-BE03B8038BC2}" destId="{1B388535-E09A-4809-8D94-D62B0C1A500E}" srcOrd="2" destOrd="0" presId="urn:microsoft.com/office/officeart/2005/8/layout/hierarchy3"/>
    <dgm:cxn modelId="{D2F0B4FA-C0BB-4F17-8AFF-C437C46BD316}" type="presParOf" srcId="{1999E721-7F41-4C99-A729-BE03B8038BC2}" destId="{0A4BB71C-6694-4807-BB9B-9D7B9EB1DE37}" srcOrd="3" destOrd="0" presId="urn:microsoft.com/office/officeart/2005/8/layout/hierarchy3"/>
    <dgm:cxn modelId="{53D99E95-8F34-4F49-9747-A03FB40A444F}" type="presParOf" srcId="{1999E721-7F41-4C99-A729-BE03B8038BC2}" destId="{5550740B-BC52-4252-8446-0A1FCA709C91}" srcOrd="4" destOrd="0" presId="urn:microsoft.com/office/officeart/2005/8/layout/hierarchy3"/>
    <dgm:cxn modelId="{5D193474-DFB9-46BA-83F7-0AD9EC7975FF}" type="presParOf" srcId="{1999E721-7F41-4C99-A729-BE03B8038BC2}" destId="{17FFCF69-7E81-48AE-BF54-0BBC1DACF6CC}" srcOrd="5" destOrd="0" presId="urn:microsoft.com/office/officeart/2005/8/layout/hierarchy3"/>
    <dgm:cxn modelId="{88FF99D2-F04A-43D3-AFDD-ED5F1B3AA756}" type="presParOf" srcId="{1DC85D11-614B-40BC-AE6D-875702420051}" destId="{9110DC4B-59C1-442C-981E-F47F6C5A656A}" srcOrd="2" destOrd="0" presId="urn:microsoft.com/office/officeart/2005/8/layout/hierarchy3"/>
    <dgm:cxn modelId="{0F2951BC-5799-4169-B3F3-CB9C1B4BAEA7}" type="presParOf" srcId="{9110DC4B-59C1-442C-981E-F47F6C5A656A}" destId="{907C1F0E-3FF1-48FB-A3F0-5275CE3B3CB8}" srcOrd="0" destOrd="0" presId="urn:microsoft.com/office/officeart/2005/8/layout/hierarchy3"/>
    <dgm:cxn modelId="{3D11CA9E-FFBC-469B-8E25-E7F8E82DC709}" type="presParOf" srcId="{907C1F0E-3FF1-48FB-A3F0-5275CE3B3CB8}" destId="{5EB1177D-6D01-4885-BAE3-85234B18A075}" srcOrd="0" destOrd="0" presId="urn:microsoft.com/office/officeart/2005/8/layout/hierarchy3"/>
    <dgm:cxn modelId="{994489D1-FDF8-444C-BB82-BDC0342FCB34}" type="presParOf" srcId="{907C1F0E-3FF1-48FB-A3F0-5275CE3B3CB8}" destId="{52AEEB6C-3705-4908-9950-3B7E9C99C4A7}" srcOrd="1" destOrd="0" presId="urn:microsoft.com/office/officeart/2005/8/layout/hierarchy3"/>
    <dgm:cxn modelId="{368FC8B1-94AF-4C98-B755-FDF80D1DBE20}" type="presParOf" srcId="{9110DC4B-59C1-442C-981E-F47F6C5A656A}" destId="{D34A0324-920C-4896-B015-31624F787262}" srcOrd="1" destOrd="0" presId="urn:microsoft.com/office/officeart/2005/8/layout/hierarchy3"/>
    <dgm:cxn modelId="{3FCCE5E4-CCA7-452E-BAA4-AF59B59821BD}" type="presParOf" srcId="{D34A0324-920C-4896-B015-31624F787262}" destId="{1039483A-2431-4EC7-9572-D9261C5B0258}" srcOrd="0" destOrd="0" presId="urn:microsoft.com/office/officeart/2005/8/layout/hierarchy3"/>
    <dgm:cxn modelId="{70667664-E15A-4D22-9588-81E748AB0A31}" type="presParOf" srcId="{D34A0324-920C-4896-B015-31624F787262}" destId="{BFCC0870-7052-47D3-8579-4CC3218438AA}" srcOrd="1" destOrd="0" presId="urn:microsoft.com/office/officeart/2005/8/layout/hierarchy3"/>
    <dgm:cxn modelId="{E63E7DFA-BB24-4AF6-A3BC-909662CFAEE3}" type="presParOf" srcId="{D34A0324-920C-4896-B015-31624F787262}" destId="{0DE09620-207E-4258-BB6D-5C74E6B6587D}" srcOrd="2" destOrd="0" presId="urn:microsoft.com/office/officeart/2005/8/layout/hierarchy3"/>
    <dgm:cxn modelId="{D55EA22A-E610-4D2D-BA7B-7E7428A3E10A}" type="presParOf" srcId="{D34A0324-920C-4896-B015-31624F787262}" destId="{E3D75512-173D-446A-9224-18C290772749}" srcOrd="3" destOrd="0" presId="urn:microsoft.com/office/officeart/2005/8/layout/hierarchy3"/>
    <dgm:cxn modelId="{DF507133-F49F-4A36-90C0-21562CE79CD9}" type="presParOf" srcId="{D34A0324-920C-4896-B015-31624F787262}" destId="{03E078D2-C267-4144-A4DB-F925B49741EA}" srcOrd="4" destOrd="0" presId="urn:microsoft.com/office/officeart/2005/8/layout/hierarchy3"/>
    <dgm:cxn modelId="{5EB118CB-6932-4876-BCCB-06B22868392E}" type="presParOf" srcId="{D34A0324-920C-4896-B015-31624F787262}" destId="{21072D59-03F9-4502-BB00-2A13EAC7CDCA}" srcOrd="5" destOrd="0" presId="urn:microsoft.com/office/officeart/2005/8/layout/hierarchy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A85A6F0-95A1-4EFF-BBCD-1EEF784C6481}" type="doc">
      <dgm:prSet loTypeId="urn:microsoft.com/office/officeart/2005/8/layout/funnel1" loCatId="process" qsTypeId="urn:microsoft.com/office/officeart/2005/8/quickstyle/simple1" qsCatId="simple" csTypeId="urn:microsoft.com/office/officeart/2005/8/colors/accent1_2" csCatId="accent1" phldr="1"/>
      <dgm:spPr/>
      <dgm:t>
        <a:bodyPr/>
        <a:lstStyle/>
        <a:p>
          <a:endParaRPr lang="en-US"/>
        </a:p>
      </dgm:t>
    </dgm:pt>
    <dgm:pt modelId="{10FA153B-664F-4ED8-AFF5-EA82CBC58DA8}">
      <dgm:prSet phldrT="[Text]" custT="1"/>
      <dgm:spPr/>
      <dgm:t>
        <a:bodyPr/>
        <a:lstStyle/>
        <a:p>
          <a:r>
            <a:rPr lang="en-US" sz="1000" dirty="0">
              <a:solidFill>
                <a:schemeClr val="bg1"/>
              </a:solidFill>
              <a:latin typeface="Sora" pitchFamily="2" charset="0"/>
              <a:cs typeface="Sora" pitchFamily="2" charset="0"/>
            </a:rPr>
            <a:t>Reality</a:t>
          </a:r>
        </a:p>
      </dgm:t>
    </dgm:pt>
    <dgm:pt modelId="{5CF12A2E-3043-4878-B3EB-5C5AF0F6221E}" type="parTrans" cxnId="{F5838FBA-A62C-46BC-B704-479DA6AD556C}">
      <dgm:prSet/>
      <dgm:spPr/>
      <dgm:t>
        <a:bodyPr/>
        <a:lstStyle/>
        <a:p>
          <a:endParaRPr lang="en-US"/>
        </a:p>
      </dgm:t>
    </dgm:pt>
    <dgm:pt modelId="{F3441AF2-FA23-4935-BBD3-B5F5AC9908D7}" type="sibTrans" cxnId="{F5838FBA-A62C-46BC-B704-479DA6AD556C}">
      <dgm:prSet/>
      <dgm:spPr/>
      <dgm:t>
        <a:bodyPr/>
        <a:lstStyle/>
        <a:p>
          <a:endParaRPr lang="en-US"/>
        </a:p>
      </dgm:t>
    </dgm:pt>
    <dgm:pt modelId="{73501AE6-6761-47FC-B972-03F3F4D675E7}">
      <dgm:prSet phldrT="[Text]" custT="1"/>
      <dgm:spPr/>
      <dgm:t>
        <a:bodyPr/>
        <a:lstStyle/>
        <a:p>
          <a:r>
            <a:rPr lang="en-US" sz="1000" dirty="0">
              <a:solidFill>
                <a:schemeClr val="bg1"/>
              </a:solidFill>
              <a:latin typeface="Sora" pitchFamily="2" charset="0"/>
              <a:cs typeface="Sora" pitchFamily="2" charset="0"/>
            </a:rPr>
            <a:t>Lifestyle</a:t>
          </a:r>
        </a:p>
      </dgm:t>
    </dgm:pt>
    <dgm:pt modelId="{6918A44E-6F60-488D-8CF2-A3DEE805A121}" type="parTrans" cxnId="{1AA6898E-7362-4BF9-B959-F4756B81A68A}">
      <dgm:prSet/>
      <dgm:spPr/>
      <dgm:t>
        <a:bodyPr/>
        <a:lstStyle/>
        <a:p>
          <a:endParaRPr lang="en-US"/>
        </a:p>
      </dgm:t>
    </dgm:pt>
    <dgm:pt modelId="{28FC09FD-8F9C-4BE2-9805-FB6DD0557FA0}" type="sibTrans" cxnId="{1AA6898E-7362-4BF9-B959-F4756B81A68A}">
      <dgm:prSet/>
      <dgm:spPr/>
      <dgm:t>
        <a:bodyPr/>
        <a:lstStyle/>
        <a:p>
          <a:endParaRPr lang="en-US"/>
        </a:p>
      </dgm:t>
    </dgm:pt>
    <dgm:pt modelId="{4AD5D8AD-F587-4183-8AC3-E039373E25CF}">
      <dgm:prSet phldrT="[Text]" custT="1"/>
      <dgm:spPr/>
      <dgm:t>
        <a:bodyPr/>
        <a:lstStyle/>
        <a:p>
          <a:r>
            <a:rPr lang="en-US" sz="1000" dirty="0">
              <a:solidFill>
                <a:schemeClr val="bg1"/>
              </a:solidFill>
              <a:latin typeface="Sora" pitchFamily="2" charset="0"/>
              <a:cs typeface="Sora" pitchFamily="2" charset="0"/>
            </a:rPr>
            <a:t>Possibility</a:t>
          </a:r>
        </a:p>
      </dgm:t>
    </dgm:pt>
    <dgm:pt modelId="{CC02704C-4E4F-4AE7-BC8A-115BAFE9BAFC}" type="parTrans" cxnId="{EA60FEF3-FA61-4077-ACA9-26A3DBEA7681}">
      <dgm:prSet/>
      <dgm:spPr/>
      <dgm:t>
        <a:bodyPr/>
        <a:lstStyle/>
        <a:p>
          <a:endParaRPr lang="en-US"/>
        </a:p>
      </dgm:t>
    </dgm:pt>
    <dgm:pt modelId="{F42DFB0F-6143-48D4-B10D-E5F339B0C8E3}" type="sibTrans" cxnId="{EA60FEF3-FA61-4077-ACA9-26A3DBEA7681}">
      <dgm:prSet/>
      <dgm:spPr/>
      <dgm:t>
        <a:bodyPr/>
        <a:lstStyle/>
        <a:p>
          <a:endParaRPr lang="en-US"/>
        </a:p>
      </dgm:t>
    </dgm:pt>
    <dgm:pt modelId="{52E42443-F4C2-4455-A970-9444A1436182}">
      <dgm:prSet phldrT="[Text]"/>
      <dgm:spPr/>
      <dgm:t>
        <a:bodyPr/>
        <a:lstStyle/>
        <a:p>
          <a:r>
            <a:rPr lang="en-US"/>
            <a:t>Second Life</a:t>
          </a:r>
        </a:p>
      </dgm:t>
    </dgm:pt>
    <dgm:pt modelId="{F2B8F136-81EE-4D34-9BDD-02E9BAE8D29D}" type="parTrans" cxnId="{39ADDD89-4BB4-4D44-A305-FDB55D24B521}">
      <dgm:prSet/>
      <dgm:spPr/>
      <dgm:t>
        <a:bodyPr/>
        <a:lstStyle/>
        <a:p>
          <a:endParaRPr lang="en-US"/>
        </a:p>
      </dgm:t>
    </dgm:pt>
    <dgm:pt modelId="{FAC26BFA-6B86-4AA8-9FB3-003AFA665432}" type="sibTrans" cxnId="{39ADDD89-4BB4-4D44-A305-FDB55D24B521}">
      <dgm:prSet/>
      <dgm:spPr/>
      <dgm:t>
        <a:bodyPr/>
        <a:lstStyle/>
        <a:p>
          <a:endParaRPr lang="en-US"/>
        </a:p>
      </dgm:t>
    </dgm:pt>
    <dgm:pt modelId="{DF6790CD-7CF2-4C23-A2FA-A047DD0CB881}" type="pres">
      <dgm:prSet presAssocID="{5A85A6F0-95A1-4EFF-BBCD-1EEF784C6481}" presName="Name0" presStyleCnt="0">
        <dgm:presLayoutVars>
          <dgm:chMax val="4"/>
          <dgm:resizeHandles val="exact"/>
        </dgm:presLayoutVars>
      </dgm:prSet>
      <dgm:spPr/>
    </dgm:pt>
    <dgm:pt modelId="{859E3E38-2EFF-4B97-B4D5-8E3EBDD5F602}" type="pres">
      <dgm:prSet presAssocID="{5A85A6F0-95A1-4EFF-BBCD-1EEF784C6481}" presName="ellipse" presStyleLbl="trBgShp" presStyleIdx="0" presStyleCnt="1"/>
      <dgm:spPr/>
    </dgm:pt>
    <dgm:pt modelId="{0A0997AB-454F-406B-BA0A-E6370BCCDE09}" type="pres">
      <dgm:prSet presAssocID="{5A85A6F0-95A1-4EFF-BBCD-1EEF784C6481}" presName="arrow1" presStyleLbl="fgShp" presStyleIdx="0" presStyleCnt="1"/>
      <dgm:spPr/>
    </dgm:pt>
    <dgm:pt modelId="{1DA2A1C0-D7A6-4B58-8A42-6E110926D3B4}" type="pres">
      <dgm:prSet presAssocID="{5A85A6F0-95A1-4EFF-BBCD-1EEF784C6481}" presName="rectangle" presStyleLbl="revTx" presStyleIdx="0" presStyleCnt="1">
        <dgm:presLayoutVars>
          <dgm:bulletEnabled val="1"/>
        </dgm:presLayoutVars>
      </dgm:prSet>
      <dgm:spPr/>
    </dgm:pt>
    <dgm:pt modelId="{1BE7EE0F-4120-441B-8383-FD119953D7F4}" type="pres">
      <dgm:prSet presAssocID="{73501AE6-6761-47FC-B972-03F3F4D675E7}" presName="item1" presStyleLbl="node1" presStyleIdx="0" presStyleCnt="3" custScaleX="115762" custScaleY="113986">
        <dgm:presLayoutVars>
          <dgm:bulletEnabled val="1"/>
        </dgm:presLayoutVars>
      </dgm:prSet>
      <dgm:spPr/>
    </dgm:pt>
    <dgm:pt modelId="{15398E6A-7028-4EF2-87EF-E3AF529E16CD}" type="pres">
      <dgm:prSet presAssocID="{4AD5D8AD-F587-4183-8AC3-E039373E25CF}" presName="item2" presStyleLbl="node1" presStyleIdx="1" presStyleCnt="3" custScaleX="117576" custScaleY="117576">
        <dgm:presLayoutVars>
          <dgm:bulletEnabled val="1"/>
        </dgm:presLayoutVars>
      </dgm:prSet>
      <dgm:spPr/>
    </dgm:pt>
    <dgm:pt modelId="{A048D81E-3A1B-4C89-AEDF-D57D94A73B9D}" type="pres">
      <dgm:prSet presAssocID="{52E42443-F4C2-4455-A970-9444A1436182}" presName="item3" presStyleLbl="node1" presStyleIdx="2" presStyleCnt="3" custScaleX="115171" custScaleY="115171">
        <dgm:presLayoutVars>
          <dgm:bulletEnabled val="1"/>
        </dgm:presLayoutVars>
      </dgm:prSet>
      <dgm:spPr/>
    </dgm:pt>
    <dgm:pt modelId="{4D80236F-9990-4D10-960D-8F17AA18C98C}" type="pres">
      <dgm:prSet presAssocID="{5A85A6F0-95A1-4EFF-BBCD-1EEF784C6481}" presName="funnel" presStyleLbl="trAlignAcc1" presStyleIdx="0" presStyleCnt="1"/>
      <dgm:spPr/>
    </dgm:pt>
  </dgm:ptLst>
  <dgm:cxnLst>
    <dgm:cxn modelId="{15AD3E48-58E1-44E7-8A61-78E9C265B98E}" type="presOf" srcId="{10FA153B-664F-4ED8-AFF5-EA82CBC58DA8}" destId="{A048D81E-3A1B-4C89-AEDF-D57D94A73B9D}" srcOrd="0" destOrd="0" presId="urn:microsoft.com/office/officeart/2005/8/layout/funnel1"/>
    <dgm:cxn modelId="{2CF2D07D-C25E-4060-A3A3-01B4726CB8C9}" type="presOf" srcId="{5A85A6F0-95A1-4EFF-BBCD-1EEF784C6481}" destId="{DF6790CD-7CF2-4C23-A2FA-A047DD0CB881}" srcOrd="0" destOrd="0" presId="urn:microsoft.com/office/officeart/2005/8/layout/funnel1"/>
    <dgm:cxn modelId="{39ADDD89-4BB4-4D44-A305-FDB55D24B521}" srcId="{5A85A6F0-95A1-4EFF-BBCD-1EEF784C6481}" destId="{52E42443-F4C2-4455-A970-9444A1436182}" srcOrd="3" destOrd="0" parTransId="{F2B8F136-81EE-4D34-9BDD-02E9BAE8D29D}" sibTransId="{FAC26BFA-6B86-4AA8-9FB3-003AFA665432}"/>
    <dgm:cxn modelId="{1AA6898E-7362-4BF9-B959-F4756B81A68A}" srcId="{5A85A6F0-95A1-4EFF-BBCD-1EEF784C6481}" destId="{73501AE6-6761-47FC-B972-03F3F4D675E7}" srcOrd="1" destOrd="0" parTransId="{6918A44E-6F60-488D-8CF2-A3DEE805A121}" sibTransId="{28FC09FD-8F9C-4BE2-9805-FB6DD0557FA0}"/>
    <dgm:cxn modelId="{FCBDA097-610A-492B-A070-AB922EBB4873}" type="presOf" srcId="{52E42443-F4C2-4455-A970-9444A1436182}" destId="{1DA2A1C0-D7A6-4B58-8A42-6E110926D3B4}" srcOrd="0" destOrd="0" presId="urn:microsoft.com/office/officeart/2005/8/layout/funnel1"/>
    <dgm:cxn modelId="{F5838FBA-A62C-46BC-B704-479DA6AD556C}" srcId="{5A85A6F0-95A1-4EFF-BBCD-1EEF784C6481}" destId="{10FA153B-664F-4ED8-AFF5-EA82CBC58DA8}" srcOrd="0" destOrd="0" parTransId="{5CF12A2E-3043-4878-B3EB-5C5AF0F6221E}" sibTransId="{F3441AF2-FA23-4935-BBD3-B5F5AC9908D7}"/>
    <dgm:cxn modelId="{53E366BF-4C5A-455B-B177-F8122C6DD1C7}" type="presOf" srcId="{73501AE6-6761-47FC-B972-03F3F4D675E7}" destId="{15398E6A-7028-4EF2-87EF-E3AF529E16CD}" srcOrd="0" destOrd="0" presId="urn:microsoft.com/office/officeart/2005/8/layout/funnel1"/>
    <dgm:cxn modelId="{BB0B58E5-15E6-4A18-BF96-EE7416E54F4A}" type="presOf" srcId="{4AD5D8AD-F587-4183-8AC3-E039373E25CF}" destId="{1BE7EE0F-4120-441B-8383-FD119953D7F4}" srcOrd="0" destOrd="0" presId="urn:microsoft.com/office/officeart/2005/8/layout/funnel1"/>
    <dgm:cxn modelId="{EA60FEF3-FA61-4077-ACA9-26A3DBEA7681}" srcId="{5A85A6F0-95A1-4EFF-BBCD-1EEF784C6481}" destId="{4AD5D8AD-F587-4183-8AC3-E039373E25CF}" srcOrd="2" destOrd="0" parTransId="{CC02704C-4E4F-4AE7-BC8A-115BAFE9BAFC}" sibTransId="{F42DFB0F-6143-48D4-B10D-E5F339B0C8E3}"/>
    <dgm:cxn modelId="{AF494E6F-A61A-4D62-95EE-92AFEEFC15BB}" type="presParOf" srcId="{DF6790CD-7CF2-4C23-A2FA-A047DD0CB881}" destId="{859E3E38-2EFF-4B97-B4D5-8E3EBDD5F602}" srcOrd="0" destOrd="0" presId="urn:microsoft.com/office/officeart/2005/8/layout/funnel1"/>
    <dgm:cxn modelId="{1EF7A33A-DED2-4400-9124-DD1B5226EDDD}" type="presParOf" srcId="{DF6790CD-7CF2-4C23-A2FA-A047DD0CB881}" destId="{0A0997AB-454F-406B-BA0A-E6370BCCDE09}" srcOrd="1" destOrd="0" presId="urn:microsoft.com/office/officeart/2005/8/layout/funnel1"/>
    <dgm:cxn modelId="{B62CB5B5-1451-4EDD-B9C7-29E375F79375}" type="presParOf" srcId="{DF6790CD-7CF2-4C23-A2FA-A047DD0CB881}" destId="{1DA2A1C0-D7A6-4B58-8A42-6E110926D3B4}" srcOrd="2" destOrd="0" presId="urn:microsoft.com/office/officeart/2005/8/layout/funnel1"/>
    <dgm:cxn modelId="{31A68F16-E7BA-4719-BEC5-0DB033CAC518}" type="presParOf" srcId="{DF6790CD-7CF2-4C23-A2FA-A047DD0CB881}" destId="{1BE7EE0F-4120-441B-8383-FD119953D7F4}" srcOrd="3" destOrd="0" presId="urn:microsoft.com/office/officeart/2005/8/layout/funnel1"/>
    <dgm:cxn modelId="{91DCD385-C8AE-4467-BF66-6E0C0EFEA606}" type="presParOf" srcId="{DF6790CD-7CF2-4C23-A2FA-A047DD0CB881}" destId="{15398E6A-7028-4EF2-87EF-E3AF529E16CD}" srcOrd="4" destOrd="0" presId="urn:microsoft.com/office/officeart/2005/8/layout/funnel1"/>
    <dgm:cxn modelId="{58C92B63-B81D-493C-8DD8-614A46F66F36}" type="presParOf" srcId="{DF6790CD-7CF2-4C23-A2FA-A047DD0CB881}" destId="{A048D81E-3A1B-4C89-AEDF-D57D94A73B9D}" srcOrd="5" destOrd="0" presId="urn:microsoft.com/office/officeart/2005/8/layout/funnel1"/>
    <dgm:cxn modelId="{83F7BC71-7EE6-4FCA-9B80-3611AFE5D2D2}" type="presParOf" srcId="{DF6790CD-7CF2-4C23-A2FA-A047DD0CB881}" destId="{4D80236F-9990-4D10-960D-8F17AA18C98C}" srcOrd="6" destOrd="0" presId="urn:microsoft.com/office/officeart/2005/8/layout/funnel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8247DB4-C9E2-4920-9043-2EC6D38C0F64}" type="doc">
      <dgm:prSet loTypeId="urn:microsoft.com/office/officeart/2005/8/layout/chevron1" loCatId="process" qsTypeId="urn:microsoft.com/office/officeart/2005/8/quickstyle/simple1" qsCatId="simple" csTypeId="urn:microsoft.com/office/officeart/2005/8/colors/accent6_5" csCatId="accent6" phldr="1"/>
      <dgm:spPr/>
    </dgm:pt>
    <dgm:pt modelId="{279BD65E-9942-4D38-A62A-4705E3117537}">
      <dgm:prSet phldrT="[Text]"/>
      <dgm:spPr/>
      <dgm:t>
        <a:bodyPr/>
        <a:lstStyle/>
        <a:p>
          <a:r>
            <a:rPr lang="en-US" dirty="0"/>
            <a:t>System Specification</a:t>
          </a:r>
        </a:p>
      </dgm:t>
    </dgm:pt>
    <dgm:pt modelId="{4B861211-83B3-44D9-AACA-2B3A430B3F04}" type="parTrans" cxnId="{DEDCD974-06F8-4A70-B079-48139326B28B}">
      <dgm:prSet/>
      <dgm:spPr/>
      <dgm:t>
        <a:bodyPr/>
        <a:lstStyle/>
        <a:p>
          <a:endParaRPr lang="en-US"/>
        </a:p>
      </dgm:t>
    </dgm:pt>
    <dgm:pt modelId="{DE6C5F03-57F0-4A7B-9056-EA2C24C6254E}" type="sibTrans" cxnId="{DEDCD974-06F8-4A70-B079-48139326B28B}">
      <dgm:prSet/>
      <dgm:spPr/>
      <dgm:t>
        <a:bodyPr/>
        <a:lstStyle/>
        <a:p>
          <a:endParaRPr lang="en-US"/>
        </a:p>
      </dgm:t>
    </dgm:pt>
    <dgm:pt modelId="{D4F4F598-41AC-409F-A0C7-0C442A8E8D96}">
      <dgm:prSet phldrT="[Text]"/>
      <dgm:spPr/>
      <dgm:t>
        <a:bodyPr/>
        <a:lstStyle/>
        <a:p>
          <a:r>
            <a:rPr lang="en-US"/>
            <a:t>Design and Implementation</a:t>
          </a:r>
          <a:endParaRPr lang="en-US" dirty="0"/>
        </a:p>
      </dgm:t>
    </dgm:pt>
    <dgm:pt modelId="{D5A1A7D1-9E32-4568-8B63-C2248F8BAD49}" type="parTrans" cxnId="{24D9143A-CA5F-4B44-8DF9-C7B67C5BDD1E}">
      <dgm:prSet/>
      <dgm:spPr/>
      <dgm:t>
        <a:bodyPr/>
        <a:lstStyle/>
        <a:p>
          <a:endParaRPr lang="en-US"/>
        </a:p>
      </dgm:t>
    </dgm:pt>
    <dgm:pt modelId="{9AD10E31-F995-494E-A173-3457243CA095}" type="sibTrans" cxnId="{24D9143A-CA5F-4B44-8DF9-C7B67C5BDD1E}">
      <dgm:prSet/>
      <dgm:spPr/>
      <dgm:t>
        <a:bodyPr/>
        <a:lstStyle/>
        <a:p>
          <a:endParaRPr lang="en-US"/>
        </a:p>
      </dgm:t>
    </dgm:pt>
    <dgm:pt modelId="{E309CF67-46EA-4DBE-A22F-C60946EF9BDC}">
      <dgm:prSet phldrT="[Text]"/>
      <dgm:spPr/>
      <dgm:t>
        <a:bodyPr/>
        <a:lstStyle/>
        <a:p>
          <a:r>
            <a:rPr lang="en-US" dirty="0"/>
            <a:t>New System</a:t>
          </a:r>
        </a:p>
      </dgm:t>
    </dgm:pt>
    <dgm:pt modelId="{F140CE30-0A50-40C0-B010-576E84AFBBC4}" type="parTrans" cxnId="{5BB3ADCC-B26F-4B1C-BFFC-7C0D39A7D978}">
      <dgm:prSet/>
      <dgm:spPr/>
      <dgm:t>
        <a:bodyPr/>
        <a:lstStyle/>
        <a:p>
          <a:endParaRPr lang="en-US"/>
        </a:p>
      </dgm:t>
    </dgm:pt>
    <dgm:pt modelId="{EEC54C50-8B5D-4B7A-9F64-C9DF2093B274}" type="sibTrans" cxnId="{5BB3ADCC-B26F-4B1C-BFFC-7C0D39A7D978}">
      <dgm:prSet/>
      <dgm:spPr/>
      <dgm:t>
        <a:bodyPr/>
        <a:lstStyle/>
        <a:p>
          <a:endParaRPr lang="en-US"/>
        </a:p>
      </dgm:t>
    </dgm:pt>
    <dgm:pt modelId="{6D22B105-C6E8-44C2-892B-A61E7C966769}" type="pres">
      <dgm:prSet presAssocID="{C8247DB4-C9E2-4920-9043-2EC6D38C0F64}" presName="Name0" presStyleCnt="0">
        <dgm:presLayoutVars>
          <dgm:dir/>
          <dgm:animLvl val="lvl"/>
          <dgm:resizeHandles val="exact"/>
        </dgm:presLayoutVars>
      </dgm:prSet>
      <dgm:spPr/>
    </dgm:pt>
    <dgm:pt modelId="{F55E8FC3-7EE7-46AA-87CF-AC804B2E4725}" type="pres">
      <dgm:prSet presAssocID="{279BD65E-9942-4D38-A62A-4705E3117537}" presName="parTxOnly" presStyleLbl="node1" presStyleIdx="0" presStyleCnt="3">
        <dgm:presLayoutVars>
          <dgm:chMax val="0"/>
          <dgm:chPref val="0"/>
          <dgm:bulletEnabled val="1"/>
        </dgm:presLayoutVars>
      </dgm:prSet>
      <dgm:spPr/>
    </dgm:pt>
    <dgm:pt modelId="{F87FBFD2-94D7-4C3D-A3D7-1317CE37FFA7}" type="pres">
      <dgm:prSet presAssocID="{DE6C5F03-57F0-4A7B-9056-EA2C24C6254E}" presName="parTxOnlySpace" presStyleCnt="0"/>
      <dgm:spPr/>
    </dgm:pt>
    <dgm:pt modelId="{8283C402-69A8-4406-9C37-0D9D8A91A3F8}" type="pres">
      <dgm:prSet presAssocID="{D4F4F598-41AC-409F-A0C7-0C442A8E8D96}" presName="parTxOnly" presStyleLbl="node1" presStyleIdx="1" presStyleCnt="3">
        <dgm:presLayoutVars>
          <dgm:chMax val="0"/>
          <dgm:chPref val="0"/>
          <dgm:bulletEnabled val="1"/>
        </dgm:presLayoutVars>
      </dgm:prSet>
      <dgm:spPr/>
    </dgm:pt>
    <dgm:pt modelId="{2A8E7787-6E16-4783-9E3F-FA1D04C56D80}" type="pres">
      <dgm:prSet presAssocID="{9AD10E31-F995-494E-A173-3457243CA095}" presName="parTxOnlySpace" presStyleCnt="0"/>
      <dgm:spPr/>
    </dgm:pt>
    <dgm:pt modelId="{62C33EC7-E7CC-44DB-BE2F-513851261BD1}" type="pres">
      <dgm:prSet presAssocID="{E309CF67-46EA-4DBE-A22F-C60946EF9BDC}" presName="parTxOnly" presStyleLbl="node1" presStyleIdx="2" presStyleCnt="3">
        <dgm:presLayoutVars>
          <dgm:chMax val="0"/>
          <dgm:chPref val="0"/>
          <dgm:bulletEnabled val="1"/>
        </dgm:presLayoutVars>
      </dgm:prSet>
      <dgm:spPr/>
    </dgm:pt>
  </dgm:ptLst>
  <dgm:cxnLst>
    <dgm:cxn modelId="{24D9143A-CA5F-4B44-8DF9-C7B67C5BDD1E}" srcId="{C8247DB4-C9E2-4920-9043-2EC6D38C0F64}" destId="{D4F4F598-41AC-409F-A0C7-0C442A8E8D96}" srcOrd="1" destOrd="0" parTransId="{D5A1A7D1-9E32-4568-8B63-C2248F8BAD49}" sibTransId="{9AD10E31-F995-494E-A173-3457243CA095}"/>
    <dgm:cxn modelId="{B3CDF672-7382-40C8-9C48-4BB6C12C5686}" type="presOf" srcId="{E309CF67-46EA-4DBE-A22F-C60946EF9BDC}" destId="{62C33EC7-E7CC-44DB-BE2F-513851261BD1}" srcOrd="0" destOrd="0" presId="urn:microsoft.com/office/officeart/2005/8/layout/chevron1"/>
    <dgm:cxn modelId="{DEDCD974-06F8-4A70-B079-48139326B28B}" srcId="{C8247DB4-C9E2-4920-9043-2EC6D38C0F64}" destId="{279BD65E-9942-4D38-A62A-4705E3117537}" srcOrd="0" destOrd="0" parTransId="{4B861211-83B3-44D9-AACA-2B3A430B3F04}" sibTransId="{DE6C5F03-57F0-4A7B-9056-EA2C24C6254E}"/>
    <dgm:cxn modelId="{1F5A125A-9B75-4B91-928B-4F844A14177D}" type="presOf" srcId="{D4F4F598-41AC-409F-A0C7-0C442A8E8D96}" destId="{8283C402-69A8-4406-9C37-0D9D8A91A3F8}" srcOrd="0" destOrd="0" presId="urn:microsoft.com/office/officeart/2005/8/layout/chevron1"/>
    <dgm:cxn modelId="{E1350598-22D5-4C03-BF45-3A44547B28DB}" type="presOf" srcId="{279BD65E-9942-4D38-A62A-4705E3117537}" destId="{F55E8FC3-7EE7-46AA-87CF-AC804B2E4725}" srcOrd="0" destOrd="0" presId="urn:microsoft.com/office/officeart/2005/8/layout/chevron1"/>
    <dgm:cxn modelId="{783510AE-A3C8-48A0-9470-9564AB5947F1}" type="presOf" srcId="{C8247DB4-C9E2-4920-9043-2EC6D38C0F64}" destId="{6D22B105-C6E8-44C2-892B-A61E7C966769}" srcOrd="0" destOrd="0" presId="urn:microsoft.com/office/officeart/2005/8/layout/chevron1"/>
    <dgm:cxn modelId="{5BB3ADCC-B26F-4B1C-BFFC-7C0D39A7D978}" srcId="{C8247DB4-C9E2-4920-9043-2EC6D38C0F64}" destId="{E309CF67-46EA-4DBE-A22F-C60946EF9BDC}" srcOrd="2" destOrd="0" parTransId="{F140CE30-0A50-40C0-B010-576E84AFBBC4}" sibTransId="{EEC54C50-8B5D-4B7A-9F64-C9DF2093B274}"/>
    <dgm:cxn modelId="{106C0126-D21E-453F-A553-400A9B1EC7CF}" type="presParOf" srcId="{6D22B105-C6E8-44C2-892B-A61E7C966769}" destId="{F55E8FC3-7EE7-46AA-87CF-AC804B2E4725}" srcOrd="0" destOrd="0" presId="urn:microsoft.com/office/officeart/2005/8/layout/chevron1"/>
    <dgm:cxn modelId="{13FA8F39-0CE4-49A2-B1E3-8DC9696AEDE9}" type="presParOf" srcId="{6D22B105-C6E8-44C2-892B-A61E7C966769}" destId="{F87FBFD2-94D7-4C3D-A3D7-1317CE37FFA7}" srcOrd="1" destOrd="0" presId="urn:microsoft.com/office/officeart/2005/8/layout/chevron1"/>
    <dgm:cxn modelId="{391963CA-E1CF-4984-A2E1-1FB55CFCFE39}" type="presParOf" srcId="{6D22B105-C6E8-44C2-892B-A61E7C966769}" destId="{8283C402-69A8-4406-9C37-0D9D8A91A3F8}" srcOrd="2" destOrd="0" presId="urn:microsoft.com/office/officeart/2005/8/layout/chevron1"/>
    <dgm:cxn modelId="{CF198430-3CAB-4690-A7E2-DCB36F2BE6B0}" type="presParOf" srcId="{6D22B105-C6E8-44C2-892B-A61E7C966769}" destId="{2A8E7787-6E16-4783-9E3F-FA1D04C56D80}" srcOrd="3" destOrd="0" presId="urn:microsoft.com/office/officeart/2005/8/layout/chevron1"/>
    <dgm:cxn modelId="{308C76EE-8AA8-499F-85E4-EDAA32C5E680}" type="presParOf" srcId="{6D22B105-C6E8-44C2-892B-A61E7C966769}" destId="{62C33EC7-E7CC-44DB-BE2F-513851261BD1}" srcOrd="4"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1733AB87-2478-45AC-AD9E-ED0D59986352}" type="doc">
      <dgm:prSet loTypeId="urn:microsoft.com/office/officeart/2005/8/layout/gear1" loCatId="process" qsTypeId="urn:microsoft.com/office/officeart/2005/8/quickstyle/simple1" qsCatId="simple" csTypeId="urn:microsoft.com/office/officeart/2005/8/colors/accent1_3" csCatId="accent1" phldr="1"/>
      <dgm:spPr/>
    </dgm:pt>
    <dgm:pt modelId="{4543F080-4429-4BE1-A750-3F354DFB575E}">
      <dgm:prSet phldrT="[Text]"/>
      <dgm:spPr/>
      <dgm:t>
        <a:bodyPr/>
        <a:lstStyle/>
        <a:p>
          <a:r>
            <a:rPr lang="en-US" dirty="0"/>
            <a:t> </a:t>
          </a:r>
        </a:p>
      </dgm:t>
    </dgm:pt>
    <dgm:pt modelId="{507717D1-09E2-404A-922A-00836BF7A986}" type="parTrans" cxnId="{E4CE4D24-03F9-486E-8AFF-A8AFB3568E63}">
      <dgm:prSet/>
      <dgm:spPr/>
      <dgm:t>
        <a:bodyPr/>
        <a:lstStyle/>
        <a:p>
          <a:endParaRPr lang="en-US"/>
        </a:p>
      </dgm:t>
    </dgm:pt>
    <dgm:pt modelId="{3B8DAB0A-CF54-4AB2-96F1-51570D2BFDBE}" type="sibTrans" cxnId="{E4CE4D24-03F9-486E-8AFF-A8AFB3568E63}">
      <dgm:prSet/>
      <dgm:spPr/>
      <dgm:t>
        <a:bodyPr/>
        <a:lstStyle/>
        <a:p>
          <a:endParaRPr lang="en-US"/>
        </a:p>
      </dgm:t>
    </dgm:pt>
    <dgm:pt modelId="{3B134EF7-B6E7-45EE-8963-C1F7C7D9CD6F}">
      <dgm:prSet phldrT="[Text]"/>
      <dgm:spPr/>
      <dgm:t>
        <a:bodyPr/>
        <a:lstStyle/>
        <a:p>
          <a:r>
            <a:rPr lang="en-US" dirty="0"/>
            <a:t>	</a:t>
          </a:r>
        </a:p>
      </dgm:t>
    </dgm:pt>
    <dgm:pt modelId="{BCDBC5C2-DC32-4AD3-9176-300131538C9F}" type="sibTrans" cxnId="{A3C6B45C-5E02-4EC8-BDAF-C9D2F95C6D4E}">
      <dgm:prSet/>
      <dgm:spPr/>
      <dgm:t>
        <a:bodyPr/>
        <a:lstStyle/>
        <a:p>
          <a:endParaRPr lang="en-US"/>
        </a:p>
      </dgm:t>
    </dgm:pt>
    <dgm:pt modelId="{BCB08CFA-BAAB-412F-B95F-9F28D93DE9DA}" type="parTrans" cxnId="{A3C6B45C-5E02-4EC8-BDAF-C9D2F95C6D4E}">
      <dgm:prSet/>
      <dgm:spPr/>
      <dgm:t>
        <a:bodyPr/>
        <a:lstStyle/>
        <a:p>
          <a:endParaRPr lang="en-US"/>
        </a:p>
      </dgm:t>
    </dgm:pt>
    <dgm:pt modelId="{6E6C6F99-751F-4DFF-9C02-B30966C298C6}">
      <dgm:prSet phldrT="[Text]"/>
      <dgm:spPr/>
      <dgm:t>
        <a:bodyPr/>
        <a:lstStyle/>
        <a:p>
          <a:r>
            <a:rPr lang="en-US" dirty="0"/>
            <a:t> </a:t>
          </a:r>
        </a:p>
      </dgm:t>
    </dgm:pt>
    <dgm:pt modelId="{5AE929D0-0D8B-4491-B84E-7F1B0CF9B6C6}" type="sibTrans" cxnId="{971614B5-38FA-4534-BA22-173C1657CA90}">
      <dgm:prSet/>
      <dgm:spPr/>
      <dgm:t>
        <a:bodyPr/>
        <a:lstStyle/>
        <a:p>
          <a:endParaRPr lang="en-US"/>
        </a:p>
      </dgm:t>
    </dgm:pt>
    <dgm:pt modelId="{EDD4EBF0-982A-48FF-9684-15849971A3B1}" type="parTrans" cxnId="{971614B5-38FA-4534-BA22-173C1657CA90}">
      <dgm:prSet/>
      <dgm:spPr/>
      <dgm:t>
        <a:bodyPr/>
        <a:lstStyle/>
        <a:p>
          <a:endParaRPr lang="en-US"/>
        </a:p>
      </dgm:t>
    </dgm:pt>
    <dgm:pt modelId="{77A259C1-B37E-444C-8288-62D64FCB1669}" type="pres">
      <dgm:prSet presAssocID="{1733AB87-2478-45AC-AD9E-ED0D59986352}" presName="composite" presStyleCnt="0">
        <dgm:presLayoutVars>
          <dgm:chMax val="3"/>
          <dgm:animLvl val="lvl"/>
          <dgm:resizeHandles val="exact"/>
        </dgm:presLayoutVars>
      </dgm:prSet>
      <dgm:spPr/>
    </dgm:pt>
    <dgm:pt modelId="{62921018-4D18-4381-BEE0-A8BA9C56CC62}" type="pres">
      <dgm:prSet presAssocID="{3B134EF7-B6E7-45EE-8963-C1F7C7D9CD6F}" presName="gear1" presStyleLbl="node1" presStyleIdx="0" presStyleCnt="3">
        <dgm:presLayoutVars>
          <dgm:chMax val="1"/>
          <dgm:bulletEnabled val="1"/>
        </dgm:presLayoutVars>
      </dgm:prSet>
      <dgm:spPr/>
    </dgm:pt>
    <dgm:pt modelId="{93002DC6-9040-4D96-9FFF-72D45A4275D1}" type="pres">
      <dgm:prSet presAssocID="{3B134EF7-B6E7-45EE-8963-C1F7C7D9CD6F}" presName="gear1srcNode" presStyleLbl="node1" presStyleIdx="0" presStyleCnt="3"/>
      <dgm:spPr/>
    </dgm:pt>
    <dgm:pt modelId="{1867B026-CB5B-4285-9348-443B41A8EC8F}" type="pres">
      <dgm:prSet presAssocID="{3B134EF7-B6E7-45EE-8963-C1F7C7D9CD6F}" presName="gear1dstNode" presStyleLbl="node1" presStyleIdx="0" presStyleCnt="3"/>
      <dgm:spPr/>
    </dgm:pt>
    <dgm:pt modelId="{800A1A52-CDE6-40AE-942B-79ABD9AC2A9A}" type="pres">
      <dgm:prSet presAssocID="{4543F080-4429-4BE1-A750-3F354DFB575E}" presName="gear2" presStyleLbl="node1" presStyleIdx="1" presStyleCnt="3">
        <dgm:presLayoutVars>
          <dgm:chMax val="1"/>
          <dgm:bulletEnabled val="1"/>
        </dgm:presLayoutVars>
      </dgm:prSet>
      <dgm:spPr/>
    </dgm:pt>
    <dgm:pt modelId="{B97F5EE0-5F35-40C8-A744-2E3B166FF99B}" type="pres">
      <dgm:prSet presAssocID="{4543F080-4429-4BE1-A750-3F354DFB575E}" presName="gear2srcNode" presStyleLbl="node1" presStyleIdx="1" presStyleCnt="3"/>
      <dgm:spPr/>
    </dgm:pt>
    <dgm:pt modelId="{2F438A5F-6A53-4903-8185-833DB8EE3F7A}" type="pres">
      <dgm:prSet presAssocID="{4543F080-4429-4BE1-A750-3F354DFB575E}" presName="gear2dstNode" presStyleLbl="node1" presStyleIdx="1" presStyleCnt="3"/>
      <dgm:spPr/>
    </dgm:pt>
    <dgm:pt modelId="{921CA3FA-5F2E-4031-A920-606E9769D84B}" type="pres">
      <dgm:prSet presAssocID="{6E6C6F99-751F-4DFF-9C02-B30966C298C6}" presName="gear3" presStyleLbl="node1" presStyleIdx="2" presStyleCnt="3"/>
      <dgm:spPr/>
    </dgm:pt>
    <dgm:pt modelId="{3EE07FBB-A62B-469D-BFC7-174D7F9097CE}" type="pres">
      <dgm:prSet presAssocID="{6E6C6F99-751F-4DFF-9C02-B30966C298C6}" presName="gear3tx" presStyleLbl="node1" presStyleIdx="2" presStyleCnt="3">
        <dgm:presLayoutVars>
          <dgm:chMax val="1"/>
          <dgm:bulletEnabled val="1"/>
        </dgm:presLayoutVars>
      </dgm:prSet>
      <dgm:spPr/>
    </dgm:pt>
    <dgm:pt modelId="{8BBEAE3B-8A75-49C3-8437-063DC61B18DA}" type="pres">
      <dgm:prSet presAssocID="{6E6C6F99-751F-4DFF-9C02-B30966C298C6}" presName="gear3srcNode" presStyleLbl="node1" presStyleIdx="2" presStyleCnt="3"/>
      <dgm:spPr/>
    </dgm:pt>
    <dgm:pt modelId="{E96C42EA-5867-49BF-B428-9B6A74EE6F83}" type="pres">
      <dgm:prSet presAssocID="{6E6C6F99-751F-4DFF-9C02-B30966C298C6}" presName="gear3dstNode" presStyleLbl="node1" presStyleIdx="2" presStyleCnt="3"/>
      <dgm:spPr/>
    </dgm:pt>
    <dgm:pt modelId="{D78334D0-6E97-46FD-BBF4-5DC7CE6C0DC0}" type="pres">
      <dgm:prSet presAssocID="{BCDBC5C2-DC32-4AD3-9176-300131538C9F}" presName="connector1" presStyleLbl="sibTrans2D1" presStyleIdx="0" presStyleCnt="3"/>
      <dgm:spPr/>
    </dgm:pt>
    <dgm:pt modelId="{8A495EBE-D02F-4458-A859-0551F6F6FDF8}" type="pres">
      <dgm:prSet presAssocID="{3B8DAB0A-CF54-4AB2-96F1-51570D2BFDBE}" presName="connector2" presStyleLbl="sibTrans2D1" presStyleIdx="1" presStyleCnt="3"/>
      <dgm:spPr/>
    </dgm:pt>
    <dgm:pt modelId="{F7A43DA7-39F0-428C-BE79-2D6B16D01512}" type="pres">
      <dgm:prSet presAssocID="{5AE929D0-0D8B-4491-B84E-7F1B0CF9B6C6}" presName="connector3" presStyleLbl="sibTrans2D1" presStyleIdx="2" presStyleCnt="3"/>
      <dgm:spPr/>
    </dgm:pt>
  </dgm:ptLst>
  <dgm:cxnLst>
    <dgm:cxn modelId="{739A940D-A765-49F1-8CDA-EDD69D182B01}" type="presOf" srcId="{6E6C6F99-751F-4DFF-9C02-B30966C298C6}" destId="{E96C42EA-5867-49BF-B428-9B6A74EE6F83}" srcOrd="3" destOrd="0" presId="urn:microsoft.com/office/officeart/2005/8/layout/gear1"/>
    <dgm:cxn modelId="{71A0910F-C00D-406F-BB3D-E5C1001E4EFC}" type="presOf" srcId="{3B134EF7-B6E7-45EE-8963-C1F7C7D9CD6F}" destId="{1867B026-CB5B-4285-9348-443B41A8EC8F}" srcOrd="2" destOrd="0" presId="urn:microsoft.com/office/officeart/2005/8/layout/gear1"/>
    <dgm:cxn modelId="{E4CE4D24-03F9-486E-8AFF-A8AFB3568E63}" srcId="{1733AB87-2478-45AC-AD9E-ED0D59986352}" destId="{4543F080-4429-4BE1-A750-3F354DFB575E}" srcOrd="1" destOrd="0" parTransId="{507717D1-09E2-404A-922A-00836BF7A986}" sibTransId="{3B8DAB0A-CF54-4AB2-96F1-51570D2BFDBE}"/>
    <dgm:cxn modelId="{969EC43B-37FE-428C-9B2B-202537B0C63B}" type="presOf" srcId="{6E6C6F99-751F-4DFF-9C02-B30966C298C6}" destId="{921CA3FA-5F2E-4031-A920-606E9769D84B}" srcOrd="0" destOrd="0" presId="urn:microsoft.com/office/officeart/2005/8/layout/gear1"/>
    <dgm:cxn modelId="{A3C6B45C-5E02-4EC8-BDAF-C9D2F95C6D4E}" srcId="{1733AB87-2478-45AC-AD9E-ED0D59986352}" destId="{3B134EF7-B6E7-45EE-8963-C1F7C7D9CD6F}" srcOrd="0" destOrd="0" parTransId="{BCB08CFA-BAAB-412F-B95F-9F28D93DE9DA}" sibTransId="{BCDBC5C2-DC32-4AD3-9176-300131538C9F}"/>
    <dgm:cxn modelId="{ED66BC51-C35E-4229-9C43-A8F1B4D24663}" type="presOf" srcId="{3B134EF7-B6E7-45EE-8963-C1F7C7D9CD6F}" destId="{93002DC6-9040-4D96-9FFF-72D45A4275D1}" srcOrd="1" destOrd="0" presId="urn:microsoft.com/office/officeart/2005/8/layout/gear1"/>
    <dgm:cxn modelId="{B358F756-A889-468D-859D-D3E0B0FC3972}" type="presOf" srcId="{4543F080-4429-4BE1-A750-3F354DFB575E}" destId="{800A1A52-CDE6-40AE-942B-79ABD9AC2A9A}" srcOrd="0" destOrd="0" presId="urn:microsoft.com/office/officeart/2005/8/layout/gear1"/>
    <dgm:cxn modelId="{AA624157-2431-48B6-9112-F54A218CEA8F}" type="presOf" srcId="{BCDBC5C2-DC32-4AD3-9176-300131538C9F}" destId="{D78334D0-6E97-46FD-BBF4-5DC7CE6C0DC0}" srcOrd="0" destOrd="0" presId="urn:microsoft.com/office/officeart/2005/8/layout/gear1"/>
    <dgm:cxn modelId="{C5E27D79-9B30-4184-957C-22AC3C32FB5B}" type="presOf" srcId="{6E6C6F99-751F-4DFF-9C02-B30966C298C6}" destId="{3EE07FBB-A62B-469D-BFC7-174D7F9097CE}" srcOrd="1" destOrd="0" presId="urn:microsoft.com/office/officeart/2005/8/layout/gear1"/>
    <dgm:cxn modelId="{A39460A3-F349-45CF-A661-361FE8FBA753}" type="presOf" srcId="{4543F080-4429-4BE1-A750-3F354DFB575E}" destId="{B97F5EE0-5F35-40C8-A744-2E3B166FF99B}" srcOrd="1" destOrd="0" presId="urn:microsoft.com/office/officeart/2005/8/layout/gear1"/>
    <dgm:cxn modelId="{86AFB9B3-C408-4E40-B370-DC004FF3F07C}" type="presOf" srcId="{5AE929D0-0D8B-4491-B84E-7F1B0CF9B6C6}" destId="{F7A43DA7-39F0-428C-BE79-2D6B16D01512}" srcOrd="0" destOrd="0" presId="urn:microsoft.com/office/officeart/2005/8/layout/gear1"/>
    <dgm:cxn modelId="{971614B5-38FA-4534-BA22-173C1657CA90}" srcId="{1733AB87-2478-45AC-AD9E-ED0D59986352}" destId="{6E6C6F99-751F-4DFF-9C02-B30966C298C6}" srcOrd="2" destOrd="0" parTransId="{EDD4EBF0-982A-48FF-9684-15849971A3B1}" sibTransId="{5AE929D0-0D8B-4491-B84E-7F1B0CF9B6C6}"/>
    <dgm:cxn modelId="{B03CDBBB-C1A9-451B-8D49-0A60201B475C}" type="presOf" srcId="{3B134EF7-B6E7-45EE-8963-C1F7C7D9CD6F}" destId="{62921018-4D18-4381-BEE0-A8BA9C56CC62}" srcOrd="0" destOrd="0" presId="urn:microsoft.com/office/officeart/2005/8/layout/gear1"/>
    <dgm:cxn modelId="{E3EBFFBB-06FC-4136-B45A-8817480FB81F}" type="presOf" srcId="{3B8DAB0A-CF54-4AB2-96F1-51570D2BFDBE}" destId="{8A495EBE-D02F-4458-A859-0551F6F6FDF8}" srcOrd="0" destOrd="0" presId="urn:microsoft.com/office/officeart/2005/8/layout/gear1"/>
    <dgm:cxn modelId="{9B8C70C6-F322-4C73-BC90-C2F7BD8B4A37}" type="presOf" srcId="{6E6C6F99-751F-4DFF-9C02-B30966C298C6}" destId="{8BBEAE3B-8A75-49C3-8437-063DC61B18DA}" srcOrd="2" destOrd="0" presId="urn:microsoft.com/office/officeart/2005/8/layout/gear1"/>
    <dgm:cxn modelId="{100B27CD-97E0-40E2-B1D3-99329CA87312}" type="presOf" srcId="{4543F080-4429-4BE1-A750-3F354DFB575E}" destId="{2F438A5F-6A53-4903-8185-833DB8EE3F7A}" srcOrd="2" destOrd="0" presId="urn:microsoft.com/office/officeart/2005/8/layout/gear1"/>
    <dgm:cxn modelId="{2D9F0AD0-97E7-4FD8-8AD0-ED2C62A45046}" type="presOf" srcId="{1733AB87-2478-45AC-AD9E-ED0D59986352}" destId="{77A259C1-B37E-444C-8288-62D64FCB1669}" srcOrd="0" destOrd="0" presId="urn:microsoft.com/office/officeart/2005/8/layout/gear1"/>
    <dgm:cxn modelId="{7DEF9383-F18B-444E-A495-3A2AE7EDFDB7}" type="presParOf" srcId="{77A259C1-B37E-444C-8288-62D64FCB1669}" destId="{62921018-4D18-4381-BEE0-A8BA9C56CC62}" srcOrd="0" destOrd="0" presId="urn:microsoft.com/office/officeart/2005/8/layout/gear1"/>
    <dgm:cxn modelId="{D68D9BC9-89D2-4BFC-9E2E-BCDC6CF41345}" type="presParOf" srcId="{77A259C1-B37E-444C-8288-62D64FCB1669}" destId="{93002DC6-9040-4D96-9FFF-72D45A4275D1}" srcOrd="1" destOrd="0" presId="urn:microsoft.com/office/officeart/2005/8/layout/gear1"/>
    <dgm:cxn modelId="{F5F5D2D4-69BD-465E-B19F-A2AB4E232D85}" type="presParOf" srcId="{77A259C1-B37E-444C-8288-62D64FCB1669}" destId="{1867B026-CB5B-4285-9348-443B41A8EC8F}" srcOrd="2" destOrd="0" presId="urn:microsoft.com/office/officeart/2005/8/layout/gear1"/>
    <dgm:cxn modelId="{513E444C-F57E-47E1-8119-14A57F222989}" type="presParOf" srcId="{77A259C1-B37E-444C-8288-62D64FCB1669}" destId="{800A1A52-CDE6-40AE-942B-79ABD9AC2A9A}" srcOrd="3" destOrd="0" presId="urn:microsoft.com/office/officeart/2005/8/layout/gear1"/>
    <dgm:cxn modelId="{F2048E64-CE7C-42FB-BFE5-6A8D5570B869}" type="presParOf" srcId="{77A259C1-B37E-444C-8288-62D64FCB1669}" destId="{B97F5EE0-5F35-40C8-A744-2E3B166FF99B}" srcOrd="4" destOrd="0" presId="urn:microsoft.com/office/officeart/2005/8/layout/gear1"/>
    <dgm:cxn modelId="{A336497B-A4BC-4937-B3CC-DE09CB8AC09D}" type="presParOf" srcId="{77A259C1-B37E-444C-8288-62D64FCB1669}" destId="{2F438A5F-6A53-4903-8185-833DB8EE3F7A}" srcOrd="5" destOrd="0" presId="urn:microsoft.com/office/officeart/2005/8/layout/gear1"/>
    <dgm:cxn modelId="{B1F32AEB-4703-40BE-AB87-692520D780B9}" type="presParOf" srcId="{77A259C1-B37E-444C-8288-62D64FCB1669}" destId="{921CA3FA-5F2E-4031-A920-606E9769D84B}" srcOrd="6" destOrd="0" presId="urn:microsoft.com/office/officeart/2005/8/layout/gear1"/>
    <dgm:cxn modelId="{FE8A073D-F84E-4D76-8CD0-11CCEDAFECD3}" type="presParOf" srcId="{77A259C1-B37E-444C-8288-62D64FCB1669}" destId="{3EE07FBB-A62B-469D-BFC7-174D7F9097CE}" srcOrd="7" destOrd="0" presId="urn:microsoft.com/office/officeart/2005/8/layout/gear1"/>
    <dgm:cxn modelId="{3DB2362C-24AF-4807-868F-7971915DD406}" type="presParOf" srcId="{77A259C1-B37E-444C-8288-62D64FCB1669}" destId="{8BBEAE3B-8A75-49C3-8437-063DC61B18DA}" srcOrd="8" destOrd="0" presId="urn:microsoft.com/office/officeart/2005/8/layout/gear1"/>
    <dgm:cxn modelId="{DF457FD5-129C-4687-A6D5-5D6CAA269111}" type="presParOf" srcId="{77A259C1-B37E-444C-8288-62D64FCB1669}" destId="{E96C42EA-5867-49BF-B428-9B6A74EE6F83}" srcOrd="9" destOrd="0" presId="urn:microsoft.com/office/officeart/2005/8/layout/gear1"/>
    <dgm:cxn modelId="{A8209F26-277C-42F2-9FA1-DC8738DCEAD6}" type="presParOf" srcId="{77A259C1-B37E-444C-8288-62D64FCB1669}" destId="{D78334D0-6E97-46FD-BBF4-5DC7CE6C0DC0}" srcOrd="10" destOrd="0" presId="urn:microsoft.com/office/officeart/2005/8/layout/gear1"/>
    <dgm:cxn modelId="{0B6AD30C-9FED-439A-9661-589ED4FC3F36}" type="presParOf" srcId="{77A259C1-B37E-444C-8288-62D64FCB1669}" destId="{8A495EBE-D02F-4458-A859-0551F6F6FDF8}" srcOrd="11" destOrd="0" presId="urn:microsoft.com/office/officeart/2005/8/layout/gear1"/>
    <dgm:cxn modelId="{DDF1C96E-AA79-4AAC-B29F-7A8603EE1C88}" type="presParOf" srcId="{77A259C1-B37E-444C-8288-62D64FCB1669}" destId="{F7A43DA7-39F0-428C-BE79-2D6B16D01512}" srcOrd="12" destOrd="0" presId="urn:microsoft.com/office/officeart/2005/8/layout/gear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C8247DB4-C9E2-4920-9043-2EC6D38C0F64}" type="doc">
      <dgm:prSet loTypeId="urn:microsoft.com/office/officeart/2005/8/layout/chevron1" loCatId="process" qsTypeId="urn:microsoft.com/office/officeart/2005/8/quickstyle/simple1" qsCatId="simple" csTypeId="urn:microsoft.com/office/officeart/2005/8/colors/accent6_5" csCatId="accent6" phldr="1"/>
      <dgm:spPr/>
    </dgm:pt>
    <dgm:pt modelId="{279BD65E-9942-4D38-A62A-4705E3117537}">
      <dgm:prSet phldrT="[Text]"/>
      <dgm:spPr/>
      <dgm:t>
        <a:bodyPr/>
        <a:lstStyle/>
        <a:p>
          <a:r>
            <a:rPr lang="en-US" dirty="0"/>
            <a:t>New System</a:t>
          </a:r>
        </a:p>
      </dgm:t>
    </dgm:pt>
    <dgm:pt modelId="{4B861211-83B3-44D9-AACA-2B3A430B3F04}" type="parTrans" cxnId="{DEDCD974-06F8-4A70-B079-48139326B28B}">
      <dgm:prSet/>
      <dgm:spPr/>
      <dgm:t>
        <a:bodyPr/>
        <a:lstStyle/>
        <a:p>
          <a:endParaRPr lang="en-US"/>
        </a:p>
      </dgm:t>
    </dgm:pt>
    <dgm:pt modelId="{DE6C5F03-57F0-4A7B-9056-EA2C24C6254E}" type="sibTrans" cxnId="{DEDCD974-06F8-4A70-B079-48139326B28B}">
      <dgm:prSet/>
      <dgm:spPr/>
      <dgm:t>
        <a:bodyPr/>
        <a:lstStyle/>
        <a:p>
          <a:endParaRPr lang="en-US"/>
        </a:p>
      </dgm:t>
    </dgm:pt>
    <dgm:pt modelId="{D4F4F598-41AC-409F-A0C7-0C442A8E8D96}">
      <dgm:prSet phldrT="[Text]"/>
      <dgm:spPr/>
      <dgm:t>
        <a:bodyPr/>
        <a:lstStyle/>
        <a:p>
          <a:r>
            <a:rPr lang="en-US"/>
            <a:t>Design and Implementation</a:t>
          </a:r>
          <a:endParaRPr lang="en-US" dirty="0"/>
        </a:p>
      </dgm:t>
    </dgm:pt>
    <dgm:pt modelId="{D5A1A7D1-9E32-4568-8B63-C2248F8BAD49}" type="parTrans" cxnId="{24D9143A-CA5F-4B44-8DF9-C7B67C5BDD1E}">
      <dgm:prSet/>
      <dgm:spPr/>
      <dgm:t>
        <a:bodyPr/>
        <a:lstStyle/>
        <a:p>
          <a:endParaRPr lang="en-US"/>
        </a:p>
      </dgm:t>
    </dgm:pt>
    <dgm:pt modelId="{9AD10E31-F995-494E-A173-3457243CA095}" type="sibTrans" cxnId="{24D9143A-CA5F-4B44-8DF9-C7B67C5BDD1E}">
      <dgm:prSet/>
      <dgm:spPr/>
      <dgm:t>
        <a:bodyPr/>
        <a:lstStyle/>
        <a:p>
          <a:endParaRPr lang="en-US"/>
        </a:p>
      </dgm:t>
    </dgm:pt>
    <dgm:pt modelId="{E309CF67-46EA-4DBE-A22F-C60946EF9BDC}">
      <dgm:prSet phldrT="[Text]"/>
      <dgm:spPr/>
      <dgm:t>
        <a:bodyPr/>
        <a:lstStyle/>
        <a:p>
          <a:r>
            <a:rPr lang="en-US" dirty="0"/>
            <a:t>System Specification</a:t>
          </a:r>
        </a:p>
      </dgm:t>
    </dgm:pt>
    <dgm:pt modelId="{F140CE30-0A50-40C0-B010-576E84AFBBC4}" type="parTrans" cxnId="{5BB3ADCC-B26F-4B1C-BFFC-7C0D39A7D978}">
      <dgm:prSet/>
      <dgm:spPr/>
      <dgm:t>
        <a:bodyPr/>
        <a:lstStyle/>
        <a:p>
          <a:endParaRPr lang="en-US"/>
        </a:p>
      </dgm:t>
    </dgm:pt>
    <dgm:pt modelId="{EEC54C50-8B5D-4B7A-9F64-C9DF2093B274}" type="sibTrans" cxnId="{5BB3ADCC-B26F-4B1C-BFFC-7C0D39A7D978}">
      <dgm:prSet/>
      <dgm:spPr/>
      <dgm:t>
        <a:bodyPr/>
        <a:lstStyle/>
        <a:p>
          <a:endParaRPr lang="en-US"/>
        </a:p>
      </dgm:t>
    </dgm:pt>
    <dgm:pt modelId="{6D22B105-C6E8-44C2-892B-A61E7C966769}" type="pres">
      <dgm:prSet presAssocID="{C8247DB4-C9E2-4920-9043-2EC6D38C0F64}" presName="Name0" presStyleCnt="0">
        <dgm:presLayoutVars>
          <dgm:dir/>
          <dgm:animLvl val="lvl"/>
          <dgm:resizeHandles val="exact"/>
        </dgm:presLayoutVars>
      </dgm:prSet>
      <dgm:spPr/>
    </dgm:pt>
    <dgm:pt modelId="{F55E8FC3-7EE7-46AA-87CF-AC804B2E4725}" type="pres">
      <dgm:prSet presAssocID="{279BD65E-9942-4D38-A62A-4705E3117537}" presName="parTxOnly" presStyleLbl="node1" presStyleIdx="0" presStyleCnt="3" custFlipHor="1" custLinFactX="160082" custLinFactNeighborX="200000" custLinFactNeighborY="1071">
        <dgm:presLayoutVars>
          <dgm:chMax val="0"/>
          <dgm:chPref val="0"/>
          <dgm:bulletEnabled val="1"/>
        </dgm:presLayoutVars>
      </dgm:prSet>
      <dgm:spPr/>
    </dgm:pt>
    <dgm:pt modelId="{F87FBFD2-94D7-4C3D-A3D7-1317CE37FFA7}" type="pres">
      <dgm:prSet presAssocID="{DE6C5F03-57F0-4A7B-9056-EA2C24C6254E}" presName="parTxOnlySpace" presStyleCnt="0"/>
      <dgm:spPr/>
    </dgm:pt>
    <dgm:pt modelId="{8283C402-69A8-4406-9C37-0D9D8A91A3F8}" type="pres">
      <dgm:prSet presAssocID="{D4F4F598-41AC-409F-A0C7-0C442A8E8D96}" presName="parTxOnly" presStyleLbl="node1" presStyleIdx="1" presStyleCnt="3" custFlipHor="1">
        <dgm:presLayoutVars>
          <dgm:chMax val="0"/>
          <dgm:chPref val="0"/>
          <dgm:bulletEnabled val="1"/>
        </dgm:presLayoutVars>
      </dgm:prSet>
      <dgm:spPr/>
    </dgm:pt>
    <dgm:pt modelId="{2A8E7787-6E16-4783-9E3F-FA1D04C56D80}" type="pres">
      <dgm:prSet presAssocID="{9AD10E31-F995-494E-A173-3457243CA095}" presName="parTxOnlySpace" presStyleCnt="0"/>
      <dgm:spPr/>
    </dgm:pt>
    <dgm:pt modelId="{62C33EC7-E7CC-44DB-BE2F-513851261BD1}" type="pres">
      <dgm:prSet presAssocID="{E309CF67-46EA-4DBE-A22F-C60946EF9BDC}" presName="parTxOnly" presStyleLbl="node1" presStyleIdx="2" presStyleCnt="3" custFlipHor="1" custLinFactX="-161919" custLinFactNeighborX="-200000" custLinFactNeighborY="2584">
        <dgm:presLayoutVars>
          <dgm:chMax val="0"/>
          <dgm:chPref val="0"/>
          <dgm:bulletEnabled val="1"/>
        </dgm:presLayoutVars>
      </dgm:prSet>
      <dgm:spPr/>
    </dgm:pt>
  </dgm:ptLst>
  <dgm:cxnLst>
    <dgm:cxn modelId="{24D9143A-CA5F-4B44-8DF9-C7B67C5BDD1E}" srcId="{C8247DB4-C9E2-4920-9043-2EC6D38C0F64}" destId="{D4F4F598-41AC-409F-A0C7-0C442A8E8D96}" srcOrd="1" destOrd="0" parTransId="{D5A1A7D1-9E32-4568-8B63-C2248F8BAD49}" sibTransId="{9AD10E31-F995-494E-A173-3457243CA095}"/>
    <dgm:cxn modelId="{B3CDF672-7382-40C8-9C48-4BB6C12C5686}" type="presOf" srcId="{E309CF67-46EA-4DBE-A22F-C60946EF9BDC}" destId="{62C33EC7-E7CC-44DB-BE2F-513851261BD1}" srcOrd="0" destOrd="0" presId="urn:microsoft.com/office/officeart/2005/8/layout/chevron1"/>
    <dgm:cxn modelId="{DEDCD974-06F8-4A70-B079-48139326B28B}" srcId="{C8247DB4-C9E2-4920-9043-2EC6D38C0F64}" destId="{279BD65E-9942-4D38-A62A-4705E3117537}" srcOrd="0" destOrd="0" parTransId="{4B861211-83B3-44D9-AACA-2B3A430B3F04}" sibTransId="{DE6C5F03-57F0-4A7B-9056-EA2C24C6254E}"/>
    <dgm:cxn modelId="{1F5A125A-9B75-4B91-928B-4F844A14177D}" type="presOf" srcId="{D4F4F598-41AC-409F-A0C7-0C442A8E8D96}" destId="{8283C402-69A8-4406-9C37-0D9D8A91A3F8}" srcOrd="0" destOrd="0" presId="urn:microsoft.com/office/officeart/2005/8/layout/chevron1"/>
    <dgm:cxn modelId="{E1350598-22D5-4C03-BF45-3A44547B28DB}" type="presOf" srcId="{279BD65E-9942-4D38-A62A-4705E3117537}" destId="{F55E8FC3-7EE7-46AA-87CF-AC804B2E4725}" srcOrd="0" destOrd="0" presId="urn:microsoft.com/office/officeart/2005/8/layout/chevron1"/>
    <dgm:cxn modelId="{783510AE-A3C8-48A0-9470-9564AB5947F1}" type="presOf" srcId="{C8247DB4-C9E2-4920-9043-2EC6D38C0F64}" destId="{6D22B105-C6E8-44C2-892B-A61E7C966769}" srcOrd="0" destOrd="0" presId="urn:microsoft.com/office/officeart/2005/8/layout/chevron1"/>
    <dgm:cxn modelId="{5BB3ADCC-B26F-4B1C-BFFC-7C0D39A7D978}" srcId="{C8247DB4-C9E2-4920-9043-2EC6D38C0F64}" destId="{E309CF67-46EA-4DBE-A22F-C60946EF9BDC}" srcOrd="2" destOrd="0" parTransId="{F140CE30-0A50-40C0-B010-576E84AFBBC4}" sibTransId="{EEC54C50-8B5D-4B7A-9F64-C9DF2093B274}"/>
    <dgm:cxn modelId="{106C0126-D21E-453F-A553-400A9B1EC7CF}" type="presParOf" srcId="{6D22B105-C6E8-44C2-892B-A61E7C966769}" destId="{F55E8FC3-7EE7-46AA-87CF-AC804B2E4725}" srcOrd="0" destOrd="0" presId="urn:microsoft.com/office/officeart/2005/8/layout/chevron1"/>
    <dgm:cxn modelId="{13FA8F39-0CE4-49A2-B1E3-8DC9696AEDE9}" type="presParOf" srcId="{6D22B105-C6E8-44C2-892B-A61E7C966769}" destId="{F87FBFD2-94D7-4C3D-A3D7-1317CE37FFA7}" srcOrd="1" destOrd="0" presId="urn:microsoft.com/office/officeart/2005/8/layout/chevron1"/>
    <dgm:cxn modelId="{391963CA-E1CF-4984-A2E1-1FB55CFCFE39}" type="presParOf" srcId="{6D22B105-C6E8-44C2-892B-A61E7C966769}" destId="{8283C402-69A8-4406-9C37-0D9D8A91A3F8}" srcOrd="2" destOrd="0" presId="urn:microsoft.com/office/officeart/2005/8/layout/chevron1"/>
    <dgm:cxn modelId="{CF198430-3CAB-4690-A7E2-DCB36F2BE6B0}" type="presParOf" srcId="{6D22B105-C6E8-44C2-892B-A61E7C966769}" destId="{2A8E7787-6E16-4783-9E3F-FA1D04C56D80}" srcOrd="3" destOrd="0" presId="urn:microsoft.com/office/officeart/2005/8/layout/chevron1"/>
    <dgm:cxn modelId="{308C76EE-8AA8-499F-85E4-EDAA32C5E680}" type="presParOf" srcId="{6D22B105-C6E8-44C2-892B-A61E7C966769}" destId="{62C33EC7-E7CC-44DB-BE2F-513851261BD1}" srcOrd="4" destOrd="0" presId="urn:microsoft.com/office/officeart/2005/8/layout/chevron1"/>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AF2951A-B672-4474-AA49-342988DF40CD}">
      <dsp:nvSpPr>
        <dsp:cNvPr id="0" name=""/>
        <dsp:cNvSpPr/>
      </dsp:nvSpPr>
      <dsp:spPr>
        <a:xfrm>
          <a:off x="0"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1978</a:t>
          </a:r>
        </a:p>
      </dsp:txBody>
      <dsp:txXfrm>
        <a:off x="459177" y="0"/>
        <a:ext cx="2615965" cy="918353"/>
      </dsp:txXfrm>
    </dsp:sp>
    <dsp:sp modelId="{85256D47-5FAA-47C1-9F9B-AD8DC7BA94F9}">
      <dsp:nvSpPr>
        <dsp:cNvPr id="0" name=""/>
        <dsp:cNvSpPr/>
      </dsp:nvSpPr>
      <dsp:spPr>
        <a:xfrm>
          <a:off x="3183787"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1983</a:t>
          </a:r>
        </a:p>
      </dsp:txBody>
      <dsp:txXfrm>
        <a:off x="3642964" y="0"/>
        <a:ext cx="2615965" cy="918353"/>
      </dsp:txXfrm>
    </dsp:sp>
    <dsp:sp modelId="{AE459F26-3F44-4024-B1EF-C751EE0EAA19}">
      <dsp:nvSpPr>
        <dsp:cNvPr id="0" name=""/>
        <dsp:cNvSpPr/>
      </dsp:nvSpPr>
      <dsp:spPr>
        <a:xfrm>
          <a:off x="6364674"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2007+</a:t>
          </a:r>
        </a:p>
      </dsp:txBody>
      <dsp:txXfrm>
        <a:off x="6823851" y="0"/>
        <a:ext cx="2615965" cy="91835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AF2951A-B672-4474-AA49-342988DF40CD}">
      <dsp:nvSpPr>
        <dsp:cNvPr id="0" name=""/>
        <dsp:cNvSpPr/>
      </dsp:nvSpPr>
      <dsp:spPr>
        <a:xfrm>
          <a:off x="0"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2019</a:t>
          </a:r>
        </a:p>
      </dsp:txBody>
      <dsp:txXfrm>
        <a:off x="459177" y="0"/>
        <a:ext cx="2615965" cy="918353"/>
      </dsp:txXfrm>
    </dsp:sp>
    <dsp:sp modelId="{85256D47-5FAA-47C1-9F9B-AD8DC7BA94F9}">
      <dsp:nvSpPr>
        <dsp:cNvPr id="0" name=""/>
        <dsp:cNvSpPr/>
      </dsp:nvSpPr>
      <dsp:spPr>
        <a:xfrm>
          <a:off x="3183787"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2024+</a:t>
          </a:r>
        </a:p>
      </dsp:txBody>
      <dsp:txXfrm>
        <a:off x="3642964" y="0"/>
        <a:ext cx="2615965" cy="918353"/>
      </dsp:txXfrm>
    </dsp:sp>
    <dsp:sp modelId="{AE459F26-3F44-4024-B1EF-C751EE0EAA19}">
      <dsp:nvSpPr>
        <dsp:cNvPr id="0" name=""/>
        <dsp:cNvSpPr/>
      </dsp:nvSpPr>
      <dsp:spPr>
        <a:xfrm>
          <a:off x="6364674"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a:t>
          </a:r>
        </a:p>
      </dsp:txBody>
      <dsp:txXfrm>
        <a:off x="6823851" y="0"/>
        <a:ext cx="2615965" cy="91835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C1788AB-B3CB-47B4-AD01-4BE1EEC06DB1}">
      <dsp:nvSpPr>
        <dsp:cNvPr id="0" name=""/>
        <dsp:cNvSpPr/>
      </dsp:nvSpPr>
      <dsp:spPr>
        <a:xfrm>
          <a:off x="744" y="63173"/>
          <a:ext cx="1741289" cy="870644"/>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b="1" kern="1200" dirty="0">
              <a:latin typeface="Sora" pitchFamily="2" charset="0"/>
              <a:cs typeface="Sora" pitchFamily="2" charset="0"/>
            </a:rPr>
            <a:t>Web 1.0 - static</a:t>
          </a:r>
        </a:p>
      </dsp:txBody>
      <dsp:txXfrm>
        <a:off x="26244" y="88673"/>
        <a:ext cx="1690289" cy="819644"/>
      </dsp:txXfrm>
    </dsp:sp>
    <dsp:sp modelId="{CD482211-B6D5-43FE-ABEE-4664D5B3FBAC}">
      <dsp:nvSpPr>
        <dsp:cNvPr id="0" name=""/>
        <dsp:cNvSpPr/>
      </dsp:nvSpPr>
      <dsp:spPr>
        <a:xfrm>
          <a:off x="174873" y="933818"/>
          <a:ext cx="174128" cy="652983"/>
        </a:xfrm>
        <a:custGeom>
          <a:avLst/>
          <a:gdLst/>
          <a:ahLst/>
          <a:cxnLst/>
          <a:rect l="0" t="0" r="0" b="0"/>
          <a:pathLst>
            <a:path>
              <a:moveTo>
                <a:pt x="0" y="0"/>
              </a:moveTo>
              <a:lnTo>
                <a:pt x="0" y="652983"/>
              </a:lnTo>
              <a:lnTo>
                <a:pt x="174128" y="652983"/>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A26AFC3-342C-4E28-B92E-F65342CB017D}">
      <dsp:nvSpPr>
        <dsp:cNvPr id="0" name=""/>
        <dsp:cNvSpPr/>
      </dsp:nvSpPr>
      <dsp:spPr>
        <a:xfrm>
          <a:off x="349001" y="1151479"/>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Browser</a:t>
          </a:r>
        </a:p>
      </dsp:txBody>
      <dsp:txXfrm>
        <a:off x="374501" y="1176979"/>
        <a:ext cx="1342031" cy="819644"/>
      </dsp:txXfrm>
    </dsp:sp>
    <dsp:sp modelId="{025DA7A9-14F3-4194-8615-727A670418C4}">
      <dsp:nvSpPr>
        <dsp:cNvPr id="0" name=""/>
        <dsp:cNvSpPr/>
      </dsp:nvSpPr>
      <dsp:spPr>
        <a:xfrm>
          <a:off x="174873" y="933818"/>
          <a:ext cx="174128" cy="1741289"/>
        </a:xfrm>
        <a:custGeom>
          <a:avLst/>
          <a:gdLst/>
          <a:ahLst/>
          <a:cxnLst/>
          <a:rect l="0" t="0" r="0" b="0"/>
          <a:pathLst>
            <a:path>
              <a:moveTo>
                <a:pt x="0" y="0"/>
              </a:moveTo>
              <a:lnTo>
                <a:pt x="0" y="1741289"/>
              </a:lnTo>
              <a:lnTo>
                <a:pt x="174128" y="1741289"/>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1B26888-48E6-4E75-BED8-0C19BEC329A6}">
      <dsp:nvSpPr>
        <dsp:cNvPr id="0" name=""/>
        <dsp:cNvSpPr/>
      </dsp:nvSpPr>
      <dsp:spPr>
        <a:xfrm>
          <a:off x="349001" y="2239785"/>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Websites</a:t>
          </a:r>
        </a:p>
      </dsp:txBody>
      <dsp:txXfrm>
        <a:off x="374501" y="2265285"/>
        <a:ext cx="1342031" cy="819644"/>
      </dsp:txXfrm>
    </dsp:sp>
    <dsp:sp modelId="{0F7D15A0-BA0C-4F7A-8E16-CFD7AE14D761}">
      <dsp:nvSpPr>
        <dsp:cNvPr id="0" name=""/>
        <dsp:cNvSpPr/>
      </dsp:nvSpPr>
      <dsp:spPr>
        <a:xfrm>
          <a:off x="174873" y="933818"/>
          <a:ext cx="174128" cy="2829594"/>
        </a:xfrm>
        <a:custGeom>
          <a:avLst/>
          <a:gdLst/>
          <a:ahLst/>
          <a:cxnLst/>
          <a:rect l="0" t="0" r="0" b="0"/>
          <a:pathLst>
            <a:path>
              <a:moveTo>
                <a:pt x="0" y="0"/>
              </a:moveTo>
              <a:lnTo>
                <a:pt x="0" y="2829594"/>
              </a:lnTo>
              <a:lnTo>
                <a:pt x="174128" y="2829594"/>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54D6BCE-B989-464A-B2E1-CAAE6AE4D6B0}">
      <dsp:nvSpPr>
        <dsp:cNvPr id="0" name=""/>
        <dsp:cNvSpPr/>
      </dsp:nvSpPr>
      <dsp:spPr>
        <a:xfrm>
          <a:off x="349001" y="3328090"/>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Servers</a:t>
          </a:r>
        </a:p>
      </dsp:txBody>
      <dsp:txXfrm>
        <a:off x="374501" y="3353590"/>
        <a:ext cx="1342031" cy="819644"/>
      </dsp:txXfrm>
    </dsp:sp>
    <dsp:sp modelId="{288CE51C-AB1A-4BFA-9130-9B0DD1626D88}">
      <dsp:nvSpPr>
        <dsp:cNvPr id="0" name=""/>
        <dsp:cNvSpPr/>
      </dsp:nvSpPr>
      <dsp:spPr>
        <a:xfrm>
          <a:off x="2177355" y="63173"/>
          <a:ext cx="1741289" cy="870644"/>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b="1" kern="1200" dirty="0">
              <a:latin typeface="Sora" pitchFamily="2" charset="0"/>
              <a:cs typeface="Sora" pitchFamily="2" charset="0"/>
            </a:rPr>
            <a:t>Web 2.0 - centralized</a:t>
          </a:r>
        </a:p>
      </dsp:txBody>
      <dsp:txXfrm>
        <a:off x="2202855" y="88673"/>
        <a:ext cx="1690289" cy="819644"/>
      </dsp:txXfrm>
    </dsp:sp>
    <dsp:sp modelId="{780F9F98-CBFF-42F6-B21E-8E490ED86E7F}">
      <dsp:nvSpPr>
        <dsp:cNvPr id="0" name=""/>
        <dsp:cNvSpPr/>
      </dsp:nvSpPr>
      <dsp:spPr>
        <a:xfrm>
          <a:off x="2351484" y="933818"/>
          <a:ext cx="174128" cy="652983"/>
        </a:xfrm>
        <a:custGeom>
          <a:avLst/>
          <a:gdLst/>
          <a:ahLst/>
          <a:cxnLst/>
          <a:rect l="0" t="0" r="0" b="0"/>
          <a:pathLst>
            <a:path>
              <a:moveTo>
                <a:pt x="0" y="0"/>
              </a:moveTo>
              <a:lnTo>
                <a:pt x="0" y="652983"/>
              </a:lnTo>
              <a:lnTo>
                <a:pt x="174128" y="652983"/>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02F257D-07C2-4C02-9FBB-DFC8F5F95E15}">
      <dsp:nvSpPr>
        <dsp:cNvPr id="0" name=""/>
        <dsp:cNvSpPr/>
      </dsp:nvSpPr>
      <dsp:spPr>
        <a:xfrm>
          <a:off x="2525613" y="1151479"/>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Mobile</a:t>
          </a:r>
        </a:p>
      </dsp:txBody>
      <dsp:txXfrm>
        <a:off x="2551113" y="1176979"/>
        <a:ext cx="1342031" cy="819644"/>
      </dsp:txXfrm>
    </dsp:sp>
    <dsp:sp modelId="{1B388535-E09A-4809-8D94-D62B0C1A500E}">
      <dsp:nvSpPr>
        <dsp:cNvPr id="0" name=""/>
        <dsp:cNvSpPr/>
      </dsp:nvSpPr>
      <dsp:spPr>
        <a:xfrm>
          <a:off x="2351484" y="933818"/>
          <a:ext cx="174128" cy="1741289"/>
        </a:xfrm>
        <a:custGeom>
          <a:avLst/>
          <a:gdLst/>
          <a:ahLst/>
          <a:cxnLst/>
          <a:rect l="0" t="0" r="0" b="0"/>
          <a:pathLst>
            <a:path>
              <a:moveTo>
                <a:pt x="0" y="0"/>
              </a:moveTo>
              <a:lnTo>
                <a:pt x="0" y="1741289"/>
              </a:lnTo>
              <a:lnTo>
                <a:pt x="174128" y="1741289"/>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A4BB71C-6694-4807-BB9B-9D7B9EB1DE37}">
      <dsp:nvSpPr>
        <dsp:cNvPr id="0" name=""/>
        <dsp:cNvSpPr/>
      </dsp:nvSpPr>
      <dsp:spPr>
        <a:xfrm>
          <a:off x="2525613" y="2239785"/>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Apps</a:t>
          </a:r>
        </a:p>
      </dsp:txBody>
      <dsp:txXfrm>
        <a:off x="2551113" y="2265285"/>
        <a:ext cx="1342031" cy="819644"/>
      </dsp:txXfrm>
    </dsp:sp>
    <dsp:sp modelId="{5550740B-BC52-4252-8446-0A1FCA709C91}">
      <dsp:nvSpPr>
        <dsp:cNvPr id="0" name=""/>
        <dsp:cNvSpPr/>
      </dsp:nvSpPr>
      <dsp:spPr>
        <a:xfrm>
          <a:off x="2351484" y="933818"/>
          <a:ext cx="174128" cy="2829594"/>
        </a:xfrm>
        <a:custGeom>
          <a:avLst/>
          <a:gdLst/>
          <a:ahLst/>
          <a:cxnLst/>
          <a:rect l="0" t="0" r="0" b="0"/>
          <a:pathLst>
            <a:path>
              <a:moveTo>
                <a:pt x="0" y="0"/>
              </a:moveTo>
              <a:lnTo>
                <a:pt x="0" y="2829594"/>
              </a:lnTo>
              <a:lnTo>
                <a:pt x="174128" y="2829594"/>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7FFCF69-7E81-48AE-BF54-0BBC1DACF6CC}">
      <dsp:nvSpPr>
        <dsp:cNvPr id="0" name=""/>
        <dsp:cNvSpPr/>
      </dsp:nvSpPr>
      <dsp:spPr>
        <a:xfrm>
          <a:off x="2525613" y="3328090"/>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Cloud</a:t>
          </a:r>
        </a:p>
      </dsp:txBody>
      <dsp:txXfrm>
        <a:off x="2551113" y="3353590"/>
        <a:ext cx="1342031" cy="819644"/>
      </dsp:txXfrm>
    </dsp:sp>
    <dsp:sp modelId="{5EB1177D-6D01-4885-BAE3-85234B18A075}">
      <dsp:nvSpPr>
        <dsp:cNvPr id="0" name=""/>
        <dsp:cNvSpPr/>
      </dsp:nvSpPr>
      <dsp:spPr>
        <a:xfrm>
          <a:off x="4353966" y="63173"/>
          <a:ext cx="1741289" cy="870644"/>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b="1" kern="1200" dirty="0">
              <a:latin typeface="Sora" pitchFamily="2" charset="0"/>
              <a:cs typeface="Sora" pitchFamily="2" charset="0"/>
            </a:rPr>
            <a:t>Web 3.0 - decentralized</a:t>
          </a:r>
        </a:p>
      </dsp:txBody>
      <dsp:txXfrm>
        <a:off x="4379466" y="88673"/>
        <a:ext cx="1690289" cy="819644"/>
      </dsp:txXfrm>
    </dsp:sp>
    <dsp:sp modelId="{1039483A-2431-4EC7-9572-D9261C5B0258}">
      <dsp:nvSpPr>
        <dsp:cNvPr id="0" name=""/>
        <dsp:cNvSpPr/>
      </dsp:nvSpPr>
      <dsp:spPr>
        <a:xfrm>
          <a:off x="4528095" y="933818"/>
          <a:ext cx="174128" cy="652983"/>
        </a:xfrm>
        <a:custGeom>
          <a:avLst/>
          <a:gdLst/>
          <a:ahLst/>
          <a:cxnLst/>
          <a:rect l="0" t="0" r="0" b="0"/>
          <a:pathLst>
            <a:path>
              <a:moveTo>
                <a:pt x="0" y="0"/>
              </a:moveTo>
              <a:lnTo>
                <a:pt x="0" y="652983"/>
              </a:lnTo>
              <a:lnTo>
                <a:pt x="174128" y="652983"/>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FCC0870-7052-47D3-8579-4CC3218438AA}">
      <dsp:nvSpPr>
        <dsp:cNvPr id="0" name=""/>
        <dsp:cNvSpPr/>
      </dsp:nvSpPr>
      <dsp:spPr>
        <a:xfrm>
          <a:off x="4702224" y="1151479"/>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XR</a:t>
          </a:r>
        </a:p>
      </dsp:txBody>
      <dsp:txXfrm>
        <a:off x="4727724" y="1176979"/>
        <a:ext cx="1342031" cy="819644"/>
      </dsp:txXfrm>
    </dsp:sp>
    <dsp:sp modelId="{0DE09620-207E-4258-BB6D-5C74E6B6587D}">
      <dsp:nvSpPr>
        <dsp:cNvPr id="0" name=""/>
        <dsp:cNvSpPr/>
      </dsp:nvSpPr>
      <dsp:spPr>
        <a:xfrm>
          <a:off x="4528095" y="933818"/>
          <a:ext cx="174128" cy="1741289"/>
        </a:xfrm>
        <a:custGeom>
          <a:avLst/>
          <a:gdLst/>
          <a:ahLst/>
          <a:cxnLst/>
          <a:rect l="0" t="0" r="0" b="0"/>
          <a:pathLst>
            <a:path>
              <a:moveTo>
                <a:pt x="0" y="0"/>
              </a:moveTo>
              <a:lnTo>
                <a:pt x="0" y="1741289"/>
              </a:lnTo>
              <a:lnTo>
                <a:pt x="174128" y="1741289"/>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3D75512-173D-446A-9224-18C290772749}">
      <dsp:nvSpPr>
        <dsp:cNvPr id="0" name=""/>
        <dsp:cNvSpPr/>
      </dsp:nvSpPr>
      <dsp:spPr>
        <a:xfrm>
          <a:off x="4702224" y="2239785"/>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A.I</a:t>
          </a:r>
        </a:p>
      </dsp:txBody>
      <dsp:txXfrm>
        <a:off x="4727724" y="2265285"/>
        <a:ext cx="1342031" cy="819644"/>
      </dsp:txXfrm>
    </dsp:sp>
    <dsp:sp modelId="{03E078D2-C267-4144-A4DB-F925B49741EA}">
      <dsp:nvSpPr>
        <dsp:cNvPr id="0" name=""/>
        <dsp:cNvSpPr/>
      </dsp:nvSpPr>
      <dsp:spPr>
        <a:xfrm>
          <a:off x="4528095" y="933818"/>
          <a:ext cx="174128" cy="2829594"/>
        </a:xfrm>
        <a:custGeom>
          <a:avLst/>
          <a:gdLst/>
          <a:ahLst/>
          <a:cxnLst/>
          <a:rect l="0" t="0" r="0" b="0"/>
          <a:pathLst>
            <a:path>
              <a:moveTo>
                <a:pt x="0" y="0"/>
              </a:moveTo>
              <a:lnTo>
                <a:pt x="0" y="2829594"/>
              </a:lnTo>
              <a:lnTo>
                <a:pt x="174128" y="2829594"/>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1072D59-03F9-4502-BB00-2A13EAC7CDCA}">
      <dsp:nvSpPr>
        <dsp:cNvPr id="0" name=""/>
        <dsp:cNvSpPr/>
      </dsp:nvSpPr>
      <dsp:spPr>
        <a:xfrm>
          <a:off x="4702224" y="3328090"/>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Blockchain</a:t>
          </a:r>
        </a:p>
      </dsp:txBody>
      <dsp:txXfrm>
        <a:off x="4727724" y="3353590"/>
        <a:ext cx="1342031" cy="81964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59E3E38-2EFF-4B97-B4D5-8E3EBDD5F602}">
      <dsp:nvSpPr>
        <dsp:cNvPr id="0" name=""/>
        <dsp:cNvSpPr/>
      </dsp:nvSpPr>
      <dsp:spPr>
        <a:xfrm>
          <a:off x="1008208" y="86286"/>
          <a:ext cx="1712461" cy="594715"/>
        </a:xfrm>
        <a:prstGeom prst="ellipse">
          <a:avLst/>
        </a:prstGeom>
        <a:solidFill>
          <a:schemeClr val="accent1">
            <a:tint val="50000"/>
            <a:alpha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A0997AB-454F-406B-BA0A-E6370BCCDE09}">
      <dsp:nvSpPr>
        <dsp:cNvPr id="0" name=""/>
        <dsp:cNvSpPr/>
      </dsp:nvSpPr>
      <dsp:spPr>
        <a:xfrm>
          <a:off x="1701158" y="1542542"/>
          <a:ext cx="331872" cy="212398"/>
        </a:xfrm>
        <a:prstGeom prst="downArrow">
          <a:avLst/>
        </a:prstGeom>
        <a:solidFill>
          <a:schemeClr val="accent1">
            <a:tint val="6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DA2A1C0-D7A6-4B58-8A42-6E110926D3B4}">
      <dsp:nvSpPr>
        <dsp:cNvPr id="0" name=""/>
        <dsp:cNvSpPr/>
      </dsp:nvSpPr>
      <dsp:spPr>
        <a:xfrm>
          <a:off x="1070600" y="1712461"/>
          <a:ext cx="1592987" cy="3982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kern="1200"/>
            <a:t>Second Life</a:t>
          </a:r>
        </a:p>
      </dsp:txBody>
      <dsp:txXfrm>
        <a:off x="1070600" y="1712461"/>
        <a:ext cx="1592987" cy="398246"/>
      </dsp:txXfrm>
    </dsp:sp>
    <dsp:sp modelId="{1BE7EE0F-4120-441B-8383-FD119953D7F4}">
      <dsp:nvSpPr>
        <dsp:cNvPr id="0" name=""/>
        <dsp:cNvSpPr/>
      </dsp:nvSpPr>
      <dsp:spPr>
        <a:xfrm>
          <a:off x="1583722" y="685159"/>
          <a:ext cx="691527" cy="680918"/>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Possibility</a:t>
          </a:r>
        </a:p>
      </dsp:txBody>
      <dsp:txXfrm>
        <a:off x="1684994" y="784877"/>
        <a:ext cx="488983" cy="481482"/>
      </dsp:txXfrm>
    </dsp:sp>
    <dsp:sp modelId="{15398E6A-7028-4EF2-87EF-E3AF529E16CD}">
      <dsp:nvSpPr>
        <dsp:cNvPr id="0" name=""/>
        <dsp:cNvSpPr/>
      </dsp:nvSpPr>
      <dsp:spPr>
        <a:xfrm>
          <a:off x="1150852" y="226275"/>
          <a:ext cx="702364" cy="702364"/>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Lifestyle</a:t>
          </a:r>
        </a:p>
      </dsp:txBody>
      <dsp:txXfrm>
        <a:off x="1253711" y="329134"/>
        <a:ext cx="496646" cy="496646"/>
      </dsp:txXfrm>
    </dsp:sp>
    <dsp:sp modelId="{A048D81E-3A1B-4C89-AEDF-D57D94A73B9D}">
      <dsp:nvSpPr>
        <dsp:cNvPr id="0" name=""/>
        <dsp:cNvSpPr/>
      </dsp:nvSpPr>
      <dsp:spPr>
        <a:xfrm>
          <a:off x="1768681" y="89028"/>
          <a:ext cx="687997" cy="687997"/>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Reality</a:t>
          </a:r>
        </a:p>
      </dsp:txBody>
      <dsp:txXfrm>
        <a:off x="1869436" y="189783"/>
        <a:ext cx="486487" cy="486487"/>
      </dsp:txXfrm>
    </dsp:sp>
    <dsp:sp modelId="{4D80236F-9990-4D10-960D-8F17AA18C98C}">
      <dsp:nvSpPr>
        <dsp:cNvPr id="0" name=""/>
        <dsp:cNvSpPr/>
      </dsp:nvSpPr>
      <dsp:spPr>
        <a:xfrm>
          <a:off x="937851" y="13274"/>
          <a:ext cx="1858485" cy="1486788"/>
        </a:xfrm>
        <a:prstGeom prst="funnel">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5E8FC3-7EE7-46AA-87CF-AC804B2E4725}">
      <dsp:nvSpPr>
        <dsp:cNvPr id="0" name=""/>
        <dsp:cNvSpPr/>
      </dsp:nvSpPr>
      <dsp:spPr>
        <a:xfrm>
          <a:off x="2381" y="520912"/>
          <a:ext cx="2901156" cy="1160462"/>
        </a:xfrm>
        <a:prstGeom prst="chevron">
          <a:avLst/>
        </a:prstGeom>
        <a:solidFill>
          <a:schemeClr val="accent6">
            <a:alpha val="9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System Specification</a:t>
          </a:r>
        </a:p>
      </dsp:txBody>
      <dsp:txXfrm>
        <a:off x="582612" y="520912"/>
        <a:ext cx="1740694" cy="1160462"/>
      </dsp:txXfrm>
    </dsp:sp>
    <dsp:sp modelId="{8283C402-69A8-4406-9C37-0D9D8A91A3F8}">
      <dsp:nvSpPr>
        <dsp:cNvPr id="0" name=""/>
        <dsp:cNvSpPr/>
      </dsp:nvSpPr>
      <dsp:spPr>
        <a:xfrm>
          <a:off x="2613421" y="520912"/>
          <a:ext cx="2901156" cy="1160462"/>
        </a:xfrm>
        <a:prstGeom prst="chevron">
          <a:avLst/>
        </a:prstGeom>
        <a:solidFill>
          <a:schemeClr val="accent6">
            <a:alpha val="90000"/>
            <a:hueOff val="0"/>
            <a:satOff val="0"/>
            <a:lumOff val="0"/>
            <a:alphaOff val="-2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a:t>Design and Implementation</a:t>
          </a:r>
          <a:endParaRPr lang="en-US" sz="2100" kern="1200" dirty="0"/>
        </a:p>
      </dsp:txBody>
      <dsp:txXfrm>
        <a:off x="3193652" y="520912"/>
        <a:ext cx="1740694" cy="1160462"/>
      </dsp:txXfrm>
    </dsp:sp>
    <dsp:sp modelId="{62C33EC7-E7CC-44DB-BE2F-513851261BD1}">
      <dsp:nvSpPr>
        <dsp:cNvPr id="0" name=""/>
        <dsp:cNvSpPr/>
      </dsp:nvSpPr>
      <dsp:spPr>
        <a:xfrm>
          <a:off x="5224462" y="520912"/>
          <a:ext cx="2901156" cy="1160462"/>
        </a:xfrm>
        <a:prstGeom prst="chevron">
          <a:avLst/>
        </a:prstGeom>
        <a:solidFill>
          <a:schemeClr val="accent6">
            <a:alpha val="90000"/>
            <a:hueOff val="0"/>
            <a:satOff val="0"/>
            <a:lumOff val="0"/>
            <a:alphaOff val="-4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New System</a:t>
          </a:r>
        </a:p>
      </dsp:txBody>
      <dsp:txXfrm>
        <a:off x="5804693" y="520912"/>
        <a:ext cx="1740694" cy="1160462"/>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2921018-4D18-4381-BEE0-A8BA9C56CC62}">
      <dsp:nvSpPr>
        <dsp:cNvPr id="0" name=""/>
        <dsp:cNvSpPr/>
      </dsp:nvSpPr>
      <dsp:spPr>
        <a:xfrm>
          <a:off x="1388248" y="808283"/>
          <a:ext cx="987901" cy="987901"/>
        </a:xfrm>
        <a:prstGeom prst="gear9">
          <a:avLst/>
        </a:prstGeom>
        <a:solidFill>
          <a:schemeClr val="accent1">
            <a:shade val="8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	</a:t>
          </a:r>
        </a:p>
      </dsp:txBody>
      <dsp:txXfrm>
        <a:off x="1586860" y="1039694"/>
        <a:ext cx="590677" cy="507802"/>
      </dsp:txXfrm>
    </dsp:sp>
    <dsp:sp modelId="{800A1A52-CDE6-40AE-942B-79ABD9AC2A9A}">
      <dsp:nvSpPr>
        <dsp:cNvPr id="0" name=""/>
        <dsp:cNvSpPr/>
      </dsp:nvSpPr>
      <dsp:spPr>
        <a:xfrm>
          <a:off x="813469" y="574779"/>
          <a:ext cx="718474" cy="718474"/>
        </a:xfrm>
        <a:prstGeom prst="gear6">
          <a:avLst/>
        </a:prstGeom>
        <a:solidFill>
          <a:schemeClr val="accent1">
            <a:shade val="80000"/>
            <a:hueOff val="-70846"/>
            <a:satOff val="3503"/>
            <a:lumOff val="1157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 </a:t>
          </a:r>
        </a:p>
      </dsp:txBody>
      <dsp:txXfrm>
        <a:off x="994347" y="756750"/>
        <a:ext cx="356718" cy="354532"/>
      </dsp:txXfrm>
    </dsp:sp>
    <dsp:sp modelId="{921CA3FA-5F2E-4031-A920-606E9769D84B}">
      <dsp:nvSpPr>
        <dsp:cNvPr id="0" name=""/>
        <dsp:cNvSpPr/>
      </dsp:nvSpPr>
      <dsp:spPr>
        <a:xfrm rot="20700000">
          <a:off x="1215887" y="79105"/>
          <a:ext cx="703957" cy="703957"/>
        </a:xfrm>
        <a:prstGeom prst="gear6">
          <a:avLst/>
        </a:prstGeom>
        <a:solidFill>
          <a:schemeClr val="accent1">
            <a:shade val="80000"/>
            <a:hueOff val="-141691"/>
            <a:satOff val="7005"/>
            <a:lumOff val="23141"/>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 </a:t>
          </a:r>
        </a:p>
      </dsp:txBody>
      <dsp:txXfrm rot="-20700000">
        <a:off x="1370286" y="233504"/>
        <a:ext cx="395160" cy="395160"/>
      </dsp:txXfrm>
    </dsp:sp>
    <dsp:sp modelId="{D78334D0-6E97-46FD-BBF4-5DC7CE6C0DC0}">
      <dsp:nvSpPr>
        <dsp:cNvPr id="0" name=""/>
        <dsp:cNvSpPr/>
      </dsp:nvSpPr>
      <dsp:spPr>
        <a:xfrm>
          <a:off x="1288612" y="672140"/>
          <a:ext cx="1264514" cy="1264514"/>
        </a:xfrm>
        <a:prstGeom prst="circularArrow">
          <a:avLst>
            <a:gd name="adj1" fmla="val 4688"/>
            <a:gd name="adj2" fmla="val 299029"/>
            <a:gd name="adj3" fmla="val 2403628"/>
            <a:gd name="adj4" fmla="val 16129483"/>
            <a:gd name="adj5" fmla="val 5469"/>
          </a:avLst>
        </a:prstGeom>
        <a:solidFill>
          <a:schemeClr val="accent1">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A495EBE-D02F-4458-A859-0551F6F6FDF8}">
      <dsp:nvSpPr>
        <dsp:cNvPr id="0" name=""/>
        <dsp:cNvSpPr/>
      </dsp:nvSpPr>
      <dsp:spPr>
        <a:xfrm>
          <a:off x="686228" y="426099"/>
          <a:ext cx="918748" cy="918748"/>
        </a:xfrm>
        <a:prstGeom prst="leftCircularArrow">
          <a:avLst>
            <a:gd name="adj1" fmla="val 6452"/>
            <a:gd name="adj2" fmla="val 429999"/>
            <a:gd name="adj3" fmla="val 10489124"/>
            <a:gd name="adj4" fmla="val 14837806"/>
            <a:gd name="adj5" fmla="val 7527"/>
          </a:avLst>
        </a:prstGeom>
        <a:solidFill>
          <a:schemeClr val="accent1">
            <a:shade val="90000"/>
            <a:hueOff val="-70856"/>
            <a:satOff val="216"/>
            <a:lumOff val="10069"/>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7A43DA7-39F0-428C-BE79-2D6B16D01512}">
      <dsp:nvSpPr>
        <dsp:cNvPr id="0" name=""/>
        <dsp:cNvSpPr/>
      </dsp:nvSpPr>
      <dsp:spPr>
        <a:xfrm>
          <a:off x="1053055" y="-64796"/>
          <a:ext cx="990596" cy="990596"/>
        </a:xfrm>
        <a:prstGeom prst="circularArrow">
          <a:avLst>
            <a:gd name="adj1" fmla="val 5984"/>
            <a:gd name="adj2" fmla="val 394124"/>
            <a:gd name="adj3" fmla="val 13313824"/>
            <a:gd name="adj4" fmla="val 10508221"/>
            <a:gd name="adj5" fmla="val 6981"/>
          </a:avLst>
        </a:prstGeom>
        <a:solidFill>
          <a:schemeClr val="accent1">
            <a:shade val="90000"/>
            <a:hueOff val="-141711"/>
            <a:satOff val="432"/>
            <a:lumOff val="20138"/>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5E8FC3-7EE7-46AA-87CF-AC804B2E4725}">
      <dsp:nvSpPr>
        <dsp:cNvPr id="0" name=""/>
        <dsp:cNvSpPr/>
      </dsp:nvSpPr>
      <dsp:spPr>
        <a:xfrm flipH="1">
          <a:off x="5226841" y="533340"/>
          <a:ext cx="2901156" cy="1160462"/>
        </a:xfrm>
        <a:prstGeom prst="chevron">
          <a:avLst/>
        </a:prstGeom>
        <a:solidFill>
          <a:schemeClr val="accent6">
            <a:alpha val="9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New System</a:t>
          </a:r>
        </a:p>
      </dsp:txBody>
      <dsp:txXfrm>
        <a:off x="5807072" y="533340"/>
        <a:ext cx="1740694" cy="1160462"/>
      </dsp:txXfrm>
    </dsp:sp>
    <dsp:sp modelId="{8283C402-69A8-4406-9C37-0D9D8A91A3F8}">
      <dsp:nvSpPr>
        <dsp:cNvPr id="0" name=""/>
        <dsp:cNvSpPr/>
      </dsp:nvSpPr>
      <dsp:spPr>
        <a:xfrm flipH="1">
          <a:off x="2613421" y="520912"/>
          <a:ext cx="2901156" cy="1160462"/>
        </a:xfrm>
        <a:prstGeom prst="chevron">
          <a:avLst/>
        </a:prstGeom>
        <a:solidFill>
          <a:schemeClr val="accent6">
            <a:alpha val="90000"/>
            <a:hueOff val="0"/>
            <a:satOff val="0"/>
            <a:lumOff val="0"/>
            <a:alphaOff val="-2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a:t>Design and Implementation</a:t>
          </a:r>
          <a:endParaRPr lang="en-US" sz="2100" kern="1200" dirty="0"/>
        </a:p>
      </dsp:txBody>
      <dsp:txXfrm>
        <a:off x="3193652" y="520912"/>
        <a:ext cx="1740694" cy="1160462"/>
      </dsp:txXfrm>
    </dsp:sp>
    <dsp:sp modelId="{62C33EC7-E7CC-44DB-BE2F-513851261BD1}">
      <dsp:nvSpPr>
        <dsp:cNvPr id="0" name=""/>
        <dsp:cNvSpPr/>
      </dsp:nvSpPr>
      <dsp:spPr>
        <a:xfrm flipH="1">
          <a:off x="0" y="550898"/>
          <a:ext cx="2901156" cy="1160462"/>
        </a:xfrm>
        <a:prstGeom prst="chevron">
          <a:avLst/>
        </a:prstGeom>
        <a:solidFill>
          <a:schemeClr val="accent6">
            <a:alpha val="90000"/>
            <a:hueOff val="0"/>
            <a:satOff val="0"/>
            <a:lumOff val="0"/>
            <a:alphaOff val="-4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System Specification</a:t>
          </a:r>
        </a:p>
      </dsp:txBody>
      <dsp:txXfrm>
        <a:off x="580231" y="550898"/>
        <a:ext cx="1740694" cy="1160462"/>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funnel1">
  <dgm:title val=""/>
  <dgm:desc val=""/>
  <dgm:catLst>
    <dgm:cat type="relationship" pri="2000"/>
    <dgm:cat type="process" pri="27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4"/>
      <dgm:resizeHandles val="exact"/>
    </dgm:varLst>
    <dgm:alg type="composite">
      <dgm:param type="ar" val="1.25"/>
    </dgm:alg>
    <dgm:shape xmlns:r="http://schemas.openxmlformats.org/officeDocument/2006/relationships" r:blip="">
      <dgm:adjLst/>
    </dgm:shape>
    <dgm:presOf/>
    <dgm:choose name="Name1">
      <dgm:if name="Name2" axis="ch" ptType="node" func="cnt" op="equ" val="2">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w" for="ch" forName="item1" refType="w" fact="0.35"/>
          <dgm:constr type="h" for="ch" forName="item1" refType="w" fact="0.35"/>
          <dgm:constr type="t" for="ch" forName="item1" refType="h" fact="0.05"/>
          <dgm:constr type="l" for="ch" forName="item1" refType="w" fact="0.125"/>
          <dgm:constr type="primFontSz" for="ch" forName="item1" op="equ" val="65"/>
          <dgm:constr type="w" for="ch" forName="funnel" refType="w" fact="0.7"/>
          <dgm:constr type="h" for="ch" forName="funnel" refType="h" fact="0.7"/>
          <dgm:constr type="t" for="ch" forName="funnel"/>
          <dgm:constr type="l" for="ch" forName="funnel"/>
        </dgm:constrLst>
      </dgm:if>
      <dgm:else name="Name3">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primFontSz" for="ch" forName="rectangle" val="65"/>
          <dgm:constr type="w" for="ch" forName="item1" refType="w" fact="0.225"/>
          <dgm:constr type="h" for="ch" forName="item1" refType="w" fact="0.225"/>
          <dgm:constr type="t" for="ch" forName="item1" refType="h" fact="0.336"/>
          <dgm:constr type="l" for="ch" forName="item1" refType="w" fact="0.261"/>
          <dgm:constr type="primFontSz" for="ch" forName="item1" val="65"/>
          <dgm:constr type="w" for="ch" forName="item2" refType="w" fact="0.225"/>
          <dgm:constr type="h" for="ch" forName="item2" refType="w" fact="0.225"/>
          <dgm:constr type="t" for="ch" forName="item2" refType="h" fact="0.125"/>
          <dgm:constr type="l" for="ch" forName="item2" refType="w" fact="0.1"/>
          <dgm:constr type="primFontSz" for="ch" forName="item2" refType="primFontSz" refFor="ch" refForName="item1" op="equ"/>
          <dgm:constr type="w" for="ch" forName="item3" refType="w" fact="0.225"/>
          <dgm:constr type="h" for="ch" forName="item3" refType="w" fact="0.225"/>
          <dgm:constr type="t" for="ch" forName="item3" refType="h" fact="0.057"/>
          <dgm:constr type="l" for="ch" forName="item3" refType="w" fact="0.33"/>
          <dgm:constr type="primFontSz" for="ch" forName="item3" refType="primFontSz" refFor="ch" refForName="item1" op="equ"/>
          <dgm:constr type="w" for="ch" forName="funnel" refType="w" fact="0.7"/>
          <dgm:constr type="h" for="ch" forName="funnel" refType="h" fact="0.7"/>
          <dgm:constr type="t" for="ch" forName="funnel"/>
          <dgm:constr type="l" for="ch" forName="funnel"/>
        </dgm:constrLst>
      </dgm:else>
    </dgm:choose>
    <dgm:ruleLst/>
    <dgm:choose name="Name4">
      <dgm:if name="Name5" axis="ch" ptType="node" func="cnt" op="gte" val="1">
        <dgm:layoutNode name="ellipse" styleLbl="trBgShp">
          <dgm:alg type="sp"/>
          <dgm:shape xmlns:r="http://schemas.openxmlformats.org/officeDocument/2006/relationships" type="ellipse" r:blip="">
            <dgm:adjLst/>
          </dgm:shape>
          <dgm:presOf/>
          <dgm:constrLst/>
          <dgm:ruleLst/>
        </dgm:layoutNode>
        <dgm:layoutNode name="arrow1" styleLbl="fgShp">
          <dgm:alg type="sp"/>
          <dgm:shape xmlns:r="http://schemas.openxmlformats.org/officeDocument/2006/relationships" type="downArrow" r:blip="">
            <dgm:adjLst/>
          </dgm:shape>
          <dgm:presOf/>
          <dgm:constrLst/>
          <dgm:ruleLst/>
        </dgm:layoutNode>
        <dgm:layoutNode name="rectangle" styleLbl="revTx">
          <dgm:varLst>
            <dgm:bulletEnabled val="1"/>
          </dgm:varLst>
          <dgm:alg type="tx">
            <dgm:param type="txAnchorHorzCh" val="ctr"/>
          </dgm:alg>
          <dgm:shape xmlns:r="http://schemas.openxmlformats.org/officeDocument/2006/relationships" type="rect" r:blip="">
            <dgm:adjLst/>
          </dgm:shape>
          <dgm:choose name="Name6">
            <dgm:if name="Name7" axis="ch" ptType="node" func="cnt" op="equ" val="1">
              <dgm:presOf axis="ch desOrSelf" ptType="node node" st="1 1" cnt="1 0"/>
            </dgm:if>
            <dgm:if name="Name8" axis="ch" ptType="node" func="cnt" op="equ" val="2">
              <dgm:presOf axis="ch desOrSelf" ptType="node node" st="2 1" cnt="1 0"/>
            </dgm:if>
            <dgm:if name="Name9" axis="ch" ptType="node" func="cnt" op="equ" val="3">
              <dgm:presOf axis="ch desOrSelf" ptType="node node" st="3 1" cnt="1 0"/>
            </dgm:if>
            <dgm:else name="Name10">
              <dgm:presOf axis="ch desOrSelf" ptType="node node" st="4 1" cnt="1 0"/>
            </dgm:else>
          </dgm:choose>
          <dgm:constrLst/>
          <dgm:ruleLst>
            <dgm:rule type="primFontSz" val="5" fact="NaN" max="NaN"/>
          </dgm:ruleLst>
        </dgm:layoutNode>
        <dgm:forEach name="Name11" axis="ch" ptType="node" st="2" cnt="1">
          <dgm:layoutNode name="item1" styleLbl="node1">
            <dgm:varLst>
              <dgm:bulletEnabled val="1"/>
            </dgm:varLst>
            <dgm:alg type="tx">
              <dgm:param type="txAnchorVertCh" val="mid"/>
            </dgm:alg>
            <dgm:shape xmlns:r="http://schemas.openxmlformats.org/officeDocument/2006/relationships" type="ellipse" r:blip="">
              <dgm:adjLst/>
            </dgm:shape>
            <dgm:choose name="Name12">
              <dgm:if name="Name13" axis="root ch" ptType="all node" func="cnt" op="equ" val="1">
                <dgm:presOf/>
              </dgm:if>
              <dgm:if name="Name14" axis="root ch" ptType="all node" func="cnt" op="equ" val="2">
                <dgm:presOf axis="root ch desOrSelf" ptType="all node node" st="1 1 1" cnt="0 1 0"/>
              </dgm:if>
              <dgm:if name="Name15" axis="root ch" ptType="all node" func="cnt" op="equ" val="3">
                <dgm:presOf axis="root ch desOrSelf" ptType="all node node" st="1 2 1" cnt="0 1 0"/>
              </dgm:if>
              <dgm:else name="Name16">
                <dgm:presOf axis="root ch desOrSelf" ptType="all node node" st="1 3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17" axis="ch" ptType="node" st="3" cnt="1">
          <dgm:layoutNode name="item2" styleLbl="node1">
            <dgm:varLst>
              <dgm:bulletEnabled val="1"/>
            </dgm:varLst>
            <dgm:alg type="tx">
              <dgm:param type="txAnchorVertCh" val="mid"/>
            </dgm:alg>
            <dgm:shape xmlns:r="http://schemas.openxmlformats.org/officeDocument/2006/relationships" type="ellipse" r:blip="">
              <dgm:adjLst/>
            </dgm:shape>
            <dgm:choose name="Name18">
              <dgm:if name="Name19" axis="root ch" ptType="all node" func="cnt" op="equ" val="1">
                <dgm:presOf/>
              </dgm:if>
              <dgm:if name="Name20" axis="root ch" ptType="all node" func="cnt" op="equ" val="2">
                <dgm:presOf/>
              </dgm:if>
              <dgm:if name="Name21" axis="root ch" ptType="all node" func="cnt" op="equ" val="3">
                <dgm:presOf axis="root ch desOrSelf" ptType="all node node" st="1 1 1" cnt="0 1 0"/>
              </dgm:if>
              <dgm:else name="Name22">
                <dgm:presOf axis="root ch desOrSelf" ptType="all node node" st="1 2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23" axis="ch" ptType="node" st="4" cnt="1">
          <dgm:layoutNode name="item3" styleLbl="node1">
            <dgm:varLst>
              <dgm:bulletEnabled val="1"/>
            </dgm:varLst>
            <dgm:alg type="tx">
              <dgm:param type="txAnchorVertCh" val="mid"/>
            </dgm:alg>
            <dgm:shape xmlns:r="http://schemas.openxmlformats.org/officeDocument/2006/relationships" type="ellipse" r:blip="">
              <dgm:adjLst/>
            </dgm:shape>
            <dgm:choose name="Name24">
              <dgm:if name="Name25" axis="root ch" ptType="all node" func="cnt" op="equ" val="1">
                <dgm:presOf/>
              </dgm:if>
              <dgm:if name="Name26" axis="root ch" ptType="all node" func="cnt" op="equ" val="2">
                <dgm:presOf/>
              </dgm:if>
              <dgm:if name="Name27" axis="root ch" ptType="all node" func="cnt" op="equ" val="3">
                <dgm:presOf/>
              </dgm:if>
              <dgm:else name="Name28">
                <dgm:presOf axis="root ch desOrSelf" ptType="all node node" st="1 1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layoutNode name="funnel" styleLbl="trAlignAcc1">
          <dgm:alg type="sp"/>
          <dgm:shape xmlns:r="http://schemas.openxmlformats.org/officeDocument/2006/relationships" type="funnel" r:blip="">
            <dgm:adjLst/>
          </dgm:shape>
          <dgm:presOf/>
          <dgm:constrLst/>
          <dgm:ruleLst/>
        </dgm:layoutNode>
      </dgm:if>
      <dgm:else name="Name29"/>
    </dgm:choose>
  </dgm:layoutNode>
</dgm:layoutDef>
</file>

<file path=ppt/diagrams/layout5.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6.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7.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B2B60F0-CC0E-476C-896D-084422935EE9}"/>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7366DE06-38DA-46A8-A42B-7B022CFF538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63F659C-CCAC-4D52-BD82-8C7779364DD4}" type="datetimeFigureOut">
              <a:rPr lang="en-US" smtClean="0"/>
              <a:t>5/7/2022</a:t>
            </a:fld>
            <a:endParaRPr lang="en-US"/>
          </a:p>
        </p:txBody>
      </p:sp>
      <p:sp>
        <p:nvSpPr>
          <p:cNvPr id="4" name="Footer Placeholder 3">
            <a:extLst>
              <a:ext uri="{FF2B5EF4-FFF2-40B4-BE49-F238E27FC236}">
                <a16:creationId xmlns:a16="http://schemas.microsoft.com/office/drawing/2014/main" id="{DD9C0878-5117-4B53-8F0F-5AE6DB7F314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C709B98B-70A6-4F8A-8CB2-60AA4173070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DC38FC2-F9BF-427A-B6A0-4E28A4499266}" type="slidenum">
              <a:rPr lang="en-US" smtClean="0"/>
              <a:t>‹#›</a:t>
            </a:fld>
            <a:endParaRPr lang="en-US"/>
          </a:p>
        </p:txBody>
      </p:sp>
    </p:spTree>
    <p:extLst>
      <p:ext uri="{BB962C8B-B14F-4D97-AF65-F5344CB8AC3E}">
        <p14:creationId xmlns:p14="http://schemas.microsoft.com/office/powerpoint/2010/main" val="2735872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D9E49D2-76A3-453E-A43F-F634C3847CE7}" type="datetimeFigureOut">
              <a:rPr lang="en-US" smtClean="0"/>
              <a:t>5/6/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10C69D4-DE42-414E-829A-8F378A406FFC}" type="slidenum">
              <a:rPr lang="en-US" smtClean="0"/>
              <a:t>‹#›</a:t>
            </a:fld>
            <a:endParaRPr lang="en-US"/>
          </a:p>
        </p:txBody>
      </p:sp>
    </p:spTree>
    <p:extLst>
      <p:ext uri="{BB962C8B-B14F-4D97-AF65-F5344CB8AC3E}">
        <p14:creationId xmlns:p14="http://schemas.microsoft.com/office/powerpoint/2010/main" val="351525244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a:t>Xeretai</a:t>
            </a:r>
            <a:r>
              <a:rPr lang="en-US" dirty="0"/>
              <a:t> stin </a:t>
            </a:r>
            <a:r>
              <a:rPr lang="en-US" dirty="0" err="1"/>
              <a:t>parakatw</a:t>
            </a:r>
            <a:r>
              <a:rPr lang="en-US" dirty="0"/>
              <a:t> </a:t>
            </a:r>
            <a:r>
              <a:rPr lang="en-US" dirty="0" err="1"/>
              <a:t>parousiasi</a:t>
            </a:r>
            <a:r>
              <a:rPr lang="en-US" dirty="0"/>
              <a:t> </a:t>
            </a:r>
            <a:r>
              <a:rPr lang="en-US" dirty="0" err="1"/>
              <a:t>tha</a:t>
            </a:r>
            <a:r>
              <a:rPr lang="en-US" dirty="0"/>
              <a:t> </a:t>
            </a:r>
            <a:r>
              <a:rPr lang="en-US" dirty="0" err="1"/>
              <a:t>sas</a:t>
            </a:r>
            <a:r>
              <a:rPr lang="en-US" dirty="0"/>
              <a:t> </a:t>
            </a:r>
            <a:r>
              <a:rPr lang="en-US" dirty="0" err="1"/>
              <a:t>analythi</a:t>
            </a:r>
            <a:r>
              <a:rPr lang="en-US" dirty="0"/>
              <a:t> </a:t>
            </a:r>
            <a:r>
              <a:rPr lang="en-US" dirty="0" err="1"/>
              <a:t>ena</a:t>
            </a:r>
            <a:r>
              <a:rPr lang="en-US" dirty="0"/>
              <a:t> </a:t>
            </a:r>
            <a:r>
              <a:rPr lang="en-US" dirty="0" err="1"/>
              <a:t>thema</a:t>
            </a:r>
            <a:r>
              <a:rPr lang="en-US" dirty="0"/>
              <a:t> </a:t>
            </a:r>
            <a:r>
              <a:rPr lang="en-US" dirty="0" err="1"/>
              <a:t>sxetika</a:t>
            </a:r>
            <a:r>
              <a:rPr lang="en-US" dirty="0"/>
              <a:t> me</a:t>
            </a:r>
            <a:r>
              <a:rPr lang="el-GR" dirty="0"/>
              <a:t> </a:t>
            </a:r>
            <a:r>
              <a:rPr lang="en-US" dirty="0"/>
              <a:t>tin </a:t>
            </a:r>
            <a:r>
              <a:rPr lang="el-GR" sz="1800" b="1" dirty="0">
                <a:solidFill>
                  <a:srgbClr val="212529"/>
                </a:solidFill>
                <a:effectLst/>
                <a:latin typeface="Arial" panose="020B0604020202020204" pitchFamily="34" charset="0"/>
                <a:ea typeface="Calibri" panose="020F0502020204030204" pitchFamily="34" charset="0"/>
                <a:cs typeface="Arial" panose="020B0604020202020204" pitchFamily="34" charset="0"/>
              </a:rPr>
              <a:t>Προηγμένη μηχανική επιβίωσης βιντεοπαιχνιδιού για πολλαπλούς παίχτες στην </a:t>
            </a:r>
            <a:r>
              <a:rPr lang="en-US" sz="1800" b="1" dirty="0">
                <a:solidFill>
                  <a:srgbClr val="212529"/>
                </a:solidFill>
                <a:effectLst/>
                <a:latin typeface="Arial" panose="020B0604020202020204" pitchFamily="34" charset="0"/>
                <a:ea typeface="Calibri" panose="020F0502020204030204" pitchFamily="34" charset="0"/>
                <a:cs typeface="Arial" panose="020B0604020202020204" pitchFamily="34" charset="0"/>
              </a:rPr>
              <a:t>Unreal Engine</a:t>
            </a:r>
            <a:endParaRPr lang="en-US" sz="1800" b="1" dirty="0">
              <a:solidFill>
                <a:srgbClr val="212529"/>
              </a:solidFill>
              <a:effectLst/>
              <a:latin typeface="Arial" panose="020B060402020202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b="1" dirty="0">
              <a:solidFill>
                <a:srgbClr val="212529"/>
              </a:solidFill>
              <a:effectLst/>
              <a:latin typeface="Arial" panose="020B060402020202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dirty="0" err="1">
                <a:solidFill>
                  <a:srgbClr val="212529"/>
                </a:solidFill>
                <a:effectLst/>
                <a:latin typeface="Arial" panose="020B0604020202020204" pitchFamily="34" charset="0"/>
                <a:cs typeface="Times New Roman" panose="02020603050405020304" pitchFamily="18" charset="0"/>
              </a:rPr>
              <a:t>Protou</a:t>
            </a:r>
            <a:r>
              <a:rPr lang="en-US" sz="1800" b="0" dirty="0">
                <a:solidFill>
                  <a:srgbClr val="212529"/>
                </a:solidFill>
                <a:effectLst/>
                <a:latin typeface="Arial" panose="020B0604020202020204" pitchFamily="34" charset="0"/>
                <a:cs typeface="Times New Roman" panose="02020603050405020304" pitchFamily="18" charset="0"/>
              </a:rPr>
              <a:t> </a:t>
            </a:r>
            <a:r>
              <a:rPr lang="en-US" sz="1800" b="0" dirty="0" err="1">
                <a:solidFill>
                  <a:srgbClr val="212529"/>
                </a:solidFill>
                <a:effectLst/>
                <a:latin typeface="Arial" panose="020B0604020202020204" pitchFamily="34" charset="0"/>
                <a:cs typeface="Times New Roman" panose="02020603050405020304" pitchFamily="18" charset="0"/>
              </a:rPr>
              <a:t>ksekinisoume</a:t>
            </a:r>
            <a:r>
              <a:rPr lang="en-US" sz="1800" b="0" dirty="0">
                <a:solidFill>
                  <a:srgbClr val="212529"/>
                </a:solidFill>
                <a:effectLst/>
                <a:latin typeface="Arial" panose="020B0604020202020204" pitchFamily="34" charset="0"/>
                <a:cs typeface="Times New Roman" panose="02020603050405020304" pitchFamily="18" charset="0"/>
              </a:rPr>
              <a:t> </a:t>
            </a:r>
            <a:r>
              <a:rPr lang="en-US" sz="1800" b="0" dirty="0" err="1">
                <a:solidFill>
                  <a:srgbClr val="212529"/>
                </a:solidFill>
                <a:effectLst/>
                <a:latin typeface="Arial" panose="020B0604020202020204" pitchFamily="34" charset="0"/>
                <a:cs typeface="Times New Roman" panose="02020603050405020304" pitchFamily="18" charset="0"/>
              </a:rPr>
              <a:t>liga</a:t>
            </a:r>
            <a:r>
              <a:rPr lang="en-US" sz="1800" b="0" dirty="0">
                <a:solidFill>
                  <a:srgbClr val="212529"/>
                </a:solidFill>
                <a:effectLst/>
                <a:latin typeface="Arial" panose="020B0604020202020204" pitchFamily="34" charset="0"/>
                <a:cs typeface="Times New Roman" panose="02020603050405020304" pitchFamily="18" charset="0"/>
              </a:rPr>
              <a:t> logia </a:t>
            </a:r>
            <a:r>
              <a:rPr lang="en-US" sz="1800" b="0" dirty="0" err="1">
                <a:solidFill>
                  <a:srgbClr val="212529"/>
                </a:solidFill>
                <a:effectLst/>
                <a:latin typeface="Arial" panose="020B0604020202020204" pitchFamily="34" charset="0"/>
                <a:cs typeface="Times New Roman" panose="02020603050405020304" pitchFamily="18" charset="0"/>
              </a:rPr>
              <a:t>gia</a:t>
            </a:r>
            <a:r>
              <a:rPr lang="en-US" sz="1800" b="0" dirty="0">
                <a:solidFill>
                  <a:srgbClr val="212529"/>
                </a:solidFill>
                <a:effectLst/>
                <a:latin typeface="Arial" panose="020B0604020202020204" pitchFamily="34" charset="0"/>
                <a:cs typeface="Times New Roman" panose="02020603050405020304" pitchFamily="18" charset="0"/>
              </a:rPr>
              <a:t> emena</a:t>
            </a:r>
            <a:endParaRPr lang="en-US" b="0" dirty="0"/>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1</a:t>
            </a:fld>
            <a:endParaRPr lang="en-US"/>
          </a:p>
        </p:txBody>
      </p:sp>
    </p:spTree>
    <p:extLst>
      <p:ext uri="{BB962C8B-B14F-4D97-AF65-F5344CB8AC3E}">
        <p14:creationId xmlns:p14="http://schemas.microsoft.com/office/powerpoint/2010/main" val="93638825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Tha</a:t>
            </a:r>
            <a:r>
              <a:rPr lang="en-US" dirty="0"/>
              <a:t> </a:t>
            </a:r>
            <a:r>
              <a:rPr lang="en-US" dirty="0" err="1"/>
              <a:t>doume</a:t>
            </a:r>
            <a:r>
              <a:rPr lang="en-US" dirty="0"/>
              <a:t> ta </a:t>
            </a:r>
            <a:r>
              <a:rPr lang="en-US" dirty="0" err="1"/>
              <a:t>parakatw</a:t>
            </a:r>
            <a:r>
              <a:rPr lang="en-US" dirty="0"/>
              <a:t> </a:t>
            </a:r>
            <a:r>
              <a:rPr lang="en-US" dirty="0" err="1"/>
              <a:t>ipokefalaia</a:t>
            </a:r>
            <a:endParaRPr lang="en-US" dirty="0"/>
          </a:p>
          <a:p>
            <a:endParaRPr lang="en-US" dirty="0"/>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l-GR" sz="1200" b="1" kern="0" dirty="0">
                <a:solidFill>
                  <a:srgbClr val="FFFFFF"/>
                </a:solidFill>
                <a:latin typeface="Arial" panose="020B0604020202020204" pitchFamily="34" charset="0"/>
                <a:cs typeface="Arial" panose="020B0604020202020204" pitchFamily="34" charset="0"/>
              </a:rPr>
              <a:t>Έρευνα για το </a:t>
            </a:r>
            <a:r>
              <a:rPr lang="en-US" sz="1200" b="1" kern="0" dirty="0">
                <a:solidFill>
                  <a:srgbClr val="FFFFFF"/>
                </a:solidFill>
                <a:latin typeface="Arial" panose="020B0604020202020204" pitchFamily="34" charset="0"/>
                <a:cs typeface="Arial" panose="020B0604020202020204" pitchFamily="34" charset="0"/>
              </a:rPr>
              <a:t>metaverse</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2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AV/VR </a:t>
            </a:r>
            <a:r>
              <a:rPr kumimoji="0" lang="el-GR" sz="12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στην κοινωνία</a:t>
            </a:r>
            <a:endParaRPr kumimoji="0" lang="en-US" sz="12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sz="1200" b="1" kern="0" dirty="0">
                <a:solidFill>
                  <a:srgbClr val="FFFFFF"/>
                </a:solidFill>
                <a:latin typeface="Arial" panose="020B0604020202020204" pitchFamily="34" charset="0"/>
                <a:cs typeface="Arial" panose="020B0604020202020204" pitchFamily="34" charset="0"/>
              </a:rPr>
              <a:t>Gameplay Mechanics</a:t>
            </a:r>
            <a:endParaRPr kumimoji="0" lang="en-US" sz="12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endParaRPr lang="en-US" dirty="0"/>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10</a:t>
            </a:fld>
            <a:endParaRPr lang="en-US"/>
          </a:p>
        </p:txBody>
      </p:sp>
    </p:spTree>
    <p:extLst>
      <p:ext uri="{BB962C8B-B14F-4D97-AF65-F5344CB8AC3E}">
        <p14:creationId xmlns:p14="http://schemas.microsoft.com/office/powerpoint/2010/main" val="15377459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Ti</a:t>
            </a:r>
            <a:r>
              <a:rPr lang="en-US" dirty="0"/>
              <a:t> </a:t>
            </a:r>
            <a:r>
              <a:rPr lang="en-US" dirty="0" err="1"/>
              <a:t>ine</a:t>
            </a:r>
            <a:r>
              <a:rPr lang="en-US" dirty="0"/>
              <a:t> to metaver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Το μέλλον της εξέλιξης του Διαδικτύου, γνωστό ως δεύτερη ζωή, επεκτείνεται σε προσομοιώσεις λογισμικού πολλαπλών ζωών σε φυσικό και εικονικό κόσμο</a:t>
            </a:r>
            <a:endPar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endParaRPr lang="en-US" dirty="0"/>
          </a:p>
          <a:p>
            <a:r>
              <a:rPr lang="en-US" dirty="0" err="1"/>
              <a:t>Ti</a:t>
            </a:r>
            <a:r>
              <a:rPr lang="en-US" dirty="0"/>
              <a:t> </a:t>
            </a:r>
            <a:r>
              <a:rPr lang="en-US" dirty="0" err="1"/>
              <a:t>ine</a:t>
            </a:r>
            <a:r>
              <a:rPr lang="en-US" dirty="0"/>
              <a:t> to AR/VR </a:t>
            </a:r>
            <a:r>
              <a:rPr lang="en-US" dirty="0" err="1"/>
              <a:t>en</a:t>
            </a:r>
            <a:r>
              <a:rPr lang="en-US" dirty="0"/>
              <a:t> taxi?</a:t>
            </a:r>
          </a:p>
          <a:p>
            <a:pPr marL="0" marR="0" lvl="0" indent="0" algn="l" defTabSz="914400" rtl="0" eaLnBrk="1" fontAlgn="auto" latinLnBrk="0" hangingPunct="1">
              <a:lnSpc>
                <a:spcPct val="100000"/>
              </a:lnSpc>
              <a:spcBef>
                <a:spcPts val="0"/>
              </a:spcBef>
              <a:spcAft>
                <a:spcPts val="0"/>
              </a:spcAft>
              <a:buClrTx/>
              <a:buSzTx/>
              <a:buFontTx/>
              <a:buNone/>
              <a:tabLst/>
              <a:defRPr/>
            </a:pPr>
            <a:r>
              <a:rPr lang="el-GR" sz="1200" kern="0" dirty="0" err="1">
                <a:solidFill>
                  <a:srgbClr val="FFFFFF"/>
                </a:solidFill>
                <a:latin typeface="Arial" panose="020B0604020202020204" pitchFamily="34" charset="0"/>
                <a:cs typeface="Arial" panose="020B0604020202020204" pitchFamily="34" charset="0"/>
              </a:rPr>
              <a:t>Διεπαφές</a:t>
            </a:r>
            <a:r>
              <a:rPr lang="el-GR" sz="1200" kern="0" dirty="0">
                <a:solidFill>
                  <a:srgbClr val="FFFFFF"/>
                </a:solidFill>
                <a:latin typeface="Arial" panose="020B0604020202020204" pitchFamily="34" charset="0"/>
                <a:cs typeface="Arial" panose="020B0604020202020204" pitchFamily="34" charset="0"/>
              </a:rPr>
              <a:t> υλικού για αλληλεπίδραση με τους καθηλωτικούς κόσμους που προσομοιώνουν την καθημερινή ζωή</a:t>
            </a:r>
            <a:endPar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endParaRPr lang="en-US" dirty="0"/>
          </a:p>
          <a:p>
            <a:r>
              <a:rPr lang="en-US" dirty="0" err="1"/>
              <a:t>Pws</a:t>
            </a:r>
            <a:r>
              <a:rPr lang="en-US" dirty="0"/>
              <a:t> </a:t>
            </a:r>
            <a:r>
              <a:rPr lang="en-US" dirty="0" err="1"/>
              <a:t>sxetizontai</a:t>
            </a:r>
            <a:r>
              <a:rPr lang="en-US" dirty="0"/>
              <a:t> me ta gameplay mechanic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Τα API λογισμικού του AR/VR</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classic</a:t>
            </a: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για τη γεφύρωση του υλικού με την αλληλεπίδραση χρήστη λογισμικού μέσα στο </a:t>
            </a:r>
            <a:r>
              <a:rPr kumimoji="0" lang="el-GR" sz="1200" b="0" i="0" u="none" strike="noStrike" kern="0" cap="none" spc="0" normalizeH="0" baseline="0" noProof="0" dirty="0" err="1">
                <a:ln>
                  <a:noFill/>
                </a:ln>
                <a:solidFill>
                  <a:srgbClr val="FFFFFF"/>
                </a:solidFill>
                <a:effectLst/>
                <a:uLnTx/>
                <a:uFillTx/>
                <a:latin typeface="Arial" panose="020B0604020202020204" pitchFamily="34" charset="0"/>
                <a:cs typeface="Arial" panose="020B0604020202020204" pitchFamily="34" charset="0"/>
                <a:sym typeface="Sora"/>
              </a:rPr>
              <a:t>metaverse</a:t>
            </a: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a:t>
            </a:r>
            <a:r>
              <a:rPr kumimoji="0" lang="en-US" sz="1200" b="0" i="0" u="none" strike="noStrike" kern="0" cap="none" spc="0" normalizeH="0" baseline="0" noProof="0" dirty="0">
                <a:ln>
                  <a:noFill/>
                </a:ln>
                <a:solidFill>
                  <a:srgbClr val="FFC000"/>
                </a:solidFill>
                <a:effectLst/>
                <a:uLnTx/>
                <a:uFillTx/>
                <a:latin typeface="Arial" panose="020B0604020202020204" pitchFamily="34" charset="0"/>
                <a:cs typeface="Arial" panose="020B0604020202020204" pitchFamily="34" charset="0"/>
                <a:sym typeface="Sora"/>
              </a:rPr>
              <a:t>kai </a:t>
            </a:r>
            <a:r>
              <a:rPr kumimoji="0" lang="en-US" sz="1200" b="0" i="0" u="none" strike="noStrike" kern="0" cap="none" spc="0" normalizeH="0" baseline="0" noProof="0" dirty="0" err="1">
                <a:ln>
                  <a:noFill/>
                </a:ln>
                <a:solidFill>
                  <a:srgbClr val="FFC000"/>
                </a:solidFill>
                <a:effectLst/>
                <a:uLnTx/>
                <a:uFillTx/>
                <a:latin typeface="Arial" panose="020B0604020202020204" pitchFamily="34" charset="0"/>
                <a:cs typeface="Arial" panose="020B0604020202020204" pitchFamily="34" charset="0"/>
                <a:sym typeface="Sora"/>
              </a:rPr>
              <a:t>polla</a:t>
            </a:r>
            <a:r>
              <a:rPr kumimoji="0" lang="en-US" sz="1200" b="0" i="0" u="none" strike="noStrike" kern="0" cap="none" spc="0" normalizeH="0" baseline="0" noProof="0" dirty="0">
                <a:ln>
                  <a:noFill/>
                </a:ln>
                <a:solidFill>
                  <a:srgbClr val="FFC000"/>
                </a:solidFill>
                <a:effectLst/>
                <a:uLnTx/>
                <a:uFillTx/>
                <a:latin typeface="Arial" panose="020B0604020202020204" pitchFamily="34" charset="0"/>
                <a:cs typeface="Arial" panose="020B0604020202020204" pitchFamily="34" charset="0"/>
                <a:sym typeface="Sora"/>
              </a:rPr>
              <a:t> </a:t>
            </a:r>
            <a:r>
              <a:rPr kumimoji="0" lang="en-US" sz="1200" b="0" i="0" u="none" strike="noStrike" kern="0" cap="none" spc="0" normalizeH="0" baseline="0" noProof="0" dirty="0" err="1">
                <a:ln>
                  <a:noFill/>
                </a:ln>
                <a:solidFill>
                  <a:srgbClr val="FFC000"/>
                </a:solidFill>
                <a:effectLst/>
                <a:uLnTx/>
                <a:uFillTx/>
                <a:latin typeface="Arial" panose="020B0604020202020204" pitchFamily="34" charset="0"/>
                <a:cs typeface="Arial" panose="020B0604020202020204" pitchFamily="34" charset="0"/>
                <a:sym typeface="Sora"/>
              </a:rPr>
              <a:t>parapanw</a:t>
            </a:r>
            <a:r>
              <a:rPr kumimoji="0" lang="en-US" sz="1200" b="0" i="0" u="none" strike="noStrike" kern="0" cap="none" spc="0" normalizeH="0" baseline="0" noProof="0" dirty="0">
                <a:ln>
                  <a:noFill/>
                </a:ln>
                <a:solidFill>
                  <a:srgbClr val="FFC000"/>
                </a:solidFill>
                <a:effectLst/>
                <a:uLnTx/>
                <a:uFillTx/>
                <a:latin typeface="Arial" panose="020B0604020202020204" pitchFamily="34" charset="0"/>
                <a:cs typeface="Arial" panose="020B0604020202020204" pitchFamily="34" charset="0"/>
                <a:sym typeface="Sora"/>
              </a:rPr>
              <a:t> apo auto</a:t>
            </a:r>
            <a:endParaRPr kumimoji="0" lang="en-US" sz="1200" b="0"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endParaRP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11</a:t>
            </a:fld>
            <a:endParaRPr lang="en-US"/>
          </a:p>
        </p:txBody>
      </p:sp>
    </p:spTree>
    <p:extLst>
      <p:ext uri="{BB962C8B-B14F-4D97-AF65-F5344CB8AC3E}">
        <p14:creationId xmlns:p14="http://schemas.microsoft.com/office/powerpoint/2010/main" val="36246072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na </a:t>
            </a:r>
            <a:r>
              <a:rPr lang="en-US" dirty="0" err="1"/>
              <a:t>venn</a:t>
            </a:r>
            <a:r>
              <a:rPr lang="en-US" dirty="0"/>
              <a:t> diagram </a:t>
            </a:r>
            <a:r>
              <a:rPr lang="en-US" dirty="0" err="1"/>
              <a:t>gia</a:t>
            </a:r>
            <a:r>
              <a:rPr lang="en-US" dirty="0"/>
              <a:t> </a:t>
            </a:r>
            <a:r>
              <a:rPr lang="en-US" dirty="0" err="1"/>
              <a:t>sxesi</a:t>
            </a:r>
            <a:r>
              <a:rPr lang="en-US" dirty="0"/>
              <a:t> </a:t>
            </a:r>
            <a:r>
              <a:rPr lang="en-US" dirty="0" err="1"/>
              <a:t>metaksi</a:t>
            </a:r>
            <a:r>
              <a:rPr lang="en-US" dirty="0"/>
              <a:t> Extended Reality (XR) kai to </a:t>
            </a:r>
            <a:r>
              <a:rPr lang="en-US" dirty="0" err="1"/>
              <a:t>ipersinolo</a:t>
            </a:r>
            <a:r>
              <a:rPr lang="en-US" dirty="0"/>
              <a:t> metaverse</a:t>
            </a:r>
          </a:p>
          <a:p>
            <a:endParaRPr lang="en-US" dirty="0"/>
          </a:p>
          <a:p>
            <a:r>
              <a:rPr lang="en-US" dirty="0" err="1"/>
              <a:t>Paratiroume</a:t>
            </a:r>
            <a:r>
              <a:rPr lang="en-US" dirty="0"/>
              <a:t> </a:t>
            </a:r>
            <a:r>
              <a:rPr lang="en-US" dirty="0" err="1"/>
              <a:t>oti</a:t>
            </a:r>
            <a:r>
              <a:rPr lang="en-US" dirty="0"/>
              <a:t> ta gameplay mechanics </a:t>
            </a:r>
            <a:r>
              <a:rPr lang="en-US" dirty="0" err="1"/>
              <a:t>ine</a:t>
            </a:r>
            <a:r>
              <a:rPr lang="en-US" dirty="0"/>
              <a:t> to core </a:t>
            </a:r>
            <a:r>
              <a:rPr lang="en-US" dirty="0" err="1"/>
              <a:t>kommati</a:t>
            </a:r>
            <a:r>
              <a:rPr lang="en-US" dirty="0"/>
              <a:t> pantou</a:t>
            </a:r>
          </a:p>
          <a:p>
            <a:endParaRPr lang="en-US" dirty="0"/>
          </a:p>
          <a:p>
            <a:r>
              <a:rPr lang="en-US" dirty="0"/>
              <a:t>Superset of </a:t>
            </a:r>
            <a:r>
              <a:rPr lang="en-US" dirty="0" err="1"/>
              <a:t>ar</a:t>
            </a:r>
            <a:r>
              <a:rPr lang="en-US" dirty="0"/>
              <a:t> </a:t>
            </a:r>
            <a:r>
              <a:rPr lang="en-US" dirty="0" err="1"/>
              <a:t>vr</a:t>
            </a:r>
            <a:r>
              <a:rPr lang="en-US" dirty="0"/>
              <a:t> </a:t>
            </a:r>
            <a:r>
              <a:rPr lang="en-US" dirty="0" err="1"/>
              <a:t>mr</a:t>
            </a:r>
            <a:endParaRPr lang="en-US" dirty="0"/>
          </a:p>
          <a:p>
            <a:r>
              <a:rPr lang="en-US" dirty="0"/>
              <a:t>MR mixed reality</a:t>
            </a:r>
          </a:p>
          <a:p>
            <a:r>
              <a:rPr lang="en-US" dirty="0"/>
              <a:t>XR extended</a:t>
            </a:r>
          </a:p>
          <a:p>
            <a:r>
              <a:rPr lang="en-US" dirty="0"/>
              <a:t>AR augmented</a:t>
            </a:r>
          </a:p>
          <a:p>
            <a:endParaRPr lang="en-US" dirty="0"/>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12</a:t>
            </a:fld>
            <a:endParaRPr lang="en-US"/>
          </a:p>
        </p:txBody>
      </p:sp>
    </p:spTree>
    <p:extLst>
      <p:ext uri="{BB962C8B-B14F-4D97-AF65-F5344CB8AC3E}">
        <p14:creationId xmlns:p14="http://schemas.microsoft.com/office/powerpoint/2010/main" val="89343264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200" b="0" i="0" u="none" strike="noStrike" kern="0" cap="none" spc="0" normalizeH="0" baseline="0" noProof="0" dirty="0" err="1">
                <a:ln>
                  <a:noFill/>
                </a:ln>
                <a:solidFill>
                  <a:srgbClr val="FFFFFF"/>
                </a:solidFill>
                <a:effectLst/>
                <a:uLnTx/>
                <a:uFillTx/>
                <a:latin typeface="Arial" panose="020B0604020202020204" pitchFamily="34" charset="0"/>
                <a:cs typeface="Arial" panose="020B0604020202020204" pitchFamily="34" charset="0"/>
                <a:sym typeface="Sora"/>
              </a:rPr>
              <a:t>Ti</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a:t>
            </a:r>
            <a:r>
              <a:rPr kumimoji="0" lang="en-US" sz="1200" b="0" i="0" u="none" strike="noStrike" kern="0" cap="none" spc="0" normalizeH="0" baseline="0" noProof="0" dirty="0" err="1">
                <a:ln>
                  <a:noFill/>
                </a:ln>
                <a:solidFill>
                  <a:srgbClr val="FFFFFF"/>
                </a:solidFill>
                <a:effectLst/>
                <a:uLnTx/>
                <a:uFillTx/>
                <a:latin typeface="Arial" panose="020B0604020202020204" pitchFamily="34" charset="0"/>
                <a:cs typeface="Arial" panose="020B0604020202020204" pitchFamily="34" charset="0"/>
                <a:sym typeface="Sora"/>
              </a:rPr>
              <a:t>eksetazi</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to project </a:t>
            </a:r>
            <a:r>
              <a:rPr kumimoji="0" lang="en-US" sz="1200" b="0" i="0" u="none" strike="noStrike" kern="0" cap="none" spc="0" normalizeH="0" baseline="0" noProof="0" dirty="0" err="1">
                <a:ln>
                  <a:noFill/>
                </a:ln>
                <a:solidFill>
                  <a:srgbClr val="FFFFFF"/>
                </a:solidFill>
                <a:effectLst/>
                <a:uLnTx/>
                <a:uFillTx/>
                <a:latin typeface="Arial" panose="020B0604020202020204" pitchFamily="34" charset="0"/>
                <a:cs typeface="Arial" panose="020B0604020202020204" pitchFamily="34" charset="0"/>
                <a:sym typeface="Sora"/>
              </a:rPr>
              <a:t>gia</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a:t>
            </a:r>
            <a:r>
              <a:rPr kumimoji="0" lang="en-US" sz="1200" b="0" i="0" u="none" strike="noStrike" kern="0" cap="none" spc="0" normalizeH="0" baseline="0" noProof="0" dirty="0" err="1">
                <a:ln>
                  <a:noFill/>
                </a:ln>
                <a:solidFill>
                  <a:srgbClr val="FFFFFF"/>
                </a:solidFill>
                <a:effectLst/>
                <a:uLnTx/>
                <a:uFillTx/>
                <a:latin typeface="Arial" panose="020B0604020202020204" pitchFamily="34" charset="0"/>
                <a:cs typeface="Arial" panose="020B0604020202020204" pitchFamily="34" charset="0"/>
                <a:sym typeface="Sora"/>
              </a:rPr>
              <a:t>swsti</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a:t>
            </a:r>
            <a:r>
              <a:rPr kumimoji="0" lang="en-US" sz="1200" b="0" i="0" u="none" strike="noStrike" kern="0" cap="none" spc="0" normalizeH="0" baseline="0" noProof="0" dirty="0" err="1">
                <a:ln>
                  <a:noFill/>
                </a:ln>
                <a:solidFill>
                  <a:srgbClr val="FFFFFF"/>
                </a:solidFill>
                <a:effectLst/>
                <a:uLnTx/>
                <a:uFillTx/>
                <a:latin typeface="Arial" panose="020B0604020202020204" pitchFamily="34" charset="0"/>
                <a:cs typeface="Arial" panose="020B0604020202020204" pitchFamily="34" charset="0"/>
                <a:sym typeface="Sora"/>
              </a:rPr>
              <a:t>diekpairewsi</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to </a:t>
            </a:r>
            <a:r>
              <a:rPr kumimoji="0" lang="en-US" sz="1200" b="0" i="0" u="none" strike="noStrike" kern="0" cap="none" spc="0" normalizeH="0" baseline="0" noProof="0" dirty="0" err="1">
                <a:ln>
                  <a:noFill/>
                </a:ln>
                <a:solidFill>
                  <a:srgbClr val="FFFFFF"/>
                </a:solidFill>
                <a:effectLst/>
                <a:uLnTx/>
                <a:uFillTx/>
                <a:latin typeface="Arial" panose="020B0604020202020204" pitchFamily="34" charset="0"/>
                <a:cs typeface="Arial" panose="020B0604020202020204" pitchFamily="34" charset="0"/>
                <a:sym typeface="Sora"/>
              </a:rPr>
              <a:t>apaitisewn</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a:t>
            </a:r>
            <a:r>
              <a:rPr kumimoji="0" lang="en-US" sz="1200" b="0" i="0" u="none" strike="noStrike" kern="0" cap="none" spc="0" normalizeH="0" baseline="0" noProof="0" dirty="0" err="1">
                <a:ln>
                  <a:noFill/>
                </a:ln>
                <a:solidFill>
                  <a:srgbClr val="FFFFFF"/>
                </a:solidFill>
                <a:effectLst/>
                <a:uLnTx/>
                <a:uFillTx/>
                <a:latin typeface="Arial" panose="020B0604020202020204" pitchFamily="34" charset="0"/>
                <a:cs typeface="Arial" panose="020B0604020202020204" pitchFamily="34" charset="0"/>
                <a:sym typeface="Sora"/>
              </a:rPr>
              <a:t>prodiagrafwn</a:t>
            </a:r>
            <a:endPar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Γεφύρωση του χάσματος μεταξύ της επικοινωνίας υλικού και λογισμικού για αλληλεπίδραση εντός του παιχνιδιού</a:t>
            </a:r>
            <a:endPar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228600" marR="0" lvl="0" indent="-228600" algn="l" defTabSz="914400" rtl="0" eaLnBrk="1" fontAlgn="auto" latinLnBrk="0" hangingPunct="1">
              <a:lnSpc>
                <a:spcPct val="100000"/>
              </a:lnSpc>
              <a:spcBef>
                <a:spcPts val="0"/>
              </a:spcBef>
              <a:spcAft>
                <a:spcPts val="0"/>
              </a:spcAft>
              <a:buClrTx/>
              <a:buSzTx/>
              <a:buFontTx/>
              <a:buAutoNum type="arabicParenR"/>
              <a:tabLst/>
              <a:defRPr/>
            </a:pP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Παρελθόν, Παρόν, Εξερεύνηση του Μέλλοντος</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 peri </a:t>
            </a:r>
            <a:r>
              <a:rPr lang="en-US" dirty="0"/>
              <a:t>Hardware &amp; software evolution kai specifications</a:t>
            </a:r>
          </a:p>
          <a:p>
            <a:pPr marL="228600" marR="0" lvl="0" indent="-228600" algn="l" defTabSz="914400" rtl="0" eaLnBrk="1" fontAlgn="auto" latinLnBrk="0" hangingPunct="1">
              <a:lnSpc>
                <a:spcPct val="100000"/>
              </a:lnSpc>
              <a:spcBef>
                <a:spcPts val="0"/>
              </a:spcBef>
              <a:spcAft>
                <a:spcPts val="0"/>
              </a:spcAft>
              <a:buClrTx/>
              <a:buSzTx/>
              <a:buFontTx/>
              <a:buAutoNum type="arabicParenR"/>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2) </a:t>
            </a: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Εταιρείες μεγάλης τεχνολογίας </a:t>
            </a:r>
            <a:r>
              <a:rPr kumimoji="0" lang="en-US" sz="1200" b="0" i="0" u="none" strike="noStrike" kern="0" cap="none" spc="0" normalizeH="0" baseline="0" noProof="0" dirty="0" err="1">
                <a:ln>
                  <a:noFill/>
                </a:ln>
                <a:solidFill>
                  <a:srgbClr val="FFFFFF"/>
                </a:solidFill>
                <a:effectLst/>
                <a:uLnTx/>
                <a:uFillTx/>
                <a:latin typeface="Arial" panose="020B0604020202020204" pitchFamily="34" charset="0"/>
                <a:cs typeface="Arial" panose="020B0604020202020204" pitchFamily="34" charset="0"/>
                <a:sym typeface="Sora"/>
              </a:rPr>
              <a:t>kolosi</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a:t>
            </a: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και όραμα ενιαίας ανάπτυξης (κοινά πρότυπα λογισμικού)</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 </a:t>
            </a:r>
            <a:r>
              <a:rPr lang="en-US" dirty="0"/>
              <a:t>Common way </a:t>
            </a:r>
            <a:r>
              <a:rPr lang="en-US" dirty="0" err="1"/>
              <a:t>Stanard</a:t>
            </a:r>
            <a:r>
              <a:rPr lang="en-US" dirty="0"/>
              <a:t> </a:t>
            </a:r>
            <a:r>
              <a:rPr lang="en-US" dirty="0" err="1"/>
              <a:t>gia</a:t>
            </a:r>
            <a:r>
              <a:rPr lang="en-US" dirty="0"/>
              <a:t> business processes </a:t>
            </a:r>
            <a:r>
              <a:rPr lang="en-US" dirty="0" err="1"/>
              <a:t>dhladi</a:t>
            </a:r>
            <a:r>
              <a:rPr lang="en-US" dirty="0"/>
              <a:t> den </a:t>
            </a:r>
            <a:r>
              <a:rPr lang="en-US" dirty="0" err="1"/>
              <a:t>xriazesai</a:t>
            </a:r>
            <a:r>
              <a:rPr lang="en-US" dirty="0"/>
              <a:t> mono </a:t>
            </a:r>
            <a:r>
              <a:rPr lang="en-US" dirty="0" err="1"/>
              <a:t>kapoia</a:t>
            </a:r>
            <a:r>
              <a:rPr lang="en-US" dirty="0"/>
              <a:t> </a:t>
            </a:r>
            <a:r>
              <a:rPr lang="en-US" dirty="0" err="1"/>
              <a:t>etairia</a:t>
            </a:r>
            <a:r>
              <a:rPr lang="en-US" dirty="0"/>
              <a:t> </a:t>
            </a:r>
            <a:r>
              <a:rPr lang="en-US" dirty="0" err="1"/>
              <a:t>alla</a:t>
            </a:r>
            <a:r>
              <a:rPr lang="en-US" dirty="0"/>
              <a:t> kai ola ta </a:t>
            </a:r>
            <a:r>
              <a:rPr lang="en-US" dirty="0" err="1"/>
              <a:t>komatia</a:t>
            </a:r>
            <a:r>
              <a:rPr lang="en-US" dirty="0"/>
              <a:t> tis se </a:t>
            </a:r>
            <a:r>
              <a:rPr lang="en-US" dirty="0" err="1"/>
              <a:t>dioikitiko</a:t>
            </a:r>
            <a:r>
              <a:rPr lang="en-US" dirty="0"/>
              <a:t> kai development </a:t>
            </a:r>
            <a:r>
              <a:rPr lang="en-US" dirty="0" err="1"/>
              <a:t>na</a:t>
            </a:r>
            <a:r>
              <a:rPr lang="en-US" dirty="0"/>
              <a:t> </a:t>
            </a:r>
            <a:r>
              <a:rPr lang="en-US" dirty="0" err="1"/>
              <a:t>epikoinwnoun</a:t>
            </a:r>
            <a:r>
              <a:rPr lang="en-US" dirty="0"/>
              <a:t> </a:t>
            </a:r>
            <a:r>
              <a:rPr lang="en-US" dirty="0" err="1"/>
              <a:t>metaksi</a:t>
            </a:r>
            <a:r>
              <a:rPr lang="en-US" dirty="0"/>
              <a:t> </a:t>
            </a:r>
            <a:r>
              <a:rPr lang="en-US" dirty="0" err="1"/>
              <a:t>tous</a:t>
            </a:r>
            <a:r>
              <a:rPr lang="en-US" dirty="0"/>
              <a:t> kai </a:t>
            </a:r>
            <a:r>
              <a:rPr lang="en-US" dirty="0" err="1"/>
              <a:t>na</a:t>
            </a:r>
            <a:r>
              <a:rPr lang="en-US" dirty="0"/>
              <a:t> </a:t>
            </a:r>
            <a:r>
              <a:rPr lang="en-US" dirty="0" err="1"/>
              <a:t>proxwran</a:t>
            </a:r>
            <a:r>
              <a:rPr lang="en-US" dirty="0"/>
              <a:t> </a:t>
            </a:r>
            <a:r>
              <a:rPr lang="en-US" dirty="0" err="1"/>
              <a:t>metaksi</a:t>
            </a:r>
            <a:r>
              <a:rPr lang="en-US" dirty="0"/>
              <a:t> </a:t>
            </a:r>
            <a:r>
              <a:rPr lang="en-US" dirty="0" err="1"/>
              <a:t>tous</a:t>
            </a:r>
            <a:r>
              <a:rPr lang="en-US" dirty="0"/>
              <a:t> </a:t>
            </a:r>
            <a:r>
              <a:rPr lang="en-US" dirty="0" err="1"/>
              <a:t>gnwrizontas</a:t>
            </a:r>
            <a:r>
              <a:rPr lang="en-US" dirty="0"/>
              <a:t> ta impediments (ta empodia) kai </a:t>
            </a:r>
            <a:r>
              <a:rPr lang="en-US" dirty="0" err="1"/>
              <a:t>pws</a:t>
            </a:r>
            <a:r>
              <a:rPr lang="en-US" dirty="0"/>
              <a:t> </a:t>
            </a:r>
            <a:r>
              <a:rPr lang="en-US" dirty="0" err="1"/>
              <a:t>na</a:t>
            </a:r>
            <a:r>
              <a:rPr lang="en-US" dirty="0"/>
              <a:t> ta </a:t>
            </a:r>
            <a:r>
              <a:rPr lang="en-US" dirty="0" err="1"/>
              <a:t>kseperasoun</a:t>
            </a:r>
            <a:r>
              <a:rPr lang="en-US" dirty="0"/>
              <a:t> </a:t>
            </a:r>
            <a:r>
              <a:rPr lang="en-US" dirty="0" err="1"/>
              <a:t>p.x</a:t>
            </a:r>
            <a:r>
              <a:rPr lang="en-US" dirty="0"/>
              <a:t>. agile-scrum, GitHub, Jira, tickets etc.</a:t>
            </a:r>
          </a:p>
        </p:txBody>
      </p:sp>
      <p:sp>
        <p:nvSpPr>
          <p:cNvPr id="4" name="Slide Number Placeholder 3"/>
          <p:cNvSpPr>
            <a:spLocks noGrp="1"/>
          </p:cNvSpPr>
          <p:nvPr>
            <p:ph type="sldNum" sz="quarter" idx="5"/>
          </p:nvPr>
        </p:nvSpPr>
        <p:spPr/>
        <p:txBody>
          <a:bodyPr/>
          <a:lstStyle/>
          <a:p>
            <a:fld id="{910C69D4-DE42-414E-829A-8F378A406FFC}" type="slidenum">
              <a:rPr lang="en-US" smtClean="0"/>
              <a:t>13</a:t>
            </a:fld>
            <a:endParaRPr lang="en-US"/>
          </a:p>
        </p:txBody>
      </p:sp>
    </p:spTree>
    <p:extLst>
      <p:ext uri="{BB962C8B-B14F-4D97-AF65-F5344CB8AC3E}">
        <p14:creationId xmlns:p14="http://schemas.microsoft.com/office/powerpoint/2010/main" val="197439526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3) Metaverse </a:t>
            </a:r>
            <a:r>
              <a:rPr lang="en-US" dirty="0" err="1"/>
              <a:t>itan</a:t>
            </a:r>
            <a:r>
              <a:rPr lang="en-US" dirty="0"/>
              <a:t> </a:t>
            </a:r>
            <a:r>
              <a:rPr lang="en-US" dirty="0" err="1"/>
              <a:t>hdh</a:t>
            </a:r>
            <a:r>
              <a:rPr lang="en-US" dirty="0"/>
              <a:t> </a:t>
            </a:r>
            <a:r>
              <a:rPr lang="en-US" dirty="0" err="1"/>
              <a:t>edw</a:t>
            </a:r>
            <a:r>
              <a:rPr lang="en-US" dirty="0"/>
              <a:t> tin </a:t>
            </a:r>
            <a:r>
              <a:rPr lang="en-US" dirty="0" err="1"/>
              <a:t>Epoxi</a:t>
            </a:r>
            <a:r>
              <a:rPr lang="en-US" dirty="0"/>
              <a:t> </a:t>
            </a:r>
            <a:r>
              <a:rPr lang="en-US" dirty="0" err="1"/>
              <a:t>twn</a:t>
            </a:r>
            <a:r>
              <a:rPr lang="en-US" dirty="0"/>
              <a:t> 70s se mall center to concept </a:t>
            </a:r>
            <a:r>
              <a:rPr lang="en-US" dirty="0" err="1"/>
              <a:t>toulaxiston</a:t>
            </a:r>
            <a:r>
              <a:rPr lang="en-US" dirty="0"/>
              <a:t> (</a:t>
            </a:r>
            <a:r>
              <a:rPr lang="en-US" dirty="0" err="1"/>
              <a:t>ena</a:t>
            </a:r>
            <a:r>
              <a:rPr lang="en-US" dirty="0"/>
              <a:t> </a:t>
            </a:r>
            <a:r>
              <a:rPr lang="en-US" dirty="0" err="1"/>
              <a:t>kommati</a:t>
            </a:r>
            <a:r>
              <a:rPr lang="en-US" dirty="0"/>
              <a:t> </a:t>
            </a:r>
            <a:r>
              <a:rPr lang="en-US" dirty="0" err="1"/>
              <a:t>tou</a:t>
            </a:r>
            <a:r>
              <a:rPr lang="en-US" dirty="0"/>
              <a:t>) … </a:t>
            </a:r>
            <a:r>
              <a:rPr lang="en-US" dirty="0" err="1"/>
              <a:t>alla</a:t>
            </a:r>
            <a:r>
              <a:rPr lang="en-US" dirty="0"/>
              <a:t> </a:t>
            </a:r>
            <a:r>
              <a:rPr lang="en-US" dirty="0" err="1"/>
              <a:t>pws</a:t>
            </a:r>
            <a:r>
              <a:rPr lang="en-US" dirty="0"/>
              <a:t> virtual </a:t>
            </a:r>
            <a:r>
              <a:rPr lang="en-US" dirty="0" err="1"/>
              <a:t>mazi</a:t>
            </a:r>
            <a:r>
              <a:rPr lang="en-US" dirty="0"/>
              <a:t> me physical interaction kai </a:t>
            </a:r>
            <a:r>
              <a:rPr lang="en-US" dirty="0" err="1"/>
              <a:t>oxi</a:t>
            </a:r>
            <a:r>
              <a:rPr lang="en-US" dirty="0"/>
              <a:t> division (siloed-</a:t>
            </a:r>
            <a:r>
              <a:rPr lang="en-US" dirty="0" err="1"/>
              <a:t>apomonomena</a:t>
            </a:r>
            <a:r>
              <a:rPr lang="en-US" dirty="0"/>
              <a:t>)</a:t>
            </a:r>
          </a:p>
          <a:p>
            <a:r>
              <a:rPr lang="en-US" dirty="0" err="1"/>
              <a:t>Polla</a:t>
            </a:r>
            <a:r>
              <a:rPr lang="en-US" dirty="0"/>
              <a:t> games me interactivity </a:t>
            </a:r>
            <a:r>
              <a:rPr lang="en-US" dirty="0" err="1"/>
              <a:t>hdh</a:t>
            </a:r>
            <a:r>
              <a:rPr lang="en-US" dirty="0"/>
              <a:t> </a:t>
            </a:r>
            <a:r>
              <a:rPr lang="en-US" dirty="0" err="1"/>
              <a:t>olopoiousan</a:t>
            </a:r>
            <a:r>
              <a:rPr lang="en-US" dirty="0"/>
              <a:t> </a:t>
            </a:r>
            <a:r>
              <a:rPr lang="en-US" dirty="0" err="1"/>
              <a:t>ena</a:t>
            </a:r>
            <a:r>
              <a:rPr lang="en-US" dirty="0"/>
              <a:t> </a:t>
            </a:r>
            <a:r>
              <a:rPr lang="en-US" dirty="0" err="1"/>
              <a:t>meros</a:t>
            </a:r>
            <a:r>
              <a:rPr lang="en-US" dirty="0"/>
              <a:t> </a:t>
            </a:r>
            <a:r>
              <a:rPr lang="en-US" dirty="0" err="1"/>
              <a:t>tou</a:t>
            </a:r>
            <a:r>
              <a:rPr lang="en-US" dirty="0"/>
              <a:t> metaverse </a:t>
            </a:r>
            <a:r>
              <a:rPr lang="en-US" dirty="0" err="1"/>
              <a:t>alla</a:t>
            </a:r>
            <a:r>
              <a:rPr lang="en-US" dirty="0"/>
              <a:t> </a:t>
            </a:r>
            <a:r>
              <a:rPr lang="el-GR" dirty="0" err="1"/>
              <a:t>λειπη</a:t>
            </a:r>
            <a:r>
              <a:rPr lang="en-US" dirty="0"/>
              <a:t> to common infrastructure </a:t>
            </a:r>
            <a:r>
              <a:rPr lang="en-US" dirty="0" err="1"/>
              <a:t>gia</a:t>
            </a:r>
            <a:r>
              <a:rPr lang="en-US" dirty="0"/>
              <a:t> </a:t>
            </a:r>
            <a:r>
              <a:rPr lang="en-US" dirty="0" err="1"/>
              <a:t>plithwra</a:t>
            </a:r>
            <a:r>
              <a:rPr lang="en-US" dirty="0"/>
              <a:t> services </a:t>
            </a:r>
            <a:r>
              <a:rPr lang="en-US" dirty="0" err="1"/>
              <a:t>wste</a:t>
            </a:r>
            <a:r>
              <a:rPr lang="en-US" dirty="0"/>
              <a:t> </a:t>
            </a:r>
            <a:r>
              <a:rPr lang="en-US" dirty="0" err="1"/>
              <a:t>na</a:t>
            </a:r>
            <a:r>
              <a:rPr lang="en-US" dirty="0"/>
              <a:t> </a:t>
            </a:r>
            <a:r>
              <a:rPr lang="en-US" dirty="0" err="1"/>
              <a:t>auksithi</a:t>
            </a:r>
            <a:r>
              <a:rPr lang="en-US" dirty="0"/>
              <a:t> to “immersivity” – </a:t>
            </a:r>
            <a:r>
              <a:rPr lang="en-US" dirty="0" err="1"/>
              <a:t>na</a:t>
            </a:r>
            <a:r>
              <a:rPr lang="en-US" dirty="0"/>
              <a:t> </a:t>
            </a:r>
            <a:r>
              <a:rPr lang="en-US" dirty="0" err="1"/>
              <a:t>gini</a:t>
            </a:r>
            <a:r>
              <a:rPr lang="en-US" dirty="0"/>
              <a:t> </a:t>
            </a:r>
            <a:r>
              <a:rPr lang="en-US" dirty="0" err="1"/>
              <a:t>pio</a:t>
            </a:r>
            <a:r>
              <a:rPr lang="en-US" dirty="0"/>
              <a:t> </a:t>
            </a:r>
            <a:r>
              <a:rPr lang="en-US" dirty="0" err="1"/>
              <a:t>realistiko</a:t>
            </a:r>
            <a:r>
              <a:rPr lang="en-US" dirty="0"/>
              <a:t> </a:t>
            </a:r>
            <a:r>
              <a:rPr lang="en-US" dirty="0" err="1"/>
              <a:t>diladi</a:t>
            </a:r>
            <a:endParaRPr lang="en-US" dirty="0"/>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4) </a:t>
            </a:r>
            <a:r>
              <a:rPr kumimoji="0" lang="en-US" sz="1200" b="0" i="0" u="none" strike="noStrike" kern="0" cap="none" spc="0" normalizeH="0" baseline="0" noProof="0" dirty="0" err="1">
                <a:ln>
                  <a:noFill/>
                </a:ln>
                <a:solidFill>
                  <a:srgbClr val="FFFFFF"/>
                </a:solidFill>
                <a:effectLst/>
                <a:uLnTx/>
                <a:uFillTx/>
                <a:latin typeface="Arial" panose="020B0604020202020204" pitchFamily="34" charset="0"/>
                <a:cs typeface="Arial" panose="020B0604020202020204" pitchFamily="34" charset="0"/>
                <a:sym typeface="Sora"/>
              </a:rPr>
              <a:t>Diladi</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ta Gameplay Mechanics </a:t>
            </a: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μπορεί να χαρακτηριστεί ως ο τρόπος εισόδου στο</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matrix</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14</a:t>
            </a:fld>
            <a:endParaRPr lang="en-US"/>
          </a:p>
        </p:txBody>
      </p:sp>
    </p:spTree>
    <p:extLst>
      <p:ext uri="{BB962C8B-B14F-4D97-AF65-F5344CB8AC3E}">
        <p14:creationId xmlns:p14="http://schemas.microsoft.com/office/powerpoint/2010/main" val="5322779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a:r>
            <a:r>
              <a:rPr lang="en-US" dirty="0" err="1"/>
              <a:t>episis</a:t>
            </a:r>
            <a:r>
              <a:rPr lang="en-US" dirty="0"/>
              <a:t>) </a:t>
            </a:r>
            <a:r>
              <a:rPr lang="en-US" dirty="0" err="1"/>
              <a:t>Paratiroume</a:t>
            </a:r>
            <a:r>
              <a:rPr lang="en-US" dirty="0"/>
              <a:t> ta </a:t>
            </a:r>
            <a:r>
              <a:rPr lang="en-US" dirty="0" err="1"/>
              <a:t>dedomena</a:t>
            </a:r>
            <a:r>
              <a:rPr lang="en-US" dirty="0"/>
              <a:t> apo tin ISFE (</a:t>
            </a:r>
            <a:r>
              <a:rPr lang="en-US" dirty="0" err="1"/>
              <a:t>europes</a:t>
            </a:r>
            <a:r>
              <a:rPr lang="en-US" dirty="0"/>
              <a:t> video game industry) </a:t>
            </a:r>
            <a:r>
              <a:rPr lang="en-US" dirty="0" err="1"/>
              <a:t>gia</a:t>
            </a:r>
            <a:r>
              <a:rPr lang="en-US" dirty="0"/>
              <a:t> tin </a:t>
            </a:r>
            <a:r>
              <a:rPr lang="en-US" dirty="0" err="1"/>
              <a:t>gramiki</a:t>
            </a:r>
            <a:r>
              <a:rPr lang="en-US" dirty="0"/>
              <a:t> kai (</a:t>
            </a:r>
            <a:r>
              <a:rPr lang="en-US" dirty="0" err="1"/>
              <a:t>sxedon</a:t>
            </a:r>
            <a:r>
              <a:rPr lang="en-US" dirty="0"/>
              <a:t>) </a:t>
            </a:r>
            <a:r>
              <a:rPr lang="en-US" dirty="0" err="1"/>
              <a:t>ekthetiki</a:t>
            </a:r>
            <a:r>
              <a:rPr lang="en-US" dirty="0"/>
              <a:t> </a:t>
            </a:r>
            <a:r>
              <a:rPr lang="en-US" dirty="0" err="1"/>
              <a:t>auksisi</a:t>
            </a:r>
            <a:r>
              <a:rPr lang="en-US" dirty="0"/>
              <a:t> </a:t>
            </a:r>
            <a:r>
              <a:rPr lang="en-US" dirty="0" err="1"/>
              <a:t>twn</a:t>
            </a:r>
            <a:r>
              <a:rPr lang="en-US" dirty="0"/>
              <a:t> </a:t>
            </a:r>
            <a:r>
              <a:rPr lang="en-US" dirty="0" err="1"/>
              <a:t>teleutaion</a:t>
            </a:r>
            <a:r>
              <a:rPr lang="en-US" dirty="0"/>
              <a:t> </a:t>
            </a:r>
            <a:r>
              <a:rPr lang="en-US" dirty="0" err="1"/>
              <a:t>etwn</a:t>
            </a:r>
            <a:r>
              <a:rPr lang="en-US" dirty="0"/>
              <a:t> </a:t>
            </a:r>
            <a:r>
              <a:rPr lang="en-US" dirty="0" err="1"/>
              <a:t>idios</a:t>
            </a:r>
            <a:r>
              <a:rPr lang="en-US" dirty="0"/>
              <a:t> logo global pandemic</a:t>
            </a:r>
          </a:p>
        </p:txBody>
      </p:sp>
      <p:sp>
        <p:nvSpPr>
          <p:cNvPr id="4" name="Slide Number Placeholder 3"/>
          <p:cNvSpPr>
            <a:spLocks noGrp="1"/>
          </p:cNvSpPr>
          <p:nvPr>
            <p:ph type="sldNum" sz="quarter" idx="5"/>
          </p:nvPr>
        </p:nvSpPr>
        <p:spPr/>
        <p:txBody>
          <a:bodyPr/>
          <a:lstStyle/>
          <a:p>
            <a:fld id="{910C69D4-DE42-414E-829A-8F378A406FFC}" type="slidenum">
              <a:rPr lang="en-US" smtClean="0"/>
              <a:t>15</a:t>
            </a:fld>
            <a:endParaRPr lang="en-US"/>
          </a:p>
        </p:txBody>
      </p:sp>
    </p:spTree>
    <p:extLst>
      <p:ext uri="{BB962C8B-B14F-4D97-AF65-F5344CB8AC3E}">
        <p14:creationId xmlns:p14="http://schemas.microsoft.com/office/powerpoint/2010/main" val="387942824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Sto</a:t>
            </a:r>
            <a:r>
              <a:rPr lang="en-US" dirty="0"/>
              <a:t> flow of gaming simulation evolution </a:t>
            </a:r>
            <a:r>
              <a:rPr lang="en-US" dirty="0" err="1"/>
              <a:t>iparxi</a:t>
            </a:r>
            <a:r>
              <a:rPr lang="en-US" dirty="0"/>
              <a:t> I </a:t>
            </a:r>
            <a:r>
              <a:rPr lang="en-US" dirty="0" err="1"/>
              <a:t>akolouthia</a:t>
            </a:r>
            <a:r>
              <a:rPr lang="en-US" dirty="0"/>
              <a:t> hardware me ta </a:t>
            </a:r>
            <a:r>
              <a:rPr lang="en-US" dirty="0" err="1"/>
              <a:t>antoistoixa</a:t>
            </a:r>
            <a:r>
              <a:rPr lang="en-US" dirty="0"/>
              <a:t> </a:t>
            </a:r>
            <a:r>
              <a:rPr lang="en-US" dirty="0" err="1"/>
              <a:t>softwares</a:t>
            </a:r>
            <a:endParaRPr lang="en-US" dirty="0"/>
          </a:p>
          <a:p>
            <a:endParaRPr lang="en-US" dirty="0"/>
          </a:p>
          <a:p>
            <a:r>
              <a:rPr lang="en-US" dirty="0" err="1"/>
              <a:t>Sto</a:t>
            </a:r>
            <a:r>
              <a:rPr lang="en-US" dirty="0"/>
              <a:t> mobile </a:t>
            </a:r>
            <a:r>
              <a:rPr lang="en-US" dirty="0" err="1"/>
              <a:t>parousiastikan</a:t>
            </a:r>
            <a:r>
              <a:rPr lang="en-US" dirty="0"/>
              <a:t> oi </a:t>
            </a:r>
            <a:r>
              <a:rPr lang="en-US" dirty="0" err="1"/>
              <a:t>pio</a:t>
            </a:r>
            <a:r>
              <a:rPr lang="en-US" dirty="0"/>
              <a:t> </a:t>
            </a:r>
            <a:r>
              <a:rPr lang="en-US" dirty="0" err="1"/>
              <a:t>megales</a:t>
            </a:r>
            <a:r>
              <a:rPr lang="en-US" dirty="0"/>
              <a:t> </a:t>
            </a:r>
            <a:r>
              <a:rPr lang="en-US" dirty="0" err="1"/>
              <a:t>allages</a:t>
            </a:r>
            <a:r>
              <a:rPr lang="en-US" dirty="0"/>
              <a:t> </a:t>
            </a:r>
            <a:r>
              <a:rPr lang="en-US" dirty="0" err="1"/>
              <a:t>tou</a:t>
            </a:r>
            <a:r>
              <a:rPr lang="en-US" dirty="0"/>
              <a:t> gaming industry logo </a:t>
            </a:r>
            <a:r>
              <a:rPr lang="en-US" dirty="0" err="1"/>
              <a:t>foritotas</a:t>
            </a:r>
            <a:r>
              <a:rPr lang="en-US" dirty="0"/>
              <a:t> </a:t>
            </a:r>
            <a:r>
              <a:rPr lang="en-US" dirty="0" err="1"/>
              <a:t>alla</a:t>
            </a:r>
            <a:r>
              <a:rPr lang="en-US" dirty="0"/>
              <a:t> kai </a:t>
            </a:r>
            <a:r>
              <a:rPr lang="en-US" dirty="0" err="1"/>
              <a:t>dinatotites</a:t>
            </a:r>
            <a:r>
              <a:rPr lang="en-US" dirty="0"/>
              <a:t> Augmented Reality </a:t>
            </a:r>
            <a:r>
              <a:rPr lang="en-US" dirty="0" err="1"/>
              <a:t>opws</a:t>
            </a:r>
            <a:r>
              <a:rPr lang="en-US" dirty="0"/>
              <a:t> games kai diafora filtra real time selfies capture se social media </a:t>
            </a:r>
            <a:r>
              <a:rPr lang="en-US" dirty="0" err="1"/>
              <a:t>opws</a:t>
            </a:r>
            <a:r>
              <a:rPr lang="en-US" dirty="0"/>
              <a:t> px snapchat, Instagram</a:t>
            </a:r>
          </a:p>
          <a:p>
            <a:r>
              <a:rPr lang="en-US" dirty="0" err="1"/>
              <a:t>Episis</a:t>
            </a:r>
            <a:r>
              <a:rPr lang="en-US" dirty="0"/>
              <a:t> to AR </a:t>
            </a:r>
            <a:r>
              <a:rPr lang="en-US" dirty="0" err="1"/>
              <a:t>vasizetai</a:t>
            </a:r>
            <a:r>
              <a:rPr lang="en-US" dirty="0"/>
              <a:t> kai </a:t>
            </a:r>
            <a:r>
              <a:rPr lang="en-US" dirty="0" err="1"/>
              <a:t>sto</a:t>
            </a:r>
            <a:r>
              <a:rPr lang="en-US" dirty="0"/>
              <a:t> Computer vision kai </a:t>
            </a:r>
            <a:r>
              <a:rPr lang="en-US" dirty="0" err="1"/>
              <a:t>etsi</a:t>
            </a:r>
            <a:r>
              <a:rPr lang="en-US" dirty="0"/>
              <a:t> </a:t>
            </a:r>
            <a:r>
              <a:rPr lang="en-US" dirty="0" err="1"/>
              <a:t>kathista</a:t>
            </a:r>
            <a:r>
              <a:rPr lang="en-US" dirty="0"/>
              <a:t> tin </a:t>
            </a:r>
            <a:r>
              <a:rPr lang="en-US" dirty="0" err="1"/>
              <a:t>xrisi</a:t>
            </a:r>
            <a:r>
              <a:rPr lang="en-US" dirty="0"/>
              <a:t> </a:t>
            </a:r>
            <a:r>
              <a:rPr lang="en-US" dirty="0" err="1"/>
              <a:t>kameras</a:t>
            </a:r>
            <a:r>
              <a:rPr lang="en-US" dirty="0"/>
              <a:t> </a:t>
            </a:r>
            <a:r>
              <a:rPr lang="en-US" dirty="0" err="1"/>
              <a:t>aparaititi</a:t>
            </a:r>
            <a:r>
              <a:rPr lang="en-US" dirty="0"/>
              <a:t> </a:t>
            </a:r>
            <a:r>
              <a:rPr lang="en-US" dirty="0" err="1"/>
              <a:t>sto</a:t>
            </a:r>
            <a:r>
              <a:rPr lang="en-US" dirty="0"/>
              <a:t> </a:t>
            </a:r>
            <a:r>
              <a:rPr lang="en-US" dirty="0" err="1"/>
              <a:t>na</a:t>
            </a:r>
            <a:r>
              <a:rPr lang="en-US" dirty="0"/>
              <a:t> </a:t>
            </a:r>
            <a:r>
              <a:rPr lang="en-US" dirty="0" err="1"/>
              <a:t>kani</a:t>
            </a:r>
            <a:r>
              <a:rPr lang="en-US" dirty="0"/>
              <a:t> augment </a:t>
            </a:r>
            <a:r>
              <a:rPr lang="en-US" dirty="0" err="1"/>
              <a:t>ena</a:t>
            </a:r>
            <a:r>
              <a:rPr lang="en-US" dirty="0"/>
              <a:t> virtual object </a:t>
            </a:r>
            <a:r>
              <a:rPr lang="en-US" dirty="0" err="1"/>
              <a:t>enswmatwsi</a:t>
            </a:r>
            <a:r>
              <a:rPr lang="en-US" dirty="0"/>
              <a:t> </a:t>
            </a:r>
            <a:r>
              <a:rPr lang="en-US" dirty="0" err="1"/>
              <a:t>sto</a:t>
            </a:r>
            <a:r>
              <a:rPr lang="en-US" dirty="0"/>
              <a:t> physical world</a:t>
            </a:r>
          </a:p>
        </p:txBody>
      </p:sp>
      <p:sp>
        <p:nvSpPr>
          <p:cNvPr id="4" name="Slide Number Placeholder 3"/>
          <p:cNvSpPr>
            <a:spLocks noGrp="1"/>
          </p:cNvSpPr>
          <p:nvPr>
            <p:ph type="sldNum" sz="quarter" idx="5"/>
          </p:nvPr>
        </p:nvSpPr>
        <p:spPr/>
        <p:txBody>
          <a:bodyPr/>
          <a:lstStyle/>
          <a:p>
            <a:fld id="{910C69D4-DE42-414E-829A-8F378A406FFC}" type="slidenum">
              <a:rPr lang="en-US" smtClean="0"/>
              <a:t>16</a:t>
            </a:fld>
            <a:endParaRPr lang="en-US"/>
          </a:p>
        </p:txBody>
      </p:sp>
    </p:spTree>
    <p:extLst>
      <p:ext uri="{BB962C8B-B14F-4D97-AF65-F5344CB8AC3E}">
        <p14:creationId xmlns:p14="http://schemas.microsoft.com/office/powerpoint/2010/main" val="310135897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Iparxi</a:t>
            </a:r>
            <a:r>
              <a:rPr lang="en-US" dirty="0"/>
              <a:t> kai to MR (mixed reality) </a:t>
            </a:r>
            <a:r>
              <a:rPr lang="en-US" dirty="0" err="1"/>
              <a:t>pu</a:t>
            </a:r>
            <a:r>
              <a:rPr lang="en-US" dirty="0"/>
              <a:t> </a:t>
            </a:r>
            <a:r>
              <a:rPr lang="en-US" dirty="0" err="1"/>
              <a:t>ine</a:t>
            </a:r>
            <a:r>
              <a:rPr lang="en-US" dirty="0"/>
              <a:t> </a:t>
            </a:r>
            <a:r>
              <a:rPr lang="en-US" dirty="0" err="1"/>
              <a:t>anamesa</a:t>
            </a:r>
            <a:r>
              <a:rPr lang="en-US" dirty="0"/>
              <a:t> se AR-VR </a:t>
            </a:r>
            <a:r>
              <a:rPr lang="en-US" dirty="0" err="1"/>
              <a:t>kati</a:t>
            </a:r>
            <a:r>
              <a:rPr lang="en-US" dirty="0"/>
              <a:t> </a:t>
            </a:r>
            <a:r>
              <a:rPr lang="en-US" dirty="0" err="1"/>
              <a:t>san</a:t>
            </a:r>
            <a:r>
              <a:rPr lang="en-US" dirty="0"/>
              <a:t> </a:t>
            </a:r>
            <a:r>
              <a:rPr lang="en-US" dirty="0" err="1"/>
              <a:t>pio</a:t>
            </a:r>
            <a:r>
              <a:rPr lang="en-US" dirty="0"/>
              <a:t> advanced AR me </a:t>
            </a:r>
            <a:r>
              <a:rPr lang="en-US" dirty="0" err="1"/>
              <a:t>pio</a:t>
            </a:r>
            <a:r>
              <a:rPr lang="en-US" dirty="0"/>
              <a:t> </a:t>
            </a:r>
            <a:r>
              <a:rPr lang="en-US" dirty="0" err="1"/>
              <a:t>megala</a:t>
            </a:r>
            <a:r>
              <a:rPr lang="en-US" dirty="0"/>
              <a:t> HMD (head mounted display) </a:t>
            </a:r>
            <a:r>
              <a:rPr lang="en-US" dirty="0" err="1"/>
              <a:t>siskeues</a:t>
            </a: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17</a:t>
            </a:fld>
            <a:endParaRPr lang="en-US"/>
          </a:p>
        </p:txBody>
      </p:sp>
    </p:spTree>
    <p:extLst>
      <p:ext uri="{BB962C8B-B14F-4D97-AF65-F5344CB8AC3E}">
        <p14:creationId xmlns:p14="http://schemas.microsoft.com/office/powerpoint/2010/main" val="118428699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roadmap tis </a:t>
            </a:r>
            <a:r>
              <a:rPr lang="en-US" dirty="0" err="1"/>
              <a:t>texnologias</a:t>
            </a:r>
            <a:endParaRPr lang="en-US" dirty="0"/>
          </a:p>
          <a:p>
            <a:r>
              <a:rPr lang="en-US" dirty="0"/>
              <a:t>Gia </a:t>
            </a:r>
            <a:r>
              <a:rPr lang="en-US" dirty="0" err="1"/>
              <a:t>na</a:t>
            </a:r>
            <a:r>
              <a:rPr lang="en-US" dirty="0"/>
              <a:t> </a:t>
            </a:r>
            <a:r>
              <a:rPr lang="en-US" dirty="0" err="1"/>
              <a:t>gini</a:t>
            </a:r>
            <a:r>
              <a:rPr lang="en-US" dirty="0"/>
              <a:t> auto </a:t>
            </a:r>
            <a:r>
              <a:rPr lang="en-US" dirty="0" err="1"/>
              <a:t>pragmatikotita</a:t>
            </a:r>
            <a:r>
              <a:rPr lang="en-US" dirty="0"/>
              <a:t> </a:t>
            </a:r>
            <a:r>
              <a:rPr lang="en-US" dirty="0" err="1"/>
              <a:t>prepei</a:t>
            </a:r>
            <a:r>
              <a:rPr lang="en-US" dirty="0"/>
              <a:t> </a:t>
            </a:r>
            <a:r>
              <a:rPr lang="en-US" dirty="0" err="1"/>
              <a:t>na</a:t>
            </a:r>
            <a:r>
              <a:rPr lang="en-US" dirty="0"/>
              <a:t> </a:t>
            </a:r>
            <a:r>
              <a:rPr lang="en-US" dirty="0" err="1"/>
              <a:t>iparksi</a:t>
            </a:r>
            <a:r>
              <a:rPr lang="en-US" dirty="0"/>
              <a:t> kai I </a:t>
            </a:r>
            <a:r>
              <a:rPr lang="en-US" dirty="0" err="1"/>
              <a:t>antistoixi</a:t>
            </a:r>
            <a:r>
              <a:rPr lang="en-US" dirty="0"/>
              <a:t> </a:t>
            </a:r>
            <a:r>
              <a:rPr lang="en-US" dirty="0" err="1"/>
              <a:t>ipodomi</a:t>
            </a:r>
            <a:r>
              <a:rPr lang="en-US" dirty="0"/>
              <a:t> kai </a:t>
            </a:r>
            <a:r>
              <a:rPr lang="en-US" dirty="0" err="1"/>
              <a:t>texnologies</a:t>
            </a:r>
            <a:r>
              <a:rPr lang="en-US" dirty="0"/>
              <a:t>, </a:t>
            </a:r>
            <a:r>
              <a:rPr lang="en-US" dirty="0" err="1"/>
              <a:t>ecosystimata</a:t>
            </a:r>
            <a:r>
              <a:rPr lang="en-US" dirty="0"/>
              <a:t>.</a:t>
            </a:r>
          </a:p>
        </p:txBody>
      </p:sp>
      <p:sp>
        <p:nvSpPr>
          <p:cNvPr id="4" name="Slide Number Placeholder 3"/>
          <p:cNvSpPr>
            <a:spLocks noGrp="1"/>
          </p:cNvSpPr>
          <p:nvPr>
            <p:ph type="sldNum" sz="quarter" idx="5"/>
          </p:nvPr>
        </p:nvSpPr>
        <p:spPr/>
        <p:txBody>
          <a:bodyPr/>
          <a:lstStyle/>
          <a:p>
            <a:fld id="{910C69D4-DE42-414E-829A-8F378A406FFC}" type="slidenum">
              <a:rPr lang="en-US" smtClean="0"/>
              <a:t>18</a:t>
            </a:fld>
            <a:endParaRPr lang="en-US"/>
          </a:p>
        </p:txBody>
      </p:sp>
    </p:spTree>
    <p:extLst>
      <p:ext uri="{BB962C8B-B14F-4D97-AF65-F5344CB8AC3E}">
        <p14:creationId xmlns:p14="http://schemas.microsoft.com/office/powerpoint/2010/main" val="130485245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a:t>
            </a:r>
            <a:r>
              <a:rPr lang="en-US" dirty="0" err="1"/>
              <a:t>sinwliko</a:t>
            </a:r>
            <a:r>
              <a:rPr lang="en-US" dirty="0"/>
              <a:t> </a:t>
            </a:r>
            <a:r>
              <a:rPr lang="en-US" dirty="0" err="1"/>
              <a:t>ipersinolo</a:t>
            </a:r>
            <a:r>
              <a:rPr lang="en-US" dirty="0"/>
              <a:t> </a:t>
            </a:r>
            <a:r>
              <a:rPr lang="en-US" dirty="0" err="1"/>
              <a:t>pu</a:t>
            </a:r>
            <a:r>
              <a:rPr lang="en-US" dirty="0"/>
              <a:t> </a:t>
            </a:r>
            <a:r>
              <a:rPr lang="en-US" dirty="0" err="1"/>
              <a:t>apotelei</a:t>
            </a:r>
            <a:r>
              <a:rPr lang="en-US" dirty="0"/>
              <a:t> to metaverse kai poia </a:t>
            </a:r>
            <a:r>
              <a:rPr lang="en-US" dirty="0" err="1"/>
              <a:t>kommatia</a:t>
            </a:r>
            <a:r>
              <a:rPr lang="en-US" dirty="0"/>
              <a:t> </a:t>
            </a:r>
            <a:r>
              <a:rPr lang="en-US" dirty="0" err="1"/>
              <a:t>prepei</a:t>
            </a:r>
            <a:r>
              <a:rPr lang="en-US" dirty="0"/>
              <a:t> </a:t>
            </a:r>
            <a:r>
              <a:rPr lang="en-US" dirty="0" err="1"/>
              <a:t>na</a:t>
            </a:r>
            <a:r>
              <a:rPr lang="en-US" dirty="0"/>
              <a:t> </a:t>
            </a:r>
            <a:r>
              <a:rPr lang="en-US" dirty="0" err="1"/>
              <a:t>siniparskoun</a:t>
            </a:r>
            <a:r>
              <a:rPr lang="en-US" dirty="0"/>
              <a:t> </a:t>
            </a:r>
            <a:r>
              <a:rPr lang="en-US" dirty="0" err="1"/>
              <a:t>wste</a:t>
            </a:r>
            <a:r>
              <a:rPr lang="en-US" dirty="0"/>
              <a:t> </a:t>
            </a:r>
            <a:r>
              <a:rPr lang="en-US" dirty="0" err="1"/>
              <a:t>na</a:t>
            </a:r>
            <a:r>
              <a:rPr lang="en-US" dirty="0"/>
              <a:t> </a:t>
            </a:r>
            <a:r>
              <a:rPr lang="en-US" dirty="0" err="1"/>
              <a:t>litourgisi</a:t>
            </a:r>
            <a:r>
              <a:rPr lang="en-US" dirty="0"/>
              <a:t>. </a:t>
            </a:r>
            <a:r>
              <a:rPr lang="en-US" dirty="0" err="1"/>
              <a:t>Blepoume</a:t>
            </a:r>
            <a:r>
              <a:rPr lang="en-US" dirty="0"/>
              <a:t> tin </a:t>
            </a:r>
            <a:r>
              <a:rPr lang="en-US" dirty="0" err="1"/>
              <a:t>enwsi</a:t>
            </a:r>
            <a:r>
              <a:rPr lang="en-US" dirty="0"/>
              <a:t> </a:t>
            </a:r>
            <a:r>
              <a:rPr lang="en-US" dirty="0" err="1"/>
              <a:t>olwn</a:t>
            </a:r>
            <a:r>
              <a:rPr lang="en-US" dirty="0"/>
              <a:t> ton </a:t>
            </a:r>
            <a:r>
              <a:rPr lang="en-US" dirty="0" err="1"/>
              <a:t>ipodwmon</a:t>
            </a:r>
            <a:r>
              <a:rPr lang="en-US" dirty="0"/>
              <a:t> se </a:t>
            </a:r>
            <a:r>
              <a:rPr lang="en-US" dirty="0" err="1"/>
              <a:t>drasi</a:t>
            </a:r>
            <a:r>
              <a:rPr lang="en-US" dirty="0"/>
              <a:t> </a:t>
            </a:r>
            <a:r>
              <a:rPr lang="en-US" dirty="0" err="1"/>
              <a:t>metaksi</a:t>
            </a:r>
            <a:r>
              <a:rPr lang="en-US" dirty="0"/>
              <a:t> </a:t>
            </a:r>
            <a:r>
              <a:rPr lang="en-US" dirty="0" err="1"/>
              <a:t>tous</a:t>
            </a:r>
            <a:r>
              <a:rPr lang="en-US" dirty="0"/>
              <a:t> </a:t>
            </a:r>
            <a:r>
              <a:rPr lang="en-US" dirty="0" err="1"/>
              <a:t>toso</a:t>
            </a:r>
            <a:r>
              <a:rPr lang="en-US" dirty="0"/>
              <a:t> se proactive </a:t>
            </a:r>
            <a:r>
              <a:rPr lang="en-US" dirty="0" err="1"/>
              <a:t>oso</a:t>
            </a:r>
            <a:r>
              <a:rPr lang="en-US" dirty="0"/>
              <a:t> kai reactive katastasi.</a:t>
            </a:r>
          </a:p>
          <a:p>
            <a:endParaRPr lang="en-US" dirty="0"/>
          </a:p>
          <a:p>
            <a:r>
              <a:rPr lang="en-US" dirty="0" err="1"/>
              <a:t>Episis</a:t>
            </a:r>
            <a:r>
              <a:rPr lang="en-US" dirty="0"/>
              <a:t> </a:t>
            </a:r>
            <a:r>
              <a:rPr lang="en-US" dirty="0" err="1"/>
              <a:t>stis</a:t>
            </a:r>
            <a:r>
              <a:rPr lang="en-US" dirty="0"/>
              <a:t> </a:t>
            </a:r>
            <a:r>
              <a:rPr lang="en-US" dirty="0" err="1"/>
              <a:t>asirmates</a:t>
            </a:r>
            <a:r>
              <a:rPr lang="en-US" dirty="0"/>
              <a:t> kai fixed </a:t>
            </a:r>
            <a:r>
              <a:rPr lang="en-US" dirty="0" err="1"/>
              <a:t>texnologies</a:t>
            </a:r>
            <a:r>
              <a:rPr lang="en-US" dirty="0"/>
              <a:t> </a:t>
            </a:r>
            <a:r>
              <a:rPr lang="en-US" dirty="0" err="1"/>
              <a:t>paroxwn</a:t>
            </a:r>
            <a:r>
              <a:rPr lang="en-US" dirty="0"/>
              <a:t> </a:t>
            </a:r>
            <a:r>
              <a:rPr lang="en-US" dirty="0" err="1"/>
              <a:t>iperesiwn</a:t>
            </a:r>
            <a:r>
              <a:rPr lang="en-US" dirty="0"/>
              <a:t> (SP) me 5G kai fiber </a:t>
            </a:r>
            <a:r>
              <a:rPr lang="en-US" dirty="0" err="1"/>
              <a:t>diktia</a:t>
            </a:r>
            <a:r>
              <a:rPr lang="en-US" dirty="0"/>
              <a:t> ta </a:t>
            </a:r>
            <a:r>
              <a:rPr lang="en-US" dirty="0" err="1"/>
              <a:t>Xriazomaste</a:t>
            </a:r>
            <a:r>
              <a:rPr lang="en-US" dirty="0"/>
              <a:t> </a:t>
            </a:r>
            <a:r>
              <a:rPr lang="en-US" dirty="0" err="1"/>
              <a:t>gia</a:t>
            </a:r>
            <a:r>
              <a:rPr lang="en-US" dirty="0"/>
              <a:t> low latency </a:t>
            </a:r>
            <a:r>
              <a:rPr lang="en-US" dirty="0" err="1"/>
              <a:t>wste</a:t>
            </a:r>
            <a:r>
              <a:rPr lang="en-US" dirty="0"/>
              <a:t> No motion </a:t>
            </a:r>
            <a:r>
              <a:rPr lang="en-US" dirty="0" err="1"/>
              <a:t>sickeness</a:t>
            </a:r>
            <a:r>
              <a:rPr lang="en-US" dirty="0"/>
              <a:t> </a:t>
            </a:r>
            <a:r>
              <a:rPr lang="en-US" dirty="0" err="1"/>
              <a:t>gia</a:t>
            </a:r>
            <a:r>
              <a:rPr lang="en-US" dirty="0"/>
              <a:t> VR/MR</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19</a:t>
            </a:fld>
            <a:endParaRPr lang="en-US"/>
          </a:p>
        </p:txBody>
      </p:sp>
    </p:spTree>
    <p:extLst>
      <p:ext uri="{BB962C8B-B14F-4D97-AF65-F5344CB8AC3E}">
        <p14:creationId xmlns:p14="http://schemas.microsoft.com/office/powerpoint/2010/main" val="27500575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Eimai</a:t>
            </a:r>
            <a:r>
              <a:rPr lang="en-US" dirty="0"/>
              <a:t> o Markou Mixail</a:t>
            </a:r>
          </a:p>
          <a:p>
            <a:endParaRPr lang="en-US" dirty="0"/>
          </a:p>
          <a:p>
            <a:r>
              <a:rPr lang="en-US" dirty="0" err="1"/>
              <a:t>Asxoloume</a:t>
            </a:r>
            <a:r>
              <a:rPr lang="en-US" dirty="0"/>
              <a:t> </a:t>
            </a:r>
            <a:r>
              <a:rPr lang="en-US" dirty="0" err="1"/>
              <a:t>idios</a:t>
            </a:r>
            <a:r>
              <a:rPr lang="en-US" dirty="0"/>
              <a:t> </a:t>
            </a:r>
            <a:r>
              <a:rPr lang="en-US" dirty="0" err="1"/>
              <a:t>sto</a:t>
            </a:r>
            <a:r>
              <a:rPr lang="en-US" dirty="0"/>
              <a:t> </a:t>
            </a:r>
            <a:r>
              <a:rPr lang="en-US" dirty="0" err="1"/>
              <a:t>parelthon</a:t>
            </a:r>
            <a:r>
              <a:rPr lang="en-US" dirty="0"/>
              <a:t> poly me cisco enterprise </a:t>
            </a:r>
            <a:r>
              <a:rPr lang="en-US" dirty="0" err="1"/>
              <a:t>diktia</a:t>
            </a:r>
            <a:r>
              <a:rPr lang="en-US" dirty="0"/>
              <a:t> ixa tin eukairia </a:t>
            </a:r>
            <a:r>
              <a:rPr lang="en-US" dirty="0" err="1"/>
              <a:t>na</a:t>
            </a:r>
            <a:r>
              <a:rPr lang="en-US" dirty="0"/>
              <a:t> </a:t>
            </a:r>
            <a:r>
              <a:rPr lang="en-US" dirty="0" err="1"/>
              <a:t>ekpaideuto</a:t>
            </a:r>
            <a:r>
              <a:rPr lang="en-US" dirty="0"/>
              <a:t> apo </a:t>
            </a:r>
            <a:r>
              <a:rPr lang="en-US" dirty="0" err="1"/>
              <a:t>tous</a:t>
            </a:r>
            <a:r>
              <a:rPr lang="en-US" dirty="0"/>
              <a:t> </a:t>
            </a:r>
            <a:r>
              <a:rPr lang="en-US" dirty="0" err="1"/>
              <a:t>kaliterous</a:t>
            </a:r>
            <a:r>
              <a:rPr lang="en-US" dirty="0"/>
              <a:t> se </a:t>
            </a:r>
            <a:r>
              <a:rPr lang="en-US" dirty="0" err="1"/>
              <a:t>athina</a:t>
            </a:r>
            <a:r>
              <a:rPr lang="en-US" dirty="0"/>
              <a:t> kai Thessaloniki apo </a:t>
            </a:r>
            <a:r>
              <a:rPr lang="en-US" dirty="0" err="1"/>
              <a:t>paroxous</a:t>
            </a:r>
            <a:r>
              <a:rPr lang="en-US" dirty="0"/>
              <a:t> </a:t>
            </a:r>
            <a:r>
              <a:rPr lang="en-US" dirty="0" err="1"/>
              <a:t>opws</a:t>
            </a:r>
            <a:r>
              <a:rPr lang="en-US" dirty="0"/>
              <a:t> vodafone, OTE</a:t>
            </a:r>
          </a:p>
          <a:p>
            <a:endParaRPr lang="en-US" dirty="0"/>
          </a:p>
          <a:p>
            <a:r>
              <a:rPr lang="en-US" dirty="0"/>
              <a:t>Pleon </a:t>
            </a:r>
            <a:r>
              <a:rPr lang="en-US" dirty="0" err="1"/>
              <a:t>epikentronomai</a:t>
            </a:r>
            <a:r>
              <a:rPr lang="en-US" dirty="0"/>
              <a:t> </a:t>
            </a:r>
            <a:r>
              <a:rPr lang="en-US" dirty="0" err="1"/>
              <a:t>sto</a:t>
            </a:r>
            <a:r>
              <a:rPr lang="en-US" dirty="0"/>
              <a:t> virtual world </a:t>
            </a:r>
            <a:r>
              <a:rPr lang="en-US" dirty="0" err="1"/>
              <a:t>p.x</a:t>
            </a:r>
            <a:r>
              <a:rPr lang="en-US" dirty="0"/>
              <a:t>. video-games, serious games (</a:t>
            </a:r>
            <a:r>
              <a:rPr lang="en-US" dirty="0" err="1"/>
              <a:t>thelo</a:t>
            </a:r>
            <a:r>
              <a:rPr lang="en-US" dirty="0"/>
              <a:t> </a:t>
            </a:r>
            <a:r>
              <a:rPr lang="en-US" dirty="0" err="1"/>
              <a:t>na</a:t>
            </a:r>
            <a:r>
              <a:rPr lang="en-US" dirty="0"/>
              <a:t> </a:t>
            </a:r>
            <a:r>
              <a:rPr lang="en-US" dirty="0" err="1"/>
              <a:t>asxolitho</a:t>
            </a:r>
            <a:r>
              <a:rPr lang="en-US" dirty="0"/>
              <a:t>)</a:t>
            </a:r>
          </a:p>
          <a:p>
            <a:endParaRPr lang="en-US" dirty="0"/>
          </a:p>
          <a:p>
            <a:r>
              <a:rPr lang="en-US" dirty="0" err="1"/>
              <a:t>Sto</a:t>
            </a:r>
            <a:r>
              <a:rPr lang="en-US" dirty="0"/>
              <a:t> GitHub </a:t>
            </a:r>
            <a:r>
              <a:rPr lang="en-US" dirty="0" err="1"/>
              <a:t>tha</a:t>
            </a:r>
            <a:r>
              <a:rPr lang="en-US" dirty="0"/>
              <a:t> </a:t>
            </a:r>
            <a:r>
              <a:rPr lang="en-US" dirty="0" err="1"/>
              <a:t>brite</a:t>
            </a:r>
            <a:r>
              <a:rPr lang="en-US" dirty="0"/>
              <a:t> </a:t>
            </a:r>
            <a:r>
              <a:rPr lang="en-US" dirty="0" err="1"/>
              <a:t>ena</a:t>
            </a:r>
            <a:r>
              <a:rPr lang="en-US" dirty="0"/>
              <a:t> portfolio style README.md front-page me ola ta link </a:t>
            </a:r>
            <a:r>
              <a:rPr lang="en-US" dirty="0" err="1"/>
              <a:t>pu</a:t>
            </a:r>
            <a:r>
              <a:rPr lang="en-US" dirty="0"/>
              <a:t> </a:t>
            </a:r>
            <a:r>
              <a:rPr lang="en-US" dirty="0" err="1"/>
              <a:t>sxetizontai</a:t>
            </a:r>
            <a:r>
              <a:rPr lang="en-US" dirty="0"/>
              <a:t> me emena.</a:t>
            </a:r>
          </a:p>
        </p:txBody>
      </p:sp>
      <p:sp>
        <p:nvSpPr>
          <p:cNvPr id="4" name="Slide Number Placeholder 3"/>
          <p:cNvSpPr>
            <a:spLocks noGrp="1"/>
          </p:cNvSpPr>
          <p:nvPr>
            <p:ph type="sldNum" sz="quarter" idx="5"/>
          </p:nvPr>
        </p:nvSpPr>
        <p:spPr/>
        <p:txBody>
          <a:bodyPr/>
          <a:lstStyle/>
          <a:p>
            <a:fld id="{910C69D4-DE42-414E-829A-8F378A406FFC}" type="slidenum">
              <a:rPr lang="en-US" smtClean="0"/>
              <a:t>2</a:t>
            </a:fld>
            <a:endParaRPr lang="en-US"/>
          </a:p>
        </p:txBody>
      </p:sp>
    </p:spTree>
    <p:extLst>
      <p:ext uri="{BB962C8B-B14F-4D97-AF65-F5344CB8AC3E}">
        <p14:creationId xmlns:p14="http://schemas.microsoft.com/office/powerpoint/2010/main" val="224023494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Ipodomi</a:t>
            </a:r>
            <a:r>
              <a:rPr lang="en-US" dirty="0"/>
              <a:t> apo </a:t>
            </a:r>
            <a:r>
              <a:rPr lang="en-US" dirty="0" err="1"/>
              <a:t>arxitektonikes</a:t>
            </a:r>
            <a:r>
              <a:rPr lang="en-US" dirty="0"/>
              <a:t> </a:t>
            </a:r>
            <a:r>
              <a:rPr lang="en-US" dirty="0" err="1"/>
              <a:t>prodiagrafes</a:t>
            </a:r>
            <a:r>
              <a:rPr lang="en-US" dirty="0"/>
              <a:t> kai </a:t>
            </a:r>
            <a:r>
              <a:rPr lang="en-US" dirty="0" err="1"/>
              <a:t>pliroforiwn</a:t>
            </a:r>
            <a:r>
              <a:rPr lang="en-US" dirty="0"/>
              <a:t> </a:t>
            </a:r>
            <a:r>
              <a:rPr lang="en-US" dirty="0" err="1"/>
              <a:t>p.x</a:t>
            </a:r>
            <a:r>
              <a:rPr lang="en-US" dirty="0"/>
              <a:t>. TOGAF (</a:t>
            </a:r>
            <a:r>
              <a:rPr lang="en-US" b="0" i="0" dirty="0">
                <a:solidFill>
                  <a:srgbClr val="BDC1C6"/>
                </a:solidFill>
                <a:effectLst/>
                <a:latin typeface="arial" panose="020B0604020202020204" pitchFamily="34" charset="0"/>
              </a:rPr>
              <a:t>enterprise architecture framework)</a:t>
            </a:r>
            <a:r>
              <a:rPr lang="en-US" b="0" dirty="0"/>
              <a:t> </a:t>
            </a:r>
            <a:r>
              <a:rPr lang="en-US" dirty="0"/>
              <a:t>&amp; ITIL (library </a:t>
            </a:r>
            <a:r>
              <a:rPr lang="en-US" dirty="0" err="1"/>
              <a:t>gia</a:t>
            </a:r>
            <a:r>
              <a:rPr lang="en-US" dirty="0"/>
              <a:t> best IT activities best practices) </a:t>
            </a:r>
            <a:r>
              <a:rPr lang="en-US" dirty="0" err="1"/>
              <a:t>gia</a:t>
            </a:r>
            <a:r>
              <a:rPr lang="en-US" dirty="0"/>
              <a:t> tin </a:t>
            </a:r>
            <a:r>
              <a:rPr lang="en-US" dirty="0" err="1"/>
              <a:t>iparksi</a:t>
            </a:r>
            <a:r>
              <a:rPr lang="en-US" dirty="0"/>
              <a:t> ton ITSM (Information Technology service management) services </a:t>
            </a:r>
            <a:r>
              <a:rPr lang="en-US" dirty="0" err="1"/>
              <a:t>pu</a:t>
            </a:r>
            <a:r>
              <a:rPr lang="en-US" dirty="0"/>
              <a:t> xriazetai </a:t>
            </a:r>
            <a:r>
              <a:rPr lang="en-US" dirty="0" err="1"/>
              <a:t>ena</a:t>
            </a:r>
            <a:r>
              <a:rPr lang="en-US" dirty="0"/>
              <a:t> business</a:t>
            </a:r>
          </a:p>
          <a:p>
            <a:r>
              <a:rPr lang="en-US" dirty="0"/>
              <a:t>Se </a:t>
            </a:r>
            <a:r>
              <a:rPr lang="en-US" dirty="0" err="1"/>
              <a:t>texnologiko</a:t>
            </a:r>
            <a:r>
              <a:rPr lang="en-US" dirty="0"/>
              <a:t> </a:t>
            </a:r>
            <a:r>
              <a:rPr lang="en-US" dirty="0" err="1"/>
              <a:t>tomea</a:t>
            </a:r>
            <a:r>
              <a:rPr lang="en-US" dirty="0"/>
              <a:t> </a:t>
            </a:r>
            <a:r>
              <a:rPr lang="en-US" dirty="0" err="1"/>
              <a:t>alla</a:t>
            </a:r>
            <a:r>
              <a:rPr lang="en-US" dirty="0"/>
              <a:t> kai ta </a:t>
            </a:r>
            <a:r>
              <a:rPr lang="en-US" dirty="0" err="1"/>
              <a:t>ikosistimata</a:t>
            </a:r>
            <a:r>
              <a:rPr lang="en-US" dirty="0"/>
              <a:t> </a:t>
            </a:r>
            <a:r>
              <a:rPr lang="en-US" dirty="0" err="1"/>
              <a:t>pu</a:t>
            </a:r>
            <a:r>
              <a:rPr lang="en-US" dirty="0"/>
              <a:t> to </a:t>
            </a:r>
            <a:r>
              <a:rPr lang="en-US" dirty="0" err="1"/>
              <a:t>apartizoun</a:t>
            </a:r>
            <a:r>
              <a:rPr lang="en-US" dirty="0"/>
              <a:t>/</a:t>
            </a:r>
            <a:r>
              <a:rPr lang="en-US" dirty="0" err="1"/>
              <a:t>peribaloun</a:t>
            </a:r>
            <a:r>
              <a:rPr lang="en-US" dirty="0"/>
              <a:t> </a:t>
            </a:r>
            <a:r>
              <a:rPr lang="en-US" dirty="0" err="1"/>
              <a:t>wste</a:t>
            </a:r>
            <a:r>
              <a:rPr lang="en-US" dirty="0"/>
              <a:t> </a:t>
            </a:r>
            <a:r>
              <a:rPr lang="en-US" dirty="0" err="1"/>
              <a:t>na</a:t>
            </a:r>
            <a:r>
              <a:rPr lang="en-US" dirty="0"/>
              <a:t> </a:t>
            </a:r>
            <a:r>
              <a:rPr lang="en-US" dirty="0" err="1"/>
              <a:t>iparskoun</a:t>
            </a:r>
            <a:r>
              <a:rPr lang="en-US" dirty="0"/>
              <a:t> </a:t>
            </a:r>
            <a:r>
              <a:rPr lang="en-US" dirty="0" err="1"/>
              <a:t>diepafes</a:t>
            </a:r>
            <a:r>
              <a:rPr lang="en-US" dirty="0"/>
              <a:t> </a:t>
            </a:r>
            <a:r>
              <a:rPr lang="en-US" dirty="0" err="1"/>
              <a:t>epikoinwnias</a:t>
            </a:r>
            <a:r>
              <a:rPr lang="en-US" dirty="0"/>
              <a:t> </a:t>
            </a:r>
            <a:r>
              <a:rPr lang="en-US" dirty="0" err="1"/>
              <a:t>metaksi</a:t>
            </a:r>
            <a:r>
              <a:rPr lang="en-US" dirty="0"/>
              <a:t> </a:t>
            </a:r>
            <a:r>
              <a:rPr lang="en-US" dirty="0" err="1"/>
              <a:t>tous</a:t>
            </a:r>
            <a:r>
              <a:rPr lang="en-US" dirty="0"/>
              <a:t> </a:t>
            </a:r>
            <a:r>
              <a:rPr lang="en-US" dirty="0" err="1"/>
              <a:t>alla</a:t>
            </a:r>
            <a:r>
              <a:rPr lang="en-US" dirty="0"/>
              <a:t> kai streamlined workflow </a:t>
            </a:r>
            <a:r>
              <a:rPr lang="en-US" dirty="0" err="1"/>
              <a:t>litourgias</a:t>
            </a:r>
            <a:r>
              <a:rPr lang="en-US" dirty="0"/>
              <a:t> </a:t>
            </a:r>
            <a:r>
              <a:rPr lang="en-US" dirty="0" err="1"/>
              <a:t>tous</a:t>
            </a:r>
            <a:r>
              <a:rPr lang="en-US" dirty="0"/>
              <a:t> apo </a:t>
            </a:r>
            <a:r>
              <a:rPr lang="en-US" dirty="0" err="1"/>
              <a:t>xrhstes</a:t>
            </a:r>
            <a:r>
              <a:rPr lang="en-US" dirty="0"/>
              <a:t> kai automation processes... (</a:t>
            </a:r>
            <a:r>
              <a:rPr lang="en-US" dirty="0" err="1"/>
              <a:t>Diladi</a:t>
            </a:r>
            <a:r>
              <a:rPr lang="en-US" dirty="0"/>
              <a:t>) Na </a:t>
            </a:r>
            <a:r>
              <a:rPr lang="en-US" dirty="0" err="1"/>
              <a:t>iparxi</a:t>
            </a:r>
            <a:r>
              <a:rPr lang="en-US" dirty="0"/>
              <a:t> </a:t>
            </a:r>
            <a:r>
              <a:rPr lang="en-US" dirty="0" err="1"/>
              <a:t>elenxos</a:t>
            </a:r>
            <a:r>
              <a:rPr lang="en-US" dirty="0"/>
              <a:t> (proactive katastasi)</a:t>
            </a:r>
          </a:p>
        </p:txBody>
      </p:sp>
      <p:sp>
        <p:nvSpPr>
          <p:cNvPr id="4" name="Slide Number Placeholder 3"/>
          <p:cNvSpPr>
            <a:spLocks noGrp="1"/>
          </p:cNvSpPr>
          <p:nvPr>
            <p:ph type="sldNum" sz="quarter" idx="5"/>
          </p:nvPr>
        </p:nvSpPr>
        <p:spPr/>
        <p:txBody>
          <a:bodyPr/>
          <a:lstStyle/>
          <a:p>
            <a:fld id="{910C69D4-DE42-414E-829A-8F378A406FFC}" type="slidenum">
              <a:rPr lang="en-US" smtClean="0"/>
              <a:t>20</a:t>
            </a:fld>
            <a:endParaRPr lang="en-US"/>
          </a:p>
        </p:txBody>
      </p:sp>
    </p:spTree>
    <p:extLst>
      <p:ext uri="{BB962C8B-B14F-4D97-AF65-F5344CB8AC3E}">
        <p14:creationId xmlns:p14="http://schemas.microsoft.com/office/powerpoint/2010/main" val="129930695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ia tin ilopoihsh gameplay mechanics kai deploy </a:t>
            </a:r>
            <a:r>
              <a:rPr lang="en-US" dirty="0" err="1"/>
              <a:t>sto</a:t>
            </a:r>
            <a:r>
              <a:rPr lang="en-US" dirty="0"/>
              <a:t> public cloud </a:t>
            </a:r>
            <a:r>
              <a:rPr lang="en-US" dirty="0" err="1"/>
              <a:t>tha</a:t>
            </a:r>
            <a:r>
              <a:rPr lang="en-US" dirty="0"/>
              <a:t> </a:t>
            </a:r>
            <a:r>
              <a:rPr lang="en-US" dirty="0" err="1"/>
              <a:t>xriasti</a:t>
            </a:r>
            <a:r>
              <a:rPr lang="en-US" dirty="0"/>
              <a:t> </a:t>
            </a:r>
            <a:r>
              <a:rPr lang="en-US" dirty="0" err="1"/>
              <a:t>profanws</a:t>
            </a:r>
            <a:r>
              <a:rPr lang="en-US" dirty="0"/>
              <a:t> </a:t>
            </a:r>
            <a:r>
              <a:rPr lang="en-US" dirty="0" err="1"/>
              <a:t>na</a:t>
            </a:r>
            <a:r>
              <a:rPr lang="en-US" dirty="0"/>
              <a:t> </a:t>
            </a:r>
            <a:r>
              <a:rPr lang="en-US" dirty="0" err="1"/>
              <a:t>gini</a:t>
            </a:r>
            <a:r>
              <a:rPr lang="en-US" dirty="0"/>
              <a:t> host se server me dynamic resize ton system resources </a:t>
            </a:r>
            <a:r>
              <a:rPr lang="en-US" dirty="0" err="1"/>
              <a:t>simfwna</a:t>
            </a:r>
            <a:r>
              <a:rPr lang="en-US" dirty="0"/>
              <a:t> me ton </a:t>
            </a:r>
            <a:r>
              <a:rPr lang="en-US" dirty="0" err="1"/>
              <a:t>apaitisewn</a:t>
            </a:r>
            <a:r>
              <a:rPr lang="en-US" dirty="0"/>
              <a:t> </a:t>
            </a:r>
            <a:r>
              <a:rPr lang="en-US" dirty="0" err="1"/>
              <a:t>xrhstwn</a:t>
            </a:r>
            <a:r>
              <a:rPr lang="en-US" dirty="0"/>
              <a:t>. </a:t>
            </a:r>
            <a:r>
              <a:rPr lang="en-US" dirty="0" err="1"/>
              <a:t>Epipleon</a:t>
            </a:r>
            <a:r>
              <a:rPr lang="en-US" dirty="0"/>
              <a:t> </a:t>
            </a:r>
            <a:r>
              <a:rPr lang="en-US" dirty="0" err="1"/>
              <a:t>tha</a:t>
            </a:r>
            <a:r>
              <a:rPr lang="en-US" dirty="0"/>
              <a:t> </a:t>
            </a:r>
            <a:r>
              <a:rPr lang="en-US" dirty="0" err="1"/>
              <a:t>xriastoun</a:t>
            </a:r>
            <a:r>
              <a:rPr lang="en-US" dirty="0"/>
              <a:t> basis </a:t>
            </a:r>
            <a:r>
              <a:rPr lang="en-US" dirty="0" err="1"/>
              <a:t>dedomenwn</a:t>
            </a:r>
            <a:r>
              <a:rPr lang="en-US" dirty="0"/>
              <a:t> </a:t>
            </a:r>
            <a:r>
              <a:rPr lang="en-US" dirty="0" err="1"/>
              <a:t>gia</a:t>
            </a:r>
            <a:r>
              <a:rPr lang="en-US" dirty="0"/>
              <a:t> </a:t>
            </a:r>
            <a:r>
              <a:rPr lang="en-US" dirty="0" err="1"/>
              <a:t>apothikeusi</a:t>
            </a:r>
            <a:r>
              <a:rPr lang="en-US" dirty="0"/>
              <a:t> kai </a:t>
            </a:r>
            <a:r>
              <a:rPr lang="en-US" dirty="0" err="1"/>
              <a:t>eksoriksi</a:t>
            </a:r>
            <a:r>
              <a:rPr lang="en-US" dirty="0"/>
              <a:t> (data mining) </a:t>
            </a:r>
            <a:r>
              <a:rPr lang="en-US" dirty="0" err="1"/>
              <a:t>pliroforiwn</a:t>
            </a:r>
            <a:r>
              <a:rPr lang="en-US" dirty="0"/>
              <a:t> kai </a:t>
            </a:r>
            <a:r>
              <a:rPr lang="en-US" dirty="0" err="1"/>
              <a:t>profanws</a:t>
            </a:r>
            <a:r>
              <a:rPr lang="en-US" dirty="0"/>
              <a:t> </a:t>
            </a:r>
            <a:r>
              <a:rPr lang="en-US" dirty="0" err="1"/>
              <a:t>autoi</a:t>
            </a:r>
            <a:r>
              <a:rPr lang="en-US" dirty="0"/>
              <a:t> oi server </a:t>
            </a:r>
            <a:r>
              <a:rPr lang="en-US" dirty="0" err="1"/>
              <a:t>tha</a:t>
            </a:r>
            <a:r>
              <a:rPr lang="en-US" dirty="0"/>
              <a:t> </a:t>
            </a:r>
            <a:r>
              <a:rPr lang="en-US" dirty="0" err="1"/>
              <a:t>anoikoun</a:t>
            </a:r>
            <a:r>
              <a:rPr lang="en-US" dirty="0"/>
              <a:t> se data centers. </a:t>
            </a:r>
            <a:r>
              <a:rPr lang="en-US" strike="sngStrike" dirty="0"/>
              <a:t>Ara </a:t>
            </a:r>
            <a:r>
              <a:rPr lang="en-US" strike="sngStrike" dirty="0" err="1"/>
              <a:t>katalabainoume</a:t>
            </a:r>
            <a:r>
              <a:rPr lang="en-US" strike="sngStrike" dirty="0"/>
              <a:t> </a:t>
            </a:r>
            <a:r>
              <a:rPr lang="en-US" strike="sngStrike" dirty="0" err="1"/>
              <a:t>oti</a:t>
            </a:r>
            <a:r>
              <a:rPr lang="en-US" strike="sngStrike" dirty="0"/>
              <a:t> </a:t>
            </a:r>
            <a:r>
              <a:rPr lang="en-US" strike="sngStrike" dirty="0" err="1"/>
              <a:t>ine</a:t>
            </a:r>
            <a:r>
              <a:rPr lang="en-US" strike="sngStrike" dirty="0"/>
              <a:t> </a:t>
            </a:r>
            <a:r>
              <a:rPr lang="en-US" strike="sngStrike" dirty="0" err="1"/>
              <a:t>mia</a:t>
            </a:r>
            <a:r>
              <a:rPr lang="en-US" strike="sngStrike" dirty="0"/>
              <a:t> </a:t>
            </a:r>
            <a:r>
              <a:rPr lang="en-US" strike="sngStrike" dirty="0" err="1"/>
              <a:t>arketa</a:t>
            </a:r>
            <a:r>
              <a:rPr lang="en-US" strike="sngStrike" dirty="0"/>
              <a:t> </a:t>
            </a:r>
            <a:r>
              <a:rPr lang="en-US" strike="sngStrike" dirty="0" err="1"/>
              <a:t>dapaneri</a:t>
            </a:r>
            <a:r>
              <a:rPr lang="en-US" strike="sngStrike" dirty="0"/>
              <a:t> </a:t>
            </a:r>
            <a:r>
              <a:rPr lang="en-US" strike="sngStrike" dirty="0" err="1"/>
              <a:t>epixirisi</a:t>
            </a:r>
            <a:r>
              <a:rPr lang="en-US" strike="sngStrike" dirty="0"/>
              <a:t>.</a:t>
            </a:r>
          </a:p>
          <a:p>
            <a:endParaRPr lang="en-US" dirty="0"/>
          </a:p>
          <a:p>
            <a:r>
              <a:rPr lang="en-US" dirty="0" err="1"/>
              <a:t>Parapanw</a:t>
            </a:r>
            <a:r>
              <a:rPr lang="en-US" dirty="0"/>
              <a:t> </a:t>
            </a:r>
            <a:r>
              <a:rPr lang="en-US" dirty="0" err="1"/>
              <a:t>anaferthikame</a:t>
            </a:r>
            <a:r>
              <a:rPr lang="en-US" dirty="0"/>
              <a:t> </a:t>
            </a:r>
            <a:r>
              <a:rPr lang="en-US" dirty="0" err="1"/>
              <a:t>sto</a:t>
            </a:r>
            <a:r>
              <a:rPr lang="en-US" dirty="0"/>
              <a:t> host server se cloud auto isxi mono (ama </a:t>
            </a:r>
            <a:r>
              <a:rPr lang="en-US" dirty="0" err="1"/>
              <a:t>ine</a:t>
            </a:r>
            <a:r>
              <a:rPr lang="en-US" dirty="0"/>
              <a:t> dedicated*** ama den </a:t>
            </a:r>
            <a:r>
              <a:rPr lang="en-US" dirty="0" err="1"/>
              <a:t>itan</a:t>
            </a:r>
            <a:r>
              <a:rPr lang="en-US" dirty="0"/>
              <a:t> kai </a:t>
            </a:r>
            <a:r>
              <a:rPr lang="en-US" dirty="0" err="1"/>
              <a:t>itan</a:t>
            </a:r>
            <a:r>
              <a:rPr lang="en-US" dirty="0"/>
              <a:t> host server tote </a:t>
            </a:r>
            <a:r>
              <a:rPr lang="en-US" dirty="0" err="1"/>
              <a:t>mporoume</a:t>
            </a:r>
            <a:r>
              <a:rPr lang="en-US" dirty="0"/>
              <a:t> </a:t>
            </a:r>
            <a:r>
              <a:rPr lang="en-US" dirty="0" err="1"/>
              <a:t>na</a:t>
            </a:r>
            <a:r>
              <a:rPr lang="en-US" dirty="0"/>
              <a:t> </a:t>
            </a:r>
            <a:r>
              <a:rPr lang="en-US" dirty="0" err="1"/>
              <a:t>apofigoume</a:t>
            </a:r>
            <a:r>
              <a:rPr lang="en-US" dirty="0"/>
              <a:t> </a:t>
            </a:r>
            <a:r>
              <a:rPr lang="en-US" dirty="0" err="1"/>
              <a:t>arketa</a:t>
            </a:r>
            <a:r>
              <a:rPr lang="en-US" dirty="0"/>
              <a:t> </a:t>
            </a:r>
            <a:r>
              <a:rPr lang="en-US" dirty="0" err="1"/>
              <a:t>ti</a:t>
            </a:r>
            <a:r>
              <a:rPr lang="en-US" dirty="0"/>
              <a:t> </a:t>
            </a:r>
            <a:r>
              <a:rPr lang="en-US" dirty="0" err="1"/>
              <a:t>dapani</a:t>
            </a:r>
            <a:r>
              <a:rPr lang="en-US" dirty="0"/>
              <a:t> se </a:t>
            </a:r>
            <a:r>
              <a:rPr lang="en-US" dirty="0" err="1"/>
              <a:t>ependisis</a:t>
            </a:r>
            <a:r>
              <a:rPr lang="en-US" dirty="0"/>
              <a:t> </a:t>
            </a:r>
            <a:r>
              <a:rPr lang="en-US" dirty="0" err="1"/>
              <a:t>omos</a:t>
            </a:r>
            <a:r>
              <a:rPr lang="en-US" dirty="0"/>
              <a:t> </a:t>
            </a:r>
            <a:r>
              <a:rPr lang="en-US" dirty="0" err="1"/>
              <a:t>enas</a:t>
            </a:r>
            <a:r>
              <a:rPr lang="en-US" dirty="0"/>
              <a:t> host server den </a:t>
            </a:r>
            <a:r>
              <a:rPr lang="en-US" dirty="0" err="1"/>
              <a:t>krata</a:t>
            </a:r>
            <a:r>
              <a:rPr lang="en-US" dirty="0"/>
              <a:t> score/perk/attributes, level up ton player se </a:t>
            </a:r>
            <a:r>
              <a:rPr lang="en-US" dirty="0" err="1"/>
              <a:t>kathe</a:t>
            </a:r>
            <a:r>
              <a:rPr lang="en-US" dirty="0"/>
              <a:t> reload game session </a:t>
            </a:r>
            <a:r>
              <a:rPr lang="en-US" dirty="0" err="1"/>
              <a:t>ine</a:t>
            </a:r>
            <a:r>
              <a:rPr lang="en-US" dirty="0"/>
              <a:t> mono </a:t>
            </a:r>
            <a:r>
              <a:rPr lang="en-US" dirty="0" err="1"/>
              <a:t>gia</a:t>
            </a:r>
            <a:r>
              <a:rPr lang="en-US" dirty="0"/>
              <a:t> Local Area Network environment </a:t>
            </a:r>
            <a:r>
              <a:rPr lang="en-US" dirty="0" err="1"/>
              <a:t>pio</a:t>
            </a:r>
            <a:r>
              <a:rPr lang="en-US" dirty="0"/>
              <a:t> </a:t>
            </a:r>
            <a:r>
              <a:rPr lang="en-US" dirty="0" err="1"/>
              <a:t>xrisimopoioumenos</a:t>
            </a:r>
            <a:r>
              <a:rPr lang="en-US" dirty="0"/>
              <a:t>) </a:t>
            </a:r>
          </a:p>
          <a:p>
            <a:endParaRPr lang="en-US" dirty="0"/>
          </a:p>
          <a:p>
            <a:r>
              <a:rPr lang="en-US" dirty="0"/>
              <a:t>***dedicated </a:t>
            </a:r>
            <a:r>
              <a:rPr lang="en-US" dirty="0" err="1"/>
              <a:t>diladi</a:t>
            </a:r>
            <a:r>
              <a:rPr lang="en-US" dirty="0"/>
              <a:t> </a:t>
            </a:r>
            <a:r>
              <a:rPr lang="en-US" dirty="0" err="1"/>
              <a:t>ena</a:t>
            </a:r>
            <a:r>
              <a:rPr lang="en-US" dirty="0"/>
              <a:t> </a:t>
            </a:r>
            <a:r>
              <a:rPr lang="en-US" dirty="0" err="1"/>
              <a:t>mixanima</a:t>
            </a:r>
            <a:r>
              <a:rPr lang="en-US" dirty="0"/>
              <a:t> </a:t>
            </a:r>
            <a:r>
              <a:rPr lang="en-US" dirty="0" err="1"/>
              <a:t>sto</a:t>
            </a:r>
            <a:r>
              <a:rPr lang="en-US" dirty="0"/>
              <a:t> cloud </a:t>
            </a:r>
            <a:r>
              <a:rPr lang="en-US" dirty="0" err="1"/>
              <a:t>pu</a:t>
            </a:r>
            <a:r>
              <a:rPr lang="en-US" dirty="0"/>
              <a:t> den </a:t>
            </a:r>
            <a:r>
              <a:rPr lang="en-US" dirty="0" err="1"/>
              <a:t>exi</a:t>
            </a:r>
            <a:r>
              <a:rPr lang="en-US" dirty="0"/>
              <a:t> </a:t>
            </a:r>
            <a:r>
              <a:rPr lang="en-US" dirty="0" err="1"/>
              <a:t>othoni</a:t>
            </a:r>
            <a:r>
              <a:rPr lang="en-US" dirty="0"/>
              <a:t> den </a:t>
            </a:r>
            <a:r>
              <a:rPr lang="en-US" dirty="0" err="1"/>
              <a:t>kani</a:t>
            </a:r>
            <a:r>
              <a:rPr lang="en-US" dirty="0"/>
              <a:t> render ta </a:t>
            </a:r>
            <a:r>
              <a:rPr lang="en-US" dirty="0" err="1"/>
              <a:t>grafika</a:t>
            </a:r>
            <a:r>
              <a:rPr lang="en-US" dirty="0"/>
              <a:t> den </a:t>
            </a:r>
            <a:r>
              <a:rPr lang="en-US" dirty="0" err="1"/>
              <a:t>pezi</a:t>
            </a:r>
            <a:r>
              <a:rPr lang="en-US" dirty="0"/>
              <a:t> </a:t>
            </a:r>
            <a:r>
              <a:rPr lang="en-US" dirty="0" err="1"/>
              <a:t>kapoios</a:t>
            </a:r>
            <a:r>
              <a:rPr lang="en-US" dirty="0"/>
              <a:t> </a:t>
            </a:r>
            <a:r>
              <a:rPr lang="en-US" dirty="0" err="1"/>
              <a:t>ekei</a:t>
            </a:r>
            <a:r>
              <a:rPr lang="en-US" dirty="0"/>
              <a:t> </a:t>
            </a:r>
            <a:r>
              <a:rPr lang="en-US" dirty="0" err="1"/>
              <a:t>pera</a:t>
            </a:r>
            <a:r>
              <a:rPr lang="en-US" dirty="0"/>
              <a:t> mono </a:t>
            </a:r>
            <a:r>
              <a:rPr lang="en-US" dirty="0" err="1"/>
              <a:t>ektelitai</a:t>
            </a:r>
            <a:r>
              <a:rPr lang="en-US" dirty="0"/>
              <a:t> o kwdikas </a:t>
            </a:r>
            <a:r>
              <a:rPr lang="en-US" dirty="0" err="1"/>
              <a:t>tou</a:t>
            </a:r>
            <a:r>
              <a:rPr lang="en-US" dirty="0"/>
              <a:t> </a:t>
            </a:r>
            <a:r>
              <a:rPr lang="en-US" dirty="0" err="1"/>
              <a:t>paixnidiou</a:t>
            </a:r>
            <a:r>
              <a:rPr lang="en-US" dirty="0"/>
              <a:t> kai oi </a:t>
            </a:r>
            <a:r>
              <a:rPr lang="en-US" dirty="0" err="1"/>
              <a:t>epikoinwnies</a:t>
            </a:r>
            <a:r>
              <a:rPr lang="en-US" dirty="0"/>
              <a:t> me ta ecosystem </a:t>
            </a:r>
            <a:r>
              <a:rPr lang="en-US" dirty="0" err="1"/>
              <a:t>pu</a:t>
            </a:r>
            <a:r>
              <a:rPr lang="en-US" dirty="0"/>
              <a:t> to </a:t>
            </a:r>
            <a:r>
              <a:rPr lang="en-US" dirty="0" err="1"/>
              <a:t>peribaloun</a:t>
            </a:r>
            <a:r>
              <a:rPr lang="en-US" dirty="0"/>
              <a:t>. … </a:t>
            </a:r>
            <a:r>
              <a:rPr lang="en-US" dirty="0" err="1"/>
              <a:t>diaferi</a:t>
            </a:r>
            <a:r>
              <a:rPr lang="en-US" dirty="0"/>
              <a:t> </a:t>
            </a:r>
            <a:r>
              <a:rPr lang="en-US" dirty="0" err="1"/>
              <a:t>diladi</a:t>
            </a:r>
            <a:r>
              <a:rPr lang="en-US" dirty="0"/>
              <a:t> apo ton host server o dedicated </a:t>
            </a:r>
            <a:r>
              <a:rPr lang="en-US" dirty="0" err="1"/>
              <a:t>ws</a:t>
            </a:r>
            <a:r>
              <a:rPr lang="en-US" dirty="0"/>
              <a:t> pros to render graphics vs render logic</a:t>
            </a:r>
          </a:p>
        </p:txBody>
      </p:sp>
      <p:sp>
        <p:nvSpPr>
          <p:cNvPr id="4" name="Slide Number Placeholder 3"/>
          <p:cNvSpPr>
            <a:spLocks noGrp="1"/>
          </p:cNvSpPr>
          <p:nvPr>
            <p:ph type="sldNum" sz="quarter" idx="5"/>
          </p:nvPr>
        </p:nvSpPr>
        <p:spPr/>
        <p:txBody>
          <a:bodyPr/>
          <a:lstStyle/>
          <a:p>
            <a:fld id="{910C69D4-DE42-414E-829A-8F378A406FFC}" type="slidenum">
              <a:rPr lang="en-US" smtClean="0"/>
              <a:t>21</a:t>
            </a:fld>
            <a:endParaRPr lang="en-US"/>
          </a:p>
        </p:txBody>
      </p:sp>
    </p:spTree>
    <p:extLst>
      <p:ext uri="{BB962C8B-B14F-4D97-AF65-F5344CB8AC3E}">
        <p14:creationId xmlns:p14="http://schemas.microsoft.com/office/powerpoint/2010/main" val="367091747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 </a:t>
            </a:r>
            <a:r>
              <a:rPr lang="en-US" dirty="0" err="1"/>
              <a:t>kyklos</a:t>
            </a:r>
            <a:r>
              <a:rPr lang="en-US" dirty="0"/>
              <a:t> tis </a:t>
            </a:r>
            <a:r>
              <a:rPr lang="en-US" dirty="0" err="1"/>
              <a:t>ekseliksis</a:t>
            </a:r>
            <a:r>
              <a:rPr lang="en-US" dirty="0"/>
              <a:t> </a:t>
            </a:r>
            <a:r>
              <a:rPr lang="en-US" dirty="0" err="1"/>
              <a:t>pu</a:t>
            </a:r>
            <a:r>
              <a:rPr lang="en-US" dirty="0"/>
              <a:t> I </a:t>
            </a:r>
            <a:r>
              <a:rPr lang="en-US" dirty="0" err="1"/>
              <a:t>kathe</a:t>
            </a:r>
            <a:r>
              <a:rPr lang="en-US" dirty="0"/>
              <a:t> </a:t>
            </a:r>
            <a:r>
              <a:rPr lang="en-US" dirty="0" err="1"/>
              <a:t>enotita</a:t>
            </a:r>
            <a:r>
              <a:rPr lang="en-US" dirty="0"/>
              <a:t> </a:t>
            </a:r>
            <a:r>
              <a:rPr lang="en-US" dirty="0" err="1"/>
              <a:t>ine</a:t>
            </a:r>
            <a:r>
              <a:rPr lang="en-US" dirty="0"/>
              <a:t> </a:t>
            </a:r>
            <a:r>
              <a:rPr lang="en-US" dirty="0" err="1"/>
              <a:t>proion</a:t>
            </a:r>
            <a:r>
              <a:rPr lang="en-US" dirty="0"/>
              <a:t>/product tis </a:t>
            </a:r>
            <a:r>
              <a:rPr lang="en-US" dirty="0" err="1"/>
              <a:t>proigoumenis</a:t>
            </a:r>
            <a:r>
              <a:rPr lang="en-US" dirty="0"/>
              <a:t> </a:t>
            </a:r>
            <a:r>
              <a:rPr lang="en-US" dirty="0" err="1"/>
              <a:t>pu</a:t>
            </a:r>
            <a:r>
              <a:rPr lang="en-US" dirty="0"/>
              <a:t> </a:t>
            </a:r>
            <a:r>
              <a:rPr lang="en-US" dirty="0" err="1"/>
              <a:t>simaini</a:t>
            </a:r>
            <a:r>
              <a:rPr lang="en-US" dirty="0"/>
              <a:t> den </a:t>
            </a:r>
            <a:r>
              <a:rPr lang="en-US" dirty="0" err="1"/>
              <a:t>ine</a:t>
            </a:r>
            <a:r>
              <a:rPr lang="en-US" dirty="0"/>
              <a:t> standalone </a:t>
            </a:r>
            <a:r>
              <a:rPr lang="en-US" dirty="0" err="1"/>
              <a:t>alla</a:t>
            </a:r>
            <a:r>
              <a:rPr lang="en-US" dirty="0"/>
              <a:t> ola </a:t>
            </a:r>
            <a:r>
              <a:rPr lang="en-US" dirty="0" err="1"/>
              <a:t>sindeontai</a:t>
            </a:r>
            <a:r>
              <a:rPr lang="en-US" dirty="0"/>
              <a:t> </a:t>
            </a:r>
            <a:r>
              <a:rPr lang="en-US" dirty="0" err="1"/>
              <a:t>metaksi</a:t>
            </a:r>
            <a:r>
              <a:rPr lang="en-US" dirty="0"/>
              <a:t> </a:t>
            </a:r>
            <a:r>
              <a:rPr lang="en-US" dirty="0" err="1"/>
              <a:t>tous</a:t>
            </a:r>
            <a:r>
              <a:rPr lang="en-US" dirty="0"/>
              <a:t> </a:t>
            </a:r>
            <a:r>
              <a:rPr lang="en-US" dirty="0" err="1"/>
              <a:t>opws</a:t>
            </a:r>
            <a:r>
              <a:rPr lang="en-US" dirty="0"/>
              <a:t> kai ta/</a:t>
            </a:r>
            <a:r>
              <a:rPr lang="en-US" dirty="0" err="1"/>
              <a:t>san</a:t>
            </a:r>
            <a:r>
              <a:rPr lang="en-US" dirty="0"/>
              <a:t> API. Observation</a:t>
            </a:r>
          </a:p>
          <a:p>
            <a:endParaRPr lang="en-US" dirty="0"/>
          </a:p>
          <a:p>
            <a:pPr algn="l"/>
            <a:r>
              <a:rPr lang="en-US" u="none" strike="sngStrike" dirty="0"/>
              <a:t>(change slide before say) </a:t>
            </a:r>
            <a:r>
              <a:rPr lang="en-US" dirty="0" err="1"/>
              <a:t>Opws</a:t>
            </a:r>
            <a:r>
              <a:rPr lang="en-US" dirty="0"/>
              <a:t> </a:t>
            </a:r>
            <a:r>
              <a:rPr lang="en-US" dirty="0" err="1"/>
              <a:t>ipe</a:t>
            </a:r>
            <a:r>
              <a:rPr lang="en-US" dirty="0"/>
              <a:t> kai o </a:t>
            </a:r>
            <a:r>
              <a:rPr lang="en-US" dirty="0" err="1"/>
              <a:t>mathimatikos</a:t>
            </a:r>
            <a:r>
              <a:rPr lang="en-US" dirty="0"/>
              <a:t> kai </a:t>
            </a:r>
            <a:r>
              <a:rPr lang="en-US" dirty="0" err="1"/>
              <a:t>paixtis</a:t>
            </a:r>
            <a:r>
              <a:rPr lang="en-US" dirty="0"/>
              <a:t> </a:t>
            </a:r>
            <a:r>
              <a:rPr lang="en-US" dirty="0" err="1"/>
              <a:t>skasi</a:t>
            </a:r>
            <a:r>
              <a:rPr lang="en-US" dirty="0"/>
              <a:t> MAX EUWE </a:t>
            </a:r>
            <a:r>
              <a:rPr lang="el-GR" dirty="0"/>
              <a:t>Η στρατηγική θέλει σκέψη, η τακτική θέλει παρατήρηση.</a:t>
            </a:r>
            <a:r>
              <a:rPr lang="en-US" dirty="0"/>
              <a:t> - </a:t>
            </a:r>
            <a:r>
              <a:rPr lang="en-US" sz="1800" b="0" i="0" u="none" strike="noStrike" dirty="0">
                <a:solidFill>
                  <a:srgbClr val="101010"/>
                </a:solidFill>
                <a:effectLst/>
                <a:latin typeface="Arial" panose="020B0604020202020204" pitchFamily="34" charset="0"/>
              </a:rPr>
              <a:t>Strategy requires thought, tactics require observation.</a:t>
            </a:r>
          </a:p>
          <a:p>
            <a:br>
              <a:rPr lang="en-US" dirty="0"/>
            </a:b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2</a:t>
            </a:fld>
            <a:endParaRPr lang="en-US"/>
          </a:p>
        </p:txBody>
      </p:sp>
    </p:spTree>
    <p:extLst>
      <p:ext uri="{BB962C8B-B14F-4D97-AF65-F5344CB8AC3E}">
        <p14:creationId xmlns:p14="http://schemas.microsoft.com/office/powerpoint/2010/main" val="62424721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Katanoisi</a:t>
            </a:r>
            <a:r>
              <a:rPr lang="en-US" dirty="0"/>
              <a:t> </a:t>
            </a:r>
            <a:r>
              <a:rPr lang="en-US" dirty="0" err="1"/>
              <a:t>apaitisewn</a:t>
            </a:r>
            <a:r>
              <a:rPr lang="en-US" dirty="0"/>
              <a:t> me </a:t>
            </a:r>
            <a:r>
              <a:rPr lang="en-US" dirty="0" err="1"/>
              <a:t>ereuna</a:t>
            </a:r>
            <a:r>
              <a:rPr lang="en-US" dirty="0"/>
              <a:t> </a:t>
            </a:r>
            <a:r>
              <a:rPr lang="en-US" dirty="0" err="1"/>
              <a:t>diathesimwn</a:t>
            </a:r>
            <a:r>
              <a:rPr lang="en-US" dirty="0"/>
              <a:t> </a:t>
            </a:r>
            <a:r>
              <a:rPr lang="en-US" dirty="0" err="1"/>
              <a:t>ergaliwn</a:t>
            </a:r>
            <a:endParaRPr lang="en-US" dirty="0"/>
          </a:p>
          <a:p>
            <a:endParaRPr lang="en-US" dirty="0"/>
          </a:p>
          <a:p>
            <a:r>
              <a:rPr lang="en-US" strike="sngStrike" dirty="0"/>
              <a:t>Say about UE etc. like doc slides</a:t>
            </a:r>
          </a:p>
          <a:p>
            <a:endParaRPr lang="en-US" dirty="0"/>
          </a:p>
          <a:p>
            <a:r>
              <a:rPr lang="en-US" dirty="0" err="1"/>
              <a:t>Poies</a:t>
            </a:r>
            <a:r>
              <a:rPr lang="en-US" dirty="0"/>
              <a:t> </a:t>
            </a:r>
            <a:r>
              <a:rPr lang="en-US" dirty="0" err="1"/>
              <a:t>ine</a:t>
            </a:r>
            <a:r>
              <a:rPr lang="en-US" dirty="0"/>
              <a:t> oi </a:t>
            </a:r>
            <a:r>
              <a:rPr lang="en-US" dirty="0" err="1"/>
              <a:t>basikes</a:t>
            </a:r>
            <a:r>
              <a:rPr lang="en-US" dirty="0"/>
              <a:t> </a:t>
            </a:r>
            <a:r>
              <a:rPr lang="en-US" dirty="0" err="1"/>
              <a:t>apaitisis</a:t>
            </a:r>
            <a:r>
              <a:rPr lang="en-US" dirty="0"/>
              <a:t> </a:t>
            </a:r>
            <a:r>
              <a:rPr lang="en-US" dirty="0" err="1"/>
              <a:t>diekparaiwsis</a:t>
            </a:r>
            <a:r>
              <a:rPr lang="en-US" dirty="0"/>
              <a:t> </a:t>
            </a:r>
            <a:r>
              <a:rPr lang="en-US" dirty="0" err="1"/>
              <a:t>enos</a:t>
            </a:r>
            <a:r>
              <a:rPr lang="en-US" dirty="0"/>
              <a:t> project? </a:t>
            </a:r>
            <a:r>
              <a:rPr lang="en-US" dirty="0" err="1"/>
              <a:t>Ksekinontas</a:t>
            </a:r>
            <a:r>
              <a:rPr lang="en-US" dirty="0"/>
              <a:t> </a:t>
            </a:r>
            <a:r>
              <a:rPr lang="en-US" dirty="0" err="1"/>
              <a:t>kanontas</a:t>
            </a:r>
            <a:r>
              <a:rPr lang="en-US" dirty="0"/>
              <a:t> </a:t>
            </a:r>
            <a:r>
              <a:rPr lang="en-US" dirty="0" err="1"/>
              <a:t>ereuna</a:t>
            </a:r>
            <a:r>
              <a:rPr lang="en-US" dirty="0"/>
              <a:t> </a:t>
            </a:r>
            <a:r>
              <a:rPr lang="en-US" dirty="0" err="1"/>
              <a:t>sta</a:t>
            </a:r>
            <a:r>
              <a:rPr lang="en-US" dirty="0"/>
              <a:t> </a:t>
            </a:r>
            <a:r>
              <a:rPr lang="en-US" dirty="0" err="1"/>
              <a:t>ergalia</a:t>
            </a:r>
            <a:r>
              <a:rPr lang="en-US" dirty="0"/>
              <a:t> </a:t>
            </a:r>
            <a:r>
              <a:rPr lang="en-US" dirty="0" err="1"/>
              <a:t>pu</a:t>
            </a:r>
            <a:r>
              <a:rPr lang="en-US" dirty="0"/>
              <a:t> iparxoun kai poio </a:t>
            </a:r>
            <a:r>
              <a:rPr lang="en-US" dirty="0" err="1"/>
              <a:t>ofeli</a:t>
            </a:r>
            <a:r>
              <a:rPr lang="en-US" dirty="0"/>
              <a:t> </a:t>
            </a:r>
            <a:r>
              <a:rPr lang="en-US" dirty="0" err="1"/>
              <a:t>perisotero</a:t>
            </a:r>
            <a:r>
              <a:rPr lang="en-US" dirty="0"/>
              <a:t> </a:t>
            </a:r>
            <a:r>
              <a:rPr lang="en-US" dirty="0" err="1"/>
              <a:t>gia</a:t>
            </a:r>
            <a:r>
              <a:rPr lang="en-US" dirty="0"/>
              <a:t> tin </a:t>
            </a:r>
            <a:r>
              <a:rPr lang="en-US" dirty="0" err="1"/>
              <a:t>sigkekrimeni</a:t>
            </a:r>
            <a:r>
              <a:rPr lang="en-US" dirty="0"/>
              <a:t> doulia </a:t>
            </a:r>
            <a:r>
              <a:rPr lang="en-US" dirty="0" err="1"/>
              <a:t>simfwna</a:t>
            </a:r>
            <a:r>
              <a:rPr lang="en-US" dirty="0"/>
              <a:t> me tis </a:t>
            </a:r>
            <a:r>
              <a:rPr lang="en-US" dirty="0" err="1"/>
              <a:t>diantotites</a:t>
            </a:r>
            <a:r>
              <a:rPr lang="en-US" dirty="0"/>
              <a:t>, stability </a:t>
            </a:r>
            <a:r>
              <a:rPr lang="en-US" dirty="0" err="1"/>
              <a:t>tou</a:t>
            </a:r>
            <a:r>
              <a:rPr lang="en-US" dirty="0"/>
              <a:t> </a:t>
            </a:r>
            <a:r>
              <a:rPr lang="en-US" dirty="0" err="1"/>
              <a:t>ergaliou</a:t>
            </a:r>
            <a:r>
              <a:rPr lang="en-US" dirty="0"/>
              <a:t>, community (help, tutorials), streamlined workflow </a:t>
            </a:r>
            <a:r>
              <a:rPr lang="en-US" dirty="0" err="1"/>
              <a:t>gia</a:t>
            </a:r>
            <a:r>
              <a:rPr lang="en-US" dirty="0"/>
              <a:t> ton </a:t>
            </a:r>
            <a:r>
              <a:rPr lang="en-US" dirty="0" err="1"/>
              <a:t>xrhsth</a:t>
            </a: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3</a:t>
            </a:fld>
            <a:endParaRPr lang="en-US"/>
          </a:p>
        </p:txBody>
      </p:sp>
    </p:spTree>
    <p:extLst>
      <p:ext uri="{BB962C8B-B14F-4D97-AF65-F5344CB8AC3E}">
        <p14:creationId xmlns:p14="http://schemas.microsoft.com/office/powerpoint/2010/main" val="68946397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Sto</a:t>
            </a:r>
            <a:r>
              <a:rPr lang="en-US" dirty="0"/>
              <a:t> </a:t>
            </a:r>
            <a:r>
              <a:rPr lang="en-US" dirty="0" err="1"/>
              <a:t>parelthon</a:t>
            </a:r>
            <a:r>
              <a:rPr lang="en-US" dirty="0"/>
              <a:t> o </a:t>
            </a:r>
            <a:r>
              <a:rPr lang="en-US" dirty="0" err="1"/>
              <a:t>paradosiakos</a:t>
            </a:r>
            <a:r>
              <a:rPr lang="en-US" dirty="0"/>
              <a:t> </a:t>
            </a:r>
            <a:r>
              <a:rPr lang="en-US" dirty="0" err="1"/>
              <a:t>tropos</a:t>
            </a:r>
            <a:r>
              <a:rPr lang="en-US" dirty="0"/>
              <a:t> rendering se </a:t>
            </a:r>
            <a:r>
              <a:rPr lang="en-US" dirty="0" err="1"/>
              <a:t>epoxes</a:t>
            </a:r>
            <a:r>
              <a:rPr lang="en-US" dirty="0"/>
              <a:t> 1990 ray cast</a:t>
            </a:r>
          </a:p>
          <a:p>
            <a:endParaRPr lang="en-US" sz="1800" dirty="0">
              <a:effectLst/>
              <a:latin typeface="Arial" panose="020B0604020202020204" pitchFamily="34" charset="0"/>
              <a:ea typeface="Calibri" panose="020F0502020204030204" pitchFamily="34" charset="0"/>
            </a:endParaRPr>
          </a:p>
          <a:p>
            <a:r>
              <a:rPr lang="en-US" sz="1800" dirty="0" err="1">
                <a:effectLst/>
                <a:latin typeface="Arial" panose="020B0604020202020204" pitchFamily="34" charset="0"/>
                <a:ea typeface="Calibri" panose="020F0502020204030204" pitchFamily="34" charset="0"/>
              </a:rPr>
              <a:t>Paixnidia</a:t>
            </a:r>
            <a:r>
              <a:rPr lang="en-US" sz="1800" dirty="0">
                <a:effectLst/>
                <a:latin typeface="Arial" panose="020B0604020202020204" pitchFamily="34" charset="0"/>
                <a:ea typeface="Calibri" panose="020F0502020204030204" pitchFamily="34" charset="0"/>
              </a:rPr>
              <a:t> </a:t>
            </a:r>
            <a:r>
              <a:rPr lang="en-US" sz="1800" dirty="0" err="1">
                <a:effectLst/>
                <a:latin typeface="Arial" panose="020B0604020202020204" pitchFamily="34" charset="0"/>
                <a:ea typeface="Calibri" panose="020F0502020204030204" pitchFamily="34" charset="0"/>
              </a:rPr>
              <a:t>opws</a:t>
            </a:r>
            <a:r>
              <a:rPr lang="en-US" sz="1800" dirty="0">
                <a:effectLst/>
                <a:latin typeface="Arial" panose="020B0604020202020204" pitchFamily="34" charset="0"/>
                <a:ea typeface="Calibri" panose="020F0502020204030204" pitchFamily="34" charset="0"/>
              </a:rPr>
              <a:t> Doom, Quake </a:t>
            </a:r>
            <a:r>
              <a:rPr lang="en-US" sz="1800" dirty="0" err="1">
                <a:effectLst/>
                <a:latin typeface="Arial" panose="020B0604020202020204" pitchFamily="34" charset="0"/>
                <a:ea typeface="Calibri" panose="020F0502020204030204" pitchFamily="34" charset="0"/>
              </a:rPr>
              <a:t>pu</a:t>
            </a:r>
            <a:r>
              <a:rPr lang="en-US" sz="1800" dirty="0">
                <a:effectLst/>
                <a:latin typeface="Arial" panose="020B0604020202020204" pitchFamily="34" charset="0"/>
                <a:ea typeface="Calibri" panose="020F0502020204030204" pitchFamily="34" charset="0"/>
              </a:rPr>
              <a:t> </a:t>
            </a:r>
            <a:r>
              <a:rPr lang="en-US" sz="1800" dirty="0" err="1">
                <a:effectLst/>
                <a:latin typeface="Arial" panose="020B0604020202020204" pitchFamily="34" charset="0"/>
                <a:ea typeface="Calibri" panose="020F0502020204030204" pitchFamily="34" charset="0"/>
              </a:rPr>
              <a:t>itan</a:t>
            </a:r>
            <a:r>
              <a:rPr lang="en-US" sz="1800" dirty="0">
                <a:effectLst/>
                <a:latin typeface="Arial" panose="020B0604020202020204" pitchFamily="34" charset="0"/>
                <a:ea typeface="Calibri" panose="020F0502020204030204" pitchFamily="34" charset="0"/>
              </a:rPr>
              <a:t> 90 </a:t>
            </a:r>
            <a:r>
              <a:rPr lang="en-US" sz="1800" dirty="0" err="1">
                <a:effectLst/>
                <a:latin typeface="Arial" panose="020B0604020202020204" pitchFamily="34" charset="0"/>
                <a:ea typeface="Calibri" panose="020F0502020204030204" pitchFamily="34" charset="0"/>
              </a:rPr>
              <a:t>moirwn</a:t>
            </a:r>
            <a:r>
              <a:rPr lang="en-US" sz="1800" dirty="0">
                <a:effectLst/>
                <a:latin typeface="Arial" panose="020B0604020202020204" pitchFamily="34" charset="0"/>
                <a:ea typeface="Calibri" panose="020F0502020204030204" pitchFamily="34" charset="0"/>
              </a:rPr>
              <a:t> </a:t>
            </a:r>
            <a:r>
              <a:rPr lang="en-US" sz="1800" dirty="0" err="1">
                <a:effectLst/>
                <a:latin typeface="Arial" panose="020B0604020202020204" pitchFamily="34" charset="0"/>
                <a:ea typeface="Calibri" panose="020F0502020204030204" pitchFamily="34" charset="0"/>
              </a:rPr>
              <a:t>gwnies</a:t>
            </a:r>
            <a:r>
              <a:rPr lang="en-US" sz="1800" dirty="0">
                <a:effectLst/>
                <a:latin typeface="Arial" panose="020B0604020202020204" pitchFamily="34" charset="0"/>
                <a:ea typeface="Calibri" panose="020F0502020204030204" pitchFamily="34" charset="0"/>
              </a:rPr>
              <a:t> oi walls me to ceiling kai floor ton “3D Object” </a:t>
            </a:r>
            <a:r>
              <a:rPr lang="en-US" sz="1800" dirty="0" err="1">
                <a:effectLst/>
                <a:latin typeface="Arial" panose="020B0604020202020204" pitchFamily="34" charset="0"/>
                <a:ea typeface="Calibri" panose="020F0502020204030204" pitchFamily="34" charset="0"/>
              </a:rPr>
              <a:t>pu</a:t>
            </a:r>
            <a:r>
              <a:rPr lang="en-US" sz="1800" dirty="0">
                <a:effectLst/>
                <a:latin typeface="Arial" panose="020B0604020202020204" pitchFamily="34" charset="0"/>
                <a:ea typeface="Calibri" panose="020F0502020204030204" pitchFamily="34" charset="0"/>
              </a:rPr>
              <a:t> stin </a:t>
            </a:r>
            <a:r>
              <a:rPr lang="en-US" sz="1800" dirty="0" err="1">
                <a:effectLst/>
                <a:latin typeface="Arial" panose="020B0604020202020204" pitchFamily="34" charset="0"/>
                <a:ea typeface="Calibri" panose="020F0502020204030204" pitchFamily="34" charset="0"/>
              </a:rPr>
              <a:t>ousia</a:t>
            </a:r>
            <a:r>
              <a:rPr lang="en-US" sz="1800" dirty="0">
                <a:effectLst/>
                <a:latin typeface="Arial" panose="020B0604020202020204" pitchFamily="34" charset="0"/>
                <a:ea typeface="Calibri" panose="020F0502020204030204" pitchFamily="34" charset="0"/>
              </a:rPr>
              <a:t> </a:t>
            </a:r>
            <a:r>
              <a:rPr lang="en-US" sz="1800" dirty="0" err="1">
                <a:effectLst/>
                <a:latin typeface="Arial" panose="020B0604020202020204" pitchFamily="34" charset="0"/>
                <a:ea typeface="Calibri" panose="020F0502020204030204" pitchFamily="34" charset="0"/>
              </a:rPr>
              <a:t>itan</a:t>
            </a:r>
            <a:r>
              <a:rPr lang="en-US" sz="1800" dirty="0">
                <a:effectLst/>
                <a:latin typeface="Arial" panose="020B0604020202020204" pitchFamily="34" charset="0"/>
                <a:ea typeface="Calibri" panose="020F0502020204030204" pitchFamily="34" charset="0"/>
              </a:rPr>
              <a:t> </a:t>
            </a:r>
            <a:r>
              <a:rPr lang="en-US" sz="1800" dirty="0" err="1">
                <a:effectLst/>
                <a:latin typeface="Arial" panose="020B0604020202020204" pitchFamily="34" charset="0"/>
                <a:ea typeface="Calibri" panose="020F0502020204030204" pitchFamily="34" charset="0"/>
              </a:rPr>
              <a:t>kathara</a:t>
            </a:r>
            <a:r>
              <a:rPr lang="en-US" sz="1800" dirty="0">
                <a:effectLst/>
                <a:latin typeface="Arial" panose="020B0604020202020204" pitchFamily="34" charset="0"/>
                <a:ea typeface="Calibri" panose="020F0502020204030204" pitchFamily="34" charset="0"/>
              </a:rPr>
              <a:t> 2D kai </a:t>
            </a:r>
            <a:r>
              <a:rPr lang="en-US" sz="1800" dirty="0" err="1">
                <a:effectLst/>
                <a:latin typeface="Arial" panose="020B0604020202020204" pitchFamily="34" charset="0"/>
                <a:ea typeface="Calibri" panose="020F0502020204030204" pitchFamily="34" charset="0"/>
              </a:rPr>
              <a:t>dimiourgouses</a:t>
            </a:r>
            <a:r>
              <a:rPr lang="en-US" sz="1800" dirty="0">
                <a:effectLst/>
                <a:latin typeface="Arial" panose="020B0604020202020204" pitchFamily="34" charset="0"/>
                <a:ea typeface="Calibri" panose="020F0502020204030204" pitchFamily="34" charset="0"/>
              </a:rPr>
              <a:t> apo to 2D Plane Projection </a:t>
            </a:r>
            <a:r>
              <a:rPr lang="en-US" sz="1800" dirty="0" err="1">
                <a:effectLst/>
                <a:latin typeface="Arial" panose="020B0604020202020204" pitchFamily="34" charset="0"/>
                <a:ea typeface="Calibri" panose="020F0502020204030204" pitchFamily="34" charset="0"/>
              </a:rPr>
              <a:t>ena</a:t>
            </a:r>
            <a:r>
              <a:rPr lang="en-US" sz="1800" dirty="0">
                <a:effectLst/>
                <a:latin typeface="Arial" panose="020B0604020202020204" pitchFamily="34" charset="0"/>
                <a:ea typeface="Calibri" panose="020F0502020204030204" pitchFamily="34" charset="0"/>
              </a:rPr>
              <a:t> 3D </a:t>
            </a:r>
            <a:r>
              <a:rPr lang="en-US" sz="1800" dirty="0" err="1">
                <a:effectLst/>
                <a:latin typeface="Arial" panose="020B0604020202020204" pitchFamily="34" charset="0"/>
                <a:ea typeface="Calibri" panose="020F0502020204030204" pitchFamily="34" charset="0"/>
              </a:rPr>
              <a:t>enviroment</a:t>
            </a: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4</a:t>
            </a:fld>
            <a:endParaRPr lang="en-US"/>
          </a:p>
        </p:txBody>
      </p:sp>
    </p:spTree>
    <p:extLst>
      <p:ext uri="{BB962C8B-B14F-4D97-AF65-F5344CB8AC3E}">
        <p14:creationId xmlns:p14="http://schemas.microsoft.com/office/powerpoint/2010/main" val="87930385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trike="sngStrike" dirty="0"/>
              <a:t>Apo </a:t>
            </a:r>
            <a:r>
              <a:rPr lang="en-US" strike="sngStrike" dirty="0" err="1"/>
              <a:t>ekei</a:t>
            </a:r>
            <a:r>
              <a:rPr lang="en-US" strike="sngStrike" dirty="0"/>
              <a:t> </a:t>
            </a:r>
            <a:r>
              <a:rPr lang="en-US" strike="sngStrike" dirty="0" err="1"/>
              <a:t>edw</a:t>
            </a:r>
            <a:r>
              <a:rPr lang="en-US" strike="sngStrike" dirty="0"/>
              <a:t> (proigoumeno </a:t>
            </a:r>
            <a:r>
              <a:rPr lang="en-US" strike="sngStrike" dirty="0" err="1"/>
              <a:t>eikona</a:t>
            </a:r>
            <a:r>
              <a:rPr lang="en-US" strike="sngStrike" dirty="0"/>
              <a:t> se </a:t>
            </a:r>
            <a:r>
              <a:rPr lang="en-US" strike="sngStrike" dirty="0" err="1"/>
              <a:t>autin</a:t>
            </a:r>
            <a:r>
              <a:rPr lang="en-US" strike="sngStrike" dirty="0"/>
              <a:t>)</a:t>
            </a:r>
          </a:p>
          <a:p>
            <a:endParaRPr lang="en-US" dirty="0"/>
          </a:p>
          <a:p>
            <a:r>
              <a:rPr lang="en-US" dirty="0"/>
              <a:t>Pleon </a:t>
            </a:r>
            <a:r>
              <a:rPr lang="en-US" dirty="0" err="1"/>
              <a:t>exoume</a:t>
            </a:r>
            <a:r>
              <a:rPr lang="en-US" dirty="0"/>
              <a:t> Ray Tracing me </a:t>
            </a:r>
            <a:r>
              <a:rPr lang="en-US" dirty="0" err="1"/>
              <a:t>perisotera</a:t>
            </a:r>
            <a:r>
              <a:rPr lang="en-US" dirty="0"/>
              <a:t> rays</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l-GR" sz="1200" strike="sngStrike" dirty="0">
                <a:effectLst/>
                <a:latin typeface="Arial" panose="020B0604020202020204" pitchFamily="34" charset="0"/>
                <a:ea typeface="Calibri" panose="020F0502020204030204" pitchFamily="34" charset="0"/>
              </a:rPr>
              <a:t>Όπως το </a:t>
            </a:r>
            <a:r>
              <a:rPr lang="el-GR" sz="1200" strike="sngStrike" dirty="0" err="1">
                <a:effectLst/>
                <a:latin typeface="Arial" panose="020B0604020202020204" pitchFamily="34" charset="0"/>
                <a:ea typeface="Calibri" panose="020F0502020204030204" pitchFamily="34" charset="0"/>
              </a:rPr>
              <a:t>ray-casting</a:t>
            </a:r>
            <a:r>
              <a:rPr lang="el-GR" sz="1200" strike="sngStrike" dirty="0">
                <a:effectLst/>
                <a:latin typeface="Arial" panose="020B0604020202020204" pitchFamily="34" charset="0"/>
                <a:ea typeface="Calibri" panose="020F0502020204030204" pitchFamily="34" charset="0"/>
              </a:rPr>
              <a:t>, το </a:t>
            </a:r>
            <a:r>
              <a:rPr lang="el-GR" sz="1200" strike="sngStrike" dirty="0" err="1">
                <a:effectLst/>
                <a:latin typeface="Arial" panose="020B0604020202020204" pitchFamily="34" charset="0"/>
                <a:ea typeface="Calibri" panose="020F0502020204030204" pitchFamily="34" charset="0"/>
              </a:rPr>
              <a:t>ray-tracing</a:t>
            </a:r>
            <a:r>
              <a:rPr lang="el-GR" sz="1200" strike="sngStrike" dirty="0">
                <a:effectLst/>
                <a:latin typeface="Arial" panose="020B0604020202020204" pitchFamily="34" charset="0"/>
                <a:ea typeface="Calibri" panose="020F0502020204030204" pitchFamily="34" charset="0"/>
              </a:rPr>
              <a:t> καθορίζει την ορατότητα των επιφανειών ανιχνεύοντας φανταστικές ακτίνες φωτός από το μάτι του θεατή στο αντικείμενο στη σκηνή με διαφορά στη μαθηματική υπολογιστική εξίσωση. Αυτό που δημιουργείτε είναι</a:t>
            </a:r>
            <a:r>
              <a:rPr lang="en-US" sz="1200" strike="sngStrike" dirty="0">
                <a:effectLst/>
                <a:latin typeface="Arial" panose="020B0604020202020204" pitchFamily="34" charset="0"/>
                <a:ea typeface="Calibri" panose="020F0502020204030204" pitchFamily="34" charset="0"/>
              </a:rPr>
              <a:t> 3D projection based on 2D plane (image)</a:t>
            </a:r>
            <a:endParaRPr lang="en-US" strike="sngStrike" dirty="0"/>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5</a:t>
            </a:fld>
            <a:endParaRPr lang="en-US"/>
          </a:p>
        </p:txBody>
      </p:sp>
    </p:spTree>
    <p:extLst>
      <p:ext uri="{BB962C8B-B14F-4D97-AF65-F5344CB8AC3E}">
        <p14:creationId xmlns:p14="http://schemas.microsoft.com/office/powerpoint/2010/main" val="321425349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a:t>I Unreal engine </a:t>
            </a:r>
            <a:r>
              <a:rPr lang="en-US" dirty="0" err="1"/>
              <a:t>ine</a:t>
            </a:r>
            <a:r>
              <a:rPr lang="en-US" dirty="0"/>
              <a:t> source available </a:t>
            </a:r>
            <a:r>
              <a:rPr lang="en-US" dirty="0" err="1"/>
              <a:t>alla</a:t>
            </a:r>
            <a:r>
              <a:rPr lang="en-US" dirty="0"/>
              <a:t> </a:t>
            </a:r>
            <a:r>
              <a:rPr lang="en-US" dirty="0" err="1"/>
              <a:t>oxi</a:t>
            </a:r>
            <a:r>
              <a:rPr lang="en-US" dirty="0"/>
              <a:t> open source kai </a:t>
            </a:r>
            <a:r>
              <a:rPr lang="en-US" dirty="0" err="1"/>
              <a:t>iparxi</a:t>
            </a:r>
            <a:r>
              <a:rPr lang="en-US" dirty="0"/>
              <a:t> meta apo registration </a:t>
            </a:r>
            <a:r>
              <a:rPr lang="en-US" dirty="0" err="1"/>
              <a:t>sto</a:t>
            </a:r>
            <a:r>
              <a:rPr lang="en-US" dirty="0"/>
              <a:t> GitHub </a:t>
            </a:r>
            <a:r>
              <a:rPr lang="en-US" dirty="0" err="1"/>
              <a:t>ws</a:t>
            </a:r>
            <a:r>
              <a:rPr lang="en-US" dirty="0"/>
              <a:t> Unreal Developer</a:t>
            </a:r>
          </a:p>
          <a:p>
            <a:endParaRPr lang="en-US" dirty="0"/>
          </a:p>
          <a:p>
            <a:r>
              <a:rPr lang="en-US" dirty="0"/>
              <a:t>Fisika </a:t>
            </a:r>
            <a:r>
              <a:rPr lang="en-US" dirty="0" err="1"/>
              <a:t>kathe</a:t>
            </a:r>
            <a:r>
              <a:rPr lang="en-US" dirty="0"/>
              <a:t> </a:t>
            </a:r>
            <a:r>
              <a:rPr lang="en-US" dirty="0" err="1"/>
              <a:t>ergalio</a:t>
            </a:r>
            <a:r>
              <a:rPr lang="en-US" dirty="0"/>
              <a:t> </a:t>
            </a:r>
            <a:r>
              <a:rPr lang="en-US" dirty="0" err="1"/>
              <a:t>exi</a:t>
            </a:r>
            <a:r>
              <a:rPr lang="en-US" dirty="0"/>
              <a:t> ta plus kai minus se </a:t>
            </a:r>
            <a:r>
              <a:rPr lang="en-US" dirty="0" err="1"/>
              <a:t>sigkekrimena</a:t>
            </a:r>
            <a:r>
              <a:rPr lang="en-US" dirty="0"/>
              <a:t> topics </a:t>
            </a:r>
            <a:r>
              <a:rPr lang="en-US" dirty="0" err="1"/>
              <a:t>analoga</a:t>
            </a:r>
            <a:r>
              <a:rPr lang="en-US" dirty="0"/>
              <a:t> </a:t>
            </a:r>
            <a:r>
              <a:rPr lang="en-US" dirty="0" err="1"/>
              <a:t>pu</a:t>
            </a:r>
            <a:r>
              <a:rPr lang="en-US" dirty="0"/>
              <a:t> </a:t>
            </a:r>
            <a:r>
              <a:rPr lang="en-US" dirty="0" err="1"/>
              <a:t>ine</a:t>
            </a:r>
            <a:r>
              <a:rPr lang="en-US" dirty="0"/>
              <a:t> </a:t>
            </a:r>
            <a:r>
              <a:rPr lang="en-US" dirty="0" err="1"/>
              <a:t>pio</a:t>
            </a:r>
            <a:r>
              <a:rPr lang="en-US" dirty="0"/>
              <a:t> </a:t>
            </a:r>
            <a:r>
              <a:rPr lang="en-US" dirty="0" err="1"/>
              <a:t>dinato</a:t>
            </a:r>
            <a:r>
              <a:rPr lang="en-US" dirty="0"/>
              <a:t> </a:t>
            </a:r>
            <a:r>
              <a:rPr lang="en-US" dirty="0" err="1"/>
              <a:t>diladi</a:t>
            </a:r>
            <a:r>
              <a:rPr lang="en-US" dirty="0"/>
              <a:t> </a:t>
            </a:r>
            <a:r>
              <a:rPr lang="en-US" dirty="0" err="1"/>
              <a:t>pu</a:t>
            </a:r>
            <a:r>
              <a:rPr lang="en-US" dirty="0"/>
              <a:t> </a:t>
            </a:r>
            <a:r>
              <a:rPr lang="en-US" dirty="0" err="1"/>
              <a:t>exi</a:t>
            </a:r>
            <a:r>
              <a:rPr lang="en-US" dirty="0"/>
              <a:t> I </a:t>
            </a:r>
            <a:r>
              <a:rPr lang="en-US" dirty="0" err="1"/>
              <a:t>omada</a:t>
            </a:r>
            <a:r>
              <a:rPr lang="en-US" dirty="0"/>
              <a:t> </a:t>
            </a:r>
            <a:r>
              <a:rPr lang="en-US" dirty="0" err="1"/>
              <a:t>anaptiksis</a:t>
            </a:r>
            <a:r>
              <a:rPr lang="en-US" dirty="0"/>
              <a:t> </a:t>
            </a:r>
            <a:r>
              <a:rPr lang="en-US" dirty="0" err="1"/>
              <a:t>epikentrwthi</a:t>
            </a:r>
            <a:r>
              <a:rPr lang="en-US" dirty="0"/>
              <a:t> </a:t>
            </a:r>
            <a:r>
              <a:rPr lang="en-US" dirty="0" err="1"/>
              <a:t>sto</a:t>
            </a:r>
            <a:r>
              <a:rPr lang="en-US" dirty="0"/>
              <a:t> </a:t>
            </a:r>
            <a:r>
              <a:rPr lang="en-US" dirty="0" err="1"/>
              <a:t>na</a:t>
            </a:r>
            <a:r>
              <a:rPr lang="en-US" dirty="0"/>
              <a:t> </a:t>
            </a:r>
            <a:r>
              <a:rPr lang="en-US" dirty="0" err="1"/>
              <a:t>prosferi</a:t>
            </a:r>
            <a:r>
              <a:rPr lang="en-US" dirty="0"/>
              <a:t> </a:t>
            </a:r>
            <a:r>
              <a:rPr lang="en-US" dirty="0" err="1"/>
              <a:t>xaraktiristika</a:t>
            </a:r>
            <a:r>
              <a:rPr lang="en-US" dirty="0"/>
              <a:t> </a:t>
            </a:r>
            <a:r>
              <a:rPr lang="en-US" dirty="0" err="1"/>
              <a:t>omos</a:t>
            </a:r>
            <a:r>
              <a:rPr lang="en-US" dirty="0"/>
              <a:t> auto </a:t>
            </a:r>
            <a:r>
              <a:rPr lang="en-US" dirty="0" err="1"/>
              <a:t>ine</a:t>
            </a:r>
            <a:r>
              <a:rPr lang="en-US" dirty="0"/>
              <a:t> </a:t>
            </a:r>
            <a:r>
              <a:rPr lang="en-US" dirty="0" err="1"/>
              <a:t>analogo</a:t>
            </a:r>
            <a:r>
              <a:rPr lang="en-US" dirty="0"/>
              <a:t> kai me to marketing target</a:t>
            </a:r>
          </a:p>
          <a:p>
            <a:endParaRPr lang="en-US" dirty="0"/>
          </a:p>
          <a:p>
            <a:r>
              <a:rPr lang="en-US" dirty="0"/>
              <a:t>I </a:t>
            </a:r>
            <a:r>
              <a:rPr lang="en-US" dirty="0" err="1"/>
              <a:t>pliopsifia</a:t>
            </a:r>
            <a:r>
              <a:rPr lang="en-US" dirty="0"/>
              <a:t> ton </a:t>
            </a:r>
            <a:r>
              <a:rPr lang="en-US" dirty="0" err="1"/>
              <a:t>koloson</a:t>
            </a:r>
            <a:r>
              <a:rPr lang="en-US" dirty="0"/>
              <a:t> AAA studio pleon </a:t>
            </a:r>
            <a:r>
              <a:rPr lang="en-US" dirty="0" err="1"/>
              <a:t>xrisimopoioun</a:t>
            </a:r>
            <a:r>
              <a:rPr lang="en-US" dirty="0"/>
              <a:t> </a:t>
            </a:r>
            <a:r>
              <a:rPr lang="en-US" dirty="0" err="1"/>
              <a:t>gia</a:t>
            </a:r>
            <a:r>
              <a:rPr lang="en-US" dirty="0"/>
              <a:t> next gen games Unreal Engine 5</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6</a:t>
            </a:fld>
            <a:endParaRPr lang="en-US"/>
          </a:p>
        </p:txBody>
      </p:sp>
    </p:spTree>
    <p:extLst>
      <p:ext uri="{BB962C8B-B14F-4D97-AF65-F5344CB8AC3E}">
        <p14:creationId xmlns:p14="http://schemas.microsoft.com/office/powerpoint/2010/main" val="84194112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trike="sngStrike" dirty="0"/>
              <a:t>Ray Tracing (=lorem=(1))</a:t>
            </a:r>
          </a:p>
          <a:p>
            <a:endParaRPr lang="en-US" dirty="0"/>
          </a:p>
          <a:p>
            <a:endParaRPr lang="en-US" dirty="0"/>
          </a:p>
          <a:p>
            <a:r>
              <a:rPr lang="en-US" dirty="0"/>
              <a:t>I Unreal Engine </a:t>
            </a:r>
            <a:r>
              <a:rPr lang="en-US" dirty="0" err="1"/>
              <a:t>prosferi</a:t>
            </a:r>
            <a:endParaRPr lang="en-US" dirty="0"/>
          </a:p>
          <a:p>
            <a:endParaRPr lang="en-US" dirty="0"/>
          </a:p>
          <a:p>
            <a:r>
              <a:rPr lang="en-US" dirty="0"/>
              <a:t>Virtualized geometry </a:t>
            </a:r>
            <a:r>
              <a:rPr lang="en-US" dirty="0" err="1"/>
              <a:t>ine</a:t>
            </a:r>
            <a:r>
              <a:rPr lang="en-US" dirty="0"/>
              <a:t> I </a:t>
            </a:r>
            <a:r>
              <a:rPr lang="en-US" dirty="0" err="1"/>
              <a:t>dinatotita</a:t>
            </a:r>
            <a:r>
              <a:rPr lang="en-US" dirty="0"/>
              <a:t> </a:t>
            </a:r>
            <a:r>
              <a:rPr lang="en-US" dirty="0" err="1"/>
              <a:t>dimiourgias</a:t>
            </a:r>
            <a:r>
              <a:rPr lang="en-US" dirty="0"/>
              <a:t> film quality 3D asset kai </a:t>
            </a:r>
            <a:r>
              <a:rPr lang="en-US" dirty="0" err="1"/>
              <a:t>tautoxrona</a:t>
            </a:r>
            <a:r>
              <a:rPr lang="en-US" dirty="0"/>
              <a:t> compatible me real time render apo game engine </a:t>
            </a:r>
            <a:r>
              <a:rPr lang="en-US" dirty="0" err="1"/>
              <a:t>xwris</a:t>
            </a:r>
            <a:r>
              <a:rPr lang="en-US" dirty="0"/>
              <a:t> tin </a:t>
            </a:r>
            <a:r>
              <a:rPr lang="en-US" dirty="0" err="1"/>
              <a:t>anagki</a:t>
            </a:r>
            <a:r>
              <a:rPr lang="en-US" dirty="0"/>
              <a:t> </a:t>
            </a:r>
            <a:r>
              <a:rPr lang="en-US" dirty="0" err="1"/>
              <a:t>gia</a:t>
            </a:r>
            <a:r>
              <a:rPr lang="en-US" dirty="0"/>
              <a:t> </a:t>
            </a:r>
            <a:r>
              <a:rPr lang="en-US" dirty="0" err="1"/>
              <a:t>meiwsi</a:t>
            </a:r>
            <a:r>
              <a:rPr lang="en-US" dirty="0"/>
              <a:t> </a:t>
            </a:r>
            <a:r>
              <a:rPr lang="en-US" dirty="0" err="1"/>
              <a:t>poiotitas</a:t>
            </a:r>
            <a:r>
              <a:rPr lang="en-US" dirty="0"/>
              <a:t> </a:t>
            </a:r>
            <a:r>
              <a:rPr lang="en-US" dirty="0" err="1"/>
              <a:t>wste</a:t>
            </a:r>
            <a:r>
              <a:rPr lang="en-US" dirty="0"/>
              <a:t> </a:t>
            </a:r>
            <a:r>
              <a:rPr lang="en-US" dirty="0" err="1"/>
              <a:t>na</a:t>
            </a:r>
            <a:r>
              <a:rPr lang="en-US" dirty="0"/>
              <a:t> </a:t>
            </a:r>
            <a:r>
              <a:rPr lang="en-US" dirty="0" err="1"/>
              <a:t>mporesi</a:t>
            </a:r>
            <a:r>
              <a:rPr lang="en-US" dirty="0"/>
              <a:t> </a:t>
            </a:r>
            <a:r>
              <a:rPr lang="en-US" dirty="0" err="1"/>
              <a:t>mia</a:t>
            </a:r>
            <a:r>
              <a:rPr lang="en-US" dirty="0"/>
              <a:t> real time engine </a:t>
            </a:r>
            <a:r>
              <a:rPr lang="en-US" dirty="0" err="1"/>
              <a:t>na</a:t>
            </a:r>
            <a:r>
              <a:rPr lang="en-US" dirty="0"/>
              <a:t> ta </a:t>
            </a:r>
            <a:r>
              <a:rPr lang="en-US" dirty="0" err="1"/>
              <a:t>rendari</a:t>
            </a:r>
            <a:r>
              <a:rPr lang="en-US" dirty="0"/>
              <a:t> se </a:t>
            </a:r>
            <a:r>
              <a:rPr lang="en-US" dirty="0" err="1"/>
              <a:t>sigkrisi</a:t>
            </a:r>
            <a:r>
              <a:rPr lang="en-US" dirty="0"/>
              <a:t> me to offline rendering </a:t>
            </a:r>
            <a:r>
              <a:rPr lang="en-US" dirty="0" err="1"/>
              <a:t>pu</a:t>
            </a:r>
            <a:r>
              <a:rPr lang="en-US" dirty="0"/>
              <a:t> </a:t>
            </a:r>
            <a:r>
              <a:rPr lang="en-US" dirty="0" err="1"/>
              <a:t>ine</a:t>
            </a:r>
            <a:r>
              <a:rPr lang="en-US" dirty="0"/>
              <a:t> I film industry</a:t>
            </a:r>
          </a:p>
          <a:p>
            <a:endParaRPr lang="en-US" dirty="0"/>
          </a:p>
          <a:p>
            <a:r>
              <a:rPr lang="en-US" dirty="0"/>
              <a:t>Global illumination an kai </a:t>
            </a:r>
            <a:r>
              <a:rPr lang="en-US" dirty="0" err="1"/>
              <a:t>akougetai</a:t>
            </a:r>
            <a:r>
              <a:rPr lang="en-US" dirty="0"/>
              <a:t> </a:t>
            </a:r>
            <a:r>
              <a:rPr lang="en-US" dirty="0" err="1"/>
              <a:t>kati</a:t>
            </a:r>
            <a:r>
              <a:rPr lang="en-US" dirty="0"/>
              <a:t> </a:t>
            </a:r>
            <a:r>
              <a:rPr lang="en-US" dirty="0" err="1"/>
              <a:t>pu</a:t>
            </a:r>
            <a:r>
              <a:rPr lang="en-US" dirty="0"/>
              <a:t> </a:t>
            </a:r>
            <a:r>
              <a:rPr lang="en-US" dirty="0" err="1"/>
              <a:t>tha</a:t>
            </a:r>
            <a:r>
              <a:rPr lang="en-US" dirty="0"/>
              <a:t> </a:t>
            </a:r>
            <a:r>
              <a:rPr lang="en-US" dirty="0" err="1"/>
              <a:t>prepe</a:t>
            </a:r>
            <a:r>
              <a:rPr lang="en-US" dirty="0"/>
              <a:t> </a:t>
            </a:r>
            <a:r>
              <a:rPr lang="en-US" dirty="0" err="1"/>
              <a:t>na</a:t>
            </a:r>
            <a:r>
              <a:rPr lang="en-US" dirty="0"/>
              <a:t> </a:t>
            </a:r>
            <a:r>
              <a:rPr lang="en-US" dirty="0" err="1"/>
              <a:t>simbainei</a:t>
            </a:r>
            <a:r>
              <a:rPr lang="en-US" dirty="0"/>
              <a:t> </a:t>
            </a:r>
            <a:r>
              <a:rPr lang="en-US" dirty="0" err="1"/>
              <a:t>edw</a:t>
            </a:r>
            <a:r>
              <a:rPr lang="en-US" dirty="0"/>
              <a:t> kai </a:t>
            </a:r>
            <a:r>
              <a:rPr lang="en-US" dirty="0" err="1"/>
              <a:t>xronia</a:t>
            </a:r>
            <a:r>
              <a:rPr lang="en-US" dirty="0"/>
              <a:t> </a:t>
            </a:r>
            <a:r>
              <a:rPr lang="en-US" dirty="0" err="1"/>
              <a:t>molis</a:t>
            </a:r>
            <a:r>
              <a:rPr lang="en-US" dirty="0"/>
              <a:t> </a:t>
            </a:r>
            <a:r>
              <a:rPr lang="en-US" dirty="0" err="1"/>
              <a:t>twra</a:t>
            </a:r>
            <a:r>
              <a:rPr lang="en-US" dirty="0"/>
              <a:t> </a:t>
            </a:r>
            <a:r>
              <a:rPr lang="en-US" dirty="0" err="1"/>
              <a:t>katorthwthike</a:t>
            </a:r>
            <a:r>
              <a:rPr lang="en-US" dirty="0"/>
              <a:t> </a:t>
            </a:r>
            <a:r>
              <a:rPr lang="en-US" dirty="0" err="1"/>
              <a:t>auti</a:t>
            </a:r>
            <a:r>
              <a:rPr lang="en-US" dirty="0"/>
              <a:t> I </a:t>
            </a:r>
            <a:r>
              <a:rPr lang="en-US" dirty="0" err="1"/>
              <a:t>dinatotita</a:t>
            </a:r>
            <a:r>
              <a:rPr lang="en-US" dirty="0"/>
              <a:t> </a:t>
            </a:r>
            <a:r>
              <a:rPr lang="en-US" dirty="0" err="1"/>
              <a:t>diladi</a:t>
            </a:r>
            <a:r>
              <a:rPr lang="en-US" dirty="0"/>
              <a:t> </a:t>
            </a:r>
            <a:r>
              <a:rPr lang="en-US" dirty="0" err="1"/>
              <a:t>prosomoiwsi</a:t>
            </a:r>
            <a:r>
              <a:rPr lang="en-US" dirty="0"/>
              <a:t> </a:t>
            </a:r>
            <a:r>
              <a:rPr lang="en-US" dirty="0" err="1"/>
              <a:t>enos</a:t>
            </a:r>
            <a:r>
              <a:rPr lang="en-US" dirty="0"/>
              <a:t> </a:t>
            </a:r>
            <a:r>
              <a:rPr lang="en-US" dirty="0" err="1"/>
              <a:t>fws</a:t>
            </a:r>
            <a:r>
              <a:rPr lang="en-US" dirty="0"/>
              <a:t> real time </a:t>
            </a:r>
            <a:r>
              <a:rPr lang="en-US" dirty="0" err="1"/>
              <a:t>mazi</a:t>
            </a:r>
            <a:r>
              <a:rPr lang="en-US" dirty="0"/>
              <a:t> me ta bounce light</a:t>
            </a:r>
          </a:p>
          <a:p>
            <a:endParaRPr lang="en-US" dirty="0"/>
          </a:p>
          <a:p>
            <a:r>
              <a:rPr lang="en-US" dirty="0" err="1"/>
              <a:t>Quixel</a:t>
            </a:r>
            <a:r>
              <a:rPr lang="en-US" dirty="0"/>
              <a:t> </a:t>
            </a:r>
            <a:r>
              <a:rPr lang="en-US" dirty="0" err="1"/>
              <a:t>Megascans</a:t>
            </a:r>
            <a:endParaRPr lang="en-US" dirty="0"/>
          </a:p>
          <a:p>
            <a:r>
              <a:rPr lang="en-US" dirty="0"/>
              <a:t>Drag n Drop Assets</a:t>
            </a:r>
          </a:p>
          <a:p>
            <a:r>
              <a:rPr lang="en-US" dirty="0"/>
              <a:t>Easier Workflow</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7</a:t>
            </a:fld>
            <a:endParaRPr lang="en-US"/>
          </a:p>
        </p:txBody>
      </p:sp>
    </p:spTree>
    <p:extLst>
      <p:ext uri="{BB962C8B-B14F-4D97-AF65-F5344CB8AC3E}">
        <p14:creationId xmlns:p14="http://schemas.microsoft.com/office/powerpoint/2010/main" val="405328268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a:t>
            </a:r>
          </a:p>
          <a:p>
            <a:endParaRPr lang="en-US" dirty="0"/>
          </a:p>
          <a:p>
            <a:r>
              <a:rPr lang="en-US" dirty="0" err="1"/>
              <a:t>Isterisi</a:t>
            </a:r>
            <a:r>
              <a:rPr lang="en-US" dirty="0"/>
              <a:t> se </a:t>
            </a:r>
            <a:r>
              <a:rPr lang="en-US" dirty="0" err="1"/>
              <a:t>autous</a:t>
            </a:r>
            <a:r>
              <a:rPr lang="en-US" dirty="0"/>
              <a:t> </a:t>
            </a:r>
            <a:r>
              <a:rPr lang="en-US" dirty="0" err="1"/>
              <a:t>tous</a:t>
            </a:r>
            <a:r>
              <a:rPr lang="en-US" dirty="0"/>
              <a:t> 2 </a:t>
            </a:r>
            <a:r>
              <a:rPr lang="en-US" dirty="0" err="1"/>
              <a:t>tomis</a:t>
            </a:r>
            <a:r>
              <a:rPr lang="en-US" dirty="0"/>
              <a:t> </a:t>
            </a:r>
            <a:r>
              <a:rPr lang="en-US" dirty="0" err="1"/>
              <a:t>akoma</a:t>
            </a:r>
            <a:r>
              <a:rPr lang="en-US" dirty="0"/>
              <a:t> </a:t>
            </a:r>
            <a:r>
              <a:rPr lang="en-US" dirty="0" err="1"/>
              <a:t>opws</a:t>
            </a:r>
            <a:r>
              <a:rPr lang="en-US" dirty="0"/>
              <a:t> kai </a:t>
            </a:r>
            <a:r>
              <a:rPr lang="en-US" dirty="0" err="1"/>
              <a:t>oles</a:t>
            </a:r>
            <a:r>
              <a:rPr lang="en-US" dirty="0"/>
              <a:t> oi engines logo hardware resources </a:t>
            </a:r>
            <a:r>
              <a:rPr lang="en-US" dirty="0" err="1"/>
              <a:t>idios</a:t>
            </a:r>
            <a:endParaRPr lang="en-US" dirty="0"/>
          </a:p>
          <a:p>
            <a:endParaRPr lang="en-US" dirty="0"/>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0" dirty="0">
                <a:solidFill>
                  <a:srgbClr val="D5FA68"/>
                </a:solidFill>
                <a:latin typeface="Sora" pitchFamily="2" charset="0"/>
                <a:cs typeface="Sora" pitchFamily="2" charset="0"/>
              </a:rPr>
              <a:t>100% Agnostic/Blur line for Film/Game workflow </a:t>
            </a:r>
            <a:r>
              <a:rPr lang="en-US" sz="1200" b="1" kern="0" dirty="0">
                <a:solidFill>
                  <a:srgbClr val="D5FA68"/>
                </a:solidFill>
                <a:latin typeface="Arial" panose="020B0604020202020204" pitchFamily="34" charset="0"/>
                <a:cs typeface="Sora" pitchFamily="2" charset="0"/>
              </a:rPr>
              <a:t>but not yet for </a:t>
            </a:r>
            <a:r>
              <a:rPr lang="en-US" sz="1200" b="1" kern="0" dirty="0">
                <a:solidFill>
                  <a:srgbClr val="D5FA68"/>
                </a:solidFill>
                <a:latin typeface="Sora" pitchFamily="2" charset="0"/>
                <a:cs typeface="Sora" pitchFamily="2" charset="0"/>
              </a:rPr>
              <a:t>AR/VR</a:t>
            </a:r>
            <a:endParaRPr lang="en-US" dirty="0"/>
          </a:p>
          <a:p>
            <a:r>
              <a:rPr lang="en-US" dirty="0" err="1"/>
              <a:t>Diladi</a:t>
            </a:r>
            <a:r>
              <a:rPr lang="en-US" dirty="0"/>
              <a:t> </a:t>
            </a:r>
            <a:r>
              <a:rPr lang="en-US" dirty="0" err="1"/>
              <a:t>iparxi</a:t>
            </a:r>
            <a:r>
              <a:rPr lang="en-US" dirty="0"/>
              <a:t> </a:t>
            </a:r>
            <a:r>
              <a:rPr lang="en-US" dirty="0" err="1"/>
              <a:t>koino</a:t>
            </a:r>
            <a:r>
              <a:rPr lang="en-US" dirty="0"/>
              <a:t> workflow </a:t>
            </a:r>
            <a:r>
              <a:rPr lang="en-US" dirty="0" err="1"/>
              <a:t>gia</a:t>
            </a:r>
            <a:r>
              <a:rPr lang="en-US" dirty="0"/>
              <a:t> </a:t>
            </a:r>
            <a:r>
              <a:rPr lang="en-US" dirty="0" err="1"/>
              <a:t>na</a:t>
            </a:r>
            <a:r>
              <a:rPr lang="en-US" dirty="0"/>
              <a:t> </a:t>
            </a:r>
            <a:r>
              <a:rPr lang="en-US" dirty="0" err="1"/>
              <a:t>ftiaksis</a:t>
            </a:r>
            <a:r>
              <a:rPr lang="en-US" dirty="0"/>
              <a:t> “</a:t>
            </a:r>
            <a:r>
              <a:rPr lang="en-US" dirty="0" err="1"/>
              <a:t>pragmata</a:t>
            </a:r>
            <a:r>
              <a:rPr lang="en-US" dirty="0"/>
              <a:t> </a:t>
            </a:r>
            <a:r>
              <a:rPr lang="en-US" dirty="0" err="1"/>
              <a:t>alla</a:t>
            </a:r>
            <a:r>
              <a:rPr lang="en-US" dirty="0"/>
              <a:t> den </a:t>
            </a:r>
            <a:r>
              <a:rPr lang="en-US" dirty="0" err="1"/>
              <a:t>ipostirizontai</a:t>
            </a:r>
            <a:r>
              <a:rPr lang="en-US" dirty="0"/>
              <a:t> </a:t>
            </a:r>
            <a:r>
              <a:rPr lang="en-US" dirty="0" err="1"/>
              <a:t>akoma</a:t>
            </a:r>
            <a:r>
              <a:rPr lang="en-US" dirty="0"/>
              <a:t> se AR/VR </a:t>
            </a:r>
            <a:r>
              <a:rPr lang="el-GR" dirty="0"/>
              <a:t>(</a:t>
            </a:r>
            <a:r>
              <a:rPr lang="en-US" dirty="0"/>
              <a:t>mono classico gaming-simulation kai filming </a:t>
            </a:r>
            <a:r>
              <a:rPr lang="en-US" dirty="0" err="1"/>
              <a:t>ekei</a:t>
            </a:r>
            <a:r>
              <a:rPr lang="en-US" dirty="0"/>
              <a:t> </a:t>
            </a:r>
            <a:r>
              <a:rPr lang="en-US" dirty="0" err="1"/>
              <a:t>mporis</a:t>
            </a:r>
            <a:r>
              <a:rPr lang="en-US" dirty="0"/>
              <a:t>)</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8</a:t>
            </a:fld>
            <a:endParaRPr lang="en-US"/>
          </a:p>
        </p:txBody>
      </p:sp>
    </p:spTree>
    <p:extLst>
      <p:ext uri="{BB962C8B-B14F-4D97-AF65-F5344CB8AC3E}">
        <p14:creationId xmlns:p14="http://schemas.microsoft.com/office/powerpoint/2010/main" val="206032899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me Genre Category, FPP = First Person Perspective</a:t>
            </a:r>
          </a:p>
          <a:p>
            <a:endParaRPr lang="en-US" dirty="0"/>
          </a:p>
          <a:p>
            <a:r>
              <a:rPr lang="en-US" dirty="0" err="1"/>
              <a:t>Paraitroume</a:t>
            </a:r>
            <a:r>
              <a:rPr lang="en-US" dirty="0"/>
              <a:t> </a:t>
            </a:r>
            <a:r>
              <a:rPr lang="en-US" dirty="0" err="1"/>
              <a:t>kapoia</a:t>
            </a:r>
            <a:r>
              <a:rPr lang="en-US" dirty="0"/>
              <a:t> gameplay mechanics apo </a:t>
            </a:r>
            <a:r>
              <a:rPr lang="en-US" dirty="0" err="1"/>
              <a:t>titlous</a:t>
            </a:r>
            <a:r>
              <a:rPr lang="en-US" dirty="0"/>
              <a:t> </a:t>
            </a:r>
            <a:r>
              <a:rPr lang="en-US" dirty="0" err="1"/>
              <a:t>paixnidiou</a:t>
            </a:r>
            <a:r>
              <a:rPr lang="en-US" dirty="0"/>
              <a:t> </a:t>
            </a:r>
            <a:r>
              <a:rPr lang="en-US" dirty="0" err="1"/>
              <a:t>pu</a:t>
            </a:r>
            <a:r>
              <a:rPr lang="en-US" dirty="0"/>
              <a:t> </a:t>
            </a:r>
            <a:r>
              <a:rPr lang="en-US" dirty="0" err="1"/>
              <a:t>koubaloun</a:t>
            </a:r>
            <a:r>
              <a:rPr lang="en-US" dirty="0"/>
              <a:t> tin </a:t>
            </a:r>
            <a:r>
              <a:rPr lang="en-US" dirty="0" err="1"/>
              <a:t>ennoia</a:t>
            </a:r>
            <a:r>
              <a:rPr lang="en-US" dirty="0"/>
              <a:t> </a:t>
            </a:r>
            <a:r>
              <a:rPr lang="en-US" dirty="0" err="1"/>
              <a:t>tou</a:t>
            </a:r>
            <a:r>
              <a:rPr lang="en-US" dirty="0"/>
              <a:t> metaverse </a:t>
            </a:r>
            <a:r>
              <a:rPr lang="en-US" dirty="0" err="1"/>
              <a:t>en</a:t>
            </a:r>
            <a:r>
              <a:rPr lang="en-US" dirty="0"/>
              <a:t> </a:t>
            </a:r>
            <a:r>
              <a:rPr lang="en-US" dirty="0" err="1"/>
              <a:t>meroi</a:t>
            </a:r>
            <a:r>
              <a:rPr lang="en-US" dirty="0"/>
              <a:t> </a:t>
            </a:r>
            <a:r>
              <a:rPr lang="en-US" strike="sngStrike" dirty="0"/>
              <a:t>(apo ta </a:t>
            </a:r>
            <a:r>
              <a:rPr lang="en-US" strike="sngStrike" dirty="0" err="1"/>
              <a:t>polla</a:t>
            </a:r>
            <a:r>
              <a:rPr lang="en-US" strike="sngStrike" dirty="0"/>
              <a:t> </a:t>
            </a:r>
            <a:r>
              <a:rPr lang="en-US" strike="sngStrike" dirty="0" err="1"/>
              <a:t>giati</a:t>
            </a:r>
            <a:r>
              <a:rPr lang="en-US" strike="sngStrike" dirty="0"/>
              <a:t> kai to Minecraft </a:t>
            </a:r>
            <a:r>
              <a:rPr lang="en-US" strike="sngStrike" dirty="0" err="1"/>
              <a:t>aneta</a:t>
            </a:r>
            <a:r>
              <a:rPr lang="en-US" strike="sngStrike" dirty="0"/>
              <a:t> </a:t>
            </a:r>
            <a:r>
              <a:rPr lang="en-US" strike="sngStrike" dirty="0" err="1"/>
              <a:t>prostithetai</a:t>
            </a:r>
            <a:r>
              <a:rPr lang="en-US" strike="sngStrike" dirty="0"/>
              <a:t> stin </a:t>
            </a:r>
            <a:r>
              <a:rPr lang="en-US" strike="sngStrike" dirty="0" err="1"/>
              <a:t>lista</a:t>
            </a:r>
            <a:r>
              <a:rPr lang="en-US" strike="sngStrike" dirty="0"/>
              <a:t>)</a:t>
            </a:r>
          </a:p>
          <a:p>
            <a:endParaRPr lang="en-US" strike="sngStrike" dirty="0"/>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9</a:t>
            </a:fld>
            <a:endParaRPr lang="en-US"/>
          </a:p>
        </p:txBody>
      </p:sp>
    </p:spTree>
    <p:extLst>
      <p:ext uri="{BB962C8B-B14F-4D97-AF65-F5344CB8AC3E}">
        <p14:creationId xmlns:p14="http://schemas.microsoft.com/office/powerpoint/2010/main" val="7171283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Thermes</a:t>
            </a:r>
            <a:r>
              <a:rPr lang="en-US" dirty="0"/>
              <a:t> </a:t>
            </a:r>
            <a:r>
              <a:rPr lang="en-US" dirty="0" err="1"/>
              <a:t>euxaristies</a:t>
            </a:r>
            <a:r>
              <a:rPr lang="en-US" dirty="0"/>
              <a:t> stin </a:t>
            </a:r>
            <a:r>
              <a:rPr lang="en-US" dirty="0" err="1"/>
              <a:t>oikogenia</a:t>
            </a:r>
            <a:r>
              <a:rPr lang="en-US" dirty="0"/>
              <a:t> </a:t>
            </a:r>
            <a:r>
              <a:rPr lang="en-US" dirty="0" err="1"/>
              <a:t>mou</a:t>
            </a:r>
            <a:r>
              <a:rPr lang="en-US" dirty="0"/>
              <a:t> </a:t>
            </a:r>
            <a:r>
              <a:rPr lang="en-US" dirty="0" err="1"/>
              <a:t>kathigites</a:t>
            </a:r>
            <a:r>
              <a:rPr lang="en-US" dirty="0"/>
              <a:t> </a:t>
            </a:r>
            <a:r>
              <a:rPr lang="en-US" dirty="0" err="1"/>
              <a:t>mitropolitikou</a:t>
            </a:r>
            <a:r>
              <a:rPr lang="en-US" dirty="0"/>
              <a:t> </a:t>
            </a:r>
            <a:r>
              <a:rPr lang="en-US" dirty="0" err="1"/>
              <a:t>idietera</a:t>
            </a:r>
            <a:r>
              <a:rPr lang="en-US" dirty="0"/>
              <a:t> </a:t>
            </a:r>
            <a:r>
              <a:rPr lang="en-US" dirty="0" err="1"/>
              <a:t>ston</a:t>
            </a:r>
            <a:r>
              <a:rPr lang="en-US" dirty="0"/>
              <a:t> </a:t>
            </a:r>
            <a:r>
              <a:rPr lang="en-US" dirty="0" err="1"/>
              <a:t>mentora</a:t>
            </a:r>
            <a:r>
              <a:rPr lang="en-US" dirty="0"/>
              <a:t> </a:t>
            </a:r>
            <a:r>
              <a:rPr lang="en-US" dirty="0" err="1"/>
              <a:t>mou</a:t>
            </a:r>
            <a:r>
              <a:rPr lang="en-US" dirty="0"/>
              <a:t> </a:t>
            </a:r>
            <a:r>
              <a:rPr lang="en-US" dirty="0" err="1"/>
              <a:t>doktora</a:t>
            </a:r>
            <a:r>
              <a:rPr lang="en-US" dirty="0"/>
              <a:t> </a:t>
            </a:r>
            <a:r>
              <a:rPr lang="en-US" dirty="0" err="1"/>
              <a:t>xristos</a:t>
            </a:r>
            <a:r>
              <a:rPr lang="en-US" dirty="0"/>
              <a:t> </a:t>
            </a:r>
            <a:r>
              <a:rPr lang="en-US" dirty="0" err="1"/>
              <a:t>fratzidi</a:t>
            </a:r>
            <a:r>
              <a:rPr lang="en-US" dirty="0"/>
              <a:t>.</a:t>
            </a:r>
          </a:p>
        </p:txBody>
      </p:sp>
      <p:sp>
        <p:nvSpPr>
          <p:cNvPr id="4" name="Slide Number Placeholder 3"/>
          <p:cNvSpPr>
            <a:spLocks noGrp="1"/>
          </p:cNvSpPr>
          <p:nvPr>
            <p:ph type="sldNum" sz="quarter" idx="5"/>
          </p:nvPr>
        </p:nvSpPr>
        <p:spPr/>
        <p:txBody>
          <a:bodyPr/>
          <a:lstStyle/>
          <a:p>
            <a:fld id="{910C69D4-DE42-414E-829A-8F378A406FFC}" type="slidenum">
              <a:rPr lang="en-US" smtClean="0"/>
              <a:t>3</a:t>
            </a:fld>
            <a:endParaRPr lang="en-US"/>
          </a:p>
        </p:txBody>
      </p:sp>
    </p:spTree>
    <p:extLst>
      <p:ext uri="{BB962C8B-B14F-4D97-AF65-F5344CB8AC3E}">
        <p14:creationId xmlns:p14="http://schemas.microsoft.com/office/powerpoint/2010/main" val="88678441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me Population Charts</a:t>
            </a:r>
          </a:p>
          <a:p>
            <a:endParaRPr lang="en-US" dirty="0"/>
          </a:p>
          <a:p>
            <a:r>
              <a:rPr lang="en-US" dirty="0" err="1"/>
              <a:t>Otan</a:t>
            </a:r>
            <a:r>
              <a:rPr lang="en-US" dirty="0"/>
              <a:t> </a:t>
            </a:r>
            <a:r>
              <a:rPr lang="en-US" dirty="0" err="1"/>
              <a:t>anaferomaste</a:t>
            </a:r>
            <a:r>
              <a:rPr lang="en-US" dirty="0"/>
              <a:t> </a:t>
            </a:r>
            <a:r>
              <a:rPr lang="en-US" dirty="0" err="1"/>
              <a:t>sto</a:t>
            </a:r>
            <a:r>
              <a:rPr lang="en-US" dirty="0"/>
              <a:t> its not about the numbers </a:t>
            </a:r>
            <a:r>
              <a:rPr lang="en-US" dirty="0" err="1"/>
              <a:t>ine</a:t>
            </a:r>
            <a:r>
              <a:rPr lang="en-US" dirty="0"/>
              <a:t> </a:t>
            </a:r>
            <a:r>
              <a:rPr lang="en-US" dirty="0" err="1"/>
              <a:t>dioti</a:t>
            </a:r>
            <a:r>
              <a:rPr lang="en-US" dirty="0"/>
              <a:t> iparxoun polloi </a:t>
            </a:r>
            <a:r>
              <a:rPr lang="en-US" dirty="0" err="1"/>
              <a:t>paragontes</a:t>
            </a:r>
            <a:r>
              <a:rPr lang="en-US" dirty="0"/>
              <a:t> </a:t>
            </a:r>
            <a:r>
              <a:rPr lang="en-US" dirty="0" err="1"/>
              <a:t>epitixias</a:t>
            </a:r>
            <a:r>
              <a:rPr lang="en-US" dirty="0"/>
              <a:t> </a:t>
            </a:r>
            <a:r>
              <a:rPr lang="en-US" dirty="0" err="1"/>
              <a:t>enos</a:t>
            </a:r>
            <a:r>
              <a:rPr lang="en-US" dirty="0"/>
              <a:t> </a:t>
            </a:r>
            <a:r>
              <a:rPr lang="en-US" dirty="0" err="1"/>
              <a:t>proiontos</a:t>
            </a:r>
            <a:r>
              <a:rPr lang="en-US" dirty="0"/>
              <a:t> </a:t>
            </a:r>
            <a:r>
              <a:rPr lang="en-US" dirty="0" err="1"/>
              <a:t>pera</a:t>
            </a:r>
            <a:r>
              <a:rPr lang="en-US" dirty="0"/>
              <a:t> apo tin kali </a:t>
            </a:r>
            <a:r>
              <a:rPr lang="en-US" dirty="0" err="1"/>
              <a:t>mixaniki</a:t>
            </a:r>
            <a:r>
              <a:rPr lang="en-US" dirty="0"/>
              <a:t> </a:t>
            </a:r>
            <a:r>
              <a:rPr lang="en-US" dirty="0" err="1"/>
              <a:t>gia</a:t>
            </a:r>
            <a:r>
              <a:rPr lang="en-US" dirty="0"/>
              <a:t> </a:t>
            </a:r>
            <a:r>
              <a:rPr lang="en-US" dirty="0" err="1"/>
              <a:t>na</a:t>
            </a:r>
            <a:r>
              <a:rPr lang="en-US" dirty="0"/>
              <a:t> </a:t>
            </a:r>
            <a:r>
              <a:rPr lang="en-US" dirty="0" err="1"/>
              <a:t>petyxi</a:t>
            </a:r>
            <a:r>
              <a:rPr lang="en-US" dirty="0"/>
              <a:t> </a:t>
            </a:r>
            <a:r>
              <a:rPr lang="en-US" dirty="0" err="1"/>
              <a:t>kati</a:t>
            </a:r>
            <a:r>
              <a:rPr lang="en-US" dirty="0"/>
              <a:t> </a:t>
            </a:r>
            <a:r>
              <a:rPr lang="en-US" dirty="0" err="1"/>
              <a:t>prepei</a:t>
            </a:r>
            <a:r>
              <a:rPr lang="en-US" dirty="0"/>
              <a:t> se </a:t>
            </a:r>
            <a:r>
              <a:rPr lang="en-US" dirty="0" err="1"/>
              <a:t>ena</a:t>
            </a:r>
            <a:r>
              <a:rPr lang="en-US" dirty="0"/>
              <a:t> Business </a:t>
            </a:r>
            <a:r>
              <a:rPr lang="en-US" dirty="0" err="1"/>
              <a:t>na</a:t>
            </a:r>
            <a:r>
              <a:rPr lang="en-US" dirty="0"/>
              <a:t> </a:t>
            </a:r>
            <a:r>
              <a:rPr lang="en-US" dirty="0" err="1"/>
              <a:t>iparxi</a:t>
            </a:r>
            <a:r>
              <a:rPr lang="en-US" dirty="0"/>
              <a:t> </a:t>
            </a:r>
            <a:r>
              <a:rPr lang="en-US" dirty="0" err="1"/>
              <a:t>kalo</a:t>
            </a:r>
            <a:r>
              <a:rPr lang="en-US" dirty="0"/>
              <a:t> </a:t>
            </a:r>
            <a:r>
              <a:rPr lang="en-US" dirty="0" err="1"/>
              <a:t>epipedo</a:t>
            </a:r>
            <a:r>
              <a:rPr lang="en-US" dirty="0"/>
              <a:t> se 3 </a:t>
            </a:r>
            <a:r>
              <a:rPr lang="en-US" dirty="0" err="1"/>
              <a:t>tomis</a:t>
            </a:r>
            <a:r>
              <a:rPr lang="en-US" dirty="0"/>
              <a:t> i.e., </a:t>
            </a:r>
            <a:r>
              <a:rPr lang="en-US" dirty="0" err="1"/>
              <a:t>opws</a:t>
            </a:r>
            <a:r>
              <a:rPr lang="en-US" dirty="0"/>
              <a:t> Product, Engineer, Market</a:t>
            </a:r>
          </a:p>
          <a:p>
            <a:r>
              <a:rPr lang="en-US" dirty="0" err="1"/>
              <a:t>Diladi</a:t>
            </a:r>
            <a:r>
              <a:rPr lang="en-US" dirty="0"/>
              <a:t> to </a:t>
            </a:r>
            <a:r>
              <a:rPr lang="en-US" dirty="0" err="1"/>
              <a:t>proion</a:t>
            </a:r>
            <a:r>
              <a:rPr lang="en-US" dirty="0"/>
              <a:t> </a:t>
            </a:r>
            <a:r>
              <a:rPr lang="en-US" dirty="0" err="1"/>
              <a:t>na</a:t>
            </a:r>
            <a:r>
              <a:rPr lang="en-US" dirty="0"/>
              <a:t> </a:t>
            </a:r>
            <a:r>
              <a:rPr lang="en-US" dirty="0" err="1"/>
              <a:t>ine</a:t>
            </a:r>
            <a:r>
              <a:rPr lang="en-US" dirty="0"/>
              <a:t> </a:t>
            </a:r>
            <a:r>
              <a:rPr lang="en-US" dirty="0" err="1"/>
              <a:t>xrisimo</a:t>
            </a:r>
            <a:r>
              <a:rPr lang="en-US" dirty="0"/>
              <a:t>, </a:t>
            </a:r>
            <a:r>
              <a:rPr lang="en-US" dirty="0" err="1"/>
              <a:t>na</a:t>
            </a:r>
            <a:r>
              <a:rPr lang="en-US" dirty="0"/>
              <a:t> </a:t>
            </a:r>
            <a:r>
              <a:rPr lang="en-US" dirty="0" err="1"/>
              <a:t>exi</a:t>
            </a:r>
            <a:r>
              <a:rPr lang="en-US" dirty="0"/>
              <a:t> kali </a:t>
            </a:r>
            <a:r>
              <a:rPr lang="en-US" dirty="0" err="1"/>
              <a:t>prosegkisi</a:t>
            </a:r>
            <a:r>
              <a:rPr lang="en-US" dirty="0"/>
              <a:t> stin </a:t>
            </a:r>
            <a:r>
              <a:rPr lang="en-US" dirty="0" err="1"/>
              <a:t>lisi</a:t>
            </a:r>
            <a:r>
              <a:rPr lang="en-US" dirty="0"/>
              <a:t> </a:t>
            </a:r>
            <a:r>
              <a:rPr lang="en-US" dirty="0" err="1"/>
              <a:t>tou</a:t>
            </a:r>
            <a:r>
              <a:rPr lang="en-US" dirty="0"/>
              <a:t> </a:t>
            </a:r>
            <a:r>
              <a:rPr lang="en-US" dirty="0" err="1"/>
              <a:t>problimatos</a:t>
            </a:r>
            <a:r>
              <a:rPr lang="en-US" dirty="0"/>
              <a:t> </a:t>
            </a:r>
            <a:r>
              <a:rPr lang="en-US" dirty="0" err="1"/>
              <a:t>algorithmika</a:t>
            </a:r>
            <a:r>
              <a:rPr lang="en-US" dirty="0"/>
              <a:t> .. </a:t>
            </a:r>
            <a:r>
              <a:rPr lang="en-US" dirty="0" err="1"/>
              <a:t>sindiazontas</a:t>
            </a:r>
            <a:r>
              <a:rPr lang="en-US" dirty="0"/>
              <a:t> to me user experience </a:t>
            </a:r>
            <a:r>
              <a:rPr lang="en-US" dirty="0" err="1"/>
              <a:t>gia</a:t>
            </a:r>
            <a:r>
              <a:rPr lang="en-US" dirty="0"/>
              <a:t> </a:t>
            </a:r>
            <a:r>
              <a:rPr lang="en-US" dirty="0" err="1"/>
              <a:t>ena</a:t>
            </a:r>
            <a:r>
              <a:rPr lang="en-US" dirty="0"/>
              <a:t> easier streamline experience apo ton </a:t>
            </a:r>
            <a:r>
              <a:rPr lang="en-US" dirty="0" err="1"/>
              <a:t>xrhsth</a:t>
            </a:r>
            <a:r>
              <a:rPr lang="en-US" dirty="0"/>
              <a:t> kai marketing target </a:t>
            </a:r>
            <a:r>
              <a:rPr lang="en-US" dirty="0" err="1"/>
              <a:t>ws</a:t>
            </a:r>
            <a:r>
              <a:rPr lang="en-US" dirty="0"/>
              <a:t> pros tin </a:t>
            </a:r>
            <a:r>
              <a:rPr lang="en-US" dirty="0" err="1"/>
              <a:t>proothisi</a:t>
            </a:r>
            <a:r>
              <a:rPr lang="en-US" dirty="0"/>
              <a:t> </a:t>
            </a:r>
            <a:r>
              <a:rPr lang="en-US" dirty="0" err="1"/>
              <a:t>alla</a:t>
            </a:r>
            <a:r>
              <a:rPr lang="en-US" dirty="0"/>
              <a:t> kai mesa apo auto </a:t>
            </a:r>
            <a:r>
              <a:rPr lang="en-US" dirty="0" err="1"/>
              <a:t>sto</a:t>
            </a:r>
            <a:r>
              <a:rPr lang="en-US" dirty="0"/>
              <a:t> continual improvement </a:t>
            </a:r>
            <a:r>
              <a:rPr lang="en-US" dirty="0" err="1"/>
              <a:t>tou</a:t>
            </a:r>
            <a:r>
              <a:rPr lang="en-US" dirty="0"/>
              <a:t> </a:t>
            </a:r>
            <a:r>
              <a:rPr lang="en-US" dirty="0" err="1"/>
              <a:t>proiontos</a:t>
            </a:r>
            <a:r>
              <a:rPr lang="en-US" dirty="0"/>
              <a:t> </a:t>
            </a:r>
            <a:r>
              <a:rPr lang="en-US" dirty="0" err="1"/>
              <a:t>dioti</a:t>
            </a:r>
            <a:r>
              <a:rPr lang="en-US" dirty="0"/>
              <a:t> </a:t>
            </a:r>
            <a:r>
              <a:rPr lang="en-US" dirty="0" err="1"/>
              <a:t>mporis</a:t>
            </a:r>
            <a:r>
              <a:rPr lang="en-US" dirty="0"/>
              <a:t> meso marketing </a:t>
            </a:r>
            <a:r>
              <a:rPr lang="en-US" dirty="0" err="1"/>
              <a:t>na</a:t>
            </a:r>
            <a:r>
              <a:rPr lang="en-US" dirty="0"/>
              <a:t> </a:t>
            </a:r>
            <a:r>
              <a:rPr lang="en-US" dirty="0" err="1"/>
              <a:t>efarmosis</a:t>
            </a:r>
            <a:r>
              <a:rPr lang="en-US" dirty="0"/>
              <a:t> </a:t>
            </a:r>
            <a:r>
              <a:rPr lang="en-US" dirty="0" err="1"/>
              <a:t>texnikes</a:t>
            </a:r>
            <a:r>
              <a:rPr lang="en-US" dirty="0"/>
              <a:t> </a:t>
            </a:r>
            <a:r>
              <a:rPr lang="en-US" dirty="0" err="1"/>
              <a:t>gia</a:t>
            </a:r>
            <a:r>
              <a:rPr lang="en-US" dirty="0"/>
              <a:t> </a:t>
            </a:r>
            <a:r>
              <a:rPr lang="en-US" dirty="0" err="1"/>
              <a:t>peretero</a:t>
            </a:r>
            <a:r>
              <a:rPr lang="en-US" dirty="0"/>
              <a:t> </a:t>
            </a:r>
            <a:r>
              <a:rPr lang="en-US" dirty="0" err="1"/>
              <a:t>beltiwsis</a:t>
            </a:r>
            <a:r>
              <a:rPr lang="en-US" dirty="0"/>
              <a:t> </a:t>
            </a:r>
            <a:r>
              <a:rPr lang="en-US" dirty="0" err="1"/>
              <a:t>proionton</a:t>
            </a:r>
            <a:r>
              <a:rPr lang="en-US" dirty="0"/>
              <a:t> apo user feedback </a:t>
            </a:r>
            <a:r>
              <a:rPr lang="en-US" dirty="0" err="1"/>
              <a:t>alla</a:t>
            </a:r>
            <a:r>
              <a:rPr lang="en-US" dirty="0"/>
              <a:t> kai user statistics analysis e.g., A/B testing</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30</a:t>
            </a:fld>
            <a:endParaRPr lang="en-US"/>
          </a:p>
        </p:txBody>
      </p:sp>
    </p:spTree>
    <p:extLst>
      <p:ext uri="{BB962C8B-B14F-4D97-AF65-F5344CB8AC3E}">
        <p14:creationId xmlns:p14="http://schemas.microsoft.com/office/powerpoint/2010/main" val="416759184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trike="sngStrike" dirty="0"/>
              <a:t>Fortnite articles from epic statemen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Ena multiplatform</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a:t>Auti</a:t>
            </a:r>
            <a:r>
              <a:rPr lang="en-US" dirty="0"/>
              <a:t> </a:t>
            </a:r>
            <a:r>
              <a:rPr lang="en-US" dirty="0" err="1"/>
              <a:t>ine</a:t>
            </a:r>
            <a:r>
              <a:rPr lang="en-US" dirty="0"/>
              <a:t> h </a:t>
            </a:r>
            <a:r>
              <a:rPr lang="en-US" dirty="0" err="1"/>
              <a:t>ennoia</a:t>
            </a:r>
            <a:r>
              <a:rPr lang="en-US" dirty="0"/>
              <a:t> </a:t>
            </a:r>
            <a:r>
              <a:rPr lang="en-US" dirty="0" err="1"/>
              <a:t>enos</a:t>
            </a:r>
            <a:r>
              <a:rPr lang="en-US" dirty="0"/>
              <a:t> metavers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31</a:t>
            </a:fld>
            <a:endParaRPr lang="en-US"/>
          </a:p>
        </p:txBody>
      </p:sp>
    </p:spTree>
    <p:extLst>
      <p:ext uri="{BB962C8B-B14F-4D97-AF65-F5344CB8AC3E}">
        <p14:creationId xmlns:p14="http://schemas.microsoft.com/office/powerpoint/2010/main" val="129415038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Opws</a:t>
            </a:r>
            <a:r>
              <a:rPr lang="en-US" dirty="0"/>
              <a:t> ixame </a:t>
            </a:r>
            <a:r>
              <a:rPr lang="en-US" dirty="0" err="1"/>
              <a:t>proaneferi</a:t>
            </a:r>
            <a:r>
              <a:rPr lang="en-US" dirty="0"/>
              <a:t> </a:t>
            </a:r>
            <a:r>
              <a:rPr lang="en-US" dirty="0" err="1"/>
              <a:t>kanontas</a:t>
            </a:r>
            <a:r>
              <a:rPr lang="en-US" dirty="0"/>
              <a:t> observation ton </a:t>
            </a:r>
            <a:r>
              <a:rPr lang="en-US" dirty="0" err="1"/>
              <a:t>epitiximenwn</a:t>
            </a:r>
            <a:r>
              <a:rPr lang="en-US" dirty="0"/>
              <a:t> </a:t>
            </a:r>
            <a:r>
              <a:rPr lang="en-US" dirty="0" err="1"/>
              <a:t>paixnidiwn</a:t>
            </a:r>
            <a:r>
              <a:rPr lang="en-US" dirty="0"/>
              <a:t> kai </a:t>
            </a:r>
            <a:r>
              <a:rPr lang="en-US" dirty="0" err="1"/>
              <a:t>mixanismwn</a:t>
            </a:r>
            <a:r>
              <a:rPr lang="en-US" dirty="0"/>
              <a:t> </a:t>
            </a:r>
            <a:r>
              <a:rPr lang="en-US" dirty="0" err="1"/>
              <a:t>mporoume</a:t>
            </a:r>
            <a:r>
              <a:rPr lang="en-US" dirty="0"/>
              <a:t> </a:t>
            </a:r>
            <a:r>
              <a:rPr lang="en-US" dirty="0" err="1"/>
              <a:t>na</a:t>
            </a:r>
            <a:r>
              <a:rPr lang="en-US" dirty="0"/>
              <a:t> </a:t>
            </a:r>
            <a:r>
              <a:rPr lang="en-US" dirty="0" err="1"/>
              <a:t>ftiaksoume</a:t>
            </a:r>
            <a:r>
              <a:rPr lang="en-US" dirty="0"/>
              <a:t> dika mas </a:t>
            </a:r>
            <a:r>
              <a:rPr lang="en-US" dirty="0" err="1"/>
              <a:t>paraplisia</a:t>
            </a:r>
            <a:r>
              <a:rPr lang="en-US" dirty="0"/>
              <a:t> I </a:t>
            </a:r>
            <a:r>
              <a:rPr lang="en-US" dirty="0" err="1"/>
              <a:t>akoma</a:t>
            </a:r>
            <a:r>
              <a:rPr lang="en-US" dirty="0"/>
              <a:t> </a:t>
            </a:r>
            <a:r>
              <a:rPr lang="en-US" dirty="0" err="1"/>
              <a:t>na</a:t>
            </a:r>
            <a:r>
              <a:rPr lang="en-US" dirty="0"/>
              <a:t> </a:t>
            </a:r>
            <a:r>
              <a:rPr lang="en-US" dirty="0" err="1"/>
              <a:t>proboume</a:t>
            </a:r>
            <a:r>
              <a:rPr lang="en-US" dirty="0"/>
              <a:t> se </a:t>
            </a:r>
            <a:r>
              <a:rPr lang="en-US" dirty="0" err="1"/>
              <a:t>kainotomies</a:t>
            </a:r>
            <a:r>
              <a:rPr lang="en-US" dirty="0"/>
              <a:t> </a:t>
            </a:r>
            <a:r>
              <a:rPr lang="en-US" dirty="0" err="1"/>
              <a:t>akolouthonas</a:t>
            </a:r>
            <a:r>
              <a:rPr lang="en-US" dirty="0"/>
              <a:t> </a:t>
            </a:r>
            <a:r>
              <a:rPr lang="en-US" dirty="0" err="1"/>
              <a:t>dokimes</a:t>
            </a:r>
            <a:r>
              <a:rPr lang="en-US" dirty="0"/>
              <a:t> meso </a:t>
            </a:r>
            <a:r>
              <a:rPr lang="en-US" dirty="0" err="1"/>
              <a:t>xrisis</a:t>
            </a:r>
            <a:r>
              <a:rPr lang="en-US" dirty="0"/>
              <a:t> product reverse engineering</a:t>
            </a:r>
          </a:p>
          <a:p>
            <a:r>
              <a:rPr lang="en-US" dirty="0" err="1"/>
              <a:t>Diladi</a:t>
            </a:r>
            <a:r>
              <a:rPr lang="en-US" dirty="0"/>
              <a:t> </a:t>
            </a:r>
            <a:r>
              <a:rPr lang="en-US" dirty="0" err="1"/>
              <a:t>blepoume</a:t>
            </a:r>
            <a:r>
              <a:rPr lang="en-US" dirty="0"/>
              <a:t> </a:t>
            </a:r>
            <a:r>
              <a:rPr lang="en-US" dirty="0" err="1"/>
              <a:t>ti</a:t>
            </a:r>
            <a:r>
              <a:rPr lang="en-US" dirty="0"/>
              <a:t> </a:t>
            </a:r>
            <a:r>
              <a:rPr lang="en-US" dirty="0" err="1"/>
              <a:t>exi</a:t>
            </a:r>
            <a:r>
              <a:rPr lang="en-US" dirty="0"/>
              <a:t> </a:t>
            </a:r>
            <a:r>
              <a:rPr lang="en-US" dirty="0" err="1"/>
              <a:t>ena</a:t>
            </a:r>
            <a:r>
              <a:rPr lang="en-US" dirty="0"/>
              <a:t> </a:t>
            </a:r>
            <a:r>
              <a:rPr lang="en-US" dirty="0" err="1"/>
              <a:t>proion</a:t>
            </a:r>
            <a:r>
              <a:rPr lang="en-US" dirty="0"/>
              <a:t> kai to </a:t>
            </a:r>
            <a:r>
              <a:rPr lang="en-US" dirty="0" err="1"/>
              <a:t>spame</a:t>
            </a:r>
            <a:r>
              <a:rPr lang="en-US" dirty="0"/>
              <a:t> se </a:t>
            </a:r>
            <a:r>
              <a:rPr lang="en-US" dirty="0" err="1"/>
              <a:t>kommatia</a:t>
            </a:r>
            <a:r>
              <a:rPr lang="en-US" dirty="0"/>
              <a:t> </a:t>
            </a:r>
            <a:r>
              <a:rPr lang="en-US" dirty="0" err="1"/>
              <a:t>prospathontas</a:t>
            </a:r>
            <a:r>
              <a:rPr lang="en-US" dirty="0"/>
              <a:t> </a:t>
            </a:r>
            <a:r>
              <a:rPr lang="en-US" dirty="0" err="1"/>
              <a:t>na</a:t>
            </a:r>
            <a:r>
              <a:rPr lang="en-US" dirty="0"/>
              <a:t> </a:t>
            </a:r>
            <a:r>
              <a:rPr lang="en-US" dirty="0" err="1"/>
              <a:t>katalaboume</a:t>
            </a:r>
            <a:r>
              <a:rPr lang="en-US" dirty="0"/>
              <a:t> </a:t>
            </a:r>
            <a:r>
              <a:rPr lang="en-US" dirty="0" err="1"/>
              <a:t>pws</a:t>
            </a:r>
            <a:r>
              <a:rPr lang="en-US" dirty="0"/>
              <a:t> </a:t>
            </a:r>
            <a:r>
              <a:rPr lang="en-US" dirty="0" err="1"/>
              <a:t>litourgoun</a:t>
            </a:r>
            <a:r>
              <a:rPr lang="en-US" dirty="0"/>
              <a:t> kai </a:t>
            </a:r>
            <a:r>
              <a:rPr lang="en-US" dirty="0" err="1"/>
              <a:t>giati</a:t>
            </a:r>
            <a:r>
              <a:rPr lang="en-US" dirty="0"/>
              <a:t> </a:t>
            </a:r>
            <a:r>
              <a:rPr lang="en-US" dirty="0" err="1"/>
              <a:t>egine</a:t>
            </a:r>
            <a:r>
              <a:rPr lang="en-US" dirty="0"/>
              <a:t> </a:t>
            </a:r>
            <a:r>
              <a:rPr lang="en-US" dirty="0" err="1"/>
              <a:t>epitiximeno</a:t>
            </a:r>
            <a:r>
              <a:rPr lang="en-US" dirty="0"/>
              <a:t> pia </a:t>
            </a:r>
            <a:r>
              <a:rPr lang="en-US" dirty="0" err="1"/>
              <a:t>ine</a:t>
            </a:r>
            <a:r>
              <a:rPr lang="en-US" dirty="0"/>
              <a:t> I formula? … ola </a:t>
            </a:r>
            <a:r>
              <a:rPr lang="en-US" dirty="0" err="1"/>
              <a:t>exoun</a:t>
            </a:r>
            <a:r>
              <a:rPr lang="en-US" dirty="0"/>
              <a:t> tin formula </a:t>
            </a:r>
            <a:r>
              <a:rPr lang="en-US" dirty="0" err="1"/>
              <a:t>tous</a:t>
            </a:r>
            <a:endParaRPr lang="en-US" dirty="0"/>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32</a:t>
            </a:fld>
            <a:endParaRPr lang="en-US"/>
          </a:p>
        </p:txBody>
      </p:sp>
    </p:spTree>
    <p:extLst>
      <p:ext uri="{BB962C8B-B14F-4D97-AF65-F5344CB8AC3E}">
        <p14:creationId xmlns:p14="http://schemas.microsoft.com/office/powerpoint/2010/main" val="196888477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trike="sngStrike" dirty="0"/>
              <a:t>Apo </a:t>
            </a:r>
            <a:r>
              <a:rPr lang="en-US" strike="sngStrike" dirty="0" err="1"/>
              <a:t>edw</a:t>
            </a:r>
            <a:r>
              <a:rPr lang="en-US" strike="sngStrike" dirty="0"/>
              <a:t> pes to project sou </a:t>
            </a:r>
            <a:r>
              <a:rPr lang="en-US" strike="sngStrike" dirty="0" err="1"/>
              <a:t>ti</a:t>
            </a:r>
            <a:r>
              <a:rPr lang="en-US" strike="sngStrike" dirty="0"/>
              <a:t> </a:t>
            </a:r>
            <a:r>
              <a:rPr lang="en-US" strike="sngStrike" dirty="0" err="1"/>
              <a:t>ekanes</a:t>
            </a:r>
            <a:r>
              <a:rPr lang="en-US" strike="sngStrike" dirty="0"/>
              <a:t> se steps </a:t>
            </a:r>
            <a:r>
              <a:rPr lang="en-US" strike="sngStrike" dirty="0" err="1"/>
              <a:t>alla</a:t>
            </a:r>
            <a:r>
              <a:rPr lang="en-US" strike="sngStrike" dirty="0"/>
              <a:t> </a:t>
            </a:r>
            <a:r>
              <a:rPr lang="en-US" strike="sngStrike" dirty="0" err="1"/>
              <a:t>perigrafika</a:t>
            </a:r>
            <a:r>
              <a:rPr lang="en-US" strike="sngStrike" dirty="0"/>
              <a:t> </a:t>
            </a:r>
            <a:r>
              <a:rPr lang="en-US" strike="sngStrike" dirty="0" err="1"/>
              <a:t>oxi</a:t>
            </a:r>
            <a:r>
              <a:rPr lang="en-US" strike="sngStrike" dirty="0"/>
              <a:t> ta steps ta </a:t>
            </a:r>
            <a:r>
              <a:rPr lang="en-US" strike="sngStrike" dirty="0" err="1"/>
              <a:t>idia</a:t>
            </a:r>
            <a:r>
              <a:rPr lang="en-US" strike="sngStrike" dirty="0"/>
              <a:t> kai to conclusion </a:t>
            </a:r>
            <a:r>
              <a:rPr lang="en-US" strike="sngStrike" dirty="0" err="1"/>
              <a:t>sindeiaseto</a:t>
            </a:r>
            <a:r>
              <a:rPr lang="en-US" strike="sngStrike" dirty="0"/>
              <a:t> </a:t>
            </a:r>
            <a:r>
              <a:rPr lang="en-US" strike="sngStrike" dirty="0" err="1"/>
              <a:t>edw</a:t>
            </a:r>
            <a:r>
              <a:rPr lang="en-US" strike="sngStrike" dirty="0"/>
              <a:t> kai bale video pes </a:t>
            </a:r>
            <a:r>
              <a:rPr lang="en-US" strike="sngStrike" dirty="0" err="1"/>
              <a:t>pws</a:t>
            </a:r>
            <a:r>
              <a:rPr lang="en-US" strike="sngStrike" dirty="0"/>
              <a:t> auto </a:t>
            </a:r>
            <a:r>
              <a:rPr lang="en-US" strike="sngStrike" dirty="0" err="1"/>
              <a:t>epirasi</a:t>
            </a:r>
            <a:r>
              <a:rPr lang="en-US" strike="sngStrike" dirty="0"/>
              <a:t> marketing </a:t>
            </a:r>
            <a:r>
              <a:rPr lang="en-US" strike="sngStrike" dirty="0" err="1"/>
              <a:t>etc</a:t>
            </a:r>
            <a:endParaRPr lang="en-US" strike="sngStrike" dirty="0"/>
          </a:p>
        </p:txBody>
      </p:sp>
      <p:sp>
        <p:nvSpPr>
          <p:cNvPr id="4" name="Slide Number Placeholder 3"/>
          <p:cNvSpPr>
            <a:spLocks noGrp="1"/>
          </p:cNvSpPr>
          <p:nvPr>
            <p:ph type="sldNum" sz="quarter" idx="5"/>
          </p:nvPr>
        </p:nvSpPr>
        <p:spPr/>
        <p:txBody>
          <a:bodyPr/>
          <a:lstStyle/>
          <a:p>
            <a:fld id="{910C69D4-DE42-414E-829A-8F378A406FFC}" type="slidenum">
              <a:rPr lang="en-US" smtClean="0"/>
              <a:t>33</a:t>
            </a:fld>
            <a:endParaRPr lang="en-US"/>
          </a:p>
        </p:txBody>
      </p:sp>
    </p:spTree>
    <p:extLst>
      <p:ext uri="{BB962C8B-B14F-4D97-AF65-F5344CB8AC3E}">
        <p14:creationId xmlns:p14="http://schemas.microsoft.com/office/powerpoint/2010/main" val="401556070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PP/FPP == third first person perspective</a:t>
            </a:r>
          </a:p>
          <a:p>
            <a:endParaRPr lang="en-US" dirty="0"/>
          </a:p>
          <a:p>
            <a:r>
              <a:rPr lang="en-US" dirty="0" err="1"/>
              <a:t>Otan</a:t>
            </a:r>
            <a:r>
              <a:rPr lang="en-US" dirty="0"/>
              <a:t> </a:t>
            </a:r>
            <a:r>
              <a:rPr lang="en-US" dirty="0" err="1"/>
              <a:t>anaferomaste</a:t>
            </a:r>
            <a:r>
              <a:rPr lang="en-US" dirty="0"/>
              <a:t> se multiplayer system I </a:t>
            </a:r>
            <a:r>
              <a:rPr lang="en-US" dirty="0" err="1"/>
              <a:t>arxitektoniki</a:t>
            </a:r>
            <a:r>
              <a:rPr lang="en-US" dirty="0"/>
              <a:t> </a:t>
            </a:r>
            <a:r>
              <a:rPr lang="en-US" dirty="0" err="1"/>
              <a:t>diaferi</a:t>
            </a:r>
            <a:r>
              <a:rPr lang="en-US" dirty="0"/>
              <a:t> </a:t>
            </a:r>
            <a:r>
              <a:rPr lang="en-US" dirty="0" err="1"/>
              <a:t>programmatismou</a:t>
            </a:r>
            <a:r>
              <a:rPr lang="en-US" dirty="0"/>
              <a:t> </a:t>
            </a:r>
            <a:r>
              <a:rPr lang="en-US" dirty="0" err="1"/>
              <a:t>ine</a:t>
            </a:r>
            <a:r>
              <a:rPr lang="en-US" dirty="0"/>
              <a:t> </a:t>
            </a:r>
            <a:r>
              <a:rPr lang="en-US" dirty="0" err="1"/>
              <a:t>ligo</a:t>
            </a:r>
            <a:r>
              <a:rPr lang="en-US" dirty="0"/>
              <a:t> </a:t>
            </a:r>
            <a:r>
              <a:rPr lang="en-US" dirty="0" err="1"/>
              <a:t>pio</a:t>
            </a:r>
            <a:r>
              <a:rPr lang="en-US" dirty="0"/>
              <a:t> restricted </a:t>
            </a:r>
            <a:r>
              <a:rPr lang="en-US" dirty="0" err="1"/>
              <a:t>diladi</a:t>
            </a:r>
            <a:r>
              <a:rPr lang="en-US" dirty="0"/>
              <a:t> </a:t>
            </a:r>
            <a:r>
              <a:rPr lang="en-US" dirty="0" err="1"/>
              <a:t>tha</a:t>
            </a:r>
            <a:r>
              <a:rPr lang="en-US" dirty="0"/>
              <a:t> </a:t>
            </a:r>
            <a:r>
              <a:rPr lang="en-US" dirty="0" err="1"/>
              <a:t>prepei</a:t>
            </a:r>
            <a:r>
              <a:rPr lang="en-US" dirty="0"/>
              <a:t> </a:t>
            </a:r>
            <a:r>
              <a:rPr lang="en-US" dirty="0" err="1"/>
              <a:t>na</a:t>
            </a:r>
            <a:r>
              <a:rPr lang="en-US" dirty="0"/>
              <a:t> </a:t>
            </a:r>
            <a:r>
              <a:rPr lang="en-US" dirty="0" err="1"/>
              <a:t>akolouthithoun</a:t>
            </a:r>
            <a:r>
              <a:rPr lang="en-US" dirty="0"/>
              <a:t> </a:t>
            </a:r>
            <a:r>
              <a:rPr lang="en-US" dirty="0" err="1"/>
              <a:t>austira</a:t>
            </a:r>
            <a:r>
              <a:rPr lang="en-US" dirty="0"/>
              <a:t> </a:t>
            </a:r>
            <a:r>
              <a:rPr lang="en-US" dirty="0" err="1"/>
              <a:t>kapoia</a:t>
            </a:r>
            <a:r>
              <a:rPr lang="en-US" dirty="0"/>
              <a:t> bimata “hard coded” </a:t>
            </a:r>
            <a:r>
              <a:rPr lang="en-US" dirty="0" err="1"/>
              <a:t>opws</a:t>
            </a:r>
            <a:r>
              <a:rPr lang="en-US" dirty="0"/>
              <a:t> to/kai </a:t>
            </a:r>
            <a:r>
              <a:rPr lang="en-US" dirty="0" err="1"/>
              <a:t>exi</a:t>
            </a:r>
            <a:r>
              <a:rPr lang="en-US" dirty="0"/>
              <a:t> </a:t>
            </a:r>
            <a:r>
              <a:rPr lang="en-US" dirty="0" err="1"/>
              <a:t>ftiaxti</a:t>
            </a:r>
            <a:r>
              <a:rPr lang="en-US" dirty="0"/>
              <a:t> apo to </a:t>
            </a:r>
            <a:r>
              <a:rPr lang="en-US" dirty="0" err="1"/>
              <a:t>analogo</a:t>
            </a:r>
            <a:r>
              <a:rPr lang="en-US" dirty="0"/>
              <a:t> framework/game Engine </a:t>
            </a:r>
            <a:r>
              <a:rPr lang="en-US" dirty="0" err="1"/>
              <a:t>pu</a:t>
            </a:r>
            <a:r>
              <a:rPr lang="en-US" dirty="0"/>
              <a:t> </a:t>
            </a:r>
            <a:r>
              <a:rPr lang="en-US" dirty="0" err="1"/>
              <a:t>programmatizoume</a:t>
            </a:r>
            <a:r>
              <a:rPr lang="en-US" dirty="0"/>
              <a:t> se auto </a:t>
            </a:r>
            <a:r>
              <a:rPr lang="en-US" dirty="0" err="1"/>
              <a:t>osoi</a:t>
            </a:r>
            <a:r>
              <a:rPr lang="en-US" dirty="0"/>
              <a:t> </a:t>
            </a:r>
            <a:r>
              <a:rPr lang="en-US" dirty="0" err="1"/>
              <a:t>exoume</a:t>
            </a:r>
            <a:r>
              <a:rPr lang="en-US" dirty="0"/>
              <a:t> </a:t>
            </a:r>
            <a:r>
              <a:rPr lang="en-US" dirty="0" err="1"/>
              <a:t>asxolithoi</a:t>
            </a:r>
            <a:r>
              <a:rPr lang="en-US" dirty="0"/>
              <a:t> me web development </a:t>
            </a:r>
            <a:r>
              <a:rPr lang="en-US" dirty="0" err="1"/>
              <a:t>gnwrizoume</a:t>
            </a:r>
            <a:r>
              <a:rPr lang="en-US" dirty="0"/>
              <a:t> tin diafora raw php, java web coding vs Laravel, Spring way of code format architecture.</a:t>
            </a:r>
          </a:p>
          <a:p>
            <a:r>
              <a:rPr lang="en-US" dirty="0" err="1"/>
              <a:t>Isagoume</a:t>
            </a:r>
            <a:r>
              <a:rPr lang="en-US" dirty="0"/>
              <a:t> </a:t>
            </a:r>
            <a:r>
              <a:rPr lang="en-US" dirty="0" err="1"/>
              <a:t>ennoies</a:t>
            </a:r>
            <a:r>
              <a:rPr lang="en-US" dirty="0"/>
              <a:t> </a:t>
            </a:r>
            <a:r>
              <a:rPr lang="en-US" dirty="0" err="1"/>
              <a:t>opws</a:t>
            </a:r>
            <a:r>
              <a:rPr lang="en-US" dirty="0"/>
              <a:t> Client-Server </a:t>
            </a:r>
            <a:r>
              <a:rPr lang="en-US" dirty="0" err="1"/>
              <a:t>epikoinwnia</a:t>
            </a:r>
            <a:r>
              <a:rPr lang="en-US" dirty="0"/>
              <a:t> kai Remote Call Procedures (RPC) </a:t>
            </a:r>
            <a:r>
              <a:rPr lang="en-US" dirty="0" err="1"/>
              <a:t>metaksi</a:t>
            </a:r>
            <a:r>
              <a:rPr lang="en-US" dirty="0"/>
              <a:t> ton joined hosts kai authorities</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34</a:t>
            </a:fld>
            <a:endParaRPr lang="en-US"/>
          </a:p>
        </p:txBody>
      </p:sp>
    </p:spTree>
    <p:extLst>
      <p:ext uri="{BB962C8B-B14F-4D97-AF65-F5344CB8AC3E}">
        <p14:creationId xmlns:p14="http://schemas.microsoft.com/office/powerpoint/2010/main" val="382298702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Parakatw</a:t>
            </a:r>
            <a:r>
              <a:rPr lang="en-US" dirty="0"/>
              <a:t> </a:t>
            </a:r>
            <a:r>
              <a:rPr lang="en-US" dirty="0" err="1"/>
              <a:t>blepume</a:t>
            </a:r>
            <a:r>
              <a:rPr lang="en-US" dirty="0"/>
              <a:t> </a:t>
            </a:r>
            <a:r>
              <a:rPr lang="en-US" dirty="0" err="1"/>
              <a:t>ena</a:t>
            </a:r>
            <a:r>
              <a:rPr lang="en-US" dirty="0"/>
              <a:t> high level design se business process </a:t>
            </a:r>
            <a:r>
              <a:rPr lang="en-US" dirty="0" err="1"/>
              <a:t>epipedo</a:t>
            </a:r>
            <a:r>
              <a:rPr lang="en-US" dirty="0"/>
              <a:t> </a:t>
            </a:r>
            <a:r>
              <a:rPr lang="en-US" dirty="0" err="1"/>
              <a:t>sto</a:t>
            </a:r>
            <a:r>
              <a:rPr lang="en-US" dirty="0"/>
              <a:t> BPMN </a:t>
            </a:r>
            <a:r>
              <a:rPr lang="en-US" dirty="0" err="1"/>
              <a:t>diagramma</a:t>
            </a:r>
            <a:endParaRPr lang="en-US" dirty="0"/>
          </a:p>
          <a:p>
            <a:r>
              <a:rPr lang="en-US" dirty="0" err="1"/>
              <a:t>Diladi</a:t>
            </a:r>
            <a:r>
              <a:rPr lang="en-US" dirty="0"/>
              <a:t> ta process </a:t>
            </a:r>
            <a:r>
              <a:rPr lang="en-US" dirty="0" err="1"/>
              <a:t>metaksi</a:t>
            </a:r>
            <a:r>
              <a:rPr lang="en-US" dirty="0"/>
              <a:t> Business Logic Model se Server kai client </a:t>
            </a:r>
            <a:r>
              <a:rPr lang="en-US" dirty="0" err="1"/>
              <a:t>epikoinwnia</a:t>
            </a:r>
            <a:r>
              <a:rPr lang="en-US" dirty="0"/>
              <a:t> meso </a:t>
            </a:r>
            <a:r>
              <a:rPr lang="en-US" dirty="0" err="1"/>
              <a:t>Authory</a:t>
            </a:r>
            <a:r>
              <a:rPr lang="en-US" dirty="0"/>
              <a:t> kai Remote call procedures (RPC)</a:t>
            </a:r>
          </a:p>
          <a:p>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35</a:t>
            </a:fld>
            <a:endParaRPr lang="en-US"/>
          </a:p>
        </p:txBody>
      </p:sp>
    </p:spTree>
    <p:extLst>
      <p:ext uri="{BB962C8B-B14F-4D97-AF65-F5344CB8AC3E}">
        <p14:creationId xmlns:p14="http://schemas.microsoft.com/office/powerpoint/2010/main" val="367814588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VoIP module </a:t>
            </a:r>
            <a:r>
              <a:rPr lang="en-US" dirty="0" err="1"/>
              <a:t>pu</a:t>
            </a:r>
            <a:r>
              <a:rPr lang="en-US" dirty="0"/>
              <a:t> </a:t>
            </a:r>
            <a:r>
              <a:rPr lang="en-US" dirty="0" err="1"/>
              <a:t>ine</a:t>
            </a:r>
            <a:r>
              <a:rPr lang="en-US" dirty="0"/>
              <a:t> </a:t>
            </a:r>
            <a:r>
              <a:rPr lang="en-US" dirty="0" err="1"/>
              <a:t>ena</a:t>
            </a:r>
            <a:r>
              <a:rPr lang="en-US" dirty="0"/>
              <a:t> </a:t>
            </a:r>
            <a:r>
              <a:rPr lang="en-US" dirty="0" err="1"/>
              <a:t>kommati</a:t>
            </a:r>
            <a:r>
              <a:rPr lang="en-US" dirty="0"/>
              <a:t> </a:t>
            </a:r>
            <a:r>
              <a:rPr lang="en-US" dirty="0" err="1"/>
              <a:t>tou</a:t>
            </a:r>
            <a:r>
              <a:rPr lang="en-US" dirty="0"/>
              <a:t> </a:t>
            </a:r>
            <a:r>
              <a:rPr lang="en-US" dirty="0" err="1"/>
              <a:t>systimatos</a:t>
            </a:r>
            <a:r>
              <a:rPr lang="en-US" dirty="0"/>
              <a:t> </a:t>
            </a:r>
            <a:r>
              <a:rPr lang="en-US" dirty="0" err="1"/>
              <a:t>exi</a:t>
            </a:r>
            <a:r>
              <a:rPr lang="en-US" dirty="0"/>
              <a:t> to </a:t>
            </a:r>
            <a:r>
              <a:rPr lang="en-US" dirty="0" err="1"/>
              <a:t>eksis</a:t>
            </a:r>
            <a:r>
              <a:rPr lang="en-US" dirty="0"/>
              <a:t> flowchart </a:t>
            </a:r>
            <a:r>
              <a:rPr lang="en-US" dirty="0" err="1"/>
              <a:t>litourgias</a:t>
            </a:r>
            <a:r>
              <a:rPr lang="en-US" dirty="0"/>
              <a:t> </a:t>
            </a:r>
            <a:r>
              <a:rPr lang="en-US" dirty="0" err="1"/>
              <a:t>gia</a:t>
            </a:r>
            <a:r>
              <a:rPr lang="en-US" dirty="0"/>
              <a:t> enan </a:t>
            </a:r>
            <a:r>
              <a:rPr lang="en-US" dirty="0" err="1"/>
              <a:t>xrhsth</a:t>
            </a:r>
            <a:r>
              <a:rPr lang="en-US" dirty="0"/>
              <a:t>.</a:t>
            </a:r>
          </a:p>
          <a:p>
            <a:endParaRPr lang="en-US" dirty="0"/>
          </a:p>
          <a:p>
            <a:r>
              <a:rPr lang="en-US" dirty="0" err="1"/>
              <a:t>Sto</a:t>
            </a:r>
            <a:r>
              <a:rPr lang="en-US" dirty="0"/>
              <a:t> </a:t>
            </a:r>
            <a:r>
              <a:rPr lang="en-US" dirty="0" err="1"/>
              <a:t>diagramma</a:t>
            </a:r>
            <a:r>
              <a:rPr lang="en-US" dirty="0"/>
              <a:t> </a:t>
            </a:r>
            <a:r>
              <a:rPr lang="en-US" dirty="0" err="1"/>
              <a:t>episis</a:t>
            </a:r>
            <a:r>
              <a:rPr lang="en-US" dirty="0"/>
              <a:t> iparxoun kai </a:t>
            </a:r>
            <a:r>
              <a:rPr lang="en-US" dirty="0" err="1"/>
              <a:t>alla</a:t>
            </a:r>
            <a:r>
              <a:rPr lang="en-US" dirty="0"/>
              <a:t> </a:t>
            </a:r>
            <a:r>
              <a:rPr lang="en-US" dirty="0" err="1"/>
              <a:t>iposistimata</a:t>
            </a:r>
            <a:r>
              <a:rPr lang="en-US" dirty="0"/>
              <a:t> apo </a:t>
            </a:r>
            <a:r>
              <a:rPr lang="en-US" dirty="0" err="1"/>
              <a:t>pisw</a:t>
            </a:r>
            <a:r>
              <a:rPr lang="en-US" dirty="0"/>
              <a:t> </a:t>
            </a:r>
            <a:r>
              <a:rPr lang="en-US" dirty="0" err="1"/>
              <a:t>pu</a:t>
            </a:r>
            <a:r>
              <a:rPr lang="en-US" dirty="0"/>
              <a:t> </a:t>
            </a:r>
            <a:r>
              <a:rPr lang="en-US" dirty="0" err="1"/>
              <a:t>trexoun</a:t>
            </a:r>
            <a:r>
              <a:rPr lang="en-US" dirty="0"/>
              <a:t> </a:t>
            </a:r>
            <a:r>
              <a:rPr lang="en-US" dirty="0" err="1"/>
              <a:t>dioti</a:t>
            </a:r>
            <a:r>
              <a:rPr lang="en-US" dirty="0"/>
              <a:t> den </a:t>
            </a:r>
            <a:r>
              <a:rPr lang="en-US" dirty="0" err="1"/>
              <a:t>mpori</a:t>
            </a:r>
            <a:r>
              <a:rPr lang="en-US" dirty="0"/>
              <a:t> </a:t>
            </a:r>
            <a:r>
              <a:rPr lang="en-US" dirty="0" err="1"/>
              <a:t>kati</a:t>
            </a:r>
            <a:r>
              <a:rPr lang="en-US" dirty="0"/>
              <a:t> mono </a:t>
            </a:r>
            <a:r>
              <a:rPr lang="en-US" dirty="0" err="1"/>
              <a:t>tou</a:t>
            </a:r>
            <a:r>
              <a:rPr lang="en-US" dirty="0"/>
              <a:t> </a:t>
            </a:r>
            <a:r>
              <a:rPr lang="en-US" dirty="0" err="1"/>
              <a:t>na</a:t>
            </a:r>
            <a:r>
              <a:rPr lang="en-US" dirty="0"/>
              <a:t> </a:t>
            </a:r>
            <a:r>
              <a:rPr lang="en-US" dirty="0" err="1"/>
              <a:t>litourgisi</a:t>
            </a:r>
            <a:r>
              <a:rPr lang="en-US" dirty="0"/>
              <a:t> </a:t>
            </a:r>
            <a:r>
              <a:rPr lang="en-US" dirty="0" err="1"/>
              <a:t>opws</a:t>
            </a:r>
            <a:r>
              <a:rPr lang="en-US" dirty="0"/>
              <a:t> to join to server …. H to </a:t>
            </a:r>
            <a:r>
              <a:rPr lang="en-US" dirty="0" err="1"/>
              <a:t>sistima</a:t>
            </a:r>
            <a:r>
              <a:rPr lang="en-US" dirty="0"/>
              <a:t> pickup ola </a:t>
            </a:r>
            <a:r>
              <a:rPr lang="en-US" dirty="0" err="1"/>
              <a:t>auta</a:t>
            </a:r>
            <a:r>
              <a:rPr lang="en-US" dirty="0"/>
              <a:t> se multiplayer </a:t>
            </a:r>
            <a:r>
              <a:rPr lang="en-US" dirty="0" err="1"/>
              <a:t>arxitektoniki</a:t>
            </a:r>
            <a:endParaRPr lang="en-US" dirty="0"/>
          </a:p>
          <a:p>
            <a:endParaRPr lang="en-US" dirty="0"/>
          </a:p>
          <a:p>
            <a:r>
              <a:rPr lang="en-US" strike="sngStrike" dirty="0"/>
              <a:t>((</a:t>
            </a:r>
            <a:r>
              <a:rPr lang="en-US" strike="sngStrike" dirty="0" err="1"/>
              <a:t>eksigis</a:t>
            </a:r>
            <a:r>
              <a:rPr lang="en-US" strike="sngStrike" dirty="0"/>
              <a:t> </a:t>
            </a:r>
            <a:r>
              <a:rPr lang="en-US" strike="sngStrike" dirty="0" err="1"/>
              <a:t>sta</a:t>
            </a:r>
            <a:r>
              <a:rPr lang="en-US" strike="sngStrike" dirty="0"/>
              <a:t> grigora </a:t>
            </a:r>
            <a:r>
              <a:rPr lang="en-US" strike="sngStrike" dirty="0" err="1"/>
              <a:t>ti</a:t>
            </a:r>
            <a:r>
              <a:rPr lang="en-US" strike="sngStrike" dirty="0"/>
              <a:t> </a:t>
            </a:r>
            <a:r>
              <a:rPr lang="en-US" strike="sngStrike" dirty="0" err="1"/>
              <a:t>blepis</a:t>
            </a:r>
            <a:r>
              <a:rPr lang="en-US" strike="sngStrike" dirty="0"/>
              <a:t> </a:t>
            </a:r>
            <a:r>
              <a:rPr lang="en-US" strike="sngStrike" dirty="0" err="1"/>
              <a:t>sto</a:t>
            </a:r>
            <a:r>
              <a:rPr lang="en-US" strike="sngStrike" dirty="0"/>
              <a:t> </a:t>
            </a:r>
            <a:r>
              <a:rPr lang="en-US" strike="sngStrike" dirty="0" err="1"/>
              <a:t>diagramma</a:t>
            </a:r>
            <a:r>
              <a:rPr lang="en-US" strike="sngStrike" dirty="0"/>
              <a:t>) to </a:t>
            </a:r>
            <a:r>
              <a:rPr lang="en-US" b="1" strike="noStrike" dirty="0">
                <a:solidFill>
                  <a:srgbClr val="FF0000"/>
                </a:solidFill>
                <a:highlight>
                  <a:srgbClr val="FFFF00"/>
                </a:highlight>
              </a:rPr>
              <a:t>fork</a:t>
            </a:r>
            <a:r>
              <a:rPr lang="en-US" strike="sngStrike" dirty="0"/>
              <a:t> kai join </a:t>
            </a:r>
            <a:r>
              <a:rPr lang="en-US" strike="sngStrike" dirty="0" err="1"/>
              <a:t>metaksi</a:t>
            </a:r>
            <a:r>
              <a:rPr lang="en-US" strike="sngStrike" dirty="0"/>
              <a:t> key pes </a:t>
            </a:r>
            <a:r>
              <a:rPr lang="en-US" strike="sngStrike" dirty="0" err="1"/>
              <a:t>diladi</a:t>
            </a:r>
            <a:r>
              <a:rPr lang="en-US" strike="sngStrike" dirty="0"/>
              <a:t> same </a:t>
            </a:r>
            <a:r>
              <a:rPr lang="en-US" strike="sngStrike" dirty="0" err="1"/>
              <a:t>aksion</a:t>
            </a:r>
            <a:r>
              <a:rPr lang="en-US" strike="sngStrike" dirty="0"/>
              <a:t> split se same results)</a:t>
            </a:r>
          </a:p>
        </p:txBody>
      </p:sp>
      <p:sp>
        <p:nvSpPr>
          <p:cNvPr id="4" name="Slide Number Placeholder 3"/>
          <p:cNvSpPr>
            <a:spLocks noGrp="1"/>
          </p:cNvSpPr>
          <p:nvPr>
            <p:ph type="sldNum" sz="quarter" idx="5"/>
          </p:nvPr>
        </p:nvSpPr>
        <p:spPr/>
        <p:txBody>
          <a:bodyPr/>
          <a:lstStyle/>
          <a:p>
            <a:fld id="{910C69D4-DE42-414E-829A-8F378A406FFC}" type="slidenum">
              <a:rPr lang="en-US" smtClean="0"/>
              <a:t>36</a:t>
            </a:fld>
            <a:endParaRPr lang="en-US"/>
          </a:p>
        </p:txBody>
      </p:sp>
    </p:spTree>
    <p:extLst>
      <p:ext uri="{BB962C8B-B14F-4D97-AF65-F5344CB8AC3E}">
        <p14:creationId xmlns:p14="http://schemas.microsoft.com/office/powerpoint/2010/main" val="63541662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tin </a:t>
            </a:r>
            <a:r>
              <a:rPr lang="en-US" dirty="0" err="1"/>
              <a:t>paraktw</a:t>
            </a:r>
            <a:r>
              <a:rPr lang="en-US" dirty="0"/>
              <a:t> ikona </a:t>
            </a:r>
            <a:r>
              <a:rPr lang="en-US" dirty="0" err="1"/>
              <a:t>paratiroume</a:t>
            </a:r>
            <a:r>
              <a:rPr lang="en-US" dirty="0"/>
              <a:t> </a:t>
            </a:r>
            <a:r>
              <a:rPr lang="en-US" dirty="0" err="1"/>
              <a:t>pws</a:t>
            </a:r>
            <a:r>
              <a:rPr lang="en-US" dirty="0"/>
              <a:t> </a:t>
            </a:r>
            <a:r>
              <a:rPr lang="en-US" dirty="0" err="1"/>
              <a:t>tha</a:t>
            </a:r>
            <a:r>
              <a:rPr lang="en-US" dirty="0"/>
              <a:t> </a:t>
            </a:r>
            <a:r>
              <a:rPr lang="en-US" dirty="0" err="1"/>
              <a:t>itan</a:t>
            </a:r>
            <a:r>
              <a:rPr lang="en-US" dirty="0"/>
              <a:t> to </a:t>
            </a:r>
            <a:r>
              <a:rPr lang="en-US" dirty="0" err="1"/>
              <a:t>modelo</a:t>
            </a:r>
            <a:r>
              <a:rPr lang="en-US" dirty="0"/>
              <a:t> client-server </a:t>
            </a:r>
            <a:r>
              <a:rPr lang="en-US" dirty="0" err="1"/>
              <a:t>ite</a:t>
            </a:r>
            <a:r>
              <a:rPr lang="en-US" dirty="0"/>
              <a:t> host </a:t>
            </a:r>
            <a:r>
              <a:rPr lang="en-US" dirty="0" err="1"/>
              <a:t>ite</a:t>
            </a:r>
            <a:r>
              <a:rPr lang="en-US" dirty="0"/>
              <a:t> dedicated server</a:t>
            </a:r>
            <a:r>
              <a:rPr lang="el-GR" dirty="0"/>
              <a:t> </a:t>
            </a:r>
            <a:r>
              <a:rPr lang="en-US" dirty="0"/>
              <a:t>tis </a:t>
            </a:r>
            <a:r>
              <a:rPr lang="en-US" dirty="0" err="1"/>
              <a:t>proigoumenis</a:t>
            </a:r>
            <a:r>
              <a:rPr lang="en-US" dirty="0"/>
              <a:t> </a:t>
            </a:r>
            <a:r>
              <a:rPr lang="en-US" dirty="0" err="1"/>
              <a:t>ilopoisis</a:t>
            </a:r>
            <a:endParaRPr lang="en-US" dirty="0"/>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37</a:t>
            </a:fld>
            <a:endParaRPr lang="en-US"/>
          </a:p>
        </p:txBody>
      </p:sp>
    </p:spTree>
    <p:extLst>
      <p:ext uri="{BB962C8B-B14F-4D97-AF65-F5344CB8AC3E}">
        <p14:creationId xmlns:p14="http://schemas.microsoft.com/office/powerpoint/2010/main" val="169223863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Panw</a:t>
            </a:r>
            <a:r>
              <a:rPr lang="en-US" dirty="0"/>
              <a:t> apo ola</a:t>
            </a:r>
          </a:p>
        </p:txBody>
      </p:sp>
      <p:sp>
        <p:nvSpPr>
          <p:cNvPr id="4" name="Slide Number Placeholder 3"/>
          <p:cNvSpPr>
            <a:spLocks noGrp="1"/>
          </p:cNvSpPr>
          <p:nvPr>
            <p:ph type="sldNum" sz="quarter" idx="5"/>
          </p:nvPr>
        </p:nvSpPr>
        <p:spPr/>
        <p:txBody>
          <a:bodyPr/>
          <a:lstStyle/>
          <a:p>
            <a:fld id="{910C69D4-DE42-414E-829A-8F378A406FFC}" type="slidenum">
              <a:rPr lang="en-US" smtClean="0"/>
              <a:t>38</a:t>
            </a:fld>
            <a:endParaRPr lang="en-US"/>
          </a:p>
        </p:txBody>
      </p:sp>
    </p:spTree>
    <p:extLst>
      <p:ext uri="{BB962C8B-B14F-4D97-AF65-F5344CB8AC3E}">
        <p14:creationId xmlns:p14="http://schemas.microsoft.com/office/powerpoint/2010/main" val="290841226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just">
              <a:lnSpc>
                <a:spcPct val="150000"/>
              </a:lnSpc>
              <a:spcBef>
                <a:spcPts val="0"/>
              </a:spcBef>
              <a:spcAft>
                <a:spcPts val="800"/>
              </a:spcAft>
            </a:pPr>
            <a:r>
              <a:rPr lang="el-GR" sz="1800" dirty="0">
                <a:effectLst/>
                <a:latin typeface="Arial" panose="020B0604020202020204" pitchFamily="34" charset="0"/>
                <a:ea typeface="Calibri" panose="020F0502020204030204" pitchFamily="34" charset="0"/>
                <a:cs typeface="Arial" panose="020B0604020202020204" pitchFamily="34" charset="0"/>
              </a:rPr>
              <a:t>Τα βήματα στην δημιουργία συστημάτων εικονικού κόσμου πριν από την διαδικασία έναρξης δόμησης </a:t>
            </a:r>
            <a:r>
              <a:rPr lang="en-US" sz="1800" dirty="0">
                <a:effectLst/>
                <a:latin typeface="Arial" panose="020B0604020202020204" pitchFamily="34" charset="0"/>
                <a:ea typeface="Calibri" panose="020F0502020204030204" pitchFamily="34" charset="0"/>
                <a:cs typeface="Arial" panose="020B0604020202020204" pitchFamily="34" charset="0"/>
              </a:rPr>
              <a:t>business model</a:t>
            </a:r>
            <a:r>
              <a:rPr lang="el-GR" sz="1800" dirty="0">
                <a:effectLst/>
                <a:latin typeface="Arial" panose="020B0604020202020204" pitchFamily="34" charset="0"/>
                <a:ea typeface="Calibri" panose="020F0502020204030204" pitchFamily="34" charset="0"/>
                <a:cs typeface="Arial" panose="020B0604020202020204" pitchFamily="34" charset="0"/>
              </a:rPr>
              <a:t> &amp; </a:t>
            </a:r>
            <a:r>
              <a:rPr lang="en-US" sz="1800" dirty="0">
                <a:effectLst/>
                <a:latin typeface="Arial" panose="020B0604020202020204" pitchFamily="34" charset="0"/>
                <a:ea typeface="Calibri" panose="020F0502020204030204" pitchFamily="34" charset="0"/>
                <a:cs typeface="Arial" panose="020B0604020202020204" pitchFamily="34" charset="0"/>
              </a:rPr>
              <a:t>logic</a:t>
            </a:r>
            <a:r>
              <a:rPr lang="el-GR" sz="1800" dirty="0">
                <a:effectLst/>
                <a:latin typeface="Arial" panose="020B0604020202020204" pitchFamily="34" charset="0"/>
                <a:ea typeface="Calibri" panose="020F0502020204030204" pitchFamily="34" charset="0"/>
                <a:cs typeface="Arial" panose="020B0604020202020204" pitchFamily="34" charset="0"/>
              </a:rPr>
              <a:t> είναι αλγοριθμικά προσεγμένα, τα εξής: </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l-GR" sz="1800" dirty="0">
                <a:effectLst/>
                <a:latin typeface="Arial" panose="020B0604020202020204" pitchFamily="34" charset="0"/>
                <a:ea typeface="Calibri" panose="020F0502020204030204" pitchFamily="34" charset="0"/>
                <a:cs typeface="Arial" panose="020B0604020202020204" pitchFamily="34" charset="0"/>
              </a:rPr>
              <a:t>Εύρεση και ικανοποίηση απαιτήσεων των </a:t>
            </a:r>
            <a:r>
              <a:rPr lang="en-US" sz="1800" dirty="0">
                <a:effectLst/>
                <a:latin typeface="Arial" panose="020B0604020202020204" pitchFamily="34" charset="0"/>
                <a:ea typeface="Calibri" panose="020F0502020204030204" pitchFamily="34" charset="0"/>
                <a:cs typeface="Arial" panose="020B0604020202020204" pitchFamily="34" charset="0"/>
              </a:rPr>
              <a:t>top trend</a:t>
            </a:r>
            <a:r>
              <a:rPr lang="el-GR" sz="1800" dirty="0">
                <a:effectLst/>
                <a:latin typeface="Arial" panose="020B0604020202020204" pitchFamily="34" charset="0"/>
                <a:ea typeface="Calibri" panose="020F0502020204030204" pitchFamily="34" charset="0"/>
                <a:cs typeface="Arial" panose="020B0604020202020204" pitchFamily="34" charset="0"/>
              </a:rPr>
              <a:t> </a:t>
            </a:r>
            <a:r>
              <a:rPr lang="en-US" sz="1800" dirty="0">
                <a:effectLst/>
                <a:latin typeface="Arial" panose="020B0604020202020204" pitchFamily="34" charset="0"/>
                <a:ea typeface="Calibri" panose="020F0502020204030204" pitchFamily="34" charset="0"/>
                <a:cs typeface="Arial" panose="020B0604020202020204" pitchFamily="34" charset="0"/>
              </a:rPr>
              <a:t>Feature </a:t>
            </a:r>
            <a:r>
              <a:rPr lang="el-GR" sz="1800" dirty="0">
                <a:effectLst/>
                <a:latin typeface="Arial" panose="020B0604020202020204" pitchFamily="34" charset="0"/>
                <a:ea typeface="Calibri" panose="020F0502020204030204" pitchFamily="34" charset="0"/>
                <a:cs typeface="Arial" panose="020B0604020202020204" pitchFamily="34" charset="0"/>
              </a:rPr>
              <a:t>σύμφωνα με τα δημογραφικά αποτελέσματα αλλά  και τις δυνατότητες υλοποιήσεις τις από τις υπάρχουσες τεχνολογίες. Αυτό το βήμα είχε ως στόχο να αύξηση την ζήτηση και χρήση συστημάτων παιχνιδιού συγκεκριμένου τύπου. Καθώς στόχος μπορεί να μην είναι πάντοτε ο ρεαλισμός αλλά η διασκέδαση.</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l-GR" sz="1800" dirty="0">
                <a:effectLst/>
                <a:latin typeface="Arial" panose="020B0604020202020204" pitchFamily="34" charset="0"/>
                <a:ea typeface="Calibri" panose="020F0502020204030204" pitchFamily="34" charset="0"/>
                <a:cs typeface="Arial" panose="020B0604020202020204" pitchFamily="34" charset="0"/>
              </a:rPr>
              <a:t>Επιλογή εργαλείων/τεχνολογιών υλοποιήσεις των απαιτήσεων καθώς στο κόσμο του προγραμματισμού και </a:t>
            </a:r>
            <a:r>
              <a:rPr lang="en-US" sz="1800" dirty="0">
                <a:effectLst/>
                <a:latin typeface="Arial" panose="020B0604020202020204" pitchFamily="34" charset="0"/>
                <a:ea typeface="Calibri" panose="020F0502020204030204" pitchFamily="34" charset="0"/>
                <a:cs typeface="Arial" panose="020B0604020202020204" pitchFamily="34" charset="0"/>
              </a:rPr>
              <a:t>engineering</a:t>
            </a:r>
            <a:r>
              <a:rPr lang="el-GR" sz="1800" dirty="0">
                <a:effectLst/>
                <a:latin typeface="Arial" panose="020B0604020202020204" pitchFamily="34" charset="0"/>
                <a:ea typeface="Calibri" panose="020F0502020204030204" pitchFamily="34" charset="0"/>
                <a:cs typeface="Arial" panose="020B0604020202020204" pitchFamily="34" charset="0"/>
              </a:rPr>
              <a:t> τίποτα δεν είναι απόλυτο και πρέπει να λαμβάνονται αποφάσεις σχετικά με ποιο εργαλείο θα μας παρέχει επιθυμητά αποτελέσματα καθώς προσφέρει </a:t>
            </a:r>
            <a:r>
              <a:rPr lang="en-US" sz="1800" dirty="0">
                <a:effectLst/>
                <a:latin typeface="Arial" panose="020B0604020202020204" pitchFamily="34" charset="0"/>
                <a:ea typeface="Calibri" panose="020F0502020204030204" pitchFamily="34" charset="0"/>
                <a:cs typeface="Arial" panose="020B0604020202020204" pitchFamily="34" charset="0"/>
              </a:rPr>
              <a:t>top features</a:t>
            </a:r>
            <a:r>
              <a:rPr lang="el-GR" sz="1800" dirty="0">
                <a:effectLst/>
                <a:latin typeface="Arial" panose="020B0604020202020204" pitchFamily="34" charset="0"/>
                <a:ea typeface="Calibri" panose="020F0502020204030204" pitchFamily="34" charset="0"/>
                <a:cs typeface="Arial" panose="020B0604020202020204" pitchFamily="34" charset="0"/>
              </a:rPr>
              <a:t> και </a:t>
            </a:r>
            <a:r>
              <a:rPr lang="en-US" sz="1800" dirty="0">
                <a:effectLst/>
                <a:latin typeface="Arial" panose="020B0604020202020204" pitchFamily="34" charset="0"/>
                <a:ea typeface="Calibri" panose="020F0502020204030204" pitchFamily="34" charset="0"/>
                <a:cs typeface="Arial" panose="020B0604020202020204" pitchFamily="34" charset="0"/>
              </a:rPr>
              <a:t>streamlined workflow</a:t>
            </a:r>
            <a:r>
              <a:rPr lang="el-GR" sz="1800" dirty="0">
                <a:effectLst/>
                <a:latin typeface="Arial" panose="020B0604020202020204" pitchFamily="34" charset="0"/>
                <a:ea typeface="Calibri" panose="020F0502020204030204" pitchFamily="34" charset="0"/>
                <a:cs typeface="Arial" panose="020B0604020202020204" pitchFamily="34" charset="0"/>
              </a:rPr>
              <a:t> για την επίτευξη των αποτελεσμάτων.</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l-GR" sz="1800" dirty="0">
                <a:effectLst/>
                <a:latin typeface="Arial" panose="020B0604020202020204" pitchFamily="34" charset="0"/>
                <a:ea typeface="Calibri" panose="020F0502020204030204" pitchFamily="34" charset="0"/>
                <a:cs typeface="Arial" panose="020B0604020202020204" pitchFamily="34" charset="0"/>
              </a:rPr>
              <a:t>Επιλογή</a:t>
            </a:r>
            <a:r>
              <a:rPr lang="en-US" sz="1800" dirty="0">
                <a:effectLst/>
                <a:latin typeface="Arial" panose="020B0604020202020204" pitchFamily="34" charset="0"/>
                <a:ea typeface="Calibri" panose="020F0502020204030204" pitchFamily="34" charset="0"/>
                <a:cs typeface="Arial" panose="020B0604020202020204" pitchFamily="34" charset="0"/>
              </a:rPr>
              <a:t> Project Management &amp; software development methodologies (</a:t>
            </a:r>
            <a:r>
              <a:rPr lang="el-GR" sz="1800" dirty="0">
                <a:effectLst/>
                <a:latin typeface="Arial" panose="020B0604020202020204" pitchFamily="34" charset="0"/>
                <a:ea typeface="Calibri" panose="020F0502020204030204" pitchFamily="34" charset="0"/>
                <a:cs typeface="Arial" panose="020B0604020202020204" pitchFamily="34" charset="0"/>
              </a:rPr>
              <a:t>Πληθυντικό διότι</a:t>
            </a:r>
            <a:r>
              <a:rPr lang="en-US" sz="1800" dirty="0">
                <a:effectLst/>
                <a:latin typeface="Arial" panose="020B0604020202020204" pitchFamily="34" charset="0"/>
                <a:ea typeface="Calibri" panose="020F0502020204030204" pitchFamily="34" charset="0"/>
                <a:cs typeface="Arial" panose="020B0604020202020204" pitchFamily="34" charset="0"/>
              </a:rPr>
              <a:t> i.e., </a:t>
            </a:r>
            <a:r>
              <a:rPr lang="el-GR" sz="1800" dirty="0">
                <a:effectLst/>
                <a:latin typeface="Arial" panose="020B0604020202020204" pitchFamily="34" charset="0"/>
                <a:ea typeface="Calibri" panose="020F0502020204030204" pitchFamily="34" charset="0"/>
                <a:cs typeface="Arial" panose="020B0604020202020204" pitchFamily="34" charset="0"/>
              </a:rPr>
              <a:t>ή</a:t>
            </a:r>
            <a:r>
              <a:rPr lang="en-US" sz="1800" dirty="0">
                <a:effectLst/>
                <a:latin typeface="Arial" panose="020B0604020202020204" pitchFamily="34" charset="0"/>
                <a:ea typeface="Calibri" panose="020F0502020204030204" pitchFamily="34" charset="0"/>
                <a:cs typeface="Arial" panose="020B0604020202020204" pitchFamily="34" charset="0"/>
              </a:rPr>
              <a:t>/</a:t>
            </a:r>
            <a:r>
              <a:rPr lang="el-GR" sz="1800" dirty="0">
                <a:effectLst/>
                <a:latin typeface="Arial" panose="020B0604020202020204" pitchFamily="34" charset="0"/>
                <a:ea typeface="Calibri" panose="020F0502020204030204" pitchFamily="34" charset="0"/>
                <a:cs typeface="Arial" panose="020B0604020202020204" pitchFamily="34" charset="0"/>
              </a:rPr>
              <a:t>και</a:t>
            </a:r>
            <a:r>
              <a:rPr lang="en-US" sz="1800" dirty="0">
                <a:effectLst/>
                <a:latin typeface="Arial" panose="020B0604020202020204" pitchFamily="34" charset="0"/>
                <a:ea typeface="Calibri" panose="020F0502020204030204" pitchFamily="34" charset="0"/>
                <a:cs typeface="Arial" panose="020B0604020202020204" pitchFamily="34" charset="0"/>
              </a:rPr>
              <a:t> agile + DevOps)</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800" dirty="0">
                <a:effectLst/>
                <a:latin typeface="Arial" panose="020B0604020202020204" pitchFamily="34" charset="0"/>
                <a:ea typeface="Calibri" panose="020F0502020204030204" pitchFamily="34" charset="0"/>
                <a:cs typeface="Arial" panose="020B0604020202020204" pitchFamily="34" charset="0"/>
              </a:rPr>
              <a:t>UML &amp; Class Design</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800" dirty="0">
                <a:effectLst/>
                <a:latin typeface="Arial" panose="020B0604020202020204" pitchFamily="34" charset="0"/>
                <a:ea typeface="Calibri" panose="020F0502020204030204" pitchFamily="34" charset="0"/>
                <a:cs typeface="Arial" panose="020B0604020202020204" pitchFamily="34" charset="0"/>
              </a:rPr>
              <a:t>Level Blocking out/</a:t>
            </a:r>
            <a:r>
              <a:rPr lang="en-US" sz="1800" dirty="0" err="1">
                <a:effectLst/>
                <a:latin typeface="Arial" panose="020B0604020202020204" pitchFamily="34" charset="0"/>
                <a:ea typeface="Calibri" panose="020F0502020204030204" pitchFamily="34" charset="0"/>
                <a:cs typeface="Arial" panose="020B0604020202020204" pitchFamily="34" charset="0"/>
              </a:rPr>
              <a:t>whiteBoxing</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800" dirty="0">
                <a:effectLst/>
                <a:latin typeface="Arial" panose="020B0604020202020204" pitchFamily="34" charset="0"/>
                <a:ea typeface="Calibri" panose="020F0502020204030204" pitchFamily="34" charset="0"/>
                <a:cs typeface="Arial" panose="020B0604020202020204" pitchFamily="34" charset="0"/>
              </a:rPr>
              <a:t>Class implementation</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800" dirty="0">
                <a:effectLst/>
                <a:latin typeface="Arial" panose="020B0604020202020204" pitchFamily="34" charset="0"/>
                <a:ea typeface="Calibri" panose="020F0502020204030204" pitchFamily="34" charset="0"/>
                <a:cs typeface="Arial" panose="020B0604020202020204" pitchFamily="34" charset="0"/>
              </a:rPr>
              <a:t>Testing</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800" dirty="0">
                <a:effectLst/>
                <a:latin typeface="Arial" panose="020B0604020202020204" pitchFamily="34" charset="0"/>
                <a:ea typeface="Calibri" panose="020F0502020204030204" pitchFamily="34" charset="0"/>
                <a:cs typeface="Arial" panose="020B0604020202020204" pitchFamily="34" charset="0"/>
              </a:rPr>
              <a:t>3D modeling, Animation &amp; material authoring</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800" dirty="0">
                <a:effectLst/>
                <a:latin typeface="Arial" panose="020B0604020202020204" pitchFamily="34" charset="0"/>
                <a:ea typeface="Calibri" panose="020F0502020204030204" pitchFamily="34" charset="0"/>
                <a:cs typeface="Arial" panose="020B0604020202020204" pitchFamily="34" charset="0"/>
              </a:rPr>
              <a:t>Finalize results</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800" dirty="0">
                <a:effectLst/>
                <a:latin typeface="Arial" panose="020B0604020202020204" pitchFamily="34" charset="0"/>
                <a:ea typeface="Calibri" panose="020F0502020204030204" pitchFamily="34" charset="0"/>
                <a:cs typeface="Arial" panose="020B0604020202020204" pitchFamily="34" charset="0"/>
              </a:rPr>
              <a:t>Testing</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800" dirty="0">
                <a:effectLst/>
                <a:latin typeface="Arial" panose="020B0604020202020204" pitchFamily="34" charset="0"/>
                <a:ea typeface="Calibri" panose="020F0502020204030204" pitchFamily="34" charset="0"/>
                <a:cs typeface="Arial" panose="020B0604020202020204" pitchFamily="34" charset="0"/>
              </a:rPr>
              <a:t>Deploy</a:t>
            </a:r>
            <a:r>
              <a:rPr lang="el-GR" sz="1800" dirty="0">
                <a:effectLst/>
                <a:latin typeface="Arial" panose="020B0604020202020204" pitchFamily="34" charset="0"/>
                <a:ea typeface="Calibri" panose="020F0502020204030204" pitchFamily="34" charset="0"/>
                <a:cs typeface="Arial" panose="020B0604020202020204" pitchFamily="34" charset="0"/>
              </a:rPr>
              <a:t> &amp; </a:t>
            </a:r>
            <a:r>
              <a:rPr lang="en-US" sz="1800" dirty="0">
                <a:effectLst/>
                <a:latin typeface="Arial" panose="020B0604020202020204" pitchFamily="34" charset="0"/>
                <a:ea typeface="Calibri" panose="020F0502020204030204" pitchFamily="34" charset="0"/>
                <a:cs typeface="Arial" panose="020B0604020202020204" pitchFamily="34" charset="0"/>
              </a:rPr>
              <a:t>Production</a:t>
            </a:r>
            <a:r>
              <a:rPr lang="el-GR" sz="1800" dirty="0">
                <a:effectLst/>
                <a:latin typeface="Arial" panose="020B0604020202020204" pitchFamily="34" charset="0"/>
                <a:ea typeface="Calibri" panose="020F0502020204030204" pitchFamily="34" charset="0"/>
                <a:cs typeface="Arial" panose="020B0604020202020204" pitchFamily="34" charset="0"/>
              </a:rPr>
              <a:t> (</a:t>
            </a:r>
            <a:r>
              <a:rPr lang="el-GR" sz="1800" i="1" dirty="0">
                <a:effectLst/>
                <a:latin typeface="Arial" panose="020B0604020202020204" pitchFamily="34" charset="0"/>
                <a:ea typeface="Calibri" panose="020F0502020204030204" pitchFamily="34" charset="0"/>
                <a:cs typeface="Arial" panose="020B0604020202020204" pitchFamily="34" charset="0"/>
              </a:rPr>
              <a:t>ακολουθία </a:t>
            </a:r>
            <a:r>
              <a:rPr lang="en-US" sz="1800" i="1" dirty="0">
                <a:effectLst/>
                <a:latin typeface="Arial" panose="020B0604020202020204" pitchFamily="34" charset="0"/>
                <a:ea typeface="Calibri" panose="020F0502020204030204" pitchFamily="34" charset="0"/>
                <a:cs typeface="Arial" panose="020B0604020202020204" pitchFamily="34" charset="0"/>
              </a:rPr>
              <a:t>Guidelines</a:t>
            </a:r>
            <a:r>
              <a:rPr lang="el-GR" sz="1800" i="1" dirty="0">
                <a:effectLst/>
                <a:latin typeface="Arial" panose="020B0604020202020204" pitchFamily="34" charset="0"/>
                <a:ea typeface="Calibri" panose="020F0502020204030204" pitchFamily="34" charset="0"/>
                <a:cs typeface="Arial" panose="020B0604020202020204" pitchFamily="34" charset="0"/>
              </a:rPr>
              <a:t> για δημοσίευση στην εκάστοτε πλατφόρμα</a:t>
            </a:r>
            <a:r>
              <a:rPr lang="el-GR" sz="1800" dirty="0">
                <a:effectLst/>
                <a:latin typeface="Arial" panose="020B0604020202020204" pitchFamily="34" charset="0"/>
                <a:ea typeface="Calibri" panose="020F0502020204030204" pitchFamily="34" charset="0"/>
                <a:cs typeface="Arial" panose="020B0604020202020204" pitchFamily="34" charset="0"/>
              </a:rPr>
              <a:t>)</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800"/>
              </a:spcAft>
              <a:buFont typeface="+mj-lt"/>
              <a:buAutoNum type="arabicPeriod"/>
            </a:pPr>
            <a:r>
              <a:rPr lang="en-US" sz="1800" dirty="0">
                <a:effectLst/>
                <a:latin typeface="Arial" panose="020B0604020202020204" pitchFamily="34" charset="0"/>
                <a:ea typeface="Calibri" panose="020F0502020204030204" pitchFamily="34" charset="0"/>
                <a:cs typeface="Arial" panose="020B0604020202020204" pitchFamily="34" charset="0"/>
              </a:rPr>
              <a:t>Support &amp; Q&amp;A</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0" marR="0" algn="just">
              <a:lnSpc>
                <a:spcPct val="150000"/>
              </a:lnSpc>
              <a:spcBef>
                <a:spcPts val="0"/>
              </a:spcBef>
              <a:spcAft>
                <a:spcPts val="800"/>
              </a:spcAft>
            </a:pPr>
            <a:r>
              <a:rPr lang="el-GR" sz="1800" dirty="0">
                <a:effectLst/>
                <a:latin typeface="Arial" panose="020B0604020202020204" pitchFamily="34" charset="0"/>
                <a:ea typeface="Calibri" panose="020F0502020204030204" pitchFamily="34" charset="0"/>
                <a:cs typeface="Arial" panose="020B0604020202020204" pitchFamily="34" charset="0"/>
              </a:rPr>
              <a:t>Εν τέλη τα παραπάνω βήματα επικεντρώνονται σε έναν </a:t>
            </a:r>
            <a:r>
              <a:rPr lang="en-US" sz="1800" dirty="0">
                <a:effectLst/>
                <a:latin typeface="Arial" panose="020B0604020202020204" pitchFamily="34" charset="0"/>
                <a:ea typeface="Calibri" panose="020F0502020204030204" pitchFamily="34" charset="0"/>
                <a:cs typeface="Arial" panose="020B0604020202020204" pitchFamily="34" charset="0"/>
              </a:rPr>
              <a:t>fast paced marketing</a:t>
            </a:r>
            <a:r>
              <a:rPr lang="el-GR" sz="1800" dirty="0">
                <a:effectLst/>
                <a:latin typeface="Arial" panose="020B0604020202020204" pitchFamily="34" charset="0"/>
                <a:ea typeface="Calibri" panose="020F0502020204030204" pitchFamily="34" charset="0"/>
                <a:cs typeface="Arial" panose="020B0604020202020204" pitchFamily="34" charset="0"/>
              </a:rPr>
              <a:t> ρυθμό ανάπτυξης καθώς χρησιμοποιούνται ήδη υπάρχουσες έτοιμες τεχνολογίες για την δόμηση συστημάτων καθώς αυτό δεν είναι προκαθορισμένο διότι μπορεί για να γίνει η επιθυμία “</a:t>
            </a:r>
            <a:r>
              <a:rPr lang="en-US" sz="1800" i="1" dirty="0">
                <a:effectLst/>
                <a:latin typeface="Arial" panose="020B0604020202020204" pitchFamily="34" charset="0"/>
                <a:ea typeface="Calibri" panose="020F0502020204030204" pitchFamily="34" charset="0"/>
                <a:cs typeface="Arial" panose="020B0604020202020204" pitchFamily="34" charset="0"/>
              </a:rPr>
              <a:t>re</a:t>
            </a:r>
            <a:r>
              <a:rPr lang="el-GR" sz="1800" i="1" dirty="0">
                <a:effectLst/>
                <a:latin typeface="Arial" panose="020B0604020202020204" pitchFamily="34" charset="0"/>
                <a:ea typeface="Calibri" panose="020F0502020204030204" pitchFamily="34" charset="0"/>
                <a:cs typeface="Arial" panose="020B0604020202020204" pitchFamily="34" charset="0"/>
              </a:rPr>
              <a:t>-</a:t>
            </a:r>
            <a:r>
              <a:rPr lang="en-US" sz="1800" i="1" dirty="0">
                <a:effectLst/>
                <a:latin typeface="Arial" panose="020B0604020202020204" pitchFamily="34" charset="0"/>
                <a:ea typeface="Calibri" panose="020F0502020204030204" pitchFamily="34" charset="0"/>
                <a:cs typeface="Arial" panose="020B0604020202020204" pitchFamily="34" charset="0"/>
              </a:rPr>
              <a:t>invent the wheel</a:t>
            </a:r>
            <a:r>
              <a:rPr lang="el-GR" sz="1800" dirty="0">
                <a:effectLst/>
                <a:latin typeface="Arial" panose="020B0604020202020204" pitchFamily="34" charset="0"/>
                <a:ea typeface="Calibri" panose="020F0502020204030204" pitchFamily="34" charset="0"/>
                <a:cs typeface="Arial" panose="020B0604020202020204" pitchFamily="34" charset="0"/>
              </a:rPr>
              <a:t>” με την δημιουργία από την αρχή των τεχνολογιών από </a:t>
            </a:r>
            <a:r>
              <a:rPr lang="en-US" sz="1800" dirty="0">
                <a:effectLst/>
                <a:latin typeface="Arial" panose="020B0604020202020204" pitchFamily="34" charset="0"/>
                <a:ea typeface="Calibri" panose="020F0502020204030204" pitchFamily="34" charset="0"/>
                <a:cs typeface="Arial" panose="020B0604020202020204" pitchFamily="34" charset="0"/>
              </a:rPr>
              <a:t>Low level</a:t>
            </a:r>
            <a:r>
              <a:rPr lang="el-GR" sz="1800" dirty="0">
                <a:effectLst/>
                <a:latin typeface="Arial" panose="020B0604020202020204" pitchFamily="34" charset="0"/>
                <a:ea typeface="Calibri" panose="020F0502020204030204" pitchFamily="34" charset="0"/>
                <a:cs typeface="Arial" panose="020B0604020202020204" pitchFamily="34" charset="0"/>
              </a:rPr>
              <a:t>.</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39</a:t>
            </a:fld>
            <a:endParaRPr lang="en-US"/>
          </a:p>
        </p:txBody>
      </p:sp>
    </p:spTree>
    <p:extLst>
      <p:ext uri="{BB962C8B-B14F-4D97-AF65-F5344CB8AC3E}">
        <p14:creationId xmlns:p14="http://schemas.microsoft.com/office/powerpoint/2010/main" val="26078909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Tha</a:t>
            </a:r>
            <a:r>
              <a:rPr lang="en-US" dirty="0"/>
              <a:t> </a:t>
            </a:r>
            <a:r>
              <a:rPr lang="en-US" dirty="0" err="1"/>
              <a:t>doume</a:t>
            </a:r>
            <a:r>
              <a:rPr lang="en-US" dirty="0"/>
              <a:t> </a:t>
            </a:r>
            <a:r>
              <a:rPr lang="en-US" dirty="0" err="1"/>
              <a:t>ena</a:t>
            </a:r>
            <a:r>
              <a:rPr lang="en-US" dirty="0"/>
              <a:t> third party module to VoIP se Showcase fisika den </a:t>
            </a:r>
            <a:r>
              <a:rPr lang="en-US" dirty="0" err="1"/>
              <a:t>ine</a:t>
            </a:r>
            <a:r>
              <a:rPr lang="en-US" dirty="0"/>
              <a:t> o </a:t>
            </a:r>
            <a:r>
              <a:rPr lang="en-US" dirty="0" err="1"/>
              <a:t>swstos</a:t>
            </a:r>
            <a:r>
              <a:rPr lang="en-US" dirty="0"/>
              <a:t> </a:t>
            </a:r>
            <a:r>
              <a:rPr lang="en-US" dirty="0" err="1"/>
              <a:t>tropos</a:t>
            </a:r>
            <a:r>
              <a:rPr lang="en-US" dirty="0"/>
              <a:t> </a:t>
            </a:r>
            <a:r>
              <a:rPr lang="en-US" dirty="0" err="1"/>
              <a:t>na</a:t>
            </a:r>
            <a:r>
              <a:rPr lang="en-US" dirty="0"/>
              <a:t> to </a:t>
            </a:r>
            <a:r>
              <a:rPr lang="en-US" dirty="0" err="1"/>
              <a:t>testaroume</a:t>
            </a:r>
            <a:r>
              <a:rPr lang="en-US" dirty="0"/>
              <a:t> dioti </a:t>
            </a:r>
            <a:r>
              <a:rPr lang="en-US" dirty="0" err="1"/>
              <a:t>theli</a:t>
            </a:r>
            <a:r>
              <a:rPr lang="en-US" dirty="0"/>
              <a:t> fisika </a:t>
            </a:r>
            <a:r>
              <a:rPr lang="en-US" dirty="0" err="1"/>
              <a:t>diaforetika</a:t>
            </a:r>
            <a:r>
              <a:rPr lang="en-US" dirty="0"/>
              <a:t> pc kai </a:t>
            </a:r>
            <a:r>
              <a:rPr lang="en-US" dirty="0" err="1"/>
              <a:t>oxi</a:t>
            </a:r>
            <a:r>
              <a:rPr lang="en-US" dirty="0"/>
              <a:t> 1 me </a:t>
            </a:r>
            <a:r>
              <a:rPr lang="en-US" dirty="0" err="1"/>
              <a:t>diaforetika</a:t>
            </a:r>
            <a:r>
              <a:rPr lang="en-US" dirty="0"/>
              <a:t> game instances </a:t>
            </a:r>
            <a:r>
              <a:rPr lang="en-US" dirty="0" err="1"/>
              <a:t>na</a:t>
            </a:r>
            <a:r>
              <a:rPr lang="en-US" dirty="0"/>
              <a:t> </a:t>
            </a:r>
            <a:r>
              <a:rPr lang="en-US" dirty="0" err="1"/>
              <a:t>trexoun</a:t>
            </a:r>
            <a:r>
              <a:rPr lang="en-US" dirty="0"/>
              <a:t> se 1 </a:t>
            </a:r>
            <a:r>
              <a:rPr lang="en-US" dirty="0" err="1"/>
              <a:t>giati</a:t>
            </a:r>
            <a:r>
              <a:rPr lang="en-US" dirty="0"/>
              <a:t> </a:t>
            </a:r>
            <a:r>
              <a:rPr lang="en-US" dirty="0" err="1"/>
              <a:t>prepei</a:t>
            </a:r>
            <a:r>
              <a:rPr lang="en-US" dirty="0"/>
              <a:t> </a:t>
            </a:r>
            <a:r>
              <a:rPr lang="en-US" dirty="0" err="1"/>
              <a:t>na</a:t>
            </a:r>
            <a:r>
              <a:rPr lang="en-US" dirty="0"/>
              <a:t> xoume </a:t>
            </a:r>
            <a:r>
              <a:rPr lang="en-US" dirty="0" err="1"/>
              <a:t>diaforetikes</a:t>
            </a:r>
            <a:r>
              <a:rPr lang="en-US" dirty="0"/>
              <a:t> </a:t>
            </a:r>
            <a:r>
              <a:rPr lang="en-US" dirty="0" err="1"/>
              <a:t>kartes</a:t>
            </a:r>
            <a:r>
              <a:rPr lang="en-US" dirty="0"/>
              <a:t> </a:t>
            </a:r>
            <a:r>
              <a:rPr lang="en-US" dirty="0" err="1"/>
              <a:t>ixou</a:t>
            </a:r>
            <a:r>
              <a:rPr lang="en-US" dirty="0"/>
              <a:t> </a:t>
            </a:r>
            <a:r>
              <a:rPr lang="en-US" dirty="0" err="1"/>
              <a:t>alla</a:t>
            </a:r>
            <a:r>
              <a:rPr lang="en-US" dirty="0"/>
              <a:t> kai diaforetiko input devices</a:t>
            </a:r>
            <a:endParaRPr lang="el-GR" dirty="0"/>
          </a:p>
          <a:p>
            <a:endParaRPr lang="el-GR" dirty="0"/>
          </a:p>
          <a:p>
            <a:r>
              <a:rPr lang="el-GR" dirty="0"/>
              <a:t>Ο </a:t>
            </a:r>
            <a:r>
              <a:rPr lang="el-GR" dirty="0" err="1"/>
              <a:t>Σκοπος</a:t>
            </a:r>
            <a:r>
              <a:rPr lang="el-GR" dirty="0"/>
              <a:t> </a:t>
            </a:r>
            <a:r>
              <a:rPr lang="el-GR" dirty="0" err="1"/>
              <a:t>ειναι</a:t>
            </a:r>
            <a:r>
              <a:rPr lang="el-GR" dirty="0"/>
              <a:t> να </a:t>
            </a:r>
            <a:r>
              <a:rPr lang="el-GR" dirty="0" err="1"/>
              <a:t>αυξηθει</a:t>
            </a:r>
            <a:r>
              <a:rPr lang="el-GR" dirty="0"/>
              <a:t> ο ρεαλισμός σε έναν εικονικό κόσμο </a:t>
            </a:r>
            <a:r>
              <a:rPr lang="el-GR" dirty="0" err="1"/>
              <a:t>προσομειώνοντας</a:t>
            </a:r>
            <a:r>
              <a:rPr lang="el-GR" dirty="0"/>
              <a:t> λειτουργείς του φυσικού </a:t>
            </a:r>
            <a:r>
              <a:rPr lang="el-GR" dirty="0" err="1"/>
              <a:t>αλλίως</a:t>
            </a:r>
            <a:r>
              <a:rPr lang="el-GR" dirty="0"/>
              <a:t> αυτό το </a:t>
            </a:r>
            <a:r>
              <a:rPr lang="en-US" dirty="0"/>
              <a:t>project </a:t>
            </a:r>
            <a:r>
              <a:rPr lang="el-GR" dirty="0"/>
              <a:t>θα ήταν </a:t>
            </a:r>
            <a:r>
              <a:rPr lang="el-GR" dirty="0" err="1"/>
              <a:t>τελειώς</a:t>
            </a:r>
            <a:r>
              <a:rPr lang="el-GR" dirty="0"/>
              <a:t> </a:t>
            </a:r>
            <a:r>
              <a:rPr lang="el-GR" dirty="0" err="1"/>
              <a:t>περιτός</a:t>
            </a:r>
            <a:r>
              <a:rPr lang="el-GR" dirty="0"/>
              <a:t> μιας που σε έναν προγραμματισμένο </a:t>
            </a:r>
            <a:r>
              <a:rPr lang="el-GR" dirty="0" err="1"/>
              <a:t>ελενχόμενο</a:t>
            </a:r>
            <a:r>
              <a:rPr lang="el-GR" dirty="0"/>
              <a:t> κόσμο μπορεί να </a:t>
            </a:r>
            <a:r>
              <a:rPr lang="el-GR" dirty="0" err="1"/>
              <a:t>δωθεί</a:t>
            </a:r>
            <a:r>
              <a:rPr lang="el-GR" dirty="0"/>
              <a:t> </a:t>
            </a:r>
            <a:r>
              <a:rPr lang="el-GR" dirty="0" err="1"/>
              <a:t>οποιδήποτε</a:t>
            </a:r>
            <a:r>
              <a:rPr lang="el-GR" dirty="0"/>
              <a:t> ιδιότητα του ρεαλισμού που θα ισχύει σε αυτόν και δεν θα ενώνει απαραίτητα με τον δικό μας.</a:t>
            </a:r>
            <a:endParaRPr lang="en-US" dirty="0"/>
          </a:p>
          <a:p>
            <a:endParaRPr lang="en-US" dirty="0"/>
          </a:p>
          <a:p>
            <a:r>
              <a:rPr lang="en-US" strike="sngStrike" dirty="0" err="1"/>
              <a:t>Eksigise</a:t>
            </a:r>
            <a:r>
              <a:rPr lang="en-US" strike="sngStrike" dirty="0"/>
              <a:t> </a:t>
            </a:r>
            <a:r>
              <a:rPr lang="en-US" strike="sngStrike" dirty="0" err="1"/>
              <a:t>ti</a:t>
            </a:r>
            <a:r>
              <a:rPr lang="en-US" strike="sngStrike" dirty="0"/>
              <a:t> </a:t>
            </a:r>
            <a:r>
              <a:rPr lang="en-US" strike="sngStrike" dirty="0" err="1"/>
              <a:t>ginetai</a:t>
            </a:r>
            <a:r>
              <a:rPr lang="en-US" strike="sngStrike" dirty="0"/>
              <a:t> mesa </a:t>
            </a:r>
            <a:r>
              <a:rPr lang="en-US" strike="sngStrike" dirty="0" err="1"/>
              <a:t>sto</a:t>
            </a:r>
            <a:r>
              <a:rPr lang="en-US" strike="sngStrike" dirty="0"/>
              <a:t> video</a:t>
            </a:r>
            <a:endParaRPr lang="el-GR" strike="sngStrike" dirty="0"/>
          </a:p>
          <a:p>
            <a:endParaRPr lang="el-GR" dirty="0"/>
          </a:p>
          <a:p>
            <a:r>
              <a:rPr lang="en-US" dirty="0"/>
              <a:t>Auto </a:t>
            </a:r>
            <a:r>
              <a:rPr lang="en-US" dirty="0" err="1"/>
              <a:t>pu</a:t>
            </a:r>
            <a:r>
              <a:rPr lang="en-US" dirty="0"/>
              <a:t> </a:t>
            </a:r>
            <a:r>
              <a:rPr lang="en-US" dirty="0" err="1"/>
              <a:t>blepetai</a:t>
            </a:r>
            <a:r>
              <a:rPr lang="en-US" dirty="0"/>
              <a:t> den </a:t>
            </a:r>
            <a:r>
              <a:rPr lang="en-US" dirty="0" err="1"/>
              <a:t>ine</a:t>
            </a:r>
            <a:r>
              <a:rPr lang="en-US" dirty="0"/>
              <a:t> </a:t>
            </a:r>
            <a:r>
              <a:rPr lang="en-US" dirty="0" err="1"/>
              <a:t>paixnidi</a:t>
            </a:r>
            <a:r>
              <a:rPr lang="en-US" dirty="0"/>
              <a:t> </a:t>
            </a:r>
            <a:r>
              <a:rPr lang="en-US" dirty="0" err="1"/>
              <a:t>alla</a:t>
            </a:r>
            <a:r>
              <a:rPr lang="en-US" dirty="0"/>
              <a:t> </a:t>
            </a:r>
            <a:r>
              <a:rPr lang="en-US" dirty="0" err="1"/>
              <a:t>ena</a:t>
            </a:r>
            <a:r>
              <a:rPr lang="en-US" dirty="0"/>
              <a:t> </a:t>
            </a:r>
            <a:r>
              <a:rPr lang="en-US" dirty="0" err="1"/>
              <a:t>systima</a:t>
            </a:r>
            <a:r>
              <a:rPr lang="en-US" dirty="0"/>
              <a:t> </a:t>
            </a:r>
            <a:r>
              <a:rPr lang="en-US" dirty="0" err="1"/>
              <a:t>panw</a:t>
            </a:r>
            <a:r>
              <a:rPr lang="en-US" dirty="0"/>
              <a:t> se </a:t>
            </a:r>
            <a:r>
              <a:rPr lang="en-US" dirty="0" err="1"/>
              <a:t>ena</a:t>
            </a:r>
            <a:r>
              <a:rPr lang="en-US" dirty="0"/>
              <a:t> </a:t>
            </a:r>
            <a:r>
              <a:rPr lang="en-US" dirty="0" err="1"/>
              <a:t>eikoniko</a:t>
            </a:r>
            <a:r>
              <a:rPr lang="en-US" dirty="0"/>
              <a:t> 3D </a:t>
            </a:r>
            <a:r>
              <a:rPr lang="en-US" dirty="0" err="1"/>
              <a:t>peribalon-paixnidi</a:t>
            </a:r>
            <a:r>
              <a:rPr lang="en-US" dirty="0"/>
              <a:t> </a:t>
            </a:r>
            <a:r>
              <a:rPr lang="en-US" dirty="0" err="1"/>
              <a:t>tha</a:t>
            </a:r>
            <a:r>
              <a:rPr lang="en-US" dirty="0"/>
              <a:t> </a:t>
            </a:r>
            <a:r>
              <a:rPr lang="en-US" dirty="0" err="1"/>
              <a:t>mporouse</a:t>
            </a:r>
            <a:r>
              <a:rPr lang="en-US" dirty="0"/>
              <a:t> </a:t>
            </a:r>
            <a:r>
              <a:rPr lang="en-US" dirty="0" err="1"/>
              <a:t>na</a:t>
            </a:r>
            <a:r>
              <a:rPr lang="en-US" dirty="0"/>
              <a:t> </a:t>
            </a:r>
            <a:r>
              <a:rPr lang="en-US" dirty="0" err="1"/>
              <a:t>ine</a:t>
            </a:r>
            <a:r>
              <a:rPr lang="en-US" dirty="0"/>
              <a:t> </a:t>
            </a:r>
            <a:r>
              <a:rPr lang="en-US" dirty="0" err="1"/>
              <a:t>opoiodipote</a:t>
            </a:r>
            <a:r>
              <a:rPr lang="en-US" dirty="0"/>
              <a:t> </a:t>
            </a:r>
            <a:r>
              <a:rPr lang="en-US" dirty="0" err="1"/>
              <a:t>gnwstos</a:t>
            </a:r>
            <a:r>
              <a:rPr lang="en-US" dirty="0"/>
              <a:t> </a:t>
            </a:r>
            <a:r>
              <a:rPr lang="en-US" dirty="0" err="1"/>
              <a:t>emporikos</a:t>
            </a:r>
            <a:r>
              <a:rPr lang="en-US" dirty="0"/>
              <a:t> </a:t>
            </a:r>
            <a:r>
              <a:rPr lang="en-US" dirty="0" err="1"/>
              <a:t>titlos</a:t>
            </a:r>
            <a:r>
              <a:rPr lang="en-US" dirty="0"/>
              <a:t> </a:t>
            </a:r>
            <a:r>
              <a:rPr lang="en-US" strike="sngStrike" dirty="0"/>
              <a:t>(call of duty, </a:t>
            </a:r>
            <a:r>
              <a:rPr lang="en-US" strike="sngStrike" dirty="0" err="1"/>
              <a:t>lara</a:t>
            </a:r>
            <a:r>
              <a:rPr lang="en-US" strike="sngStrike" dirty="0"/>
              <a:t> croft)</a:t>
            </a:r>
            <a:r>
              <a:rPr lang="en-US" dirty="0"/>
              <a:t> den </a:t>
            </a:r>
            <a:r>
              <a:rPr lang="en-US" dirty="0" err="1"/>
              <a:t>exi</a:t>
            </a:r>
            <a:r>
              <a:rPr lang="en-US" dirty="0"/>
              <a:t> </a:t>
            </a:r>
            <a:r>
              <a:rPr lang="en-US" dirty="0" err="1"/>
              <a:t>sxesi</a:t>
            </a:r>
            <a:r>
              <a:rPr lang="en-US" dirty="0"/>
              <a:t> arki </a:t>
            </a:r>
            <a:r>
              <a:rPr lang="en-US" dirty="0" err="1"/>
              <a:t>na</a:t>
            </a:r>
            <a:r>
              <a:rPr lang="en-US" dirty="0"/>
              <a:t> </a:t>
            </a:r>
            <a:r>
              <a:rPr lang="en-US" dirty="0" err="1"/>
              <a:t>nai</a:t>
            </a:r>
            <a:r>
              <a:rPr lang="en-US" dirty="0"/>
              <a:t> “multiplayer enabled” (</a:t>
            </a:r>
            <a:r>
              <a:rPr lang="en-US" dirty="0" err="1"/>
              <a:t>mia</a:t>
            </a:r>
            <a:r>
              <a:rPr lang="en-US" dirty="0"/>
              <a:t> </a:t>
            </a:r>
            <a:r>
              <a:rPr lang="en-US" dirty="0" err="1"/>
              <a:t>platforma</a:t>
            </a:r>
            <a:r>
              <a:rPr lang="en-US" dirty="0"/>
              <a:t> </a:t>
            </a:r>
            <a:r>
              <a:rPr lang="en-US" dirty="0" err="1"/>
              <a:t>diladi</a:t>
            </a:r>
            <a:r>
              <a:rPr lang="en-US" dirty="0"/>
              <a:t>) kai </a:t>
            </a:r>
            <a:r>
              <a:rPr lang="en-US" dirty="0" err="1"/>
              <a:t>ena</a:t>
            </a:r>
            <a:r>
              <a:rPr lang="en-US" dirty="0"/>
              <a:t> 3D environment </a:t>
            </a:r>
            <a:r>
              <a:rPr lang="en-US" dirty="0" err="1"/>
              <a:t>xwros</a:t>
            </a:r>
            <a:r>
              <a:rPr lang="en-US" dirty="0"/>
              <a:t> me Actor Pawns </a:t>
            </a:r>
            <a:r>
              <a:rPr lang="en-US" dirty="0" err="1"/>
              <a:t>gia</a:t>
            </a:r>
            <a:r>
              <a:rPr lang="en-US" dirty="0"/>
              <a:t> Testing</a:t>
            </a:r>
          </a:p>
          <a:p>
            <a:endParaRPr lang="en-US" dirty="0"/>
          </a:p>
          <a:p>
            <a:r>
              <a:rPr lang="en-US" dirty="0"/>
              <a:t>O </a:t>
            </a:r>
            <a:r>
              <a:rPr lang="en-US" dirty="0" err="1"/>
              <a:t>paixtis</a:t>
            </a:r>
            <a:r>
              <a:rPr lang="en-US" dirty="0"/>
              <a:t> </a:t>
            </a:r>
            <a:r>
              <a:rPr lang="en-US" dirty="0" err="1"/>
              <a:t>exi</a:t>
            </a:r>
            <a:r>
              <a:rPr lang="en-US" dirty="0"/>
              <a:t> </a:t>
            </a:r>
            <a:r>
              <a:rPr lang="en-US" dirty="0" err="1"/>
              <a:t>epilogi</a:t>
            </a:r>
            <a:r>
              <a:rPr lang="en-US" dirty="0"/>
              <a:t> </a:t>
            </a:r>
            <a:r>
              <a:rPr lang="en-US" dirty="0" err="1"/>
              <a:t>metaksi</a:t>
            </a:r>
            <a:r>
              <a:rPr lang="en-US" dirty="0"/>
              <a:t> 2 pompon i.e., walkie talkie me </a:t>
            </a:r>
            <a:r>
              <a:rPr lang="en-US" dirty="0" err="1"/>
              <a:t>klidwma</a:t>
            </a:r>
            <a:r>
              <a:rPr lang="en-US" dirty="0"/>
              <a:t> </a:t>
            </a:r>
            <a:r>
              <a:rPr lang="en-US" dirty="0" err="1"/>
              <a:t>sixnotitwn</a:t>
            </a:r>
            <a:r>
              <a:rPr lang="en-US" dirty="0"/>
              <a:t> </a:t>
            </a:r>
            <a:r>
              <a:rPr lang="en-US" dirty="0" err="1"/>
              <a:t>opws</a:t>
            </a:r>
            <a:r>
              <a:rPr lang="en-US" dirty="0"/>
              <a:t> </a:t>
            </a:r>
            <a:r>
              <a:rPr lang="en-US" dirty="0" err="1"/>
              <a:t>sto</a:t>
            </a:r>
            <a:r>
              <a:rPr lang="en-US" dirty="0"/>
              <a:t> radio </a:t>
            </a:r>
            <a:r>
              <a:rPr lang="en-US" strike="sngStrike" dirty="0"/>
              <a:t>FM (ta 104.0FM) </a:t>
            </a:r>
            <a:r>
              <a:rPr lang="en-US" dirty="0" err="1"/>
              <a:t>anaforika</a:t>
            </a:r>
            <a:r>
              <a:rPr lang="en-US" dirty="0"/>
              <a:t> kai to kinito tilefwno. O </a:t>
            </a:r>
            <a:r>
              <a:rPr lang="en-US" dirty="0" err="1"/>
              <a:t>hxos</a:t>
            </a:r>
            <a:r>
              <a:rPr lang="en-US" dirty="0"/>
              <a:t> </a:t>
            </a:r>
            <a:r>
              <a:rPr lang="en-US" dirty="0" err="1"/>
              <a:t>sto</a:t>
            </a:r>
            <a:r>
              <a:rPr lang="en-US" dirty="0"/>
              <a:t> </a:t>
            </a:r>
            <a:r>
              <a:rPr lang="en-US" dirty="0" err="1"/>
              <a:t>xwro</a:t>
            </a:r>
            <a:r>
              <a:rPr lang="en-US" dirty="0"/>
              <a:t> </a:t>
            </a:r>
            <a:r>
              <a:rPr lang="en-US" dirty="0" err="1"/>
              <a:t>dia-didetai</a:t>
            </a:r>
            <a:r>
              <a:rPr lang="en-US" dirty="0"/>
              <a:t> </a:t>
            </a:r>
            <a:r>
              <a:rPr lang="en-US" dirty="0" err="1"/>
              <a:t>opws</a:t>
            </a:r>
            <a:r>
              <a:rPr lang="en-US" dirty="0"/>
              <a:t> stin </a:t>
            </a:r>
            <a:r>
              <a:rPr lang="en-US" dirty="0" err="1"/>
              <a:t>pragmatikotita</a:t>
            </a:r>
            <a:r>
              <a:rPr lang="en-US" dirty="0"/>
              <a:t> </a:t>
            </a:r>
            <a:r>
              <a:rPr lang="en-US" dirty="0" err="1"/>
              <a:t>diladi</a:t>
            </a:r>
            <a:r>
              <a:rPr lang="en-US" dirty="0"/>
              <a:t> positional voice me </a:t>
            </a:r>
            <a:r>
              <a:rPr lang="en-US" dirty="0" err="1"/>
              <a:t>eskathenisi</a:t>
            </a:r>
            <a:r>
              <a:rPr lang="en-US" dirty="0"/>
              <a:t> auto </a:t>
            </a:r>
            <a:r>
              <a:rPr lang="en-US" dirty="0" err="1"/>
              <a:t>epitrepei</a:t>
            </a:r>
            <a:r>
              <a:rPr lang="en-US" dirty="0"/>
              <a:t> </a:t>
            </a:r>
            <a:r>
              <a:rPr lang="en-US" dirty="0" err="1"/>
              <a:t>kapoion</a:t>
            </a:r>
            <a:r>
              <a:rPr lang="en-US" dirty="0"/>
              <a:t> </a:t>
            </a:r>
            <a:r>
              <a:rPr lang="en-US" dirty="0" err="1"/>
              <a:t>kontino</a:t>
            </a:r>
            <a:r>
              <a:rPr lang="en-US" dirty="0"/>
              <a:t> </a:t>
            </a:r>
            <a:r>
              <a:rPr lang="en-US" dirty="0" err="1"/>
              <a:t>allo</a:t>
            </a:r>
            <a:r>
              <a:rPr lang="en-US" dirty="0"/>
              <a:t> </a:t>
            </a:r>
            <a:r>
              <a:rPr lang="en-US" dirty="0" err="1"/>
              <a:t>paixti</a:t>
            </a:r>
            <a:r>
              <a:rPr lang="en-US" dirty="0"/>
              <a:t> I </a:t>
            </a:r>
            <a:r>
              <a:rPr lang="en-US" dirty="0" err="1"/>
              <a:t>kapoia</a:t>
            </a:r>
            <a:r>
              <a:rPr lang="en-US" dirty="0"/>
              <a:t> </a:t>
            </a:r>
            <a:r>
              <a:rPr lang="en-US" dirty="0" err="1"/>
              <a:t>texniti</a:t>
            </a:r>
            <a:r>
              <a:rPr lang="en-US" dirty="0"/>
              <a:t> </a:t>
            </a:r>
            <a:r>
              <a:rPr lang="en-US" dirty="0" err="1"/>
              <a:t>nohmosini</a:t>
            </a:r>
            <a:r>
              <a:rPr lang="en-US" dirty="0"/>
              <a:t> </a:t>
            </a:r>
            <a:r>
              <a:rPr lang="en-US" dirty="0" err="1"/>
              <a:t>opws</a:t>
            </a:r>
            <a:r>
              <a:rPr lang="en-US" dirty="0"/>
              <a:t> </a:t>
            </a:r>
            <a:r>
              <a:rPr lang="el-GR" dirty="0" err="1"/>
              <a:t>εχθρος</a:t>
            </a:r>
            <a:r>
              <a:rPr lang="el-GR" dirty="0"/>
              <a:t> </a:t>
            </a:r>
            <a:r>
              <a:rPr lang="en-US" dirty="0" err="1"/>
              <a:t>na</a:t>
            </a:r>
            <a:r>
              <a:rPr lang="en-US" dirty="0"/>
              <a:t> se </a:t>
            </a:r>
            <a:r>
              <a:rPr lang="en-US" dirty="0" err="1"/>
              <a:t>akousi</a:t>
            </a:r>
            <a:r>
              <a:rPr lang="en-US" dirty="0"/>
              <a:t> ama </a:t>
            </a:r>
            <a:r>
              <a:rPr lang="en-US" dirty="0" err="1"/>
              <a:t>ise</a:t>
            </a:r>
            <a:r>
              <a:rPr lang="en-US" dirty="0"/>
              <a:t> poly </a:t>
            </a:r>
            <a:r>
              <a:rPr lang="en-US" dirty="0" err="1"/>
              <a:t>konta</a:t>
            </a:r>
            <a:r>
              <a:rPr lang="en-US" dirty="0"/>
              <a:t>.</a:t>
            </a:r>
          </a:p>
          <a:p>
            <a:endParaRPr lang="en-US" dirty="0"/>
          </a:p>
          <a:p>
            <a:r>
              <a:rPr lang="en-US" dirty="0" err="1"/>
              <a:t>Episis</a:t>
            </a:r>
            <a:r>
              <a:rPr lang="en-US" dirty="0"/>
              <a:t> </a:t>
            </a:r>
            <a:r>
              <a:rPr lang="en-US" dirty="0" err="1"/>
              <a:t>exi</a:t>
            </a:r>
            <a:r>
              <a:rPr lang="en-US" dirty="0"/>
              <a:t> kai areas me signal attenuation </a:t>
            </a:r>
            <a:r>
              <a:rPr lang="en-US" dirty="0" err="1"/>
              <a:t>diladi</a:t>
            </a:r>
            <a:r>
              <a:rPr lang="en-US" dirty="0"/>
              <a:t> </a:t>
            </a:r>
            <a:r>
              <a:rPr lang="en-US" dirty="0" err="1"/>
              <a:t>eksasthenisi</a:t>
            </a:r>
            <a:r>
              <a:rPr lang="en-US" dirty="0"/>
              <a:t> </a:t>
            </a:r>
            <a:r>
              <a:rPr lang="en-US" dirty="0" err="1"/>
              <a:t>simatos</a:t>
            </a:r>
            <a:r>
              <a:rPr lang="en-US" dirty="0"/>
              <a:t> </a:t>
            </a:r>
            <a:r>
              <a:rPr lang="en-US" dirty="0" err="1"/>
              <a:t>otan</a:t>
            </a:r>
            <a:r>
              <a:rPr lang="en-US" dirty="0"/>
              <a:t> o </a:t>
            </a:r>
            <a:r>
              <a:rPr lang="en-US" dirty="0" err="1"/>
              <a:t>paixtis</a:t>
            </a:r>
            <a:r>
              <a:rPr lang="en-US" dirty="0"/>
              <a:t> </a:t>
            </a:r>
            <a:r>
              <a:rPr lang="en-US" dirty="0" err="1"/>
              <a:t>iserthi</a:t>
            </a:r>
            <a:r>
              <a:rPr lang="en-US" dirty="0"/>
              <a:t> </a:t>
            </a:r>
            <a:r>
              <a:rPr lang="en-US" dirty="0" err="1"/>
              <a:t>sti</a:t>
            </a:r>
            <a:r>
              <a:rPr lang="en-US" dirty="0"/>
              <a:t> </a:t>
            </a:r>
            <a:r>
              <a:rPr lang="en-US" dirty="0" err="1"/>
              <a:t>perioxi</a:t>
            </a:r>
            <a:r>
              <a:rPr lang="en-US" dirty="0"/>
              <a:t> restricted me diafora </a:t>
            </a:r>
            <a:r>
              <a:rPr lang="en-US" dirty="0" err="1"/>
              <a:t>idwn</a:t>
            </a:r>
            <a:r>
              <a:rPr lang="en-US" dirty="0"/>
              <a:t> </a:t>
            </a:r>
            <a:r>
              <a:rPr lang="en-US" dirty="0" err="1"/>
              <a:t>eksasthenisis</a:t>
            </a:r>
            <a:r>
              <a:rPr lang="en-US" dirty="0"/>
              <a:t> apo poly </a:t>
            </a:r>
            <a:r>
              <a:rPr lang="en-US" dirty="0" err="1"/>
              <a:t>ws</a:t>
            </a:r>
            <a:r>
              <a:rPr lang="en-US" dirty="0"/>
              <a:t> </a:t>
            </a:r>
            <a:r>
              <a:rPr lang="en-US" dirty="0" err="1"/>
              <a:t>telios</a:t>
            </a:r>
            <a:r>
              <a:rPr lang="en-US" dirty="0"/>
              <a:t> </a:t>
            </a:r>
            <a:r>
              <a:rPr lang="en-US" dirty="0" err="1"/>
              <a:t>apwlia</a:t>
            </a:r>
            <a:r>
              <a:rPr lang="en-US" dirty="0"/>
              <a:t> </a:t>
            </a:r>
            <a:r>
              <a:rPr lang="en-US" dirty="0" err="1"/>
              <a:t>simatos</a:t>
            </a:r>
            <a:r>
              <a:rPr lang="en-US" dirty="0"/>
              <a:t> me </a:t>
            </a:r>
            <a:r>
              <a:rPr lang="en-US" dirty="0" err="1"/>
              <a:t>parasita</a:t>
            </a: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a:t>
            </a:fld>
            <a:endParaRPr lang="en-US"/>
          </a:p>
        </p:txBody>
      </p:sp>
    </p:spTree>
    <p:extLst>
      <p:ext uri="{BB962C8B-B14F-4D97-AF65-F5344CB8AC3E}">
        <p14:creationId xmlns:p14="http://schemas.microsoft.com/office/powerpoint/2010/main" val="75726332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Στην εποχή της ψηφιακής τεχνολογίας, κάθε επιχείρηση είναι μια επιχείρηση λογισμικού.</a:t>
            </a:r>
          </a:p>
          <a:p>
            <a:r>
              <a:rPr lang="el-GR" dirty="0"/>
              <a:t>Η ευελιξία δεν είναι επιλογή ή κάτι μόνο για τεχνικές ομάδες, είναι </a:t>
            </a:r>
            <a:r>
              <a:rPr lang="en-US" dirty="0"/>
              <a:t>business imperative</a:t>
            </a:r>
            <a:r>
              <a:rPr lang="el-GR" dirty="0"/>
              <a:t>».</a:t>
            </a:r>
            <a:endParaRPr lang="en-US" dirty="0"/>
          </a:p>
          <a:p>
            <a:endParaRPr lang="en-US" dirty="0"/>
          </a:p>
          <a:p>
            <a:r>
              <a:rPr lang="el-GR" dirty="0" err="1"/>
              <a:t>Δηλαδη</a:t>
            </a:r>
            <a:r>
              <a:rPr lang="el-GR" dirty="0"/>
              <a:t> πρέπει να υπάρξει </a:t>
            </a:r>
            <a:r>
              <a:rPr lang="en-US" dirty="0"/>
              <a:t>agility </a:t>
            </a:r>
            <a:r>
              <a:rPr lang="el-GR" dirty="0"/>
              <a:t>και το να </a:t>
            </a:r>
            <a:r>
              <a:rPr lang="el-GR" dirty="0" err="1"/>
              <a:t>υπαρξει</a:t>
            </a:r>
            <a:r>
              <a:rPr lang="el-GR" dirty="0"/>
              <a:t> </a:t>
            </a:r>
            <a:r>
              <a:rPr lang="el-GR" dirty="0" err="1"/>
              <a:t>εννούμε</a:t>
            </a:r>
            <a:r>
              <a:rPr lang="el-GR" dirty="0"/>
              <a:t> </a:t>
            </a:r>
            <a:r>
              <a:rPr lang="el-GR" dirty="0" err="1"/>
              <a:t>ριζικα</a:t>
            </a:r>
            <a:r>
              <a:rPr lang="el-GR" dirty="0"/>
              <a:t> λειτουργική ώστε να προχωρήσει από </a:t>
            </a:r>
            <a:r>
              <a:rPr lang="en-US" dirty="0"/>
              <a:t>idea -&gt; reality to project vision.</a:t>
            </a:r>
          </a:p>
          <a:p>
            <a:endParaRPr lang="en-US" dirty="0"/>
          </a:p>
          <a:p>
            <a:pPr algn="l"/>
            <a:r>
              <a:rPr lang="en-US" b="0" i="0" strike="sngStrike" dirty="0">
                <a:solidFill>
                  <a:srgbClr val="BDC1C6"/>
                </a:solidFill>
                <a:effectLst/>
                <a:latin typeface="arial" panose="020B0604020202020204" pitchFamily="34" charset="0"/>
              </a:rPr>
              <a:t>What are key business imperatives?</a:t>
            </a:r>
          </a:p>
          <a:p>
            <a:pPr algn="l"/>
            <a:r>
              <a:rPr lang="en-US" b="0" i="0" strike="sngStrike" dirty="0">
                <a:solidFill>
                  <a:srgbClr val="BDC1C6"/>
                </a:solidFill>
                <a:effectLst/>
                <a:latin typeface="arial" panose="020B0604020202020204" pitchFamily="34" charset="0"/>
              </a:rPr>
              <a:t>Related. A business imperative is </a:t>
            </a:r>
            <a:r>
              <a:rPr lang="en-US" b="1" i="0" strike="sngStrike" dirty="0">
                <a:solidFill>
                  <a:srgbClr val="BDC1C6"/>
                </a:solidFill>
                <a:effectLst/>
                <a:latin typeface="arial" panose="020B0604020202020204" pitchFamily="34" charset="0"/>
              </a:rPr>
              <a:t>a major change or goal that your company promises to reach</a:t>
            </a:r>
            <a:r>
              <a:rPr lang="en-US" b="0" i="0" strike="sngStrike" dirty="0">
                <a:solidFill>
                  <a:srgbClr val="BDC1C6"/>
                </a:solidFill>
                <a:effectLst/>
                <a:latin typeface="arial" panose="020B0604020202020204" pitchFamily="34" charset="0"/>
              </a:rPr>
              <a:t>. Unlike an idea, an imperative does not have the option of not working. Strong, focused objectives will drive and strengthen your business.</a:t>
            </a:r>
          </a:p>
          <a:p>
            <a:endParaRPr lang="en-US" strike="sngStrike" dirty="0"/>
          </a:p>
          <a:p>
            <a:r>
              <a:rPr lang="en-US" b="0" i="0" strike="sngStrike" dirty="0">
                <a:solidFill>
                  <a:srgbClr val="BDC1C6"/>
                </a:solidFill>
                <a:effectLst/>
                <a:latin typeface="arial" panose="020B0604020202020204" pitchFamily="34" charset="0"/>
              </a:rPr>
              <a:t>A business imperative is </a:t>
            </a:r>
            <a:r>
              <a:rPr lang="en-US" b="1" i="0" strike="sngStrike" dirty="0">
                <a:solidFill>
                  <a:srgbClr val="BDC1C6"/>
                </a:solidFill>
                <a:effectLst/>
                <a:latin typeface="arial" panose="020B0604020202020204" pitchFamily="34" charset="0"/>
              </a:rPr>
              <a:t>an initiative or objective that the city must accomplish to make meaningful progress toward achieving its strategic vision</a:t>
            </a:r>
            <a:r>
              <a:rPr lang="en-US" b="0" i="0" strike="sngStrike" dirty="0">
                <a:solidFill>
                  <a:srgbClr val="BDC1C6"/>
                </a:solidFill>
                <a:effectLst/>
                <a:latin typeface="arial" panose="020B0604020202020204" pitchFamily="34" charset="0"/>
              </a:rPr>
              <a:t>. An IT imperative is an action or initiative that </a:t>
            </a:r>
            <a:r>
              <a:rPr lang="en-US" b="0" i="0" strike="sngStrike" dirty="0" err="1">
                <a:solidFill>
                  <a:srgbClr val="BDC1C6"/>
                </a:solidFill>
                <a:effectLst/>
                <a:latin typeface="arial" panose="020B0604020202020204" pitchFamily="34" charset="0"/>
              </a:rPr>
              <a:t>ComIT</a:t>
            </a:r>
            <a:r>
              <a:rPr lang="en-US" b="0" i="0" strike="sngStrike" dirty="0">
                <a:solidFill>
                  <a:srgbClr val="BDC1C6"/>
                </a:solidFill>
                <a:effectLst/>
                <a:latin typeface="arial" panose="020B0604020202020204" pitchFamily="34" charset="0"/>
              </a:rPr>
              <a:t> would undertake to enable one or more business imperatives</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1</a:t>
            </a:fld>
            <a:endParaRPr lang="en-US"/>
          </a:p>
        </p:txBody>
      </p:sp>
    </p:spTree>
    <p:extLst>
      <p:ext uri="{BB962C8B-B14F-4D97-AF65-F5344CB8AC3E}">
        <p14:creationId xmlns:p14="http://schemas.microsoft.com/office/powerpoint/2010/main" val="24647486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rvice provision</a:t>
            </a:r>
          </a:p>
          <a:p>
            <a:endParaRPr lang="en-US" dirty="0"/>
          </a:p>
          <a:p>
            <a:r>
              <a:rPr lang="el-GR" dirty="0"/>
              <a:t>Κατασκευή και </a:t>
            </a:r>
            <a:r>
              <a:rPr lang="el-GR" dirty="0" err="1"/>
              <a:t>οραμα</a:t>
            </a:r>
            <a:r>
              <a:rPr lang="el-GR" dirty="0"/>
              <a:t> λειτουργείας από πριν την λειτουργεία των </a:t>
            </a:r>
            <a:r>
              <a:rPr lang="en-US" dirty="0"/>
              <a:t>services (Design) </a:t>
            </a:r>
            <a:r>
              <a:rPr lang="el-GR" dirty="0"/>
              <a:t>στο </a:t>
            </a:r>
            <a:r>
              <a:rPr lang="el-GR" dirty="0" err="1"/>
              <a:t>κομματι</a:t>
            </a:r>
            <a:r>
              <a:rPr lang="el-GR" dirty="0"/>
              <a:t> του </a:t>
            </a:r>
            <a:r>
              <a:rPr lang="en-US" dirty="0"/>
              <a:t>proactive</a:t>
            </a:r>
          </a:p>
        </p:txBody>
      </p:sp>
      <p:sp>
        <p:nvSpPr>
          <p:cNvPr id="4" name="Slide Number Placeholder 3"/>
          <p:cNvSpPr>
            <a:spLocks noGrp="1"/>
          </p:cNvSpPr>
          <p:nvPr>
            <p:ph type="sldNum" sz="quarter" idx="5"/>
          </p:nvPr>
        </p:nvSpPr>
        <p:spPr/>
        <p:txBody>
          <a:bodyPr/>
          <a:lstStyle/>
          <a:p>
            <a:fld id="{910C69D4-DE42-414E-829A-8F378A406FFC}" type="slidenum">
              <a:rPr lang="en-US" smtClean="0"/>
              <a:t>42</a:t>
            </a:fld>
            <a:endParaRPr lang="en-US"/>
          </a:p>
        </p:txBody>
      </p:sp>
    </p:spTree>
    <p:extLst>
      <p:ext uri="{BB962C8B-B14F-4D97-AF65-F5344CB8AC3E}">
        <p14:creationId xmlns:p14="http://schemas.microsoft.com/office/powerpoint/2010/main" val="318599226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trike="sngStrike" dirty="0"/>
              <a:t>How entire business interacts with R&amp;D team and it is not is siloed (</a:t>
            </a:r>
            <a:r>
              <a:rPr lang="el-GR" strike="sngStrike" dirty="0" err="1"/>
              <a:t>απομονωμενοι</a:t>
            </a:r>
            <a:r>
              <a:rPr lang="el-GR" strike="sngStrike" dirty="0"/>
              <a:t>)</a:t>
            </a:r>
            <a:r>
              <a:rPr lang="en-US" strike="sngStrike" dirty="0"/>
              <a:t> from business executives or any other department</a:t>
            </a:r>
          </a:p>
          <a:p>
            <a:endParaRPr lang="en-US" dirty="0"/>
          </a:p>
          <a:p>
            <a:r>
              <a:rPr lang="el-GR" dirty="0"/>
              <a:t>Το πώς ολόκληρη η επιχείρηση </a:t>
            </a:r>
            <a:r>
              <a:rPr lang="el-GR" dirty="0" err="1"/>
              <a:t>αλληλεπιδρά</a:t>
            </a:r>
            <a:r>
              <a:rPr lang="el-GR" dirty="0"/>
              <a:t> με την ομάδα Έρευνας και Ανάπτυξης και δεν απομονώνεται </a:t>
            </a:r>
            <a:r>
              <a:rPr lang="el-GR" strike="sngStrike" dirty="0"/>
              <a:t>αποκαλύπτεται</a:t>
            </a:r>
            <a:r>
              <a:rPr lang="el-GR" dirty="0"/>
              <a:t> από στελέχη επιχειρήσεων ή οποιοδήποτε άλλο τμήμα</a:t>
            </a:r>
            <a:endParaRPr lang="en-US" dirty="0"/>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3</a:t>
            </a:fld>
            <a:endParaRPr lang="en-US"/>
          </a:p>
        </p:txBody>
      </p:sp>
    </p:spTree>
    <p:extLst>
      <p:ext uri="{BB962C8B-B14F-4D97-AF65-F5344CB8AC3E}">
        <p14:creationId xmlns:p14="http://schemas.microsoft.com/office/powerpoint/2010/main" val="190307719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ftware development lifecycle</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4</a:t>
            </a:fld>
            <a:endParaRPr lang="en-US"/>
          </a:p>
        </p:txBody>
      </p:sp>
    </p:spTree>
    <p:extLst>
      <p:ext uri="{BB962C8B-B14F-4D97-AF65-F5344CB8AC3E}">
        <p14:creationId xmlns:p14="http://schemas.microsoft.com/office/powerpoint/2010/main" val="286037217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dirty="0" err="1"/>
              <a:t>Sindiasmos</a:t>
            </a:r>
            <a:r>
              <a:rPr lang="en-US" dirty="0"/>
              <a:t> Cloud k orchestration deployment me ci/cd (</a:t>
            </a:r>
            <a:r>
              <a:rPr lang="en-US" b="0" i="0" dirty="0">
                <a:solidFill>
                  <a:srgbClr val="E8EAED"/>
                </a:solidFill>
                <a:effectLst/>
                <a:latin typeface="arial" panose="020B0604020202020204" pitchFamily="34" charset="0"/>
              </a:rPr>
              <a:t>continuous integration/improvement and continuous delivery/continuous deployment)</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5</a:t>
            </a:fld>
            <a:endParaRPr lang="en-US"/>
          </a:p>
        </p:txBody>
      </p:sp>
    </p:spTree>
    <p:extLst>
      <p:ext uri="{BB962C8B-B14F-4D97-AF65-F5344CB8AC3E}">
        <p14:creationId xmlns:p14="http://schemas.microsoft.com/office/powerpoint/2010/main" val="30048679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6</a:t>
            </a:fld>
            <a:endParaRPr lang="en-US"/>
          </a:p>
        </p:txBody>
      </p:sp>
    </p:spTree>
    <p:extLst>
      <p:ext uri="{BB962C8B-B14F-4D97-AF65-F5344CB8AC3E}">
        <p14:creationId xmlns:p14="http://schemas.microsoft.com/office/powerpoint/2010/main" val="13592576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Edw</a:t>
            </a:r>
            <a:r>
              <a:rPr lang="en-US" dirty="0"/>
              <a:t> </a:t>
            </a:r>
            <a:r>
              <a:rPr lang="en-US" dirty="0" err="1"/>
              <a:t>tha</a:t>
            </a:r>
            <a:r>
              <a:rPr lang="en-US" dirty="0"/>
              <a:t> </a:t>
            </a:r>
            <a:r>
              <a:rPr lang="en-US" dirty="0" err="1"/>
              <a:t>brite</a:t>
            </a:r>
            <a:r>
              <a:rPr lang="en-US" dirty="0"/>
              <a:t> ola ta videos </a:t>
            </a:r>
            <a:r>
              <a:rPr lang="en-US" dirty="0" err="1"/>
              <a:t>sto</a:t>
            </a:r>
            <a:r>
              <a:rPr lang="en-US" dirty="0"/>
              <a:t> YouTube </a:t>
            </a:r>
            <a:r>
              <a:rPr lang="en-US" dirty="0" err="1"/>
              <a:t>sxetika</a:t>
            </a:r>
            <a:r>
              <a:rPr lang="en-US" dirty="0"/>
              <a:t> me to project</a:t>
            </a:r>
          </a:p>
        </p:txBody>
      </p:sp>
      <p:sp>
        <p:nvSpPr>
          <p:cNvPr id="4" name="Slide Number Placeholder 3"/>
          <p:cNvSpPr>
            <a:spLocks noGrp="1"/>
          </p:cNvSpPr>
          <p:nvPr>
            <p:ph type="sldNum" sz="quarter" idx="5"/>
          </p:nvPr>
        </p:nvSpPr>
        <p:spPr/>
        <p:txBody>
          <a:bodyPr/>
          <a:lstStyle/>
          <a:p>
            <a:fld id="{910C69D4-DE42-414E-829A-8F378A406FFC}" type="slidenum">
              <a:rPr lang="en-US" smtClean="0"/>
              <a:t>5</a:t>
            </a:fld>
            <a:endParaRPr lang="en-US"/>
          </a:p>
        </p:txBody>
      </p:sp>
    </p:spTree>
    <p:extLst>
      <p:ext uri="{BB962C8B-B14F-4D97-AF65-F5344CB8AC3E}">
        <p14:creationId xmlns:p14="http://schemas.microsoft.com/office/powerpoint/2010/main" val="3472659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l-GR" sz="1200" b="1" dirty="0"/>
              <a:t>ΠΕΡΙΛΗΨΗ</a:t>
            </a: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l-GR" dirty="0">
                <a:effectLst/>
                <a:latin typeface="Arial" panose="020B0604020202020204" pitchFamily="34" charset="0"/>
                <a:ea typeface="Calibri" panose="020F0502020204030204" pitchFamily="34" charset="0"/>
                <a:cs typeface="Arial" panose="020B0604020202020204" pitchFamily="34" charset="0"/>
              </a:rPr>
              <a:t>Ο ψηφιακός κόσμος είναι προϊόν υψηλής συμμετοχής που τείνει να διατηρεί τους χρήστες του καθ' όλη τη διάρκεια/την αφήγηση ή τον αντικειμενικό στόχο. Στον πυρήνα της εφαρμογής του, από τους επιχειρηματικούς στόχους έως την παράδοση προϊόντος, βρίσκονται τα συστήματα βίντεο-παιχνιδιού. Η έρευνα επικεντρώνεται στα δημογραφικά δεδομένα προτιμήσεις εικονικών κόσμων καθώς και την καθηλωτική εμπειρία τους συγκρίνοντας το με αντίστοιχους τίτλους εμπορικής επιτυχίας στα υπερ. και τα κατά. Το σύστημα ανάπτυξης της παρούσας εργασίας είναι επικεντρωμένο στο </a:t>
            </a:r>
            <a:r>
              <a:rPr lang="en-US" dirty="0">
                <a:effectLst/>
                <a:latin typeface="Arial" panose="020B0604020202020204" pitchFamily="34" charset="0"/>
                <a:ea typeface="Calibri" panose="020F0502020204030204" pitchFamily="34" charset="0"/>
                <a:cs typeface="Arial" panose="020B0604020202020204" pitchFamily="34" charset="0"/>
              </a:rPr>
              <a:t>multiplayer survival horror experience </a:t>
            </a:r>
            <a:r>
              <a:rPr lang="el-GR" dirty="0">
                <a:effectLst/>
                <a:latin typeface="Arial" panose="020B0604020202020204" pitchFamily="34" charset="0"/>
                <a:ea typeface="Calibri" panose="020F0502020204030204" pitchFamily="34" charset="0"/>
                <a:cs typeface="Arial" panose="020B0604020202020204" pitchFamily="34" charset="0"/>
              </a:rPr>
              <a:t>όπως περιβαλλοντικές αλληλεπιδράσεις παίχτη και </a:t>
            </a:r>
            <a:r>
              <a:rPr lang="en-US" dirty="0">
                <a:effectLst/>
                <a:latin typeface="Arial" panose="020B0604020202020204" pitchFamily="34" charset="0"/>
                <a:ea typeface="Calibri" panose="020F0502020204030204" pitchFamily="34" charset="0"/>
                <a:cs typeface="Arial" panose="020B0604020202020204" pitchFamily="34" charset="0"/>
              </a:rPr>
              <a:t>real time communications</a:t>
            </a:r>
            <a:r>
              <a:rPr lang="el-GR" dirty="0">
                <a:effectLst/>
                <a:latin typeface="Arial" panose="020B0604020202020204" pitchFamily="34" charset="0"/>
                <a:ea typeface="Calibri" panose="020F0502020204030204" pitchFamily="34" charset="0"/>
                <a:cs typeface="Arial" panose="020B0604020202020204" pitchFamily="34" charset="0"/>
              </a:rPr>
              <a:t> (</a:t>
            </a:r>
            <a:r>
              <a:rPr lang="en-US" i="1" dirty="0">
                <a:effectLst/>
                <a:latin typeface="Arial" panose="020B0604020202020204" pitchFamily="34" charset="0"/>
                <a:ea typeface="Calibri" panose="020F0502020204030204" pitchFamily="34" charset="0"/>
                <a:cs typeface="Arial" panose="020B0604020202020204" pitchFamily="34" charset="0"/>
              </a:rPr>
              <a:t>Voice over IP</a:t>
            </a:r>
            <a:r>
              <a:rPr lang="el-GR" i="1" dirty="0">
                <a:effectLst/>
                <a:latin typeface="Arial" panose="020B0604020202020204" pitchFamily="34" charset="0"/>
                <a:ea typeface="Calibri" panose="020F0502020204030204" pitchFamily="34" charset="0"/>
                <a:cs typeface="Arial" panose="020B0604020202020204" pitchFamily="34" charset="0"/>
              </a:rPr>
              <a:t> - </a:t>
            </a:r>
            <a:r>
              <a:rPr lang="en-US" i="1" dirty="0">
                <a:effectLst/>
                <a:latin typeface="Arial" panose="020B0604020202020204" pitchFamily="34" charset="0"/>
                <a:ea typeface="Calibri" panose="020F0502020204030204" pitchFamily="34" charset="0"/>
                <a:cs typeface="Arial" panose="020B0604020202020204" pitchFamily="34" charset="0"/>
              </a:rPr>
              <a:t>VOIP</a:t>
            </a:r>
            <a:r>
              <a:rPr lang="el-GR" dirty="0">
                <a:effectLst/>
                <a:latin typeface="Arial" panose="020B0604020202020204" pitchFamily="34" charset="0"/>
                <a:ea typeface="Calibri" panose="020F0502020204030204" pitchFamily="34" charset="0"/>
                <a:cs typeface="Arial" panose="020B0604020202020204" pitchFamily="34" charset="0"/>
              </a:rPr>
              <a:t>) καθώς και την αρχιτεκτονική των συστημάτων δημιουργίας τους προγραμματιστικά αλλά και από άλλες πτυχές συμβάλλουσες όπως 3</a:t>
            </a:r>
            <a:r>
              <a:rPr lang="en-US" dirty="0">
                <a:effectLst/>
                <a:latin typeface="Arial" panose="020B0604020202020204" pitchFamily="34" charset="0"/>
                <a:ea typeface="Calibri" panose="020F0502020204030204" pitchFamily="34" charset="0"/>
                <a:cs typeface="Arial" panose="020B0604020202020204" pitchFamily="34" charset="0"/>
              </a:rPr>
              <a:t>D Architectural Visualization</a:t>
            </a:r>
            <a:r>
              <a:rPr lang="el-GR" dirty="0">
                <a:effectLst/>
                <a:latin typeface="Arial" panose="020B0604020202020204" pitchFamily="34" charset="0"/>
                <a:ea typeface="Calibri" panose="020F0502020204030204" pitchFamily="34" charset="0"/>
                <a:cs typeface="Arial" panose="020B0604020202020204" pitchFamily="34" charset="0"/>
              </a:rPr>
              <a:t>, </a:t>
            </a:r>
            <a:r>
              <a:rPr lang="en-US" dirty="0">
                <a:effectLst/>
                <a:latin typeface="Arial" panose="020B0604020202020204" pitchFamily="34" charset="0"/>
                <a:ea typeface="Calibri" panose="020F0502020204030204" pitchFamily="34" charset="0"/>
                <a:cs typeface="Arial" panose="020B0604020202020204" pitchFamily="34" charset="0"/>
              </a:rPr>
              <a:t>Sound Design</a:t>
            </a:r>
            <a:r>
              <a:rPr lang="el-GR" dirty="0">
                <a:effectLst/>
                <a:latin typeface="Arial" panose="020B0604020202020204" pitchFamily="34" charset="0"/>
                <a:ea typeface="Calibri" panose="020F0502020204030204" pitchFamily="34" charset="0"/>
                <a:cs typeface="Arial" panose="020B0604020202020204" pitchFamily="34" charset="0"/>
              </a:rPr>
              <a:t>. Η </a:t>
            </a:r>
            <a:r>
              <a:rPr lang="el-GR" dirty="0" err="1">
                <a:effectLst/>
                <a:latin typeface="Arial" panose="020B0604020202020204" pitchFamily="34" charset="0"/>
                <a:ea typeface="Calibri" panose="020F0502020204030204" pitchFamily="34" charset="0"/>
                <a:cs typeface="Arial" panose="020B0604020202020204" pitchFamily="34" charset="0"/>
              </a:rPr>
              <a:t>δοθουσες</a:t>
            </a:r>
            <a:r>
              <a:rPr lang="el-GR" dirty="0">
                <a:effectLst/>
                <a:latin typeface="Arial" panose="020B0604020202020204" pitchFamily="34" charset="0"/>
                <a:ea typeface="Calibri" panose="020F0502020204030204" pitchFamily="34" charset="0"/>
                <a:cs typeface="Arial" panose="020B0604020202020204" pitchFamily="34" charset="0"/>
              </a:rPr>
              <a:t> τεχνικές είναι </a:t>
            </a:r>
            <a:r>
              <a:rPr lang="en-US" dirty="0">
                <a:effectLst/>
                <a:latin typeface="Arial" panose="020B0604020202020204" pitchFamily="34" charset="0"/>
                <a:ea typeface="Calibri" panose="020F0502020204030204" pitchFamily="34" charset="0"/>
                <a:cs typeface="Arial" panose="020B0604020202020204" pitchFamily="34" charset="0"/>
              </a:rPr>
              <a:t>abstracted</a:t>
            </a:r>
            <a:r>
              <a:rPr lang="el-GR" dirty="0">
                <a:effectLst/>
                <a:latin typeface="Arial" panose="020B0604020202020204" pitchFamily="34" charset="0"/>
                <a:ea typeface="Calibri" panose="020F0502020204030204" pitchFamily="34" charset="0"/>
                <a:cs typeface="Arial" panose="020B0604020202020204" pitchFamily="34" charset="0"/>
              </a:rPr>
              <a:t> και μπορεί να συμβάλουν σαν </a:t>
            </a:r>
            <a:r>
              <a:rPr lang="en-US" dirty="0">
                <a:effectLst/>
                <a:latin typeface="Arial" panose="020B0604020202020204" pitchFamily="34" charset="0"/>
                <a:ea typeface="Calibri" panose="020F0502020204030204" pitchFamily="34" charset="0"/>
                <a:cs typeface="Arial" panose="020B0604020202020204" pitchFamily="34" charset="0"/>
              </a:rPr>
              <a:t>concept</a:t>
            </a:r>
            <a:r>
              <a:rPr lang="el-GR" dirty="0">
                <a:effectLst/>
                <a:latin typeface="Arial" panose="020B0604020202020204" pitchFamily="34" charset="0"/>
                <a:ea typeface="Calibri" panose="020F0502020204030204" pitchFamily="34" charset="0"/>
                <a:cs typeface="Arial" panose="020B0604020202020204" pitchFamily="34" charset="0"/>
              </a:rPr>
              <a:t> για κάθε είδους </a:t>
            </a:r>
            <a:r>
              <a:rPr lang="en-US" dirty="0">
                <a:effectLst/>
                <a:latin typeface="Arial" panose="020B0604020202020204" pitchFamily="34" charset="0"/>
                <a:ea typeface="Calibri" panose="020F0502020204030204" pitchFamily="34" charset="0"/>
                <a:cs typeface="Arial" panose="020B0604020202020204" pitchFamily="34" charset="0"/>
              </a:rPr>
              <a:t>genre game</a:t>
            </a:r>
            <a:r>
              <a:rPr lang="el-GR" dirty="0">
                <a:effectLst/>
                <a:latin typeface="Arial" panose="020B0604020202020204" pitchFamily="34" charset="0"/>
                <a:ea typeface="Calibri" panose="020F0502020204030204" pitchFamily="34" charset="0"/>
                <a:cs typeface="Arial" panose="020B0604020202020204" pitchFamily="34" charset="0"/>
              </a:rPr>
              <a:t> (</a:t>
            </a:r>
            <a:r>
              <a:rPr lang="en-US" i="1" dirty="0">
                <a:effectLst/>
                <a:latin typeface="Arial" panose="020B0604020202020204" pitchFamily="34" charset="0"/>
                <a:ea typeface="Calibri" panose="020F0502020204030204" pitchFamily="34" charset="0"/>
                <a:cs typeface="Arial" panose="020B0604020202020204" pitchFamily="34" charset="0"/>
              </a:rPr>
              <a:t>virtual world</a:t>
            </a:r>
            <a:r>
              <a:rPr lang="el-GR" dirty="0">
                <a:effectLst/>
                <a:latin typeface="Arial" panose="020B0604020202020204" pitchFamily="34" charset="0"/>
                <a:ea typeface="Calibri" panose="020F0502020204030204" pitchFamily="34" charset="0"/>
                <a:cs typeface="Arial" panose="020B0604020202020204" pitchFamily="34" charset="0"/>
              </a:rPr>
              <a:t>) </a:t>
            </a:r>
            <a:r>
              <a:rPr lang="en-US" dirty="0">
                <a:effectLst/>
                <a:latin typeface="Arial" panose="020B0604020202020204" pitchFamily="34" charset="0"/>
                <a:ea typeface="Calibri" panose="020F0502020204030204" pitchFamily="34" charset="0"/>
                <a:cs typeface="Arial" panose="020B0604020202020204" pitchFamily="34" charset="0"/>
              </a:rPr>
              <a:t>mechanic </a:t>
            </a:r>
            <a:r>
              <a:rPr lang="el-GR" dirty="0">
                <a:effectLst/>
                <a:latin typeface="Arial" panose="020B0604020202020204" pitchFamily="34" charset="0"/>
                <a:ea typeface="Calibri" panose="020F0502020204030204" pitchFamily="34" charset="0"/>
                <a:cs typeface="Arial" panose="020B0604020202020204" pitchFamily="34" charset="0"/>
              </a:rPr>
              <a:t>αλλά και σε κάθε είδους πλατφόρμας </a:t>
            </a:r>
            <a:r>
              <a:rPr lang="en-US" dirty="0">
                <a:effectLst/>
                <a:latin typeface="Arial" panose="020B0604020202020204" pitchFamily="34" charset="0"/>
                <a:ea typeface="Calibri" panose="020F0502020204030204" pitchFamily="34" charset="0"/>
                <a:cs typeface="Arial" panose="020B0604020202020204" pitchFamily="34" charset="0"/>
              </a:rPr>
              <a:t>AR</a:t>
            </a:r>
            <a:r>
              <a:rPr lang="el-GR" dirty="0">
                <a:effectLst/>
                <a:latin typeface="Arial" panose="020B0604020202020204" pitchFamily="34" charset="0"/>
                <a:ea typeface="Calibri" panose="020F0502020204030204" pitchFamily="34" charset="0"/>
                <a:cs typeface="Arial" panose="020B0604020202020204" pitchFamily="34" charset="0"/>
              </a:rPr>
              <a:t>/</a:t>
            </a:r>
            <a:r>
              <a:rPr lang="en-US" dirty="0">
                <a:effectLst/>
                <a:latin typeface="Arial" panose="020B0604020202020204" pitchFamily="34" charset="0"/>
                <a:ea typeface="Calibri" panose="020F0502020204030204" pitchFamily="34" charset="0"/>
                <a:cs typeface="Arial" panose="020B0604020202020204" pitchFamily="34" charset="0"/>
              </a:rPr>
              <a:t>VR</a:t>
            </a:r>
            <a:r>
              <a:rPr lang="el-GR" dirty="0">
                <a:effectLst/>
                <a:latin typeface="Arial" panose="020B0604020202020204" pitchFamily="34" charset="0"/>
                <a:ea typeface="Calibri" panose="020F0502020204030204" pitchFamily="34" charset="0"/>
                <a:cs typeface="Arial" panose="020B0604020202020204" pitchFamily="34" charset="0"/>
              </a:rPr>
              <a:t> &amp; </a:t>
            </a:r>
            <a:r>
              <a:rPr lang="en-US" dirty="0">
                <a:effectLst/>
                <a:latin typeface="Arial" panose="020B0604020202020204" pitchFamily="34" charset="0"/>
                <a:ea typeface="Calibri" panose="020F0502020204030204" pitchFamily="34" charset="0"/>
                <a:cs typeface="Arial" panose="020B0604020202020204" pitchFamily="34" charset="0"/>
              </a:rPr>
              <a:t>metaverse</a:t>
            </a:r>
            <a:r>
              <a:rPr lang="el-GR" dirty="0">
                <a:effectLst/>
                <a:latin typeface="Arial" panose="020B0604020202020204" pitchFamily="34" charset="0"/>
                <a:ea typeface="Calibri" panose="020F0502020204030204" pitchFamily="34" charset="0"/>
                <a:cs typeface="Arial" panose="020B0604020202020204" pitchFamily="34" charset="0"/>
              </a:rPr>
              <a:t>.</a:t>
            </a:r>
            <a:endParaRPr lang="en-US" dirty="0">
              <a:effectLst/>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effectLst/>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trike="sngStrike" dirty="0" err="1">
                <a:effectLst/>
                <a:latin typeface="Arial" panose="020B0604020202020204" pitchFamily="34" charset="0"/>
                <a:ea typeface="Calibri" panose="020F0502020204030204" pitchFamily="34" charset="0"/>
                <a:cs typeface="Arial" panose="020B0604020202020204" pitchFamily="34" charset="0"/>
              </a:rPr>
              <a:t>Eksetazi</a:t>
            </a:r>
            <a:r>
              <a:rPr lang="en-US" strike="sngStrike" dirty="0">
                <a:effectLst/>
                <a:latin typeface="Arial" panose="020B0604020202020204" pitchFamily="34" charset="0"/>
                <a:ea typeface="Calibri" panose="020F0502020204030204" pitchFamily="34" charset="0"/>
                <a:cs typeface="Arial" panose="020B0604020202020204" pitchFamily="34" charset="0"/>
              </a:rPr>
              <a:t> kai </a:t>
            </a:r>
            <a:r>
              <a:rPr lang="en-US" strike="sngStrike" dirty="0" err="1">
                <a:effectLst/>
                <a:latin typeface="Arial" panose="020B0604020202020204" pitchFamily="34" charset="0"/>
                <a:ea typeface="Calibri" panose="020F0502020204030204" pitchFamily="34" charset="0"/>
                <a:cs typeface="Arial" panose="020B0604020202020204" pitchFamily="34" charset="0"/>
              </a:rPr>
              <a:t>apotimatai</a:t>
            </a:r>
            <a:r>
              <a:rPr lang="en-US" strike="sngStrike" dirty="0">
                <a:effectLst/>
                <a:latin typeface="Arial" panose="020B0604020202020204" pitchFamily="34" charset="0"/>
                <a:ea typeface="Calibri" panose="020F0502020204030204" pitchFamily="34" charset="0"/>
                <a:cs typeface="Arial" panose="020B0604020202020204" pitchFamily="34" charset="0"/>
              </a:rPr>
              <a:t> I </a:t>
            </a:r>
            <a:r>
              <a:rPr lang="en-US" strike="sngStrike" dirty="0" err="1">
                <a:effectLst/>
                <a:latin typeface="Arial" panose="020B0604020202020204" pitchFamily="34" charset="0"/>
                <a:ea typeface="Calibri" panose="020F0502020204030204" pitchFamily="34" charset="0"/>
                <a:cs typeface="Arial" panose="020B0604020202020204" pitchFamily="34" charset="0"/>
              </a:rPr>
              <a:t>psixanalisi</a:t>
            </a:r>
            <a:r>
              <a:rPr lang="en-US" strike="sngStrike" dirty="0">
                <a:effectLst/>
                <a:latin typeface="Arial" panose="020B0604020202020204" pitchFamily="34" charset="0"/>
                <a:ea typeface="Calibri" panose="020F0502020204030204" pitchFamily="34" charset="0"/>
                <a:cs typeface="Arial" panose="020B0604020202020204" pitchFamily="34" charset="0"/>
              </a:rPr>
              <a:t> </a:t>
            </a:r>
            <a:r>
              <a:rPr lang="en-US" strike="sngStrike" dirty="0" err="1">
                <a:effectLst/>
                <a:latin typeface="Arial" panose="020B0604020202020204" pitchFamily="34" charset="0"/>
                <a:ea typeface="Calibri" panose="020F0502020204030204" pitchFamily="34" charset="0"/>
                <a:cs typeface="Arial" panose="020B0604020202020204" pitchFamily="34" charset="0"/>
              </a:rPr>
              <a:t>plithismou</a:t>
            </a:r>
            <a:r>
              <a:rPr lang="en-US" strike="sngStrike" dirty="0">
                <a:effectLst/>
                <a:latin typeface="Arial" panose="020B0604020202020204" pitchFamily="34" charset="0"/>
                <a:ea typeface="Calibri" panose="020F0502020204030204" pitchFamily="34" charset="0"/>
                <a:cs typeface="Arial" panose="020B0604020202020204" pitchFamily="34" charset="0"/>
              </a:rPr>
              <a:t> </a:t>
            </a:r>
            <a:r>
              <a:rPr lang="en-US" strike="sngStrike" dirty="0" err="1">
                <a:effectLst/>
                <a:latin typeface="Arial" panose="020B0604020202020204" pitchFamily="34" charset="0"/>
                <a:ea typeface="Calibri" panose="020F0502020204030204" pitchFamily="34" charset="0"/>
                <a:cs typeface="Arial" panose="020B0604020202020204" pitchFamily="34" charset="0"/>
              </a:rPr>
              <a:t>stoxos</a:t>
            </a:r>
            <a:r>
              <a:rPr lang="en-US" strike="sngStrike" dirty="0">
                <a:effectLst/>
                <a:latin typeface="Arial" panose="020B0604020202020204" pitchFamily="34" charset="0"/>
                <a:ea typeface="Calibri" panose="020F0502020204030204" pitchFamily="34" charset="0"/>
                <a:cs typeface="Arial" panose="020B0604020202020204" pitchFamily="34" charset="0"/>
              </a:rPr>
              <a:t> </a:t>
            </a:r>
            <a:r>
              <a:rPr lang="en-US" strike="sngStrike" dirty="0" err="1">
                <a:effectLst/>
                <a:latin typeface="Arial" panose="020B0604020202020204" pitchFamily="34" charset="0"/>
                <a:ea typeface="Calibri" panose="020F0502020204030204" pitchFamily="34" charset="0"/>
                <a:cs typeface="Arial" panose="020B0604020202020204" pitchFamily="34" charset="0"/>
              </a:rPr>
              <a:t>ine</a:t>
            </a:r>
            <a:r>
              <a:rPr lang="en-US" strike="sngStrike" dirty="0">
                <a:effectLst/>
                <a:latin typeface="Arial" panose="020B0604020202020204" pitchFamily="34" charset="0"/>
                <a:ea typeface="Calibri" panose="020F0502020204030204" pitchFamily="34" charset="0"/>
                <a:cs typeface="Arial" panose="020B0604020202020204" pitchFamily="34" charset="0"/>
              </a:rPr>
              <a:t> </a:t>
            </a:r>
            <a:r>
              <a:rPr lang="en-US" strike="sngStrike" dirty="0" err="1">
                <a:effectLst/>
                <a:latin typeface="Arial" panose="020B0604020202020204" pitchFamily="34" charset="0"/>
                <a:ea typeface="Calibri" panose="020F0502020204030204" pitchFamily="34" charset="0"/>
                <a:cs typeface="Arial" panose="020B0604020202020204" pitchFamily="34" charset="0"/>
              </a:rPr>
              <a:t>na</a:t>
            </a:r>
            <a:r>
              <a:rPr lang="en-US" strike="sngStrike" dirty="0">
                <a:effectLst/>
                <a:latin typeface="Arial" panose="020B0604020202020204" pitchFamily="34" charset="0"/>
                <a:ea typeface="Calibri" panose="020F0502020204030204" pitchFamily="34" charset="0"/>
                <a:cs typeface="Arial" panose="020B0604020202020204" pitchFamily="34" charset="0"/>
              </a:rPr>
              <a:t> </a:t>
            </a:r>
            <a:r>
              <a:rPr lang="en-US" strike="sngStrike" dirty="0" err="1">
                <a:effectLst/>
                <a:latin typeface="Arial" panose="020B0604020202020204" pitchFamily="34" charset="0"/>
                <a:ea typeface="Calibri" panose="020F0502020204030204" pitchFamily="34" charset="0"/>
                <a:cs typeface="Arial" panose="020B0604020202020204" pitchFamily="34" charset="0"/>
              </a:rPr>
              <a:t>anaptixthoun</a:t>
            </a:r>
            <a:r>
              <a:rPr lang="en-US" strike="sngStrike" dirty="0">
                <a:effectLst/>
                <a:latin typeface="Arial" panose="020B0604020202020204" pitchFamily="34" charset="0"/>
                <a:ea typeface="Calibri" panose="020F0502020204030204" pitchFamily="34" charset="0"/>
                <a:cs typeface="Arial" panose="020B0604020202020204" pitchFamily="34" charset="0"/>
              </a:rPr>
              <a:t> </a:t>
            </a:r>
            <a:r>
              <a:rPr lang="en-US" strike="sngStrike" dirty="0" err="1">
                <a:effectLst/>
                <a:latin typeface="Arial" panose="020B0604020202020204" pitchFamily="34" charset="0"/>
                <a:ea typeface="Calibri" panose="020F0502020204030204" pitchFamily="34" charset="0"/>
                <a:cs typeface="Arial" panose="020B0604020202020204" pitchFamily="34" charset="0"/>
              </a:rPr>
              <a:t>xaraktiristika</a:t>
            </a:r>
            <a:r>
              <a:rPr lang="en-US" strike="sngStrike" dirty="0">
                <a:effectLst/>
                <a:latin typeface="Arial" panose="020B0604020202020204" pitchFamily="34" charset="0"/>
                <a:ea typeface="Calibri" panose="020F0502020204030204" pitchFamily="34" charset="0"/>
                <a:cs typeface="Arial" panose="020B0604020202020204" pitchFamily="34" charset="0"/>
              </a:rPr>
              <a:t> </a:t>
            </a:r>
            <a:r>
              <a:rPr lang="en-US" strike="sngStrike" dirty="0" err="1">
                <a:effectLst/>
                <a:latin typeface="Arial" panose="020B0604020202020204" pitchFamily="34" charset="0"/>
                <a:ea typeface="Calibri" panose="020F0502020204030204" pitchFamily="34" charset="0"/>
                <a:cs typeface="Arial" panose="020B0604020202020204" pitchFamily="34" charset="0"/>
              </a:rPr>
              <a:t>gyrw</a:t>
            </a:r>
            <a:r>
              <a:rPr lang="en-US" strike="sngStrike" dirty="0">
                <a:effectLst/>
                <a:latin typeface="Arial" panose="020B0604020202020204" pitchFamily="34" charset="0"/>
                <a:ea typeface="Calibri" panose="020F0502020204030204" pitchFamily="34" charset="0"/>
                <a:cs typeface="Arial" panose="020B0604020202020204" pitchFamily="34" charset="0"/>
              </a:rPr>
              <a:t> apo tin </a:t>
            </a:r>
            <a:r>
              <a:rPr lang="en-US" strike="sngStrike" dirty="0" err="1">
                <a:effectLst/>
                <a:latin typeface="Arial" panose="020B0604020202020204" pitchFamily="34" charset="0"/>
                <a:ea typeface="Calibri" panose="020F0502020204030204" pitchFamily="34" charset="0"/>
                <a:cs typeface="Arial" panose="020B0604020202020204" pitchFamily="34" charset="0"/>
              </a:rPr>
              <a:t>psixanalisi</a:t>
            </a:r>
            <a:r>
              <a:rPr lang="en-US" strike="sngStrike" dirty="0">
                <a:effectLst/>
                <a:latin typeface="Arial" panose="020B0604020202020204" pitchFamily="34" charset="0"/>
                <a:ea typeface="Calibri" panose="020F0502020204030204" pitchFamily="34" charset="0"/>
                <a:cs typeface="Arial" panose="020B0604020202020204" pitchFamily="34" charset="0"/>
              </a:rPr>
              <a:t> </a:t>
            </a:r>
            <a:r>
              <a:rPr lang="en-US" strike="sngStrike" dirty="0" err="1">
                <a:effectLst/>
                <a:latin typeface="Arial" panose="020B0604020202020204" pitchFamily="34" charset="0"/>
                <a:ea typeface="Calibri" panose="020F0502020204030204" pitchFamily="34" charset="0"/>
                <a:cs typeface="Arial" panose="020B0604020202020204" pitchFamily="34" charset="0"/>
              </a:rPr>
              <a:t>plithismou</a:t>
            </a:r>
            <a:r>
              <a:rPr lang="en-US" strike="sngStrike" dirty="0">
                <a:effectLst/>
                <a:latin typeface="Arial" panose="020B0604020202020204" pitchFamily="34" charset="0"/>
                <a:ea typeface="Calibri" panose="020F0502020204030204" pitchFamily="34" charset="0"/>
                <a:cs typeface="Arial" panose="020B0604020202020204" pitchFamily="34" charset="0"/>
              </a:rPr>
              <a:t> </a:t>
            </a:r>
            <a:r>
              <a:rPr lang="en-US" strike="sngStrike" dirty="0" err="1">
                <a:effectLst/>
                <a:latin typeface="Arial" panose="020B0604020202020204" pitchFamily="34" charset="0"/>
                <a:ea typeface="Calibri" panose="020F0502020204030204" pitchFamily="34" charset="0"/>
                <a:cs typeface="Arial" panose="020B0604020202020204" pitchFamily="34" charset="0"/>
              </a:rPr>
              <a:t>lambanontas</a:t>
            </a:r>
            <a:r>
              <a:rPr lang="en-US" strike="sngStrike" dirty="0">
                <a:effectLst/>
                <a:latin typeface="Arial" panose="020B0604020202020204" pitchFamily="34" charset="0"/>
                <a:ea typeface="Calibri" panose="020F0502020204030204" pitchFamily="34" charset="0"/>
                <a:cs typeface="Arial" panose="020B0604020202020204" pitchFamily="34" charset="0"/>
              </a:rPr>
              <a:t> </a:t>
            </a:r>
            <a:r>
              <a:rPr lang="en-US" strike="sngStrike" dirty="0" err="1">
                <a:effectLst/>
                <a:latin typeface="Arial" panose="020B0604020202020204" pitchFamily="34" charset="0"/>
                <a:ea typeface="Calibri" panose="020F0502020204030204" pitchFamily="34" charset="0"/>
                <a:cs typeface="Arial" panose="020B0604020202020204" pitchFamily="34" charset="0"/>
              </a:rPr>
              <a:t>ipopsi</a:t>
            </a:r>
            <a:r>
              <a:rPr lang="en-US" strike="sngStrike" dirty="0">
                <a:effectLst/>
                <a:latin typeface="Arial" panose="020B0604020202020204" pitchFamily="34" charset="0"/>
                <a:ea typeface="Calibri" panose="020F0502020204030204" pitchFamily="34" charset="0"/>
                <a:cs typeface="Arial" panose="020B0604020202020204" pitchFamily="34" charset="0"/>
              </a:rPr>
              <a:t> </a:t>
            </a:r>
            <a:r>
              <a:rPr lang="en-US" strike="sngStrike" dirty="0" err="1">
                <a:effectLst/>
                <a:latin typeface="Arial" panose="020B0604020202020204" pitchFamily="34" charset="0"/>
                <a:ea typeface="Calibri" panose="020F0502020204030204" pitchFamily="34" charset="0"/>
                <a:cs typeface="Arial" panose="020B0604020202020204" pitchFamily="34" charset="0"/>
              </a:rPr>
              <a:t>nees</a:t>
            </a:r>
            <a:r>
              <a:rPr lang="en-US" strike="sngStrike" dirty="0">
                <a:effectLst/>
                <a:latin typeface="Arial" panose="020B0604020202020204" pitchFamily="34" charset="0"/>
                <a:ea typeface="Calibri" panose="020F0502020204030204" pitchFamily="34" charset="0"/>
                <a:cs typeface="Arial" panose="020B0604020202020204" pitchFamily="34" charset="0"/>
              </a:rPr>
              <a:t> idees kai </a:t>
            </a:r>
            <a:r>
              <a:rPr lang="en-US" strike="sngStrike" dirty="0" err="1">
                <a:effectLst/>
                <a:latin typeface="Arial" panose="020B0604020202020204" pitchFamily="34" charset="0"/>
                <a:ea typeface="Calibri" panose="020F0502020204030204" pitchFamily="34" charset="0"/>
                <a:cs typeface="Arial" panose="020B0604020202020204" pitchFamily="34" charset="0"/>
              </a:rPr>
              <a:t>empriries</a:t>
            </a:r>
            <a:r>
              <a:rPr lang="en-US" strike="sngStrike" dirty="0">
                <a:effectLst/>
                <a:latin typeface="Arial" panose="020B0604020202020204" pitchFamily="34" charset="0"/>
                <a:ea typeface="Calibri" panose="020F0502020204030204" pitchFamily="34" charset="0"/>
                <a:cs typeface="Arial" panose="020B0604020202020204" pitchFamily="34" charset="0"/>
              </a:rPr>
              <a:t> </a:t>
            </a:r>
            <a:r>
              <a:rPr lang="en-US" strike="sngStrike" dirty="0" err="1">
                <a:effectLst/>
                <a:latin typeface="Arial" panose="020B0604020202020204" pitchFamily="34" charset="0"/>
                <a:ea typeface="Calibri" panose="020F0502020204030204" pitchFamily="34" charset="0"/>
                <a:cs typeface="Arial" panose="020B0604020202020204" pitchFamily="34" charset="0"/>
              </a:rPr>
              <a:t>alla</a:t>
            </a:r>
            <a:r>
              <a:rPr lang="en-US" strike="sngStrike" dirty="0">
                <a:effectLst/>
                <a:latin typeface="Arial" panose="020B0604020202020204" pitchFamily="34" charset="0"/>
                <a:ea typeface="Calibri" panose="020F0502020204030204" pitchFamily="34" charset="0"/>
                <a:cs typeface="Arial" panose="020B0604020202020204" pitchFamily="34" charset="0"/>
              </a:rPr>
              <a:t> kai </a:t>
            </a:r>
            <a:r>
              <a:rPr lang="en-US" strike="sngStrike" dirty="0" err="1">
                <a:effectLst/>
                <a:latin typeface="Arial" panose="020B0604020202020204" pitchFamily="34" charset="0"/>
                <a:ea typeface="Calibri" panose="020F0502020204030204" pitchFamily="34" charset="0"/>
                <a:cs typeface="Arial" panose="020B0604020202020204" pitchFamily="34" charset="0"/>
              </a:rPr>
              <a:t>na</a:t>
            </a:r>
            <a:r>
              <a:rPr lang="en-US" strike="sngStrike" dirty="0">
                <a:effectLst/>
                <a:latin typeface="Arial" panose="020B0604020202020204" pitchFamily="34" charset="0"/>
                <a:ea typeface="Calibri" panose="020F0502020204030204" pitchFamily="34" charset="0"/>
                <a:cs typeface="Arial" panose="020B0604020202020204" pitchFamily="34" charset="0"/>
              </a:rPr>
              <a:t> </a:t>
            </a:r>
            <a:r>
              <a:rPr lang="en-US" strike="sngStrike" dirty="0" err="1">
                <a:effectLst/>
                <a:latin typeface="Arial" panose="020B0604020202020204" pitchFamily="34" charset="0"/>
                <a:ea typeface="Calibri" panose="020F0502020204030204" pitchFamily="34" charset="0"/>
                <a:cs typeface="Arial" panose="020B0604020202020204" pitchFamily="34" charset="0"/>
              </a:rPr>
              <a:t>dieraunithoun</a:t>
            </a:r>
            <a:r>
              <a:rPr lang="en-US" strike="sngStrike" dirty="0">
                <a:effectLst/>
                <a:latin typeface="Arial" panose="020B0604020202020204" pitchFamily="34" charset="0"/>
                <a:ea typeface="Calibri" panose="020F0502020204030204" pitchFamily="34" charset="0"/>
                <a:cs typeface="Arial" panose="020B0604020202020204" pitchFamily="34" charset="0"/>
              </a:rPr>
              <a:t> </a:t>
            </a:r>
            <a:r>
              <a:rPr lang="en-US" strike="sngStrike" dirty="0" err="1">
                <a:effectLst/>
                <a:latin typeface="Arial" panose="020B0604020202020204" pitchFamily="34" charset="0"/>
                <a:ea typeface="Calibri" panose="020F0502020204030204" pitchFamily="34" charset="0"/>
                <a:cs typeface="Arial" panose="020B0604020202020204" pitchFamily="34" charset="0"/>
              </a:rPr>
              <a:t>tixon</a:t>
            </a:r>
            <a:r>
              <a:rPr lang="en-US" strike="sngStrike" dirty="0">
                <a:effectLst/>
                <a:latin typeface="Arial" panose="020B0604020202020204" pitchFamily="34" charset="0"/>
                <a:ea typeface="Calibri" panose="020F0502020204030204" pitchFamily="34" charset="0"/>
                <a:cs typeface="Arial" panose="020B0604020202020204" pitchFamily="34" charset="0"/>
              </a:rPr>
              <a:t> </a:t>
            </a:r>
            <a:r>
              <a:rPr lang="en-US" strike="sngStrike" dirty="0" err="1">
                <a:effectLst/>
                <a:latin typeface="Arial" panose="020B0604020202020204" pitchFamily="34" charset="0"/>
                <a:ea typeface="Calibri" panose="020F0502020204030204" pitchFamily="34" charset="0"/>
                <a:cs typeface="Arial" panose="020B0604020202020204" pitchFamily="34" charset="0"/>
              </a:rPr>
              <a:t>diepistimonikes</a:t>
            </a:r>
            <a:r>
              <a:rPr lang="en-US" strike="sngStrike" dirty="0">
                <a:effectLst/>
                <a:latin typeface="Arial" panose="020B0604020202020204" pitchFamily="34" charset="0"/>
                <a:ea typeface="Calibri" panose="020F0502020204030204" pitchFamily="34" charset="0"/>
                <a:cs typeface="Arial" panose="020B0604020202020204" pitchFamily="34" charset="0"/>
              </a:rPr>
              <a:t> </a:t>
            </a:r>
            <a:r>
              <a:rPr lang="en-US" strike="sngStrike" dirty="0" err="1">
                <a:effectLst/>
                <a:latin typeface="Arial" panose="020B0604020202020204" pitchFamily="34" charset="0"/>
                <a:ea typeface="Calibri" panose="020F0502020204030204" pitchFamily="34" charset="0"/>
                <a:cs typeface="Arial" panose="020B0604020202020204" pitchFamily="34" charset="0"/>
              </a:rPr>
              <a:t>sxesis</a:t>
            </a:r>
            <a:r>
              <a:rPr lang="en-US" strike="sngStrike" dirty="0">
                <a:effectLst/>
                <a:latin typeface="Arial" panose="020B0604020202020204" pitchFamily="34" charset="0"/>
                <a:ea typeface="Calibri" panose="020F0502020204030204" pitchFamily="34" charset="0"/>
                <a:cs typeface="Arial" panose="020B0604020202020204" pitchFamily="34" charset="0"/>
              </a:rPr>
              <a:t> me </a:t>
            </a:r>
            <a:r>
              <a:rPr lang="en-US" strike="sngStrike" dirty="0" err="1">
                <a:effectLst/>
                <a:latin typeface="Arial" panose="020B0604020202020204" pitchFamily="34" charset="0"/>
                <a:ea typeface="Calibri" panose="020F0502020204030204" pitchFamily="34" charset="0"/>
                <a:cs typeface="Arial" panose="020B0604020202020204" pitchFamily="34" charset="0"/>
              </a:rPr>
              <a:t>alla</a:t>
            </a:r>
            <a:r>
              <a:rPr lang="en-US" strike="sngStrike" dirty="0">
                <a:effectLst/>
                <a:latin typeface="Arial" panose="020B0604020202020204" pitchFamily="34" charset="0"/>
                <a:ea typeface="Calibri" panose="020F0502020204030204" pitchFamily="34" charset="0"/>
                <a:cs typeface="Arial" panose="020B0604020202020204" pitchFamily="34" charset="0"/>
              </a:rPr>
              <a:t> </a:t>
            </a:r>
            <a:r>
              <a:rPr lang="en-US" strike="sngStrike" dirty="0" err="1">
                <a:effectLst/>
                <a:latin typeface="Arial" panose="020B0604020202020204" pitchFamily="34" charset="0"/>
                <a:ea typeface="Calibri" panose="020F0502020204030204" pitchFamily="34" charset="0"/>
                <a:cs typeface="Arial" panose="020B0604020202020204" pitchFamily="34" charset="0"/>
              </a:rPr>
              <a:t>pedia</a:t>
            </a:r>
            <a:r>
              <a:rPr lang="en-US" strike="sngStrike" dirty="0">
                <a:effectLst/>
                <a:latin typeface="Arial" panose="020B0604020202020204" pitchFamily="34" charset="0"/>
                <a:ea typeface="Calibri" panose="020F0502020204030204" pitchFamily="34" charset="0"/>
                <a:cs typeface="Arial" panose="020B0604020202020204" pitchFamily="34" charset="0"/>
              </a:rPr>
              <a:t> </a:t>
            </a:r>
            <a:r>
              <a:rPr lang="en-US" strike="sngStrike" dirty="0" err="1">
                <a:effectLst/>
                <a:latin typeface="Arial" panose="020B0604020202020204" pitchFamily="34" charset="0"/>
                <a:ea typeface="Calibri" panose="020F0502020204030204" pitchFamily="34" charset="0"/>
                <a:cs typeface="Arial" panose="020B0604020202020204" pitchFamily="34" charset="0"/>
              </a:rPr>
              <a:t>gnwsis</a:t>
            </a:r>
            <a:r>
              <a:rPr lang="en-US" strike="sngStrike" dirty="0">
                <a:effectLst/>
                <a:latin typeface="Arial" panose="020B0604020202020204" pitchFamily="34" charset="0"/>
                <a:ea typeface="Calibri" panose="020F0502020204030204" pitchFamily="34" charset="0"/>
                <a:cs typeface="Arial" panose="020B0604020202020204" pitchFamily="34" charset="0"/>
              </a:rPr>
              <a:t> kai </a:t>
            </a:r>
            <a:r>
              <a:rPr lang="en-US" strike="sngStrike" dirty="0" err="1">
                <a:effectLst/>
                <a:latin typeface="Arial" panose="020B0604020202020204" pitchFamily="34" charset="0"/>
                <a:ea typeface="Calibri" panose="020F0502020204030204" pitchFamily="34" charset="0"/>
                <a:cs typeface="Arial" panose="020B0604020202020204" pitchFamily="34" charset="0"/>
              </a:rPr>
              <a:t>stoxasmou</a:t>
            </a:r>
            <a:r>
              <a:rPr lang="en-US" strike="sngStrike" dirty="0">
                <a:effectLst/>
                <a:latin typeface="Arial" panose="020B0604020202020204" pitchFamily="34" charset="0"/>
                <a:ea typeface="Calibri" panose="020F0502020204030204" pitchFamily="34" charset="0"/>
                <a:cs typeface="Times New Roman" panose="02020603050405020304" pitchFamily="18" charset="0"/>
              </a:rPr>
              <a:t> ..(</a:t>
            </a:r>
            <a:r>
              <a:rPr lang="en-US" strike="sngStrike" dirty="0" err="1">
                <a:effectLst/>
                <a:latin typeface="Arial" panose="020B0604020202020204" pitchFamily="34" charset="0"/>
                <a:ea typeface="Calibri" panose="020F0502020204030204" pitchFamily="34" charset="0"/>
                <a:cs typeface="Times New Roman" panose="02020603050405020304" pitchFamily="18" charset="0"/>
              </a:rPr>
              <a:t>stoxastis</a:t>
            </a:r>
            <a:r>
              <a:rPr lang="en-US" strike="sngStrike" dirty="0">
                <a:effectLst/>
                <a:latin typeface="Arial" panose="020B0604020202020204" pitchFamily="34" charset="0"/>
                <a:ea typeface="Calibri" panose="020F0502020204030204" pitchFamily="34" charset="0"/>
                <a:cs typeface="Times New Roman" panose="02020603050405020304" pitchFamily="18" charset="0"/>
              </a:rPr>
              <a:t> </a:t>
            </a:r>
            <a:r>
              <a:rPr lang="en-US" strike="sngStrike" dirty="0" err="1">
                <a:effectLst/>
                <a:latin typeface="Arial" panose="020B0604020202020204" pitchFamily="34" charset="0"/>
                <a:ea typeface="Calibri" panose="020F0502020204030204" pitchFamily="34" charset="0"/>
                <a:cs typeface="Times New Roman" panose="02020603050405020304" pitchFamily="18" charset="0"/>
              </a:rPr>
              <a:t>etimologia</a:t>
            </a:r>
            <a:r>
              <a:rPr lang="en-US" strike="sngStrike" dirty="0">
                <a:effectLst/>
                <a:latin typeface="Arial" panose="020B0604020202020204" pitchFamily="34" charset="0"/>
                <a:ea typeface="Calibri" panose="020F0502020204030204" pitchFamily="34" charset="0"/>
                <a:cs typeface="Times New Roman" panose="02020603050405020304" pitchFamily="18" charset="0"/>
              </a:rPr>
              <a:t>) </a:t>
            </a:r>
            <a:r>
              <a:rPr lang="en-US" strike="sngStrike" dirty="0" err="1">
                <a:effectLst/>
                <a:latin typeface="Arial" panose="020B0604020202020204" pitchFamily="34" charset="0"/>
                <a:ea typeface="Calibri" panose="020F0502020204030204" pitchFamily="34" charset="0"/>
                <a:cs typeface="Times New Roman" panose="02020603050405020304" pitchFamily="18" charset="0"/>
              </a:rPr>
              <a:t>diladi</a:t>
            </a:r>
            <a:r>
              <a:rPr lang="en-US" strike="sngStrike" dirty="0">
                <a:effectLst/>
                <a:latin typeface="Arial" panose="020B0604020202020204" pitchFamily="34" charset="0"/>
                <a:ea typeface="Calibri" panose="020F0502020204030204" pitchFamily="34" charset="0"/>
                <a:cs typeface="Times New Roman" panose="02020603050405020304" pitchFamily="18" charset="0"/>
              </a:rPr>
              <a:t> </a:t>
            </a:r>
            <a:r>
              <a:rPr lang="en-US" strike="sngStrike" dirty="0" err="1">
                <a:effectLst/>
                <a:latin typeface="Arial" panose="020B0604020202020204" pitchFamily="34" charset="0"/>
                <a:ea typeface="Calibri" panose="020F0502020204030204" pitchFamily="34" charset="0"/>
                <a:cs typeface="Times New Roman" panose="02020603050405020304" pitchFamily="18" charset="0"/>
              </a:rPr>
              <a:t>thewritika</a:t>
            </a:r>
            <a:r>
              <a:rPr lang="en-US" strike="sngStrike" dirty="0">
                <a:effectLst/>
                <a:latin typeface="Arial" panose="020B0604020202020204" pitchFamily="34" charset="0"/>
                <a:ea typeface="Calibri" panose="020F0502020204030204" pitchFamily="34" charset="0"/>
                <a:cs typeface="Times New Roman" panose="02020603050405020304" pitchFamily="18" charset="0"/>
              </a:rPr>
              <a:t> </a:t>
            </a:r>
            <a:r>
              <a:rPr lang="en-US" strike="sngStrike" dirty="0" err="1">
                <a:effectLst/>
                <a:latin typeface="Arial" panose="020B0604020202020204" pitchFamily="34" charset="0"/>
                <a:ea typeface="Calibri" panose="020F0502020204030204" pitchFamily="34" charset="0"/>
                <a:cs typeface="Times New Roman" panose="02020603050405020304" pitchFamily="18" charset="0"/>
              </a:rPr>
              <a:t>zitimata</a:t>
            </a:r>
            <a:r>
              <a:rPr lang="en-US" strike="sngStrike" dirty="0">
                <a:effectLst/>
                <a:latin typeface="Arial" panose="020B0604020202020204" pitchFamily="34" charset="0"/>
                <a:ea typeface="Calibri" panose="020F0502020204030204" pitchFamily="34" charset="0"/>
                <a:cs typeface="Times New Roman" panose="02020603050405020304" pitchFamily="18" charset="0"/>
              </a:rPr>
              <a:t> I </a:t>
            </a:r>
            <a:r>
              <a:rPr lang="en-US" strike="sngStrike" dirty="0" err="1">
                <a:effectLst/>
                <a:latin typeface="Arial" panose="020B0604020202020204" pitchFamily="34" charset="0"/>
                <a:ea typeface="Calibri" panose="020F0502020204030204" pitchFamily="34" charset="0"/>
                <a:cs typeface="Times New Roman" panose="02020603050405020304" pitchFamily="18" charset="0"/>
              </a:rPr>
              <a:t>ipsila</a:t>
            </a:r>
            <a:r>
              <a:rPr lang="en-US" strike="sngStrike" dirty="0">
                <a:effectLst/>
                <a:latin typeface="Arial" panose="020B0604020202020204" pitchFamily="34" charset="0"/>
                <a:ea typeface="Calibri" panose="020F0502020204030204" pitchFamily="34" charset="0"/>
                <a:cs typeface="Times New Roman" panose="02020603050405020304" pitchFamily="18" charset="0"/>
              </a:rPr>
              <a:t> </a:t>
            </a:r>
            <a:r>
              <a:rPr lang="en-US" strike="sngStrike" dirty="0" err="1">
                <a:effectLst/>
                <a:latin typeface="Arial" panose="020B0604020202020204" pitchFamily="34" charset="0"/>
                <a:ea typeface="Calibri" panose="020F0502020204030204" pitchFamily="34" charset="0"/>
                <a:cs typeface="Times New Roman" panose="02020603050405020304" pitchFamily="18" charset="0"/>
              </a:rPr>
              <a:t>themata</a:t>
            </a:r>
            <a:r>
              <a:rPr lang="en-US" strike="sngStrike" dirty="0">
                <a:effectLst/>
                <a:latin typeface="Arial" panose="020B0604020202020204" pitchFamily="34" charset="0"/>
                <a:ea typeface="Calibri" panose="020F0502020204030204" pitchFamily="34" charset="0"/>
                <a:cs typeface="Times New Roman" panose="02020603050405020304" pitchFamily="18" charset="0"/>
              </a:rPr>
              <a:t> </a:t>
            </a:r>
            <a:r>
              <a:rPr lang="en-US" strike="sngStrike" dirty="0" err="1">
                <a:effectLst/>
                <a:latin typeface="Arial" panose="020B0604020202020204" pitchFamily="34" charset="0"/>
                <a:ea typeface="Calibri" panose="020F0502020204030204" pitchFamily="34" charset="0"/>
                <a:cs typeface="Times New Roman" panose="02020603050405020304" pitchFamily="18" charset="0"/>
              </a:rPr>
              <a:t>priblimatismou</a:t>
            </a:r>
            <a:r>
              <a:rPr lang="en-US" strike="sngStrike" dirty="0">
                <a:effectLst/>
                <a:latin typeface="Arial" panose="020B0604020202020204" pitchFamily="34" charset="0"/>
                <a:ea typeface="Calibri" panose="020F0502020204030204" pitchFamily="34" charset="0"/>
                <a:cs typeface="Times New Roman" panose="02020603050405020304" pitchFamily="18" charset="0"/>
              </a:rPr>
              <a:t> px </a:t>
            </a:r>
            <a:r>
              <a:rPr lang="en-US" strike="sngStrike" dirty="0" err="1">
                <a:effectLst/>
                <a:latin typeface="Arial" panose="020B0604020202020204" pitchFamily="34" charset="0"/>
                <a:ea typeface="Calibri" panose="020F0502020204030204" pitchFamily="34" charset="0"/>
                <a:cs typeface="Times New Roman" panose="02020603050405020304" pitchFamily="18" charset="0"/>
              </a:rPr>
              <a:t>zitimata</a:t>
            </a:r>
            <a:r>
              <a:rPr lang="en-US" strike="sngStrike" dirty="0">
                <a:effectLst/>
                <a:latin typeface="Arial" panose="020B0604020202020204" pitchFamily="34" charset="0"/>
                <a:ea typeface="Calibri" panose="020F0502020204030204" pitchFamily="34" charset="0"/>
                <a:cs typeface="Times New Roman" panose="02020603050405020304" pitchFamily="18" charset="0"/>
              </a:rPr>
              <a:t> tis </a:t>
            </a:r>
            <a:r>
              <a:rPr lang="en-US" strike="sngStrike" dirty="0" err="1">
                <a:effectLst/>
                <a:latin typeface="Arial" panose="020B0604020202020204" pitchFamily="34" charset="0"/>
                <a:ea typeface="Calibri" panose="020F0502020204030204" pitchFamily="34" charset="0"/>
                <a:cs typeface="Times New Roman" panose="02020603050405020304" pitchFamily="18" charset="0"/>
              </a:rPr>
              <a:t>koinwnias</a:t>
            </a:r>
            <a:r>
              <a:rPr lang="en-US" strike="sngStrike" dirty="0">
                <a:effectLst/>
                <a:latin typeface="Arial" panose="020B0604020202020204" pitchFamily="34" charset="0"/>
                <a:ea typeface="Calibri" panose="020F0502020204030204" pitchFamily="34" charset="0"/>
                <a:cs typeface="Times New Roman" panose="02020603050405020304" pitchFamily="18" charset="0"/>
              </a:rPr>
              <a:t>, </a:t>
            </a:r>
            <a:r>
              <a:rPr lang="en-US" strike="sngStrike" dirty="0" err="1">
                <a:effectLst/>
                <a:latin typeface="Arial" panose="020B0604020202020204" pitchFamily="34" charset="0"/>
                <a:ea typeface="Calibri" panose="020F0502020204030204" pitchFamily="34" charset="0"/>
                <a:cs typeface="Times New Roman" panose="02020603050405020304" pitchFamily="18" charset="0"/>
              </a:rPr>
              <a:t>anthrwpo</a:t>
            </a:r>
            <a:r>
              <a:rPr lang="en-US" strike="sngStrike" dirty="0">
                <a:effectLst/>
                <a:latin typeface="Arial" panose="020B0604020202020204" pitchFamily="34" charset="0"/>
                <a:ea typeface="Calibri" panose="020F0502020204030204" pitchFamily="34" charset="0"/>
                <a:cs typeface="Times New Roman" panose="02020603050405020304" pitchFamily="18" charset="0"/>
              </a:rPr>
              <a:t>, </a:t>
            </a:r>
            <a:r>
              <a:rPr lang="en-US" strike="sngStrike" dirty="0" err="1">
                <a:effectLst/>
                <a:latin typeface="Arial" panose="020B0604020202020204" pitchFamily="34" charset="0"/>
                <a:ea typeface="Calibri" panose="020F0502020204030204" pitchFamily="34" charset="0"/>
                <a:cs typeface="Times New Roman" panose="02020603050405020304" pitchFamily="18" charset="0"/>
              </a:rPr>
              <a:t>aksies</a:t>
            </a:r>
            <a:endParaRPr lang="en-US" strike="sngStrike" dirty="0">
              <a:effectLst/>
              <a:latin typeface="Arial" panose="020B060402020202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trike="sngStrike" dirty="0">
              <a:effectLst/>
              <a:latin typeface="Arial" panose="020B0604020202020204" pitchFamily="34" charset="0"/>
              <a:ea typeface="Calibri" panose="020F050202020403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910C69D4-DE42-414E-829A-8F378A406FFC}" type="slidenum">
              <a:rPr lang="en-US" smtClean="0"/>
              <a:t>6</a:t>
            </a:fld>
            <a:endParaRPr lang="en-US"/>
          </a:p>
        </p:txBody>
      </p:sp>
    </p:spTree>
    <p:extLst>
      <p:ext uri="{BB962C8B-B14F-4D97-AF65-F5344CB8AC3E}">
        <p14:creationId xmlns:p14="http://schemas.microsoft.com/office/powerpoint/2010/main" val="21589711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trike="sngStrike" dirty="0"/>
              <a:t>Say about steps not the steps itself</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l-GR" sz="1200" b="1" dirty="0">
                <a:latin typeface="Arial" panose="020B0604020202020204" pitchFamily="34" charset="0"/>
                <a:cs typeface="Arial" panose="020B0604020202020204" pitchFamily="34" charset="0"/>
              </a:rPr>
              <a:t>Συνεπώς</a:t>
            </a:r>
            <a:r>
              <a:rPr lang="en-US" sz="1200" b="1" dirty="0">
                <a:latin typeface="Arial" panose="020B0604020202020204" pitchFamily="34" charset="0"/>
                <a:cs typeface="Arial" panose="020B0604020202020204" pitchFamily="34" charset="0"/>
              </a:rPr>
              <a:t> </a:t>
            </a:r>
            <a:r>
              <a:rPr lang="el-GR" sz="1200" b="1" dirty="0">
                <a:latin typeface="Arial" panose="020B0604020202020204" pitchFamily="34" charset="0"/>
                <a:cs typeface="Arial" panose="020B0604020202020204" pitchFamily="34" charset="0"/>
              </a:rPr>
              <a:t>η έρευνα εξετάζει</a:t>
            </a:r>
            <a:r>
              <a:rPr lang="en-US" sz="1200" b="1" dirty="0">
                <a:latin typeface="Arial" panose="020B0604020202020204" pitchFamily="34" charset="0"/>
                <a:cs typeface="Arial" panose="020B0604020202020204" pitchFamily="34" charset="0"/>
              </a:rPr>
              <a:t> to </a:t>
            </a:r>
            <a:r>
              <a:rPr lang="en-US" sz="1200" b="1" i="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Arial" panose="020B0604020202020204" pitchFamily="34" charset="0"/>
                <a:cs typeface="Arial" panose="020B0604020202020204" pitchFamily="34" charset="0"/>
              </a:rPr>
              <a:t>Project Mission</a:t>
            </a:r>
            <a:r>
              <a:rPr lang="el-GR" sz="1200" b="1" dirty="0">
                <a:latin typeface="Arial" panose="020B0604020202020204" pitchFamily="34" charset="0"/>
                <a:cs typeface="Arial" panose="020B0604020202020204" pitchFamily="34" charset="0"/>
              </a:rPr>
              <a:t>:</a:t>
            </a:r>
            <a:endParaRPr lang="en-US" sz="1200" b="1" dirty="0">
              <a:latin typeface="Arial" panose="020B0604020202020204" pitchFamily="34" charset="0"/>
              <a:cs typeface="Arial" panose="020B0604020202020204" pitchFamily="34" charset="0"/>
            </a:endParaRPr>
          </a:p>
          <a:p>
            <a:endParaRPr lang="el-GR" dirty="0"/>
          </a:p>
          <a:p>
            <a:endParaRPr lang="el-GR" dirty="0"/>
          </a:p>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Εξόρυξη γνώσεις από τις πληροφορίες του κοινού μετά από </a:t>
            </a:r>
            <a:r>
              <a:rPr lang="en-US" sz="2400" dirty="0">
                <a:latin typeface="Arial" panose="020B0604020202020204" pitchFamily="34" charset="0"/>
                <a:cs typeface="Arial" panose="020B0604020202020204" pitchFamily="34" charset="0"/>
              </a:rPr>
              <a:t>survey/Questionnaires</a:t>
            </a:r>
            <a:r>
              <a:rPr lang="el-GR" sz="2400" dirty="0">
                <a:latin typeface="Arial" panose="020B0604020202020204" pitchFamily="34" charset="0"/>
                <a:cs typeface="Arial" panose="020B0604020202020204" pitchFamily="34" charset="0"/>
              </a:rPr>
              <a:t> για </a:t>
            </a:r>
            <a:r>
              <a:rPr lang="el-GR" sz="2400" dirty="0" err="1">
                <a:latin typeface="Arial" panose="020B0604020202020204" pitchFamily="34" charset="0"/>
                <a:cs typeface="Arial" panose="020B0604020202020204" pitchFamily="34" charset="0"/>
              </a:rPr>
              <a:t>σωστη</a:t>
            </a:r>
            <a:r>
              <a:rPr lang="el-GR" sz="2400" dirty="0">
                <a:latin typeface="Arial" panose="020B0604020202020204" pitchFamily="34" charset="0"/>
                <a:cs typeface="Arial" panose="020B0604020202020204" pitchFamily="34" charset="0"/>
              </a:rPr>
              <a:t> </a:t>
            </a:r>
            <a:r>
              <a:rPr lang="el-GR" sz="2400" dirty="0" err="1">
                <a:latin typeface="Arial" panose="020B0604020202020204" pitchFamily="34" charset="0"/>
                <a:cs typeface="Arial" panose="020B0604020202020204" pitchFamily="34" charset="0"/>
              </a:rPr>
              <a:t>κατευθυνση</a:t>
            </a:r>
            <a:r>
              <a:rPr lang="el-GR" sz="2400" dirty="0">
                <a:latin typeface="Arial" panose="020B0604020202020204" pitchFamily="34" charset="0"/>
                <a:cs typeface="Arial" panose="020B0604020202020204" pitchFamily="34" charset="0"/>
              </a:rPr>
              <a:t> δημιουργίας</a:t>
            </a:r>
            <a:r>
              <a:rPr lang="en-US" sz="2400" dirty="0">
                <a:latin typeface="Arial" panose="020B0604020202020204" pitchFamily="34" charset="0"/>
                <a:cs typeface="Arial" panose="020B0604020202020204" pitchFamily="34" charset="0"/>
              </a:rPr>
              <a:t> </a:t>
            </a:r>
            <a:r>
              <a:rPr lang="el-GR" sz="2400" dirty="0">
                <a:latin typeface="Arial" panose="020B0604020202020204" pitchFamily="34" charset="0"/>
                <a:cs typeface="Arial" panose="020B0604020202020204" pitchFamily="34" charset="0"/>
              </a:rPr>
              <a:t>περιζήτητων</a:t>
            </a:r>
            <a:r>
              <a:rPr lang="en-US" sz="2400" dirty="0">
                <a:latin typeface="Arial" panose="020B0604020202020204" pitchFamily="34" charset="0"/>
                <a:cs typeface="Arial" panose="020B0604020202020204" pitchFamily="34" charset="0"/>
              </a:rPr>
              <a:t> feature</a:t>
            </a:r>
            <a:endParaRPr lang="el-GR" sz="2400" dirty="0">
              <a:latin typeface="Arial" panose="020B0604020202020204" pitchFamily="34" charset="0"/>
              <a:cs typeface="Arial" panose="020B0604020202020204" pitchFamily="34" charset="0"/>
            </a:endParaRPr>
          </a:p>
          <a:p>
            <a:endParaRPr lang="el-GR" sz="2400" dirty="0">
              <a:latin typeface="Arial" panose="020B0604020202020204" pitchFamily="34" charset="0"/>
              <a:cs typeface="Arial" panose="020B0604020202020204" pitchFamily="34" charset="0"/>
            </a:endParaRPr>
          </a:p>
          <a:p>
            <a:pPr marL="342900" marR="0" indent="-342900" algn="just">
              <a:lnSpc>
                <a:spcPct val="150000"/>
              </a:lnSpc>
              <a:spcBef>
                <a:spcPts val="0"/>
              </a:spcBef>
              <a:spcAft>
                <a:spcPts val="0"/>
              </a:spcAft>
              <a:buFont typeface="Arial" panose="020B0604020202020204" pitchFamily="34" charset="0"/>
              <a:buChar char="•"/>
            </a:pPr>
            <a:r>
              <a:rPr lang="el-GR" sz="2400" dirty="0">
                <a:effectLst/>
                <a:latin typeface="Arial" panose="020B0604020202020204" pitchFamily="34" charset="0"/>
                <a:ea typeface="Calibri" panose="020F0502020204030204" pitchFamily="34" charset="0"/>
                <a:cs typeface="Arial" panose="020B0604020202020204" pitchFamily="34" charset="0"/>
              </a:rPr>
              <a:t>Παροχή </a:t>
            </a:r>
            <a:r>
              <a:rPr lang="el-GR" sz="2400" dirty="0" err="1">
                <a:effectLst/>
                <a:latin typeface="Arial" panose="020B0604020202020204" pitchFamily="34" charset="0"/>
                <a:ea typeface="Calibri" panose="020F0502020204030204" pitchFamily="34" charset="0"/>
                <a:cs typeface="Arial" panose="020B0604020202020204" pitchFamily="34" charset="0"/>
              </a:rPr>
              <a:t>online</a:t>
            </a:r>
            <a:r>
              <a:rPr lang="el-GR" sz="2400" dirty="0">
                <a:effectLst/>
                <a:latin typeface="Arial" panose="020B0604020202020204" pitchFamily="34" charset="0"/>
                <a:ea typeface="Calibri" panose="020F0502020204030204" pitchFamily="34" charset="0"/>
                <a:cs typeface="Arial" panose="020B0604020202020204" pitchFamily="34" charset="0"/>
              </a:rPr>
              <a:t> </a:t>
            </a:r>
            <a:r>
              <a:rPr lang="el-GR" sz="2400" dirty="0" err="1">
                <a:effectLst/>
                <a:latin typeface="Arial" panose="020B0604020202020204" pitchFamily="34" charset="0"/>
                <a:ea typeface="Calibri" panose="020F0502020204030204" pitchFamily="34" charset="0"/>
                <a:cs typeface="Arial" panose="020B0604020202020204" pitchFamily="34" charset="0"/>
              </a:rPr>
              <a:t>διαδραστικών</a:t>
            </a:r>
            <a:r>
              <a:rPr lang="el-GR" sz="2400" dirty="0">
                <a:effectLst/>
                <a:latin typeface="Arial" panose="020B0604020202020204" pitchFamily="34" charset="0"/>
                <a:ea typeface="Calibri" panose="020F0502020204030204" pitchFamily="34" charset="0"/>
                <a:cs typeface="Arial" panose="020B0604020202020204" pitchFamily="34" charset="0"/>
              </a:rPr>
              <a:t> μηχανισμών για ρεαλισμού </a:t>
            </a:r>
            <a:r>
              <a:rPr lang="el-GR" sz="2400" dirty="0" err="1">
                <a:effectLst/>
                <a:latin typeface="Arial" panose="020B0604020202020204" pitchFamily="34" charset="0"/>
                <a:ea typeface="Calibri" panose="020F0502020204030204" pitchFamily="34" charset="0"/>
                <a:cs typeface="Arial" panose="020B0604020202020204" pitchFamily="34" charset="0"/>
              </a:rPr>
              <a:t>game</a:t>
            </a:r>
            <a:r>
              <a:rPr lang="el-GR" sz="2400" dirty="0">
                <a:effectLst/>
                <a:latin typeface="Arial" panose="020B0604020202020204" pitchFamily="34" charset="0"/>
                <a:ea typeface="Calibri" panose="020F0502020204030204" pitchFamily="34" charset="0"/>
                <a:cs typeface="Arial" panose="020B0604020202020204" pitchFamily="34" charset="0"/>
              </a:rPr>
              <a:t> </a:t>
            </a:r>
            <a:r>
              <a:rPr lang="el-GR" sz="2400" dirty="0" err="1">
                <a:effectLst/>
                <a:latin typeface="Arial" panose="020B0604020202020204" pitchFamily="34" charset="0"/>
                <a:ea typeface="Calibri" panose="020F0502020204030204" pitchFamily="34" charset="0"/>
                <a:cs typeface="Arial" panose="020B0604020202020204" pitchFamily="34" charset="0"/>
              </a:rPr>
              <a:t>genre</a:t>
            </a:r>
            <a:endParaRPr lang="en-US" sz="2400" dirty="0">
              <a:effectLst/>
              <a:latin typeface="Arial" panose="020B0604020202020204" pitchFamily="34" charset="0"/>
              <a:ea typeface="Calibri" panose="020F0502020204030204" pitchFamily="34" charset="0"/>
              <a:cs typeface="Arial" panose="020B0604020202020204" pitchFamily="34" charset="0"/>
            </a:endParaRPr>
          </a:p>
          <a:p>
            <a:pPr marL="800100" lvl="1" indent="-342900" algn="just">
              <a:lnSpc>
                <a:spcPct val="150000"/>
              </a:lnSpc>
              <a:buFont typeface="Courier New" panose="02070309020205020404" pitchFamily="49" charset="0"/>
              <a:buChar char="o"/>
            </a:pPr>
            <a:r>
              <a:rPr lang="el-GR" sz="2400" dirty="0">
                <a:effectLst/>
                <a:latin typeface="Arial" panose="020B0604020202020204" pitchFamily="34" charset="0"/>
                <a:ea typeface="Calibri" panose="020F0502020204030204" pitchFamily="34" charset="0"/>
                <a:cs typeface="Arial" panose="020B0604020202020204" pitchFamily="34" charset="0"/>
              </a:rPr>
              <a:t>Υπηρεσίες φωνής για πραγματικού χρόνου μετάδοσης</a:t>
            </a:r>
            <a:r>
              <a:rPr lang="en-US" sz="2400" dirty="0">
                <a:effectLst/>
                <a:latin typeface="Arial" panose="020B0604020202020204" pitchFamily="34" charset="0"/>
                <a:ea typeface="Calibri" panose="020F0502020204030204" pitchFamily="34" charset="0"/>
                <a:cs typeface="Arial" panose="020B0604020202020204" pitchFamily="34" charset="0"/>
              </a:rPr>
              <a:t> (to </a:t>
            </a:r>
            <a:r>
              <a:rPr lang="en-US" sz="2400" dirty="0" err="1">
                <a:effectLst/>
                <a:latin typeface="Arial" panose="020B0604020202020204" pitchFamily="34" charset="0"/>
                <a:ea typeface="Calibri" panose="020F0502020204030204" pitchFamily="34" charset="0"/>
                <a:cs typeface="Arial" panose="020B0604020202020204" pitchFamily="34" charset="0"/>
              </a:rPr>
              <a:t>voip</a:t>
            </a:r>
            <a:r>
              <a:rPr lang="en-US" sz="2400" dirty="0">
                <a:effectLst/>
                <a:latin typeface="Arial" panose="020B0604020202020204" pitchFamily="34" charset="0"/>
                <a:ea typeface="Calibri" panose="020F0502020204030204" pitchFamily="34" charset="0"/>
                <a:cs typeface="Arial" panose="020B0604020202020204" pitchFamily="34" charset="0"/>
              </a:rPr>
              <a:t>)</a:t>
            </a:r>
          </a:p>
          <a:p>
            <a:pPr marL="800100" lvl="1" indent="-342900" algn="just">
              <a:lnSpc>
                <a:spcPct val="150000"/>
              </a:lnSpc>
              <a:buFont typeface="Courier New" panose="02070309020205020404" pitchFamily="49" charset="0"/>
              <a:buChar char="o"/>
            </a:pPr>
            <a:r>
              <a:rPr lang="el-GR" sz="2400" dirty="0">
                <a:effectLst/>
                <a:latin typeface="Arial" panose="020B0604020202020204" pitchFamily="34" charset="0"/>
                <a:ea typeface="Calibri" panose="020F0502020204030204" pitchFamily="34" charset="0"/>
                <a:cs typeface="Arial" panose="020B0604020202020204" pitchFamily="34" charset="0"/>
              </a:rPr>
              <a:t>Επεξεργασία σήματος φωνής για προσομοιώσει εξασθένηση σήματος σε ειδικές περιοχές</a:t>
            </a:r>
            <a:r>
              <a:rPr lang="en-US" sz="2400" dirty="0">
                <a:effectLst/>
                <a:latin typeface="Arial" panose="020B0604020202020204" pitchFamily="34" charset="0"/>
                <a:ea typeface="Calibri" panose="020F0502020204030204" pitchFamily="34" charset="0"/>
                <a:cs typeface="Arial" panose="020B0604020202020204" pitchFamily="34" charset="0"/>
              </a:rPr>
              <a:t> (simulation </a:t>
            </a:r>
            <a:r>
              <a:rPr lang="en-US" sz="2400" dirty="0" err="1">
                <a:effectLst/>
                <a:latin typeface="Arial" panose="020B0604020202020204" pitchFamily="34" charset="0"/>
                <a:ea typeface="Calibri" panose="020F0502020204030204" pitchFamily="34" charset="0"/>
                <a:cs typeface="Arial" panose="020B0604020202020204" pitchFamily="34" charset="0"/>
              </a:rPr>
              <a:t>twn</a:t>
            </a:r>
            <a:r>
              <a:rPr lang="en-US" sz="2400" dirty="0">
                <a:effectLst/>
                <a:latin typeface="Arial" panose="020B0604020202020204" pitchFamily="34" charset="0"/>
                <a:ea typeface="Calibri" panose="020F0502020204030204" pitchFamily="34" charset="0"/>
                <a:cs typeface="Arial" panose="020B0604020202020204" pitchFamily="34" charset="0"/>
              </a:rPr>
              <a:t> real world scenarios)</a:t>
            </a:r>
            <a:endParaRPr lang="en-US" sz="2400" dirty="0">
              <a:effectLst/>
              <a:latin typeface="Arial" panose="020B0604020202020204" pitchFamily="34" charset="0"/>
              <a:ea typeface="Calibri" panose="020F0502020204030204" pitchFamily="34" charset="0"/>
              <a:cs typeface="Times New Roman" panose="02020603050405020304" pitchFamily="18" charset="0"/>
            </a:endParaRPr>
          </a:p>
          <a:p>
            <a:endParaRPr lang="el-GR"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Και Τα βήματα διαδικασίας για την δημιουργία των μηχανισμών</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7</a:t>
            </a:fld>
            <a:endParaRPr lang="en-US"/>
          </a:p>
        </p:txBody>
      </p:sp>
    </p:spTree>
    <p:extLst>
      <p:ext uri="{BB962C8B-B14F-4D97-AF65-F5344CB8AC3E}">
        <p14:creationId xmlns:p14="http://schemas.microsoft.com/office/powerpoint/2010/main" val="9355073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link </a:t>
            </a:r>
            <a:r>
              <a:rPr lang="en-US" dirty="0" err="1"/>
              <a:t>odigi</a:t>
            </a:r>
            <a:r>
              <a:rPr lang="en-US" dirty="0"/>
              <a:t> </a:t>
            </a:r>
            <a:r>
              <a:rPr lang="en-US" dirty="0" err="1"/>
              <a:t>sto</a:t>
            </a:r>
            <a:r>
              <a:rPr lang="en-US" dirty="0"/>
              <a:t> </a:t>
            </a:r>
            <a:r>
              <a:rPr lang="en-US" dirty="0" err="1"/>
              <a:t>proswpiko</a:t>
            </a:r>
            <a:r>
              <a:rPr lang="en-US" dirty="0"/>
              <a:t> market tis </a:t>
            </a:r>
            <a:r>
              <a:rPr lang="en-US" dirty="0" err="1"/>
              <a:t>ergasias</a:t>
            </a:r>
            <a:r>
              <a:rPr lang="en-US" dirty="0"/>
              <a:t> opu </a:t>
            </a:r>
            <a:r>
              <a:rPr lang="en-US" dirty="0" err="1"/>
              <a:t>tha</a:t>
            </a:r>
            <a:r>
              <a:rPr lang="en-US" dirty="0"/>
              <a:t> </a:t>
            </a:r>
            <a:r>
              <a:rPr lang="en-US" dirty="0" err="1"/>
              <a:t>brite</a:t>
            </a:r>
            <a:r>
              <a:rPr lang="en-US" dirty="0"/>
              <a:t> </a:t>
            </a:r>
            <a:r>
              <a:rPr lang="en-US" dirty="0" err="1"/>
              <a:t>oles</a:t>
            </a:r>
            <a:r>
              <a:rPr lang="en-US" dirty="0"/>
              <a:t> tis </a:t>
            </a:r>
            <a:r>
              <a:rPr lang="en-US" dirty="0" err="1"/>
              <a:t>leptomeries</a:t>
            </a:r>
            <a:r>
              <a:rPr lang="en-US" dirty="0"/>
              <a:t> </a:t>
            </a:r>
            <a:r>
              <a:rPr lang="en-US" dirty="0" err="1"/>
              <a:t>gia</a:t>
            </a:r>
            <a:r>
              <a:rPr lang="en-US" dirty="0"/>
              <a:t> </a:t>
            </a:r>
            <a:r>
              <a:rPr lang="en-US" dirty="0" err="1"/>
              <a:t>autin</a:t>
            </a: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8</a:t>
            </a:fld>
            <a:endParaRPr lang="en-US"/>
          </a:p>
        </p:txBody>
      </p:sp>
    </p:spTree>
    <p:extLst>
      <p:ext uri="{BB962C8B-B14F-4D97-AF65-F5344CB8AC3E}">
        <p14:creationId xmlns:p14="http://schemas.microsoft.com/office/powerpoint/2010/main" val="31356434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Tha</a:t>
            </a:r>
            <a:r>
              <a:rPr lang="en-US" dirty="0"/>
              <a:t> </a:t>
            </a:r>
            <a:r>
              <a:rPr lang="en-US" dirty="0" err="1"/>
              <a:t>eksetastoun</a:t>
            </a:r>
            <a:r>
              <a:rPr lang="en-US" dirty="0"/>
              <a:t> oi </a:t>
            </a:r>
            <a:r>
              <a:rPr lang="en-US" dirty="0" err="1"/>
              <a:t>parakatw</a:t>
            </a:r>
            <a:r>
              <a:rPr lang="en-US" dirty="0"/>
              <a:t> </a:t>
            </a:r>
            <a:r>
              <a:rPr lang="en-US" dirty="0" err="1"/>
              <a:t>enotites</a:t>
            </a:r>
            <a:r>
              <a:rPr lang="en-US" dirty="0"/>
              <a:t> ta </a:t>
            </a:r>
            <a:r>
              <a:rPr lang="en-US" dirty="0" err="1"/>
              <a:t>dedomena</a:t>
            </a:r>
            <a:r>
              <a:rPr lang="en-US" dirty="0"/>
              <a:t> kai apotelesmata </a:t>
            </a:r>
            <a:r>
              <a:rPr lang="en-US" dirty="0" err="1"/>
              <a:t>tou</a:t>
            </a:r>
            <a:r>
              <a:rPr lang="en-US" dirty="0"/>
              <a:t> project.</a:t>
            </a:r>
          </a:p>
        </p:txBody>
      </p:sp>
      <p:sp>
        <p:nvSpPr>
          <p:cNvPr id="4" name="Slide Number Placeholder 3"/>
          <p:cNvSpPr>
            <a:spLocks noGrp="1"/>
          </p:cNvSpPr>
          <p:nvPr>
            <p:ph type="sldNum" sz="quarter" idx="5"/>
          </p:nvPr>
        </p:nvSpPr>
        <p:spPr/>
        <p:txBody>
          <a:bodyPr/>
          <a:lstStyle/>
          <a:p>
            <a:fld id="{910C69D4-DE42-414E-829A-8F378A406FFC}" type="slidenum">
              <a:rPr lang="en-US" smtClean="0"/>
              <a:t>9</a:t>
            </a:fld>
            <a:endParaRPr lang="en-US"/>
          </a:p>
        </p:txBody>
      </p:sp>
    </p:spTree>
    <p:extLst>
      <p:ext uri="{BB962C8B-B14F-4D97-AF65-F5344CB8AC3E}">
        <p14:creationId xmlns:p14="http://schemas.microsoft.com/office/powerpoint/2010/main" val="8530696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66" name="Picture 2" descr="\\DROBO-FS\QuickDrops\JB\PPTX NG\Droplets\LightingOverlay.png"/>
          <p:cNvPicPr>
            <a:picLocks noChangeAspect="1" noChangeArrowheads="1"/>
          </p:cNvPicPr>
          <p:nvPr/>
        </p:nvPicPr>
        <p:blipFill>
          <a:blip r:embed="rId2">
            <a:alphaModFix amt="30000"/>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0" y="-1"/>
            <a:ext cx="12192003" cy="6858001"/>
          </a:xfrm>
          <a:prstGeom prst="rect">
            <a:avLst/>
          </a:prstGeom>
          <a:noFill/>
          <a:extLst>
            <a:ext uri="{909E8E84-426E-40dd-AFC4-6F175D3DCCD1}">
              <a14:hiddenFill xmlns="" xmlns:a14="http://schemas.microsoft.com/office/drawing/2010/main">
                <a:solidFill>
                  <a:srgbClr val="FFFFFF"/>
                </a:solidFill>
              </a14:hiddenFill>
            </a:ext>
          </a:extLst>
        </p:spPr>
      </p:pic>
      <p:grpSp>
        <p:nvGrpSpPr>
          <p:cNvPr id="11" name="Group 10"/>
          <p:cNvGrpSpPr/>
          <p:nvPr/>
        </p:nvGrpSpPr>
        <p:grpSpPr>
          <a:xfrm>
            <a:off x="0" y="0"/>
            <a:ext cx="2305051" cy="6858001"/>
            <a:chOff x="0" y="0"/>
            <a:chExt cx="2305051" cy="6858001"/>
          </a:xfrm>
          <a:gradFill flip="none" rotWithShape="1">
            <a:gsLst>
              <a:gs pos="0">
                <a:schemeClr val="tx2"/>
              </a:gs>
              <a:gs pos="100000">
                <a:schemeClr val="bg2">
                  <a:lumMod val="60000"/>
                  <a:lumOff val="40000"/>
                </a:schemeClr>
              </a:gs>
            </a:gsLst>
            <a:lin ang="5400000" scaled="0"/>
            <a:tileRect/>
          </a:gradFill>
        </p:grpSpPr>
        <p:sp>
          <p:nvSpPr>
            <p:cNvPr id="12" name="Rectangle 5"/>
            <p:cNvSpPr>
              <a:spLocks noChangeArrowheads="1"/>
            </p:cNvSpPr>
            <p:nvPr/>
          </p:nvSpPr>
          <p:spPr bwMode="auto">
            <a:xfrm>
              <a:off x="1209675" y="4763"/>
              <a:ext cx="23813" cy="21812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13" name="Freeform 6"/>
            <p:cNvSpPr>
              <a:spLocks noEditPoints="1"/>
            </p:cNvSpPr>
            <p:nvPr/>
          </p:nvSpPr>
          <p:spPr bwMode="auto">
            <a:xfrm>
              <a:off x="1128713" y="21764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4" name="Freeform 7"/>
            <p:cNvSpPr>
              <a:spLocks noEditPoints="1"/>
            </p:cNvSpPr>
            <p:nvPr/>
          </p:nvSpPr>
          <p:spPr bwMode="auto">
            <a:xfrm>
              <a:off x="1123950" y="4021138"/>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5" name="Rectangle 8"/>
            <p:cNvSpPr>
              <a:spLocks noChangeArrowheads="1"/>
            </p:cNvSpPr>
            <p:nvPr/>
          </p:nvSpPr>
          <p:spPr bwMode="auto">
            <a:xfrm>
              <a:off x="414338" y="9525"/>
              <a:ext cx="28575" cy="44815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16" name="Freeform 9"/>
            <p:cNvSpPr>
              <a:spLocks noEditPoints="1"/>
            </p:cNvSpPr>
            <p:nvPr/>
          </p:nvSpPr>
          <p:spPr bwMode="auto">
            <a:xfrm>
              <a:off x="333375"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7" name="Freeform 10"/>
            <p:cNvSpPr/>
            <p:nvPr/>
          </p:nvSpPr>
          <p:spPr bwMode="auto">
            <a:xfrm>
              <a:off x="190500" y="9525"/>
              <a:ext cx="152400" cy="908050"/>
            </a:xfrm>
            <a:custGeom>
              <a:avLst/>
              <a:gdLst/>
              <a:ahLst/>
              <a:cxnLst/>
              <a:rect l="0" t="0" r="r" b="b"/>
              <a:pathLst>
                <a:path w="96" h="572">
                  <a:moveTo>
                    <a:pt x="15" y="572"/>
                  </a:moveTo>
                  <a:lnTo>
                    <a:pt x="0" y="566"/>
                  </a:lnTo>
                  <a:lnTo>
                    <a:pt x="81" y="380"/>
                  </a:lnTo>
                  <a:lnTo>
                    <a:pt x="81" y="0"/>
                  </a:lnTo>
                  <a:lnTo>
                    <a:pt x="96" y="0"/>
                  </a:lnTo>
                  <a:lnTo>
                    <a:pt x="96" y="383"/>
                  </a:lnTo>
                  <a:lnTo>
                    <a:pt x="15" y="5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8" name="Freeform 11"/>
            <p:cNvSpPr/>
            <p:nvPr/>
          </p:nvSpPr>
          <p:spPr bwMode="auto">
            <a:xfrm>
              <a:off x="1290638" y="14288"/>
              <a:ext cx="376238" cy="1801813"/>
            </a:xfrm>
            <a:custGeom>
              <a:avLst/>
              <a:gdLst/>
              <a:ahLst/>
              <a:cxnLst/>
              <a:rect l="0" t="0" r="r" b="b"/>
              <a:pathLst>
                <a:path w="237" h="1135">
                  <a:moveTo>
                    <a:pt x="222" y="1135"/>
                  </a:moveTo>
                  <a:lnTo>
                    <a:pt x="0" y="620"/>
                  </a:lnTo>
                  <a:lnTo>
                    <a:pt x="0" y="0"/>
                  </a:lnTo>
                  <a:lnTo>
                    <a:pt x="18" y="0"/>
                  </a:lnTo>
                  <a:lnTo>
                    <a:pt x="18" y="617"/>
                  </a:lnTo>
                  <a:lnTo>
                    <a:pt x="237" y="1129"/>
                  </a:lnTo>
                  <a:lnTo>
                    <a:pt x="222" y="11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9" name="Freeform 12"/>
            <p:cNvSpPr>
              <a:spLocks noEditPoints="1"/>
            </p:cNvSpPr>
            <p:nvPr/>
          </p:nvSpPr>
          <p:spPr bwMode="auto">
            <a:xfrm>
              <a:off x="1600200" y="180181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0" name="Freeform 13"/>
            <p:cNvSpPr/>
            <p:nvPr/>
          </p:nvSpPr>
          <p:spPr bwMode="auto">
            <a:xfrm>
              <a:off x="1381125" y="9525"/>
              <a:ext cx="371475" cy="1425575"/>
            </a:xfrm>
            <a:custGeom>
              <a:avLst/>
              <a:gdLst/>
              <a:ahLst/>
              <a:cxnLst/>
              <a:rect l="0" t="0" r="r" b="b"/>
              <a:pathLst>
                <a:path w="234" h="898">
                  <a:moveTo>
                    <a:pt x="219" y="898"/>
                  </a:moveTo>
                  <a:lnTo>
                    <a:pt x="0" y="383"/>
                  </a:lnTo>
                  <a:lnTo>
                    <a:pt x="0" y="0"/>
                  </a:lnTo>
                  <a:lnTo>
                    <a:pt x="15" y="0"/>
                  </a:lnTo>
                  <a:lnTo>
                    <a:pt x="15" y="380"/>
                  </a:lnTo>
                  <a:lnTo>
                    <a:pt x="234" y="892"/>
                  </a:lnTo>
                  <a:lnTo>
                    <a:pt x="219" y="8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1" name="Freeform 14"/>
            <p:cNvSpPr/>
            <p:nvPr/>
          </p:nvSpPr>
          <p:spPr bwMode="auto">
            <a:xfrm>
              <a:off x="1643063" y="0"/>
              <a:ext cx="152400" cy="912813"/>
            </a:xfrm>
            <a:custGeom>
              <a:avLst/>
              <a:gdLst/>
              <a:ahLst/>
              <a:cxnLst/>
              <a:rect l="0" t="0" r="r" b="b"/>
              <a:pathLst>
                <a:path w="96" h="575">
                  <a:moveTo>
                    <a:pt x="96" y="575"/>
                  </a:moveTo>
                  <a:lnTo>
                    <a:pt x="78" y="575"/>
                  </a:lnTo>
                  <a:lnTo>
                    <a:pt x="78" y="192"/>
                  </a:lnTo>
                  <a:lnTo>
                    <a:pt x="0" y="6"/>
                  </a:lnTo>
                  <a:lnTo>
                    <a:pt x="15" y="0"/>
                  </a:lnTo>
                  <a:lnTo>
                    <a:pt x="96" y="189"/>
                  </a:lnTo>
                  <a:lnTo>
                    <a:pt x="96" y="5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2" name="Freeform 15"/>
            <p:cNvSpPr>
              <a:spLocks noEditPoints="1"/>
            </p:cNvSpPr>
            <p:nvPr/>
          </p:nvSpPr>
          <p:spPr bwMode="auto">
            <a:xfrm>
              <a:off x="1685925" y="14208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3" name="Freeform 16"/>
            <p:cNvSpPr>
              <a:spLocks noEditPoints="1"/>
            </p:cNvSpPr>
            <p:nvPr/>
          </p:nvSpPr>
          <p:spPr bwMode="auto">
            <a:xfrm>
              <a:off x="1685925"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4" name="Freeform 17"/>
            <p:cNvSpPr/>
            <p:nvPr/>
          </p:nvSpPr>
          <p:spPr bwMode="auto">
            <a:xfrm>
              <a:off x="1743075" y="4763"/>
              <a:ext cx="419100" cy="522288"/>
            </a:xfrm>
            <a:custGeom>
              <a:avLst/>
              <a:gdLst/>
              <a:ahLst/>
              <a:cxnLst/>
              <a:rect l="0" t="0" r="r" b="b"/>
              <a:pathLst>
                <a:path w="264" h="329">
                  <a:moveTo>
                    <a:pt x="252" y="329"/>
                  </a:moveTo>
                  <a:lnTo>
                    <a:pt x="45" y="120"/>
                  </a:lnTo>
                  <a:lnTo>
                    <a:pt x="0" y="6"/>
                  </a:lnTo>
                  <a:lnTo>
                    <a:pt x="15" y="0"/>
                  </a:lnTo>
                  <a:lnTo>
                    <a:pt x="60" y="111"/>
                  </a:lnTo>
                  <a:lnTo>
                    <a:pt x="264" y="317"/>
                  </a:lnTo>
                  <a:lnTo>
                    <a:pt x="252" y="3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5" name="Freeform 18"/>
            <p:cNvSpPr>
              <a:spLocks noEditPoints="1"/>
            </p:cNvSpPr>
            <p:nvPr/>
          </p:nvSpPr>
          <p:spPr bwMode="auto">
            <a:xfrm>
              <a:off x="2119313" y="488950"/>
              <a:ext cx="161925" cy="147638"/>
            </a:xfrm>
            <a:custGeom>
              <a:avLst/>
              <a:gdLst/>
              <a:ahLst/>
              <a:cxnLst/>
              <a:rect l="0" t="0" r="r" b="b"/>
              <a:pathLst>
                <a:path w="34" h="31">
                  <a:moveTo>
                    <a:pt x="17" y="31"/>
                  </a:moveTo>
                  <a:cubicBezTo>
                    <a:pt x="13" y="31"/>
                    <a:pt x="9" y="30"/>
                    <a:pt x="6" y="27"/>
                  </a:cubicBezTo>
                  <a:cubicBezTo>
                    <a:pt x="0" y="20"/>
                    <a:pt x="0" y="10"/>
                    <a:pt x="6" y="4"/>
                  </a:cubicBezTo>
                  <a:cubicBezTo>
                    <a:pt x="9" y="1"/>
                    <a:pt x="13" y="0"/>
                    <a:pt x="17" y="0"/>
                  </a:cubicBezTo>
                  <a:cubicBezTo>
                    <a:pt x="21" y="0"/>
                    <a:pt x="25" y="1"/>
                    <a:pt x="28" y="4"/>
                  </a:cubicBezTo>
                  <a:cubicBezTo>
                    <a:pt x="34" y="10"/>
                    <a:pt x="34" y="20"/>
                    <a:pt x="28" y="27"/>
                  </a:cubicBezTo>
                  <a:cubicBezTo>
                    <a:pt x="25" y="30"/>
                    <a:pt x="21" y="31"/>
                    <a:pt x="17" y="31"/>
                  </a:cubicBezTo>
                  <a:close/>
                  <a:moveTo>
                    <a:pt x="17" y="4"/>
                  </a:moveTo>
                  <a:cubicBezTo>
                    <a:pt x="14" y="4"/>
                    <a:pt x="11" y="5"/>
                    <a:pt x="9" y="7"/>
                  </a:cubicBezTo>
                  <a:cubicBezTo>
                    <a:pt x="4" y="12"/>
                    <a:pt x="4" y="19"/>
                    <a:pt x="9" y="24"/>
                  </a:cubicBezTo>
                  <a:cubicBezTo>
                    <a:pt x="11" y="26"/>
                    <a:pt x="14" y="27"/>
                    <a:pt x="17" y="27"/>
                  </a:cubicBezTo>
                  <a:cubicBezTo>
                    <a:pt x="20" y="27"/>
                    <a:pt x="23" y="26"/>
                    <a:pt x="25" y="24"/>
                  </a:cubicBezTo>
                  <a:cubicBezTo>
                    <a:pt x="30" y="19"/>
                    <a:pt x="30" y="12"/>
                    <a:pt x="25" y="7"/>
                  </a:cubicBezTo>
                  <a:cubicBezTo>
                    <a:pt x="23" y="5"/>
                    <a:pt x="20"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6" name="Freeform 19"/>
            <p:cNvSpPr/>
            <p:nvPr/>
          </p:nvSpPr>
          <p:spPr bwMode="auto">
            <a:xfrm>
              <a:off x="952500" y="4763"/>
              <a:ext cx="152400" cy="908050"/>
            </a:xfrm>
            <a:custGeom>
              <a:avLst/>
              <a:gdLst/>
              <a:ahLst/>
              <a:cxnLst/>
              <a:rect l="0" t="0" r="r" b="b"/>
              <a:pathLst>
                <a:path w="96" h="572">
                  <a:moveTo>
                    <a:pt x="15" y="572"/>
                  </a:moveTo>
                  <a:lnTo>
                    <a:pt x="0" y="572"/>
                  </a:lnTo>
                  <a:lnTo>
                    <a:pt x="0" y="189"/>
                  </a:lnTo>
                  <a:lnTo>
                    <a:pt x="81" y="0"/>
                  </a:lnTo>
                  <a:lnTo>
                    <a:pt x="96" y="6"/>
                  </a:lnTo>
                  <a:lnTo>
                    <a:pt x="15" y="192"/>
                  </a:lnTo>
                  <a:lnTo>
                    <a:pt x="15" y="5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7" name="Freeform 20"/>
            <p:cNvSpPr>
              <a:spLocks noEditPoints="1"/>
            </p:cNvSpPr>
            <p:nvPr/>
          </p:nvSpPr>
          <p:spPr bwMode="auto">
            <a:xfrm>
              <a:off x="866775"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2"/>
                    <a:pt x="4" y="20"/>
                  </a:cubicBezTo>
                  <a:cubicBezTo>
                    <a:pt x="4" y="29"/>
                    <a:pt x="11" y="36"/>
                    <a:pt x="20" y="36"/>
                  </a:cubicBezTo>
                  <a:cubicBezTo>
                    <a:pt x="29" y="36"/>
                    <a:pt x="36" y="29"/>
                    <a:pt x="36" y="20"/>
                  </a:cubicBezTo>
                  <a:cubicBezTo>
                    <a:pt x="36" y="12"/>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8" name="Freeform 21"/>
            <p:cNvSpPr>
              <a:spLocks noEditPoints="1"/>
            </p:cNvSpPr>
            <p:nvPr/>
          </p:nvSpPr>
          <p:spPr bwMode="auto">
            <a:xfrm>
              <a:off x="890588" y="15541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9" name="Freeform 22"/>
            <p:cNvSpPr/>
            <p:nvPr/>
          </p:nvSpPr>
          <p:spPr bwMode="auto">
            <a:xfrm>
              <a:off x="738188" y="5622925"/>
              <a:ext cx="338138" cy="1216025"/>
            </a:xfrm>
            <a:custGeom>
              <a:avLst/>
              <a:gdLst/>
              <a:ahLst/>
              <a:cxnLst/>
              <a:rect l="0" t="0" r="r" b="b"/>
              <a:pathLst>
                <a:path w="213" h="766">
                  <a:moveTo>
                    <a:pt x="213" y="766"/>
                  </a:moveTo>
                  <a:lnTo>
                    <a:pt x="195" y="766"/>
                  </a:lnTo>
                  <a:lnTo>
                    <a:pt x="195" y="464"/>
                  </a:lnTo>
                  <a:lnTo>
                    <a:pt x="0" y="6"/>
                  </a:lnTo>
                  <a:lnTo>
                    <a:pt x="12" y="0"/>
                  </a:lnTo>
                  <a:lnTo>
                    <a:pt x="213" y="461"/>
                  </a:lnTo>
                  <a:lnTo>
                    <a:pt x="213" y="76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0" name="Freeform 23"/>
            <p:cNvSpPr>
              <a:spLocks noEditPoints="1"/>
            </p:cNvSpPr>
            <p:nvPr/>
          </p:nvSpPr>
          <p:spPr bwMode="auto">
            <a:xfrm>
              <a:off x="647700" y="5480050"/>
              <a:ext cx="157163" cy="157163"/>
            </a:xfrm>
            <a:custGeom>
              <a:avLst/>
              <a:gdLst/>
              <a:ahLst/>
              <a:cxnLst/>
              <a:rect l="0" t="0" r="r" b="b"/>
              <a:pathLst>
                <a:path w="33" h="33">
                  <a:moveTo>
                    <a:pt x="17" y="33"/>
                  </a:moveTo>
                  <a:cubicBezTo>
                    <a:pt x="8" y="33"/>
                    <a:pt x="0" y="26"/>
                    <a:pt x="0" y="17"/>
                  </a:cubicBezTo>
                  <a:cubicBezTo>
                    <a:pt x="0" y="8"/>
                    <a:pt x="8" y="0"/>
                    <a:pt x="17" y="0"/>
                  </a:cubicBezTo>
                  <a:cubicBezTo>
                    <a:pt x="26" y="0"/>
                    <a:pt x="33" y="8"/>
                    <a:pt x="33" y="17"/>
                  </a:cubicBezTo>
                  <a:cubicBezTo>
                    <a:pt x="33" y="26"/>
                    <a:pt x="26" y="33"/>
                    <a:pt x="17" y="33"/>
                  </a:cubicBezTo>
                  <a:close/>
                  <a:moveTo>
                    <a:pt x="17" y="4"/>
                  </a:moveTo>
                  <a:cubicBezTo>
                    <a:pt x="10" y="4"/>
                    <a:pt x="4" y="10"/>
                    <a:pt x="4" y="17"/>
                  </a:cubicBezTo>
                  <a:cubicBezTo>
                    <a:pt x="4" y="24"/>
                    <a:pt x="10" y="29"/>
                    <a:pt x="17" y="29"/>
                  </a:cubicBezTo>
                  <a:cubicBezTo>
                    <a:pt x="23" y="29"/>
                    <a:pt x="29" y="24"/>
                    <a:pt x="29" y="17"/>
                  </a:cubicBezTo>
                  <a:cubicBezTo>
                    <a:pt x="29" y="10"/>
                    <a:pt x="23"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1" name="Freeform 24"/>
            <p:cNvSpPr>
              <a:spLocks noEditPoints="1"/>
            </p:cNvSpPr>
            <p:nvPr/>
          </p:nvSpPr>
          <p:spPr bwMode="auto">
            <a:xfrm>
              <a:off x="66675" y="903288"/>
              <a:ext cx="190500" cy="190500"/>
            </a:xfrm>
            <a:custGeom>
              <a:avLst/>
              <a:gdLst/>
              <a:ahLst/>
              <a:cxnLst/>
              <a:rect l="0" t="0" r="r" b="b"/>
              <a:pathLst>
                <a:path w="40" h="40">
                  <a:moveTo>
                    <a:pt x="20" y="40"/>
                  </a:moveTo>
                  <a:cubicBezTo>
                    <a:pt x="9" y="40"/>
                    <a:pt x="0" y="31"/>
                    <a:pt x="0" y="20"/>
                  </a:cubicBezTo>
                  <a:cubicBezTo>
                    <a:pt x="0" y="9"/>
                    <a:pt x="9" y="0"/>
                    <a:pt x="20" y="0"/>
                  </a:cubicBezTo>
                  <a:cubicBezTo>
                    <a:pt x="32" y="0"/>
                    <a:pt x="40" y="9"/>
                    <a:pt x="40" y="20"/>
                  </a:cubicBezTo>
                  <a:cubicBezTo>
                    <a:pt x="40" y="31"/>
                    <a:pt x="32" y="40"/>
                    <a:pt x="20" y="40"/>
                  </a:cubicBezTo>
                  <a:close/>
                  <a:moveTo>
                    <a:pt x="20" y="4"/>
                  </a:moveTo>
                  <a:cubicBezTo>
                    <a:pt x="12" y="4"/>
                    <a:pt x="4" y="12"/>
                    <a:pt x="4" y="20"/>
                  </a:cubicBezTo>
                  <a:cubicBezTo>
                    <a:pt x="4" y="29"/>
                    <a:pt x="12" y="36"/>
                    <a:pt x="20" y="36"/>
                  </a:cubicBezTo>
                  <a:cubicBezTo>
                    <a:pt x="29" y="36"/>
                    <a:pt x="36" y="29"/>
                    <a:pt x="36" y="20"/>
                  </a:cubicBezTo>
                  <a:cubicBezTo>
                    <a:pt x="36" y="12"/>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2" name="Freeform 25"/>
            <p:cNvSpPr/>
            <p:nvPr/>
          </p:nvSpPr>
          <p:spPr bwMode="auto">
            <a:xfrm>
              <a:off x="0" y="3897313"/>
              <a:ext cx="133350" cy="266700"/>
            </a:xfrm>
            <a:custGeom>
              <a:avLst/>
              <a:gdLst/>
              <a:ahLst/>
              <a:cxnLst/>
              <a:rect l="0" t="0" r="r" b="b"/>
              <a:pathLst>
                <a:path w="84" h="168">
                  <a:moveTo>
                    <a:pt x="69" y="168"/>
                  </a:moveTo>
                  <a:lnTo>
                    <a:pt x="0" y="6"/>
                  </a:lnTo>
                  <a:lnTo>
                    <a:pt x="12" y="0"/>
                  </a:lnTo>
                  <a:lnTo>
                    <a:pt x="84" y="162"/>
                  </a:lnTo>
                  <a:lnTo>
                    <a:pt x="69" y="16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3" name="Freeform 26"/>
            <p:cNvSpPr>
              <a:spLocks noEditPoints="1"/>
            </p:cNvSpPr>
            <p:nvPr/>
          </p:nvSpPr>
          <p:spPr bwMode="auto">
            <a:xfrm>
              <a:off x="66675" y="414972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4" name="Freeform 27"/>
            <p:cNvSpPr/>
            <p:nvPr/>
          </p:nvSpPr>
          <p:spPr bwMode="auto">
            <a:xfrm>
              <a:off x="0" y="1644650"/>
              <a:ext cx="133350" cy="269875"/>
            </a:xfrm>
            <a:custGeom>
              <a:avLst/>
              <a:gdLst/>
              <a:ahLst/>
              <a:cxnLst/>
              <a:rect l="0" t="0" r="r" b="b"/>
              <a:pathLst>
                <a:path w="84" h="170">
                  <a:moveTo>
                    <a:pt x="12" y="170"/>
                  </a:moveTo>
                  <a:lnTo>
                    <a:pt x="0" y="164"/>
                  </a:lnTo>
                  <a:lnTo>
                    <a:pt x="69" y="0"/>
                  </a:lnTo>
                  <a:lnTo>
                    <a:pt x="84" y="6"/>
                  </a:lnTo>
                  <a:lnTo>
                    <a:pt x="12" y="17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5" name="Freeform 28"/>
            <p:cNvSpPr>
              <a:spLocks noEditPoints="1"/>
            </p:cNvSpPr>
            <p:nvPr/>
          </p:nvSpPr>
          <p:spPr bwMode="auto">
            <a:xfrm>
              <a:off x="66675" y="146843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6" name="Freeform 29"/>
            <p:cNvSpPr/>
            <p:nvPr/>
          </p:nvSpPr>
          <p:spPr bwMode="auto">
            <a:xfrm>
              <a:off x="695325" y="4763"/>
              <a:ext cx="309563" cy="1558925"/>
            </a:xfrm>
            <a:custGeom>
              <a:avLst/>
              <a:gdLst/>
              <a:ahLst/>
              <a:cxnLst/>
              <a:rect l="0" t="0" r="r" b="b"/>
              <a:pathLst>
                <a:path w="195" h="982">
                  <a:moveTo>
                    <a:pt x="195" y="982"/>
                  </a:moveTo>
                  <a:lnTo>
                    <a:pt x="177" y="982"/>
                  </a:lnTo>
                  <a:lnTo>
                    <a:pt x="177" y="805"/>
                  </a:lnTo>
                  <a:lnTo>
                    <a:pt x="0" y="629"/>
                  </a:lnTo>
                  <a:lnTo>
                    <a:pt x="0" y="0"/>
                  </a:lnTo>
                  <a:lnTo>
                    <a:pt x="18" y="0"/>
                  </a:lnTo>
                  <a:lnTo>
                    <a:pt x="18" y="623"/>
                  </a:lnTo>
                  <a:lnTo>
                    <a:pt x="195" y="796"/>
                  </a:lnTo>
                  <a:lnTo>
                    <a:pt x="195" y="98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7" name="Freeform 30"/>
            <p:cNvSpPr>
              <a:spLocks noEditPoints="1"/>
            </p:cNvSpPr>
            <p:nvPr/>
          </p:nvSpPr>
          <p:spPr bwMode="auto">
            <a:xfrm>
              <a:off x="57150" y="488156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8" name="Freeform 31"/>
            <p:cNvSpPr/>
            <p:nvPr/>
          </p:nvSpPr>
          <p:spPr bwMode="auto">
            <a:xfrm>
              <a:off x="138113" y="5060950"/>
              <a:ext cx="304800" cy="1778000"/>
            </a:xfrm>
            <a:custGeom>
              <a:avLst/>
              <a:gdLst/>
              <a:ahLst/>
              <a:cxnLst/>
              <a:rect l="0" t="0" r="r" b="b"/>
              <a:pathLst>
                <a:path w="192" h="1120">
                  <a:moveTo>
                    <a:pt x="192" y="1120"/>
                  </a:moveTo>
                  <a:lnTo>
                    <a:pt x="177" y="1120"/>
                  </a:lnTo>
                  <a:lnTo>
                    <a:pt x="177" y="360"/>
                  </a:lnTo>
                  <a:lnTo>
                    <a:pt x="0" y="183"/>
                  </a:lnTo>
                  <a:lnTo>
                    <a:pt x="0" y="0"/>
                  </a:lnTo>
                  <a:lnTo>
                    <a:pt x="15" y="0"/>
                  </a:lnTo>
                  <a:lnTo>
                    <a:pt x="15" y="177"/>
                  </a:lnTo>
                  <a:lnTo>
                    <a:pt x="192" y="354"/>
                  </a:lnTo>
                  <a:lnTo>
                    <a:pt x="192" y="1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9" name="Freeform 32"/>
            <p:cNvSpPr>
              <a:spLocks noEditPoints="1"/>
            </p:cNvSpPr>
            <p:nvPr/>
          </p:nvSpPr>
          <p:spPr bwMode="auto">
            <a:xfrm>
              <a:off x="561975" y="643096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0" name="Rectangle 33"/>
            <p:cNvSpPr>
              <a:spLocks noChangeArrowheads="1"/>
            </p:cNvSpPr>
            <p:nvPr/>
          </p:nvSpPr>
          <p:spPr bwMode="auto">
            <a:xfrm>
              <a:off x="642938" y="6610350"/>
              <a:ext cx="23813" cy="242888"/>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41" name="Freeform 34"/>
            <p:cNvSpPr>
              <a:spLocks noEditPoints="1"/>
            </p:cNvSpPr>
            <p:nvPr/>
          </p:nvSpPr>
          <p:spPr bwMode="auto">
            <a:xfrm>
              <a:off x="76200" y="6430963"/>
              <a:ext cx="190500" cy="188913"/>
            </a:xfrm>
            <a:custGeom>
              <a:avLst/>
              <a:gdLst/>
              <a:ahLst/>
              <a:cxnLst/>
              <a:rect l="0" t="0" r="r" b="b"/>
              <a:pathLst>
                <a:path w="40" h="40">
                  <a:moveTo>
                    <a:pt x="20" y="40"/>
                  </a:moveTo>
                  <a:cubicBezTo>
                    <a:pt x="9" y="40"/>
                    <a:pt x="0" y="31"/>
                    <a:pt x="0" y="20"/>
                  </a:cubicBezTo>
                  <a:cubicBezTo>
                    <a:pt x="0" y="9"/>
                    <a:pt x="9" y="0"/>
                    <a:pt x="20" y="0"/>
                  </a:cubicBezTo>
                  <a:cubicBezTo>
                    <a:pt x="32" y="0"/>
                    <a:pt x="40" y="9"/>
                    <a:pt x="40" y="20"/>
                  </a:cubicBezTo>
                  <a:cubicBezTo>
                    <a:pt x="40" y="31"/>
                    <a:pt x="32"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2" name="Freeform 35"/>
            <p:cNvSpPr/>
            <p:nvPr/>
          </p:nvSpPr>
          <p:spPr bwMode="auto">
            <a:xfrm>
              <a:off x="0" y="5978525"/>
              <a:ext cx="190500" cy="461963"/>
            </a:xfrm>
            <a:custGeom>
              <a:avLst/>
              <a:gdLst/>
              <a:ahLst/>
              <a:cxnLst/>
              <a:rect l="0" t="0" r="r" b="b"/>
              <a:pathLst>
                <a:path w="120" h="291">
                  <a:moveTo>
                    <a:pt x="120" y="291"/>
                  </a:moveTo>
                  <a:lnTo>
                    <a:pt x="105" y="291"/>
                  </a:lnTo>
                  <a:lnTo>
                    <a:pt x="105" y="114"/>
                  </a:lnTo>
                  <a:lnTo>
                    <a:pt x="0" y="9"/>
                  </a:lnTo>
                  <a:lnTo>
                    <a:pt x="12" y="0"/>
                  </a:lnTo>
                  <a:lnTo>
                    <a:pt x="120" y="108"/>
                  </a:lnTo>
                  <a:lnTo>
                    <a:pt x="120" y="29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3" name="Freeform 36"/>
            <p:cNvSpPr/>
            <p:nvPr/>
          </p:nvSpPr>
          <p:spPr bwMode="auto">
            <a:xfrm>
              <a:off x="1014413" y="1801813"/>
              <a:ext cx="214313" cy="755650"/>
            </a:xfrm>
            <a:custGeom>
              <a:avLst/>
              <a:gdLst/>
              <a:ahLst/>
              <a:cxnLst/>
              <a:rect l="0" t="0" r="r" b="b"/>
              <a:pathLst>
                <a:path w="135" h="476">
                  <a:moveTo>
                    <a:pt x="12" y="476"/>
                  </a:moveTo>
                  <a:lnTo>
                    <a:pt x="0" y="476"/>
                  </a:lnTo>
                  <a:lnTo>
                    <a:pt x="0" y="128"/>
                  </a:lnTo>
                  <a:lnTo>
                    <a:pt x="126" y="0"/>
                  </a:lnTo>
                  <a:lnTo>
                    <a:pt x="135" y="9"/>
                  </a:lnTo>
                  <a:lnTo>
                    <a:pt x="12" y="131"/>
                  </a:lnTo>
                  <a:lnTo>
                    <a:pt x="12" y="47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4" name="Freeform 37"/>
            <p:cNvSpPr>
              <a:spLocks noEditPoints="1"/>
            </p:cNvSpPr>
            <p:nvPr/>
          </p:nvSpPr>
          <p:spPr bwMode="auto">
            <a:xfrm>
              <a:off x="938213" y="2547938"/>
              <a:ext cx="166688" cy="160338"/>
            </a:xfrm>
            <a:custGeom>
              <a:avLst/>
              <a:gdLst/>
              <a:ahLst/>
              <a:cxnLst/>
              <a:rect l="0" t="0" r="r" b="b"/>
              <a:pathLst>
                <a:path w="35" h="34">
                  <a:moveTo>
                    <a:pt x="18" y="34"/>
                  </a:moveTo>
                  <a:cubicBezTo>
                    <a:pt x="8" y="34"/>
                    <a:pt x="0" y="26"/>
                    <a:pt x="0" y="17"/>
                  </a:cubicBezTo>
                  <a:cubicBezTo>
                    <a:pt x="0" y="7"/>
                    <a:pt x="8" y="0"/>
                    <a:pt x="18" y="0"/>
                  </a:cubicBezTo>
                  <a:cubicBezTo>
                    <a:pt x="27" y="0"/>
                    <a:pt x="35" y="7"/>
                    <a:pt x="35" y="17"/>
                  </a:cubicBezTo>
                  <a:cubicBezTo>
                    <a:pt x="35" y="26"/>
                    <a:pt x="27" y="34"/>
                    <a:pt x="18" y="34"/>
                  </a:cubicBezTo>
                  <a:close/>
                  <a:moveTo>
                    <a:pt x="18" y="4"/>
                  </a:moveTo>
                  <a:cubicBezTo>
                    <a:pt x="10" y="4"/>
                    <a:pt x="4" y="10"/>
                    <a:pt x="4" y="17"/>
                  </a:cubicBezTo>
                  <a:cubicBezTo>
                    <a:pt x="4" y="24"/>
                    <a:pt x="10" y="30"/>
                    <a:pt x="18" y="30"/>
                  </a:cubicBezTo>
                  <a:cubicBezTo>
                    <a:pt x="25" y="30"/>
                    <a:pt x="31" y="24"/>
                    <a:pt x="31" y="17"/>
                  </a:cubicBezTo>
                  <a:cubicBezTo>
                    <a:pt x="31" y="10"/>
                    <a:pt x="25" y="4"/>
                    <a:pt x="18"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5" name="Freeform 38"/>
            <p:cNvSpPr/>
            <p:nvPr/>
          </p:nvSpPr>
          <p:spPr bwMode="auto">
            <a:xfrm>
              <a:off x="595313" y="4763"/>
              <a:ext cx="638175" cy="4025900"/>
            </a:xfrm>
            <a:custGeom>
              <a:avLst/>
              <a:gdLst/>
              <a:ahLst/>
              <a:cxnLst/>
              <a:rect l="0" t="0" r="r" b="b"/>
              <a:pathLst>
                <a:path w="402" h="2536">
                  <a:moveTo>
                    <a:pt x="402" y="2536"/>
                  </a:moveTo>
                  <a:lnTo>
                    <a:pt x="387" y="2536"/>
                  </a:lnTo>
                  <a:lnTo>
                    <a:pt x="387" y="2311"/>
                  </a:lnTo>
                  <a:lnTo>
                    <a:pt x="0" y="1925"/>
                  </a:lnTo>
                  <a:lnTo>
                    <a:pt x="0" y="0"/>
                  </a:lnTo>
                  <a:lnTo>
                    <a:pt x="15" y="0"/>
                  </a:lnTo>
                  <a:lnTo>
                    <a:pt x="15" y="1916"/>
                  </a:lnTo>
                  <a:lnTo>
                    <a:pt x="402" y="2302"/>
                  </a:lnTo>
                  <a:lnTo>
                    <a:pt x="402" y="253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6" name="Freeform 39"/>
            <p:cNvSpPr/>
            <p:nvPr/>
          </p:nvSpPr>
          <p:spPr bwMode="auto">
            <a:xfrm>
              <a:off x="1223963" y="1382713"/>
              <a:ext cx="142875" cy="476250"/>
            </a:xfrm>
            <a:custGeom>
              <a:avLst/>
              <a:gdLst/>
              <a:ahLst/>
              <a:cxnLst/>
              <a:rect l="0" t="0" r="r" b="b"/>
              <a:pathLst>
                <a:path w="90" h="300">
                  <a:moveTo>
                    <a:pt x="90" y="300"/>
                  </a:moveTo>
                  <a:lnTo>
                    <a:pt x="78" y="300"/>
                  </a:lnTo>
                  <a:lnTo>
                    <a:pt x="78" y="84"/>
                  </a:lnTo>
                  <a:lnTo>
                    <a:pt x="0" y="9"/>
                  </a:lnTo>
                  <a:lnTo>
                    <a:pt x="9" y="0"/>
                  </a:lnTo>
                  <a:lnTo>
                    <a:pt x="90" y="81"/>
                  </a:lnTo>
                  <a:lnTo>
                    <a:pt x="90" y="30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7" name="Freeform 40"/>
            <p:cNvSpPr>
              <a:spLocks noEditPoints="1"/>
            </p:cNvSpPr>
            <p:nvPr/>
          </p:nvSpPr>
          <p:spPr bwMode="auto">
            <a:xfrm>
              <a:off x="1300163" y="1849438"/>
              <a:ext cx="109538" cy="107950"/>
            </a:xfrm>
            <a:custGeom>
              <a:avLst/>
              <a:gdLst/>
              <a:ahLst/>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8" name="Freeform 41"/>
            <p:cNvSpPr/>
            <p:nvPr/>
          </p:nvSpPr>
          <p:spPr bwMode="auto">
            <a:xfrm>
              <a:off x="280988" y="3417888"/>
              <a:ext cx="142875" cy="474663"/>
            </a:xfrm>
            <a:custGeom>
              <a:avLst/>
              <a:gdLst/>
              <a:ahLst/>
              <a:cxnLst/>
              <a:rect l="0" t="0" r="r" b="b"/>
              <a:pathLst>
                <a:path w="90" h="299">
                  <a:moveTo>
                    <a:pt x="12" y="299"/>
                  </a:moveTo>
                  <a:lnTo>
                    <a:pt x="0" y="299"/>
                  </a:lnTo>
                  <a:lnTo>
                    <a:pt x="0" y="80"/>
                  </a:lnTo>
                  <a:lnTo>
                    <a:pt x="81" y="0"/>
                  </a:lnTo>
                  <a:lnTo>
                    <a:pt x="90" y="8"/>
                  </a:lnTo>
                  <a:lnTo>
                    <a:pt x="12" y="83"/>
                  </a:lnTo>
                  <a:lnTo>
                    <a:pt x="12" y="29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9" name="Freeform 42"/>
            <p:cNvSpPr>
              <a:spLocks noEditPoints="1"/>
            </p:cNvSpPr>
            <p:nvPr/>
          </p:nvSpPr>
          <p:spPr bwMode="auto">
            <a:xfrm>
              <a:off x="238125" y="3883025"/>
              <a:ext cx="109538" cy="109538"/>
            </a:xfrm>
            <a:custGeom>
              <a:avLst/>
              <a:gdLst/>
              <a:ahLst/>
              <a:cxnLst/>
              <a:rect l="0" t="0" r="r" b="b"/>
              <a:pathLst>
                <a:path w="23" h="23">
                  <a:moveTo>
                    <a:pt x="11" y="23"/>
                  </a:moveTo>
                  <a:cubicBezTo>
                    <a:pt x="5" y="23"/>
                    <a:pt x="0" y="18"/>
                    <a:pt x="0" y="12"/>
                  </a:cubicBezTo>
                  <a:cubicBezTo>
                    <a:pt x="0" y="5"/>
                    <a:pt x="5" y="0"/>
                    <a:pt x="11" y="0"/>
                  </a:cubicBezTo>
                  <a:cubicBezTo>
                    <a:pt x="17" y="0"/>
                    <a:pt x="23" y="5"/>
                    <a:pt x="23" y="12"/>
                  </a:cubicBezTo>
                  <a:cubicBezTo>
                    <a:pt x="23" y="18"/>
                    <a:pt x="17" y="23"/>
                    <a:pt x="11" y="23"/>
                  </a:cubicBezTo>
                  <a:close/>
                  <a:moveTo>
                    <a:pt x="11" y="4"/>
                  </a:moveTo>
                  <a:cubicBezTo>
                    <a:pt x="7" y="4"/>
                    <a:pt x="4" y="8"/>
                    <a:pt x="4" y="12"/>
                  </a:cubicBezTo>
                  <a:cubicBezTo>
                    <a:pt x="4" y="16"/>
                    <a:pt x="7" y="19"/>
                    <a:pt x="11" y="19"/>
                  </a:cubicBezTo>
                  <a:cubicBezTo>
                    <a:pt x="15" y="19"/>
                    <a:pt x="19" y="16"/>
                    <a:pt x="19" y="12"/>
                  </a:cubicBezTo>
                  <a:cubicBezTo>
                    <a:pt x="19" y="8"/>
                    <a:pt x="15" y="4"/>
                    <a:pt x="11"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0" name="Freeform 43"/>
            <p:cNvSpPr/>
            <p:nvPr/>
          </p:nvSpPr>
          <p:spPr bwMode="auto">
            <a:xfrm>
              <a:off x="4763" y="2166938"/>
              <a:ext cx="114300" cy="452438"/>
            </a:xfrm>
            <a:custGeom>
              <a:avLst/>
              <a:gdLst/>
              <a:ahLst/>
              <a:cxnLst/>
              <a:rect l="0" t="0" r="r" b="b"/>
              <a:pathLst>
                <a:path w="72" h="285">
                  <a:moveTo>
                    <a:pt x="6" y="285"/>
                  </a:moveTo>
                  <a:lnTo>
                    <a:pt x="0" y="276"/>
                  </a:lnTo>
                  <a:lnTo>
                    <a:pt x="60" y="216"/>
                  </a:lnTo>
                  <a:lnTo>
                    <a:pt x="60" y="0"/>
                  </a:lnTo>
                  <a:lnTo>
                    <a:pt x="72" y="0"/>
                  </a:lnTo>
                  <a:lnTo>
                    <a:pt x="72" y="222"/>
                  </a:lnTo>
                  <a:lnTo>
                    <a:pt x="6" y="28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1" name="Freeform 44"/>
            <p:cNvSpPr>
              <a:spLocks noEditPoints="1"/>
            </p:cNvSpPr>
            <p:nvPr/>
          </p:nvSpPr>
          <p:spPr bwMode="auto">
            <a:xfrm>
              <a:off x="52388" y="2066925"/>
              <a:ext cx="109538" cy="109538"/>
            </a:xfrm>
            <a:custGeom>
              <a:avLst/>
              <a:gdLst/>
              <a:ahLst/>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2" name="Rectangle 45"/>
            <p:cNvSpPr>
              <a:spLocks noChangeArrowheads="1"/>
            </p:cNvSpPr>
            <p:nvPr/>
          </p:nvSpPr>
          <p:spPr bwMode="auto">
            <a:xfrm>
              <a:off x="1228725" y="4662488"/>
              <a:ext cx="23813" cy="21812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53" name="Freeform 46"/>
            <p:cNvSpPr/>
            <p:nvPr/>
          </p:nvSpPr>
          <p:spPr bwMode="auto">
            <a:xfrm>
              <a:off x="1319213" y="5041900"/>
              <a:ext cx="371475" cy="1801813"/>
            </a:xfrm>
            <a:custGeom>
              <a:avLst/>
              <a:gdLst/>
              <a:ahLst/>
              <a:cxnLst/>
              <a:rect l="0" t="0" r="r" b="b"/>
              <a:pathLst>
                <a:path w="234" h="1135">
                  <a:moveTo>
                    <a:pt x="15" y="1135"/>
                  </a:moveTo>
                  <a:lnTo>
                    <a:pt x="0" y="1135"/>
                  </a:lnTo>
                  <a:lnTo>
                    <a:pt x="0" y="515"/>
                  </a:lnTo>
                  <a:lnTo>
                    <a:pt x="0" y="512"/>
                  </a:lnTo>
                  <a:lnTo>
                    <a:pt x="219" y="0"/>
                  </a:lnTo>
                  <a:lnTo>
                    <a:pt x="234" y="6"/>
                  </a:lnTo>
                  <a:lnTo>
                    <a:pt x="15" y="518"/>
                  </a:lnTo>
                  <a:lnTo>
                    <a:pt x="15" y="11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4" name="Freeform 47"/>
            <p:cNvSpPr>
              <a:spLocks noEditPoints="1"/>
            </p:cNvSpPr>
            <p:nvPr/>
          </p:nvSpPr>
          <p:spPr bwMode="auto">
            <a:xfrm>
              <a:off x="1147763"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5" name="Freeform 48"/>
            <p:cNvSpPr/>
            <p:nvPr/>
          </p:nvSpPr>
          <p:spPr bwMode="auto">
            <a:xfrm>
              <a:off x="819150" y="3983038"/>
              <a:ext cx="347663" cy="2860675"/>
            </a:xfrm>
            <a:custGeom>
              <a:avLst/>
              <a:gdLst/>
              <a:ahLst/>
              <a:cxnLst/>
              <a:rect l="0" t="0" r="r" b="b"/>
              <a:pathLst>
                <a:path w="219" h="1802">
                  <a:moveTo>
                    <a:pt x="219" y="1802"/>
                  </a:moveTo>
                  <a:lnTo>
                    <a:pt x="201" y="1802"/>
                  </a:lnTo>
                  <a:lnTo>
                    <a:pt x="201" y="1185"/>
                  </a:lnTo>
                  <a:lnTo>
                    <a:pt x="0" y="3"/>
                  </a:lnTo>
                  <a:lnTo>
                    <a:pt x="15" y="0"/>
                  </a:lnTo>
                  <a:lnTo>
                    <a:pt x="219" y="1185"/>
                  </a:lnTo>
                  <a:lnTo>
                    <a:pt x="219" y="18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6" name="Freeform 49"/>
            <p:cNvSpPr>
              <a:spLocks noEditPoints="1"/>
            </p:cNvSpPr>
            <p:nvPr/>
          </p:nvSpPr>
          <p:spPr bwMode="auto">
            <a:xfrm>
              <a:off x="728663" y="3806825"/>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7" name="Freeform 50"/>
            <p:cNvSpPr>
              <a:spLocks noEditPoints="1"/>
            </p:cNvSpPr>
            <p:nvPr/>
          </p:nvSpPr>
          <p:spPr bwMode="auto">
            <a:xfrm>
              <a:off x="1624013" y="48672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8" name="Freeform 51"/>
            <p:cNvSpPr/>
            <p:nvPr/>
          </p:nvSpPr>
          <p:spPr bwMode="auto">
            <a:xfrm>
              <a:off x="1404938" y="5422900"/>
              <a:ext cx="371475" cy="1425575"/>
            </a:xfrm>
            <a:custGeom>
              <a:avLst/>
              <a:gdLst/>
              <a:ahLst/>
              <a:cxnLst/>
              <a:rect l="0" t="0" r="r" b="b"/>
              <a:pathLst>
                <a:path w="234" h="898">
                  <a:moveTo>
                    <a:pt x="18" y="898"/>
                  </a:moveTo>
                  <a:lnTo>
                    <a:pt x="0" y="898"/>
                  </a:lnTo>
                  <a:lnTo>
                    <a:pt x="0" y="515"/>
                  </a:lnTo>
                  <a:lnTo>
                    <a:pt x="0" y="512"/>
                  </a:lnTo>
                  <a:lnTo>
                    <a:pt x="222" y="0"/>
                  </a:lnTo>
                  <a:lnTo>
                    <a:pt x="234" y="6"/>
                  </a:lnTo>
                  <a:lnTo>
                    <a:pt x="18" y="518"/>
                  </a:lnTo>
                  <a:lnTo>
                    <a:pt x="18" y="8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9" name="Freeform 52"/>
            <p:cNvSpPr/>
            <p:nvPr/>
          </p:nvSpPr>
          <p:spPr bwMode="auto">
            <a:xfrm>
              <a:off x="1666875" y="5945188"/>
              <a:ext cx="152400" cy="912813"/>
            </a:xfrm>
            <a:custGeom>
              <a:avLst/>
              <a:gdLst/>
              <a:ahLst/>
              <a:cxnLst/>
              <a:rect l="0" t="0" r="r" b="b"/>
              <a:pathLst>
                <a:path w="96" h="575">
                  <a:moveTo>
                    <a:pt x="15" y="575"/>
                  </a:moveTo>
                  <a:lnTo>
                    <a:pt x="0" y="569"/>
                  </a:lnTo>
                  <a:lnTo>
                    <a:pt x="81" y="383"/>
                  </a:lnTo>
                  <a:lnTo>
                    <a:pt x="81" y="0"/>
                  </a:lnTo>
                  <a:lnTo>
                    <a:pt x="96" y="0"/>
                  </a:lnTo>
                  <a:lnTo>
                    <a:pt x="96" y="386"/>
                  </a:lnTo>
                  <a:lnTo>
                    <a:pt x="15" y="5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0" name="Freeform 53"/>
            <p:cNvSpPr>
              <a:spLocks noEditPoints="1"/>
            </p:cNvSpPr>
            <p:nvPr/>
          </p:nvSpPr>
          <p:spPr bwMode="auto">
            <a:xfrm>
              <a:off x="1709738" y="52466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1" name="Freeform 54"/>
            <p:cNvSpPr>
              <a:spLocks noEditPoints="1"/>
            </p:cNvSpPr>
            <p:nvPr/>
          </p:nvSpPr>
          <p:spPr bwMode="auto">
            <a:xfrm>
              <a:off x="1709738" y="57642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2" name="Freeform 55"/>
            <p:cNvSpPr/>
            <p:nvPr/>
          </p:nvSpPr>
          <p:spPr bwMode="auto">
            <a:xfrm>
              <a:off x="1766888" y="6330950"/>
              <a:ext cx="419100" cy="527050"/>
            </a:xfrm>
            <a:custGeom>
              <a:avLst/>
              <a:gdLst/>
              <a:ahLst/>
              <a:cxnLst/>
              <a:rect l="0" t="0" r="r" b="b"/>
              <a:pathLst>
                <a:path w="264" h="332">
                  <a:moveTo>
                    <a:pt x="12" y="332"/>
                  </a:moveTo>
                  <a:lnTo>
                    <a:pt x="0" y="326"/>
                  </a:lnTo>
                  <a:lnTo>
                    <a:pt x="45" y="206"/>
                  </a:lnTo>
                  <a:lnTo>
                    <a:pt x="255" y="0"/>
                  </a:lnTo>
                  <a:lnTo>
                    <a:pt x="264" y="12"/>
                  </a:lnTo>
                  <a:lnTo>
                    <a:pt x="60" y="215"/>
                  </a:lnTo>
                  <a:lnTo>
                    <a:pt x="12" y="33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3" name="Freeform 56"/>
            <p:cNvSpPr>
              <a:spLocks noEditPoints="1"/>
            </p:cNvSpPr>
            <p:nvPr/>
          </p:nvSpPr>
          <p:spPr bwMode="auto">
            <a:xfrm>
              <a:off x="2147888" y="6221413"/>
              <a:ext cx="157163" cy="147638"/>
            </a:xfrm>
            <a:custGeom>
              <a:avLst/>
              <a:gdLst/>
              <a:ahLst/>
              <a:cxnLst/>
              <a:rect l="0" t="0" r="r" b="b"/>
              <a:pathLst>
                <a:path w="33" h="31">
                  <a:moveTo>
                    <a:pt x="16" y="31"/>
                  </a:moveTo>
                  <a:cubicBezTo>
                    <a:pt x="12" y="31"/>
                    <a:pt x="8" y="29"/>
                    <a:pt x="5" y="26"/>
                  </a:cubicBezTo>
                  <a:cubicBezTo>
                    <a:pt x="2" y="24"/>
                    <a:pt x="0" y="20"/>
                    <a:pt x="0" y="15"/>
                  </a:cubicBezTo>
                  <a:cubicBezTo>
                    <a:pt x="0" y="11"/>
                    <a:pt x="2" y="7"/>
                    <a:pt x="5" y="4"/>
                  </a:cubicBezTo>
                  <a:cubicBezTo>
                    <a:pt x="8" y="1"/>
                    <a:pt x="12" y="0"/>
                    <a:pt x="16" y="0"/>
                  </a:cubicBezTo>
                  <a:cubicBezTo>
                    <a:pt x="20" y="0"/>
                    <a:pt x="24" y="1"/>
                    <a:pt x="27" y="4"/>
                  </a:cubicBezTo>
                  <a:cubicBezTo>
                    <a:pt x="33" y="10"/>
                    <a:pt x="33" y="20"/>
                    <a:pt x="27" y="26"/>
                  </a:cubicBezTo>
                  <a:cubicBezTo>
                    <a:pt x="24" y="29"/>
                    <a:pt x="20" y="31"/>
                    <a:pt x="16" y="31"/>
                  </a:cubicBezTo>
                  <a:close/>
                  <a:moveTo>
                    <a:pt x="16" y="4"/>
                  </a:moveTo>
                  <a:cubicBezTo>
                    <a:pt x="13" y="4"/>
                    <a:pt x="10" y="5"/>
                    <a:pt x="8" y="7"/>
                  </a:cubicBezTo>
                  <a:cubicBezTo>
                    <a:pt x="6" y="9"/>
                    <a:pt x="4" y="12"/>
                    <a:pt x="4" y="15"/>
                  </a:cubicBezTo>
                  <a:cubicBezTo>
                    <a:pt x="4" y="19"/>
                    <a:pt x="6" y="21"/>
                    <a:pt x="8" y="24"/>
                  </a:cubicBezTo>
                  <a:cubicBezTo>
                    <a:pt x="10" y="26"/>
                    <a:pt x="13" y="27"/>
                    <a:pt x="16" y="27"/>
                  </a:cubicBezTo>
                  <a:cubicBezTo>
                    <a:pt x="19" y="27"/>
                    <a:pt x="22" y="26"/>
                    <a:pt x="24" y="24"/>
                  </a:cubicBezTo>
                  <a:cubicBezTo>
                    <a:pt x="29" y="19"/>
                    <a:pt x="29" y="12"/>
                    <a:pt x="24" y="7"/>
                  </a:cubicBezTo>
                  <a:cubicBezTo>
                    <a:pt x="22" y="5"/>
                    <a:pt x="19" y="4"/>
                    <a:pt x="16"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4" name="Freeform 57"/>
            <p:cNvSpPr/>
            <p:nvPr/>
          </p:nvSpPr>
          <p:spPr bwMode="auto">
            <a:xfrm>
              <a:off x="504825" y="9525"/>
              <a:ext cx="233363" cy="5103813"/>
            </a:xfrm>
            <a:custGeom>
              <a:avLst/>
              <a:gdLst/>
              <a:ahLst/>
              <a:cxnLst/>
              <a:rect l="0" t="0" r="r" b="b"/>
              <a:pathLst>
                <a:path w="147" h="3215">
                  <a:moveTo>
                    <a:pt x="132" y="3215"/>
                  </a:moveTo>
                  <a:lnTo>
                    <a:pt x="129" y="2754"/>
                  </a:lnTo>
                  <a:lnTo>
                    <a:pt x="0" y="1901"/>
                  </a:lnTo>
                  <a:lnTo>
                    <a:pt x="0" y="0"/>
                  </a:lnTo>
                  <a:lnTo>
                    <a:pt x="15" y="0"/>
                  </a:lnTo>
                  <a:lnTo>
                    <a:pt x="15" y="1898"/>
                  </a:lnTo>
                  <a:lnTo>
                    <a:pt x="144" y="2754"/>
                  </a:lnTo>
                  <a:lnTo>
                    <a:pt x="147" y="3215"/>
                  </a:lnTo>
                  <a:lnTo>
                    <a:pt x="132" y="321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5" name="Freeform 58"/>
            <p:cNvSpPr>
              <a:spLocks noEditPoints="1"/>
            </p:cNvSpPr>
            <p:nvPr/>
          </p:nvSpPr>
          <p:spPr bwMode="auto">
            <a:xfrm>
              <a:off x="633413" y="5103813"/>
              <a:ext cx="185738" cy="185738"/>
            </a:xfrm>
            <a:custGeom>
              <a:avLst/>
              <a:gdLst/>
              <a:ahLst/>
              <a:cxnLst/>
              <a:rect l="0" t="0" r="r" b="b"/>
              <a:pathLst>
                <a:path w="39" h="39">
                  <a:moveTo>
                    <a:pt x="20" y="39"/>
                  </a:moveTo>
                  <a:cubicBezTo>
                    <a:pt x="9" y="39"/>
                    <a:pt x="0" y="30"/>
                    <a:pt x="0" y="19"/>
                  </a:cubicBezTo>
                  <a:cubicBezTo>
                    <a:pt x="0" y="9"/>
                    <a:pt x="9" y="0"/>
                    <a:pt x="20" y="0"/>
                  </a:cubicBezTo>
                  <a:cubicBezTo>
                    <a:pt x="30" y="0"/>
                    <a:pt x="39" y="9"/>
                    <a:pt x="39" y="19"/>
                  </a:cubicBezTo>
                  <a:cubicBezTo>
                    <a:pt x="39" y="30"/>
                    <a:pt x="30" y="39"/>
                    <a:pt x="20" y="39"/>
                  </a:cubicBezTo>
                  <a:close/>
                  <a:moveTo>
                    <a:pt x="20" y="4"/>
                  </a:moveTo>
                  <a:cubicBezTo>
                    <a:pt x="11" y="4"/>
                    <a:pt x="4" y="11"/>
                    <a:pt x="4" y="19"/>
                  </a:cubicBezTo>
                  <a:cubicBezTo>
                    <a:pt x="4" y="28"/>
                    <a:pt x="11" y="35"/>
                    <a:pt x="20" y="35"/>
                  </a:cubicBezTo>
                  <a:cubicBezTo>
                    <a:pt x="28" y="35"/>
                    <a:pt x="35" y="28"/>
                    <a:pt x="35" y="19"/>
                  </a:cubicBezTo>
                  <a:cubicBezTo>
                    <a:pt x="35"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grpSp>
      <p:sp>
        <p:nvSpPr>
          <p:cNvPr id="2" name="Title 1"/>
          <p:cNvSpPr>
            <a:spLocks noGrp="1"/>
          </p:cNvSpPr>
          <p:nvPr>
            <p:ph type="ctrTitle"/>
          </p:nvPr>
        </p:nvSpPr>
        <p:spPr>
          <a:xfrm>
            <a:off x="1876424" y="1122363"/>
            <a:ext cx="8791575" cy="2387600"/>
          </a:xfrm>
        </p:spPr>
        <p:txBody>
          <a:bodyPr anchor="b">
            <a:normAutofit/>
          </a:bodyPr>
          <a:lstStyle>
            <a:lvl1pPr algn="l">
              <a:defRPr sz="4800"/>
            </a:lvl1pPr>
          </a:lstStyle>
          <a:p>
            <a:r>
              <a:rPr lang="en-US"/>
              <a:t>Click to edit Master title style</a:t>
            </a:r>
            <a:endParaRPr lang="en-US" dirty="0"/>
          </a:p>
        </p:txBody>
      </p:sp>
      <p:sp>
        <p:nvSpPr>
          <p:cNvPr id="3" name="Subtitle 2"/>
          <p:cNvSpPr>
            <a:spLocks noGrp="1"/>
          </p:cNvSpPr>
          <p:nvPr>
            <p:ph type="subTitle" idx="1"/>
          </p:nvPr>
        </p:nvSpPr>
        <p:spPr>
          <a:xfrm>
            <a:off x="1876424" y="3602038"/>
            <a:ext cx="8791575" cy="1655762"/>
          </a:xfrm>
        </p:spPr>
        <p:txBody>
          <a:bodyPr>
            <a:normAutofit/>
          </a:bodyPr>
          <a:lstStyle>
            <a:lvl1pPr marL="0" indent="0" algn="l">
              <a:buNone/>
              <a:defRPr sz="2000"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a:xfrm>
            <a:off x="7077511" y="5410201"/>
            <a:ext cx="2743200" cy="365125"/>
          </a:xfrm>
        </p:spPr>
        <p:txBody>
          <a:bodyPr/>
          <a:lstStyle/>
          <a:p>
            <a:fld id="{48A87A34-81AB-432B-8DAE-1953F412C126}" type="datetimeFigureOut">
              <a:rPr lang="en-US" dirty="0"/>
              <a:t>5/6/2022</a:t>
            </a:fld>
            <a:endParaRPr lang="en-US" dirty="0"/>
          </a:p>
        </p:txBody>
      </p:sp>
      <p:sp>
        <p:nvSpPr>
          <p:cNvPr id="5" name="Footer Placeholder 4"/>
          <p:cNvSpPr>
            <a:spLocks noGrp="1"/>
          </p:cNvSpPr>
          <p:nvPr>
            <p:ph type="ftr" sz="quarter" idx="11"/>
          </p:nvPr>
        </p:nvSpPr>
        <p:spPr>
          <a:xfrm>
            <a:off x="1876424" y="5410201"/>
            <a:ext cx="5124886" cy="365125"/>
          </a:xfrm>
        </p:spPr>
        <p:txBody>
          <a:bodyPr/>
          <a:lstStyle/>
          <a:p>
            <a:endParaRPr lang="en-US" dirty="0"/>
          </a:p>
        </p:txBody>
      </p:sp>
      <p:sp>
        <p:nvSpPr>
          <p:cNvPr id="6" name="Slide Number Placeholder 5"/>
          <p:cNvSpPr>
            <a:spLocks noGrp="1"/>
          </p:cNvSpPr>
          <p:nvPr>
            <p:ph type="sldNum" sz="quarter" idx="12"/>
          </p:nvPr>
        </p:nvSpPr>
        <p:spPr>
          <a:xfrm>
            <a:off x="9896911" y="5410199"/>
            <a:ext cx="771089" cy="365125"/>
          </a:xfrm>
        </p:spPr>
        <p:txBody>
          <a:bodyPr/>
          <a:lstStyle/>
          <a:p>
            <a:fld id="{6D22F896-40B5-4ADD-8801-0D06FADFA095}" type="slidenum">
              <a:rPr lang="en-US" dirty="0"/>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10" y="4304664"/>
            <a:ext cx="9912355" cy="819355"/>
          </a:xfrm>
        </p:spPr>
        <p:txBody>
          <a:bodyPr anchor="b">
            <a:normAutofit/>
          </a:bodyPr>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1141411" y="606426"/>
            <a:ext cx="9912354" cy="3299778"/>
          </a:xfrm>
          <a:prstGeom prst="round2DiagRect">
            <a:avLst>
              <a:gd name="adj1" fmla="val 4860"/>
              <a:gd name="adj2" fmla="val 0"/>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3200"/>
            </a:lvl1pPr>
          </a:lstStyle>
          <a:p>
            <a:pPr marL="0" lvl="0" indent="0">
              <a:buNone/>
            </a:pPr>
            <a:r>
              <a:rPr lang="en-US"/>
              <a:t>Click icon to add picture</a:t>
            </a:r>
            <a:endParaRPr lang="en-US" dirty="0"/>
          </a:p>
        </p:txBody>
      </p:sp>
      <p:sp>
        <p:nvSpPr>
          <p:cNvPr id="4" name="Text Placeholder 3"/>
          <p:cNvSpPr>
            <a:spLocks noGrp="1"/>
          </p:cNvSpPr>
          <p:nvPr>
            <p:ph type="body" sz="half" idx="2"/>
          </p:nvPr>
        </p:nvSpPr>
        <p:spPr>
          <a:xfrm>
            <a:off x="1141364" y="5124020"/>
            <a:ext cx="9910859" cy="682472"/>
          </a:xfrm>
        </p:spPr>
        <p:txBody>
          <a:bodyPr>
            <a:normAutofit/>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5/6/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56" y="609600"/>
            <a:ext cx="9905955" cy="3429000"/>
          </a:xfrm>
        </p:spPr>
        <p:txBody>
          <a:bodyPr anchor="ctr">
            <a:normAutofit/>
          </a:bodyPr>
          <a:lstStyle>
            <a:lvl1pPr>
              <a:defRPr sz="3600"/>
            </a:lvl1pPr>
          </a:lstStyle>
          <a:p>
            <a:r>
              <a:rPr lang="en-US"/>
              <a:t>Click to edit Master title style</a:t>
            </a:r>
            <a:endParaRPr lang="en-US" dirty="0"/>
          </a:p>
        </p:txBody>
      </p:sp>
      <p:sp>
        <p:nvSpPr>
          <p:cNvPr id="4" name="Text Placeholder 3"/>
          <p:cNvSpPr>
            <a:spLocks noGrp="1"/>
          </p:cNvSpPr>
          <p:nvPr>
            <p:ph type="body" sz="half" idx="2"/>
          </p:nvPr>
        </p:nvSpPr>
        <p:spPr>
          <a:xfrm>
            <a:off x="1141410" y="4419599"/>
            <a:ext cx="9904459" cy="1371599"/>
          </a:xfrm>
        </p:spPr>
        <p:txBody>
          <a:bodyPr anchor="ctr">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5/6/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446212" y="609599"/>
            <a:ext cx="9302752" cy="2748429"/>
          </a:xfrm>
        </p:spPr>
        <p:txBody>
          <a:bodyPr anchor="ctr">
            <a:normAutofit/>
          </a:bodyPr>
          <a:lstStyle>
            <a:lvl1pPr>
              <a:defRPr sz="3600"/>
            </a:lvl1pPr>
          </a:lstStyle>
          <a:p>
            <a:r>
              <a:rPr lang="en-US"/>
              <a:t>Click to edit Master title style</a:t>
            </a:r>
            <a:endParaRPr lang="en-US" dirty="0"/>
          </a:p>
        </p:txBody>
      </p:sp>
      <p:sp>
        <p:nvSpPr>
          <p:cNvPr id="12" name="Text Placeholder 3"/>
          <p:cNvSpPr>
            <a:spLocks noGrp="1"/>
          </p:cNvSpPr>
          <p:nvPr>
            <p:ph type="body" sz="half" idx="13"/>
          </p:nvPr>
        </p:nvSpPr>
        <p:spPr>
          <a:xfrm>
            <a:off x="1720644" y="3365557"/>
            <a:ext cx="8752299" cy="548968"/>
          </a:xfrm>
        </p:spPr>
        <p:txBody>
          <a:bodyPr anchor="t">
            <a:normAutofit/>
          </a:bodyPr>
          <a:lstStyle>
            <a:lvl1pPr marL="0" indent="0">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4" name="Text Placeholder 3"/>
          <p:cNvSpPr>
            <a:spLocks noGrp="1"/>
          </p:cNvSpPr>
          <p:nvPr>
            <p:ph type="body" sz="half" idx="2"/>
          </p:nvPr>
        </p:nvSpPr>
        <p:spPr>
          <a:xfrm>
            <a:off x="1141411" y="4309919"/>
            <a:ext cx="9906002" cy="1489496"/>
          </a:xfrm>
        </p:spPr>
        <p:txBody>
          <a:bodyPr anchor="ctr">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5/6/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
        <p:nvSpPr>
          <p:cNvPr id="60" name="TextBox 59"/>
          <p:cNvSpPr txBox="1"/>
          <p:nvPr/>
        </p:nvSpPr>
        <p:spPr>
          <a:xfrm>
            <a:off x="903512" y="732394"/>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latin typeface="+mj-lt"/>
                <a:ea typeface="+mj-ea"/>
                <a:cs typeface="Trebuchet M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
        <p:nvSpPr>
          <p:cNvPr id="61" name="TextBox 60"/>
          <p:cNvSpPr txBox="1"/>
          <p:nvPr/>
        </p:nvSpPr>
        <p:spPr>
          <a:xfrm>
            <a:off x="10537370" y="2764972"/>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latin typeface="+mj-lt"/>
                <a:ea typeface="+mj-ea"/>
                <a:cs typeface="Trebuchet M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1141410" y="2134041"/>
            <a:ext cx="9906001" cy="2511835"/>
          </a:xfrm>
        </p:spPr>
        <p:txBody>
          <a:bodyPr anchor="b">
            <a:normAutofit/>
          </a:bodyPr>
          <a:lstStyle>
            <a:lvl1pPr>
              <a:defRPr sz="3600"/>
            </a:lvl1pPr>
          </a:lstStyle>
          <a:p>
            <a:r>
              <a:rPr lang="en-US"/>
              <a:t>Click to edit Master title style</a:t>
            </a:r>
            <a:endParaRPr lang="en-US" dirty="0"/>
          </a:p>
        </p:txBody>
      </p:sp>
      <p:sp>
        <p:nvSpPr>
          <p:cNvPr id="4" name="Text Placeholder 3"/>
          <p:cNvSpPr>
            <a:spLocks noGrp="1"/>
          </p:cNvSpPr>
          <p:nvPr>
            <p:ph type="body" sz="half" idx="2"/>
          </p:nvPr>
        </p:nvSpPr>
        <p:spPr>
          <a:xfrm>
            <a:off x="1141364" y="4657655"/>
            <a:ext cx="9904505" cy="1140644"/>
          </a:xfrm>
        </p:spPr>
        <p:txBody>
          <a:bodyPr anchor="t">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5/6/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15" name="Title 1"/>
          <p:cNvSpPr>
            <a:spLocks noGrp="1"/>
          </p:cNvSpPr>
          <p:nvPr>
            <p:ph type="title"/>
          </p:nvPr>
        </p:nvSpPr>
        <p:spPr>
          <a:xfrm>
            <a:off x="1141413" y="609600"/>
            <a:ext cx="9905998" cy="1905000"/>
          </a:xfrm>
        </p:spPr>
        <p:txBody>
          <a:bodyPr/>
          <a:lstStyle/>
          <a:p>
            <a:r>
              <a:rPr lang="en-US"/>
              <a:t>Click to edit Master title style</a:t>
            </a:r>
            <a:endParaRPr lang="en-US" dirty="0"/>
          </a:p>
        </p:txBody>
      </p:sp>
      <p:sp>
        <p:nvSpPr>
          <p:cNvPr id="7" name="Text Placeholder 2"/>
          <p:cNvSpPr>
            <a:spLocks noGrp="1"/>
          </p:cNvSpPr>
          <p:nvPr>
            <p:ph type="body" idx="1"/>
          </p:nvPr>
        </p:nvSpPr>
        <p:spPr>
          <a:xfrm>
            <a:off x="1141410" y="2674463"/>
            <a:ext cx="3196899"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Text Placeholder 3"/>
          <p:cNvSpPr>
            <a:spLocks noGrp="1"/>
          </p:cNvSpPr>
          <p:nvPr>
            <p:ph type="body" sz="half" idx="15"/>
          </p:nvPr>
        </p:nvSpPr>
        <p:spPr>
          <a:xfrm>
            <a:off x="1127918" y="3360263"/>
            <a:ext cx="3208735"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9" name="Text Placeholder 4"/>
          <p:cNvSpPr>
            <a:spLocks noGrp="1"/>
          </p:cNvSpPr>
          <p:nvPr>
            <p:ph type="body" sz="quarter" idx="3"/>
          </p:nvPr>
        </p:nvSpPr>
        <p:spPr>
          <a:xfrm>
            <a:off x="4514766" y="2677635"/>
            <a:ext cx="3184385"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Text Placeholder 3"/>
          <p:cNvSpPr>
            <a:spLocks noGrp="1"/>
          </p:cNvSpPr>
          <p:nvPr>
            <p:ph type="body" sz="half" idx="16"/>
          </p:nvPr>
        </p:nvSpPr>
        <p:spPr>
          <a:xfrm>
            <a:off x="4504213" y="3363435"/>
            <a:ext cx="3195830"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1" name="Text Placeholder 4"/>
          <p:cNvSpPr>
            <a:spLocks noGrp="1"/>
          </p:cNvSpPr>
          <p:nvPr>
            <p:ph type="body" sz="quarter" idx="13"/>
          </p:nvPr>
        </p:nvSpPr>
        <p:spPr>
          <a:xfrm>
            <a:off x="7852442" y="2674463"/>
            <a:ext cx="3194968"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 name="Text Placeholder 3"/>
          <p:cNvSpPr>
            <a:spLocks noGrp="1"/>
          </p:cNvSpPr>
          <p:nvPr>
            <p:ph type="body" sz="half" idx="17"/>
          </p:nvPr>
        </p:nvSpPr>
        <p:spPr>
          <a:xfrm>
            <a:off x="7852442" y="3360263"/>
            <a:ext cx="3194968"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fld id="{48A87A34-81AB-432B-8DAE-1953F412C126}" type="datetimeFigureOut">
              <a:rPr lang="en-US" dirty="0"/>
              <a:t>5/6/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sp>
        <p:nvSpPr>
          <p:cNvPr id="30" name="Title 1"/>
          <p:cNvSpPr>
            <a:spLocks noGrp="1"/>
          </p:cNvSpPr>
          <p:nvPr>
            <p:ph type="title"/>
          </p:nvPr>
        </p:nvSpPr>
        <p:spPr>
          <a:xfrm>
            <a:off x="1141411" y="609600"/>
            <a:ext cx="9905999" cy="1905000"/>
          </a:xfrm>
        </p:spPr>
        <p:txBody>
          <a:bodyPr/>
          <a:lstStyle/>
          <a:p>
            <a:r>
              <a:rPr lang="en-US"/>
              <a:t>Click to edit Master title style</a:t>
            </a:r>
            <a:endParaRPr lang="en-US" dirty="0"/>
          </a:p>
        </p:txBody>
      </p:sp>
      <p:sp>
        <p:nvSpPr>
          <p:cNvPr id="19" name="Text Placeholder 2"/>
          <p:cNvSpPr>
            <a:spLocks noGrp="1"/>
          </p:cNvSpPr>
          <p:nvPr>
            <p:ph type="body" idx="1"/>
          </p:nvPr>
        </p:nvSpPr>
        <p:spPr>
          <a:xfrm>
            <a:off x="1141413" y="4404596"/>
            <a:ext cx="3195240"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0" name="Picture Placeholder 2"/>
          <p:cNvSpPr>
            <a:spLocks noGrp="1" noChangeAspect="1"/>
          </p:cNvSpPr>
          <p:nvPr>
            <p:ph type="pic" idx="15"/>
          </p:nvPr>
        </p:nvSpPr>
        <p:spPr>
          <a:xfrm>
            <a:off x="1141413" y="2666998"/>
            <a:ext cx="3195240"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1" name="Text Placeholder 3"/>
          <p:cNvSpPr>
            <a:spLocks noGrp="1"/>
          </p:cNvSpPr>
          <p:nvPr>
            <p:ph type="body" sz="half" idx="18"/>
          </p:nvPr>
        </p:nvSpPr>
        <p:spPr>
          <a:xfrm>
            <a:off x="1141413" y="4980858"/>
            <a:ext cx="3195240" cy="81784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2" name="Text Placeholder 4"/>
          <p:cNvSpPr>
            <a:spLocks noGrp="1"/>
          </p:cNvSpPr>
          <p:nvPr>
            <p:ph type="body" sz="quarter" idx="3"/>
          </p:nvPr>
        </p:nvSpPr>
        <p:spPr>
          <a:xfrm>
            <a:off x="4489053" y="4404596"/>
            <a:ext cx="3200400"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3" name="Picture Placeholder 2"/>
          <p:cNvSpPr>
            <a:spLocks noGrp="1" noChangeAspect="1"/>
          </p:cNvSpPr>
          <p:nvPr>
            <p:ph type="pic" idx="21"/>
          </p:nvPr>
        </p:nvSpPr>
        <p:spPr>
          <a:xfrm>
            <a:off x="4489053" y="2666998"/>
            <a:ext cx="3198940"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4" name="Text Placeholder 3"/>
          <p:cNvSpPr>
            <a:spLocks noGrp="1"/>
          </p:cNvSpPr>
          <p:nvPr>
            <p:ph type="body" sz="half" idx="19"/>
          </p:nvPr>
        </p:nvSpPr>
        <p:spPr>
          <a:xfrm>
            <a:off x="4487593" y="4980857"/>
            <a:ext cx="3200400" cy="81034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5" name="Text Placeholder 4"/>
          <p:cNvSpPr>
            <a:spLocks noGrp="1"/>
          </p:cNvSpPr>
          <p:nvPr>
            <p:ph type="body" sz="quarter" idx="13"/>
          </p:nvPr>
        </p:nvSpPr>
        <p:spPr>
          <a:xfrm>
            <a:off x="7852567" y="4404595"/>
            <a:ext cx="3190741"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Picture Placeholder 2"/>
          <p:cNvSpPr>
            <a:spLocks noGrp="1" noChangeAspect="1"/>
          </p:cNvSpPr>
          <p:nvPr>
            <p:ph type="pic" idx="22"/>
          </p:nvPr>
        </p:nvSpPr>
        <p:spPr>
          <a:xfrm>
            <a:off x="7852442" y="2666998"/>
            <a:ext cx="3194969"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7" name="Text Placeholder 3"/>
          <p:cNvSpPr>
            <a:spLocks noGrp="1"/>
          </p:cNvSpPr>
          <p:nvPr>
            <p:ph type="body" sz="half" idx="20"/>
          </p:nvPr>
        </p:nvSpPr>
        <p:spPr>
          <a:xfrm>
            <a:off x="7852442" y="4980854"/>
            <a:ext cx="3194968" cy="810345"/>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fld id="{48A87A34-81AB-432B-8DAE-1953F412C126}" type="datetimeFigureOut">
              <a:rPr lang="en-US" dirty="0"/>
              <a:t>5/6/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5/6/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042400" y="609599"/>
            <a:ext cx="2005011" cy="5181601"/>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1141410" y="609599"/>
            <a:ext cx="7748590" cy="5181601"/>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5/6/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5/6/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141411" y="1419226"/>
            <a:ext cx="9906000" cy="2852737"/>
          </a:xfrm>
        </p:spPr>
        <p:txBody>
          <a:bodyPr anchor="b">
            <a:normAutofit/>
          </a:bodyPr>
          <a:lstStyle>
            <a:lvl1pPr>
              <a:defRPr sz="3600"/>
            </a:lvl1pPr>
          </a:lstStyle>
          <a:p>
            <a:r>
              <a:rPr lang="en-US"/>
              <a:t>Click to edit Master title style</a:t>
            </a:r>
            <a:endParaRPr lang="en-US" dirty="0"/>
          </a:p>
        </p:txBody>
      </p:sp>
      <p:sp>
        <p:nvSpPr>
          <p:cNvPr id="3" name="Text Placeholder 2"/>
          <p:cNvSpPr>
            <a:spLocks noGrp="1"/>
          </p:cNvSpPr>
          <p:nvPr>
            <p:ph type="body" idx="1"/>
          </p:nvPr>
        </p:nvSpPr>
        <p:spPr>
          <a:xfrm>
            <a:off x="1141411" y="4424362"/>
            <a:ext cx="9906000" cy="1374776"/>
          </a:xfrm>
        </p:spPr>
        <p:txBody>
          <a:bodyPr>
            <a:normAutofit/>
          </a:bodyPr>
          <a:lstStyle>
            <a:lvl1pPr marL="0" indent="0">
              <a:buNone/>
              <a:defRPr sz="1800" cap="all" baseline="0">
                <a:solidFill>
                  <a:schemeClr val="tx1">
                    <a:tint val="75000"/>
                  </a:schemeClr>
                </a:solidFill>
              </a:defRPr>
            </a:lvl1pPr>
            <a:lvl2pPr marL="457200" indent="0">
              <a:buNone/>
              <a:defRPr sz="18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8A87A34-81AB-432B-8DAE-1953F412C126}" type="datetimeFigureOut">
              <a:rPr lang="en-US" dirty="0"/>
              <a:t>5/6/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1141410" y="2249486"/>
            <a:ext cx="4878389" cy="35417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2249486"/>
            <a:ext cx="4875211" cy="35417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48A87A34-81AB-432B-8DAE-1953F412C126}" type="datetimeFigureOut">
              <a:rPr lang="en-US" dirty="0"/>
              <a:t>5/6/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141411" y="619126"/>
            <a:ext cx="9906000" cy="1477961"/>
          </a:xfrm>
        </p:spPr>
        <p:txBody>
          <a:bodyPr/>
          <a:lstStyle/>
          <a:p>
            <a:r>
              <a:rPr lang="en-US"/>
              <a:t>Click to edit Master title style</a:t>
            </a:r>
            <a:endParaRPr lang="en-US" dirty="0"/>
          </a:p>
        </p:txBody>
      </p:sp>
      <p:sp>
        <p:nvSpPr>
          <p:cNvPr id="3" name="Text Placeholder 2"/>
          <p:cNvSpPr>
            <a:spLocks noGrp="1"/>
          </p:cNvSpPr>
          <p:nvPr>
            <p:ph type="body" idx="1"/>
          </p:nvPr>
        </p:nvSpPr>
        <p:spPr>
          <a:xfrm>
            <a:off x="1370019" y="2249486"/>
            <a:ext cx="4649783" cy="823912"/>
          </a:xfrm>
        </p:spPr>
        <p:txBody>
          <a:bodyPr anchor="b"/>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141410" y="3073397"/>
            <a:ext cx="4878391" cy="27178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400808" y="2249485"/>
            <a:ext cx="4646602" cy="823912"/>
          </a:xfrm>
        </p:spPr>
        <p:txBody>
          <a:bodyPr anchor="b"/>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3073397"/>
            <a:ext cx="4875210" cy="27178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48A87A34-81AB-432B-8DAE-1953F412C126}" type="datetimeFigureOut">
              <a:rPr lang="en-US" dirty="0"/>
              <a:t>5/6/2022</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48A87A34-81AB-432B-8DAE-1953F412C126}" type="datetimeFigureOut">
              <a:rPr lang="en-US" dirty="0"/>
              <a:t>5/6/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8A87A34-81AB-432B-8DAE-1953F412C126}" type="datetimeFigureOut">
              <a:rPr lang="en-US" dirty="0"/>
              <a:t>5/6/2022</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6705" y="609601"/>
            <a:ext cx="3856037" cy="1639884"/>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56200" y="592666"/>
            <a:ext cx="5891209" cy="5198534"/>
          </a:xfrm>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1146705" y="2249486"/>
            <a:ext cx="3856037" cy="354171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5/6/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13" y="609600"/>
            <a:ext cx="5934508" cy="1639886"/>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7380721" y="609601"/>
            <a:ext cx="3666690" cy="5181599"/>
          </a:xfrm>
          <a:prstGeom prst="round2DiagRect">
            <a:avLst>
              <a:gd name="adj1" fmla="val 5608"/>
              <a:gd name="adj2" fmla="val 0"/>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1141410" y="2249486"/>
            <a:ext cx="5934511" cy="354171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5/6/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pattFill prst="pct5">
          <a:fgClr>
            <a:schemeClr val="accent1"/>
          </a:fgClr>
          <a:bgClr>
            <a:schemeClr val="bg1"/>
          </a:bgClr>
        </a:pattFill>
        <a:effectLst/>
      </p:bgPr>
    </p:bg>
    <p:spTree>
      <p:nvGrpSpPr>
        <p:cNvPr id="1" name=""/>
        <p:cNvGrpSpPr/>
        <p:nvPr/>
      </p:nvGrpSpPr>
      <p:grpSpPr>
        <a:xfrm>
          <a:off x="0" y="0"/>
          <a:ext cx="0" cy="0"/>
          <a:chOff x="0" y="0"/>
          <a:chExt cx="0" cy="0"/>
        </a:xfrm>
      </p:grpSpPr>
      <p:pic>
        <p:nvPicPr>
          <p:cNvPr id="7" name="Picture 2" descr="\\DROBO-FS\QuickDrops\JB\PPTX NG\Droplets\LightingOverlay.png"/>
          <p:cNvPicPr>
            <a:picLocks noChangeAspect="1" noChangeArrowheads="1"/>
          </p:cNvPicPr>
          <p:nvPr/>
        </p:nvPicPr>
        <p:blipFill>
          <a:blip r:embed="rId19">
            <a:alphaModFix amt="30000"/>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0" y="-1"/>
            <a:ext cx="12192003" cy="6858001"/>
          </a:xfrm>
          <a:prstGeom prst="rect">
            <a:avLst/>
          </a:prstGeom>
          <a:noFill/>
          <a:extLst>
            <a:ext uri="{909E8E84-426E-40dd-AFC4-6F175D3DCCD1}">
              <a14:hiddenFill xmlns="" xmlns:a14="http://schemas.microsoft.com/office/drawing/2010/main">
                <a:solidFill>
                  <a:srgbClr val="FFFFFF"/>
                </a:solidFill>
              </a14:hiddenFill>
            </a:ext>
          </a:extLst>
        </p:spPr>
      </p:pic>
      <p:grpSp>
        <p:nvGrpSpPr>
          <p:cNvPr id="8" name="Group 7"/>
          <p:cNvGrpSpPr/>
          <p:nvPr/>
        </p:nvGrpSpPr>
        <p:grpSpPr>
          <a:xfrm>
            <a:off x="-14288" y="0"/>
            <a:ext cx="12053888" cy="6858001"/>
            <a:chOff x="-14288" y="0"/>
            <a:chExt cx="12053888" cy="6858001"/>
          </a:xfrm>
        </p:grpSpPr>
        <p:grpSp>
          <p:nvGrpSpPr>
            <p:cNvPr id="9" name="Group 8"/>
            <p:cNvGrpSpPr/>
            <p:nvPr/>
          </p:nvGrpSpPr>
          <p:grpSpPr>
            <a:xfrm>
              <a:off x="-14288" y="0"/>
              <a:ext cx="1220788" cy="6858001"/>
              <a:chOff x="-14288" y="0"/>
              <a:chExt cx="1220788" cy="6858001"/>
            </a:xfrm>
            <a:gradFill flip="none" rotWithShape="1">
              <a:gsLst>
                <a:gs pos="0">
                  <a:schemeClr val="tx2"/>
                </a:gs>
                <a:gs pos="100000">
                  <a:schemeClr val="bg2">
                    <a:lumMod val="60000"/>
                    <a:lumOff val="40000"/>
                  </a:schemeClr>
                </a:gs>
              </a:gsLst>
              <a:lin ang="5400000" scaled="0"/>
              <a:tileRect/>
            </a:gradFill>
          </p:grpSpPr>
          <p:sp>
            <p:nvSpPr>
              <p:cNvPr id="21" name="Rectangle 5"/>
              <p:cNvSpPr>
                <a:spLocks noChangeArrowheads="1"/>
              </p:cNvSpPr>
              <p:nvPr/>
            </p:nvSpPr>
            <p:spPr bwMode="auto">
              <a:xfrm>
                <a:off x="114300" y="4763"/>
                <a:ext cx="23813" cy="21812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22" name="Freeform 6"/>
              <p:cNvSpPr>
                <a:spLocks noEditPoints="1"/>
              </p:cNvSpPr>
              <p:nvPr/>
            </p:nvSpPr>
            <p:spPr bwMode="auto">
              <a:xfrm>
                <a:off x="33337" y="21764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3" name="Freeform 7"/>
              <p:cNvSpPr>
                <a:spLocks noEditPoints="1"/>
              </p:cNvSpPr>
              <p:nvPr/>
            </p:nvSpPr>
            <p:spPr bwMode="auto">
              <a:xfrm>
                <a:off x="28575" y="4021138"/>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4" name="Freeform 8"/>
              <p:cNvSpPr/>
              <p:nvPr/>
            </p:nvSpPr>
            <p:spPr bwMode="auto">
              <a:xfrm>
                <a:off x="200025" y="4763"/>
                <a:ext cx="369888" cy="1811338"/>
              </a:xfrm>
              <a:custGeom>
                <a:avLst/>
                <a:gdLst/>
                <a:ahLst/>
                <a:cxnLst/>
                <a:rect l="0" t="0" r="r" b="b"/>
                <a:pathLst>
                  <a:path w="233" h="1141">
                    <a:moveTo>
                      <a:pt x="218" y="1141"/>
                    </a:moveTo>
                    <a:lnTo>
                      <a:pt x="0" y="626"/>
                    </a:lnTo>
                    <a:lnTo>
                      <a:pt x="0" y="0"/>
                    </a:lnTo>
                    <a:lnTo>
                      <a:pt x="15" y="0"/>
                    </a:lnTo>
                    <a:lnTo>
                      <a:pt x="15" y="623"/>
                    </a:lnTo>
                    <a:lnTo>
                      <a:pt x="233" y="1135"/>
                    </a:lnTo>
                    <a:lnTo>
                      <a:pt x="218" y="114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5" name="Freeform 9"/>
              <p:cNvSpPr>
                <a:spLocks noEditPoints="1"/>
              </p:cNvSpPr>
              <p:nvPr/>
            </p:nvSpPr>
            <p:spPr bwMode="auto">
              <a:xfrm>
                <a:off x="503237" y="1801813"/>
                <a:ext cx="190500" cy="188913"/>
              </a:xfrm>
              <a:custGeom>
                <a:avLst/>
                <a:gdLst/>
                <a:ahLst/>
                <a:cxnLst/>
                <a:rect l="0" t="0" r="r" b="b"/>
                <a:pathLst>
                  <a:path w="40" h="40">
                    <a:moveTo>
                      <a:pt x="20" y="40"/>
                    </a:moveTo>
                    <a:cubicBezTo>
                      <a:pt x="9" y="40"/>
                      <a:pt x="0" y="31"/>
                      <a:pt x="0" y="20"/>
                    </a:cubicBezTo>
                    <a:cubicBezTo>
                      <a:pt x="0" y="9"/>
                      <a:pt x="9" y="0"/>
                      <a:pt x="20" y="0"/>
                    </a:cubicBezTo>
                    <a:cubicBezTo>
                      <a:pt x="33" y="0"/>
                      <a:pt x="40" y="6"/>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9"/>
                      <a:pt x="31"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6" name="Freeform 10"/>
              <p:cNvSpPr/>
              <p:nvPr/>
            </p:nvSpPr>
            <p:spPr bwMode="auto">
              <a:xfrm>
                <a:off x="285750" y="4763"/>
                <a:ext cx="369888" cy="1430338"/>
              </a:xfrm>
              <a:custGeom>
                <a:avLst/>
                <a:gdLst/>
                <a:ahLst/>
                <a:cxnLst/>
                <a:rect l="0" t="0" r="r" b="b"/>
                <a:pathLst>
                  <a:path w="233" h="901">
                    <a:moveTo>
                      <a:pt x="221" y="901"/>
                    </a:moveTo>
                    <a:lnTo>
                      <a:pt x="0" y="383"/>
                    </a:lnTo>
                    <a:lnTo>
                      <a:pt x="0" y="0"/>
                    </a:lnTo>
                    <a:lnTo>
                      <a:pt x="18" y="0"/>
                    </a:lnTo>
                    <a:lnTo>
                      <a:pt x="18" y="380"/>
                    </a:lnTo>
                    <a:lnTo>
                      <a:pt x="233" y="895"/>
                    </a:lnTo>
                    <a:lnTo>
                      <a:pt x="221" y="90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7" name="Freeform 11"/>
              <p:cNvSpPr/>
              <p:nvPr/>
            </p:nvSpPr>
            <p:spPr bwMode="auto">
              <a:xfrm>
                <a:off x="546100" y="0"/>
                <a:ext cx="152400" cy="912813"/>
              </a:xfrm>
              <a:custGeom>
                <a:avLst/>
                <a:gdLst/>
                <a:ahLst/>
                <a:cxnLst/>
                <a:rect l="0" t="0" r="r" b="b"/>
                <a:pathLst>
                  <a:path w="96" h="575">
                    <a:moveTo>
                      <a:pt x="96" y="575"/>
                    </a:moveTo>
                    <a:lnTo>
                      <a:pt x="78" y="575"/>
                    </a:lnTo>
                    <a:lnTo>
                      <a:pt x="78" y="192"/>
                    </a:lnTo>
                    <a:lnTo>
                      <a:pt x="0" y="6"/>
                    </a:lnTo>
                    <a:lnTo>
                      <a:pt x="15" y="0"/>
                    </a:lnTo>
                    <a:lnTo>
                      <a:pt x="96" y="189"/>
                    </a:lnTo>
                    <a:lnTo>
                      <a:pt x="96" y="5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8" name="Freeform 12"/>
              <p:cNvSpPr>
                <a:spLocks noEditPoints="1"/>
              </p:cNvSpPr>
              <p:nvPr/>
            </p:nvSpPr>
            <p:spPr bwMode="auto">
              <a:xfrm>
                <a:off x="588962" y="1420813"/>
                <a:ext cx="190500" cy="190500"/>
              </a:xfrm>
              <a:custGeom>
                <a:avLst/>
                <a:gdLst/>
                <a:ahLst/>
                <a:cxnLst/>
                <a:rect l="0" t="0" r="r" b="b"/>
                <a:pathLst>
                  <a:path w="40" h="40">
                    <a:moveTo>
                      <a:pt x="20" y="40"/>
                    </a:moveTo>
                    <a:cubicBezTo>
                      <a:pt x="9" y="40"/>
                      <a:pt x="0" y="31"/>
                      <a:pt x="0" y="20"/>
                    </a:cubicBezTo>
                    <a:cubicBezTo>
                      <a:pt x="0" y="9"/>
                      <a:pt x="9" y="0"/>
                      <a:pt x="20" y="0"/>
                    </a:cubicBezTo>
                    <a:cubicBezTo>
                      <a:pt x="33" y="0"/>
                      <a:pt x="40" y="7"/>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9"/>
                      <a:pt x="31"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9" name="Freeform 13"/>
              <p:cNvSpPr>
                <a:spLocks noEditPoints="1"/>
              </p:cNvSpPr>
              <p:nvPr/>
            </p:nvSpPr>
            <p:spPr bwMode="auto">
              <a:xfrm>
                <a:off x="588962"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0" name="Freeform 14"/>
              <p:cNvSpPr/>
              <p:nvPr/>
            </p:nvSpPr>
            <p:spPr bwMode="auto">
              <a:xfrm>
                <a:off x="641350" y="0"/>
                <a:ext cx="422275" cy="527050"/>
              </a:xfrm>
              <a:custGeom>
                <a:avLst/>
                <a:gdLst/>
                <a:ahLst/>
                <a:cxnLst/>
                <a:rect l="0" t="0" r="r" b="b"/>
                <a:pathLst>
                  <a:path w="266" h="332">
                    <a:moveTo>
                      <a:pt x="257" y="332"/>
                    </a:moveTo>
                    <a:lnTo>
                      <a:pt x="48" y="123"/>
                    </a:lnTo>
                    <a:lnTo>
                      <a:pt x="0" y="6"/>
                    </a:lnTo>
                    <a:lnTo>
                      <a:pt x="15" y="0"/>
                    </a:lnTo>
                    <a:lnTo>
                      <a:pt x="63" y="114"/>
                    </a:lnTo>
                    <a:lnTo>
                      <a:pt x="266" y="320"/>
                    </a:lnTo>
                    <a:lnTo>
                      <a:pt x="257" y="33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1" name="Freeform 15"/>
              <p:cNvSpPr>
                <a:spLocks noEditPoints="1"/>
              </p:cNvSpPr>
              <p:nvPr/>
            </p:nvSpPr>
            <p:spPr bwMode="auto">
              <a:xfrm>
                <a:off x="1020762" y="488950"/>
                <a:ext cx="161925" cy="147638"/>
              </a:xfrm>
              <a:custGeom>
                <a:avLst/>
                <a:gdLst/>
                <a:ahLst/>
                <a:cxnLst/>
                <a:rect l="0" t="0" r="r" b="b"/>
                <a:pathLst>
                  <a:path w="34" h="31">
                    <a:moveTo>
                      <a:pt x="17" y="31"/>
                    </a:moveTo>
                    <a:cubicBezTo>
                      <a:pt x="13" y="31"/>
                      <a:pt x="9" y="30"/>
                      <a:pt x="6" y="27"/>
                    </a:cubicBezTo>
                    <a:cubicBezTo>
                      <a:pt x="0" y="20"/>
                      <a:pt x="0" y="10"/>
                      <a:pt x="6" y="4"/>
                    </a:cubicBezTo>
                    <a:cubicBezTo>
                      <a:pt x="9" y="1"/>
                      <a:pt x="13" y="0"/>
                      <a:pt x="17" y="0"/>
                    </a:cubicBezTo>
                    <a:cubicBezTo>
                      <a:pt x="21" y="0"/>
                      <a:pt x="25" y="1"/>
                      <a:pt x="28" y="4"/>
                    </a:cubicBezTo>
                    <a:cubicBezTo>
                      <a:pt x="34" y="10"/>
                      <a:pt x="34" y="20"/>
                      <a:pt x="28" y="27"/>
                    </a:cubicBezTo>
                    <a:cubicBezTo>
                      <a:pt x="25" y="30"/>
                      <a:pt x="21" y="31"/>
                      <a:pt x="17" y="31"/>
                    </a:cubicBezTo>
                    <a:close/>
                    <a:moveTo>
                      <a:pt x="17" y="4"/>
                    </a:moveTo>
                    <a:cubicBezTo>
                      <a:pt x="14" y="4"/>
                      <a:pt x="11" y="5"/>
                      <a:pt x="9" y="7"/>
                    </a:cubicBezTo>
                    <a:cubicBezTo>
                      <a:pt x="4" y="12"/>
                      <a:pt x="4" y="19"/>
                      <a:pt x="9" y="24"/>
                    </a:cubicBezTo>
                    <a:cubicBezTo>
                      <a:pt x="11" y="26"/>
                      <a:pt x="14" y="27"/>
                      <a:pt x="17" y="27"/>
                    </a:cubicBezTo>
                    <a:cubicBezTo>
                      <a:pt x="20" y="27"/>
                      <a:pt x="23" y="26"/>
                      <a:pt x="25" y="24"/>
                    </a:cubicBezTo>
                    <a:cubicBezTo>
                      <a:pt x="30" y="19"/>
                      <a:pt x="30" y="12"/>
                      <a:pt x="25" y="7"/>
                    </a:cubicBezTo>
                    <a:cubicBezTo>
                      <a:pt x="23" y="5"/>
                      <a:pt x="20"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2" name="Line 16"/>
              <p:cNvSpPr>
                <a:spLocks noChangeShapeType="1"/>
              </p:cNvSpPr>
              <p:nvPr/>
            </p:nvSpPr>
            <p:spPr bwMode="auto">
              <a:xfrm>
                <a:off x="-4763" y="9525"/>
                <a:ext cx="0" cy="0"/>
              </a:xfrm>
              <a:prstGeom prst="line">
                <a:avLst/>
              </a:prstGeom>
              <a:grpFill/>
              <a:ln w="15" cap="flat">
                <a:solidFill>
                  <a:srgbClr val="FFFFFF"/>
                </a:solidFill>
                <a:prstDash val="solid"/>
                <a:miter lim="800000"/>
                <a:headEnd/>
                <a:tailEnd/>
              </a:ln>
            </p:spPr>
          </p:sp>
          <p:sp>
            <p:nvSpPr>
              <p:cNvPr id="33" name="Freeform 17"/>
              <p:cNvSpPr/>
              <p:nvPr/>
            </p:nvSpPr>
            <p:spPr bwMode="auto">
              <a:xfrm>
                <a:off x="9525" y="1801813"/>
                <a:ext cx="123825" cy="127000"/>
              </a:xfrm>
              <a:custGeom>
                <a:avLst/>
                <a:gdLst/>
                <a:ahLst/>
                <a:cxnLst/>
                <a:rect l="0" t="0" r="r" b="b"/>
                <a:pathLst>
                  <a:path w="78" h="80">
                    <a:moveTo>
                      <a:pt x="6" y="80"/>
                    </a:moveTo>
                    <a:lnTo>
                      <a:pt x="0" y="71"/>
                    </a:lnTo>
                    <a:lnTo>
                      <a:pt x="69" y="0"/>
                    </a:lnTo>
                    <a:lnTo>
                      <a:pt x="78" y="9"/>
                    </a:lnTo>
                    <a:lnTo>
                      <a:pt x="6" y="8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4" name="Freeform 18"/>
              <p:cNvSpPr/>
              <p:nvPr/>
            </p:nvSpPr>
            <p:spPr bwMode="auto">
              <a:xfrm>
                <a:off x="-9525" y="3549650"/>
                <a:ext cx="147638" cy="481013"/>
              </a:xfrm>
              <a:custGeom>
                <a:avLst/>
                <a:gdLst/>
                <a:ahLst/>
                <a:cxnLst/>
                <a:rect l="0" t="0" r="r" b="b"/>
                <a:pathLst>
                  <a:path w="93" h="303">
                    <a:moveTo>
                      <a:pt x="93" y="303"/>
                    </a:moveTo>
                    <a:lnTo>
                      <a:pt x="78" y="303"/>
                    </a:lnTo>
                    <a:lnTo>
                      <a:pt x="78" y="78"/>
                    </a:lnTo>
                    <a:lnTo>
                      <a:pt x="0" y="12"/>
                    </a:lnTo>
                    <a:lnTo>
                      <a:pt x="12" y="0"/>
                    </a:lnTo>
                    <a:lnTo>
                      <a:pt x="93" y="69"/>
                    </a:lnTo>
                    <a:lnTo>
                      <a:pt x="93" y="30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5" name="Freeform 19"/>
              <p:cNvSpPr/>
              <p:nvPr/>
            </p:nvSpPr>
            <p:spPr bwMode="auto">
              <a:xfrm>
                <a:off x="128587" y="1382713"/>
                <a:ext cx="142875" cy="476250"/>
              </a:xfrm>
              <a:custGeom>
                <a:avLst/>
                <a:gdLst/>
                <a:ahLst/>
                <a:cxnLst/>
                <a:rect l="0" t="0" r="r" b="b"/>
                <a:pathLst>
                  <a:path w="90" h="300">
                    <a:moveTo>
                      <a:pt x="90" y="300"/>
                    </a:moveTo>
                    <a:lnTo>
                      <a:pt x="78" y="300"/>
                    </a:lnTo>
                    <a:lnTo>
                      <a:pt x="78" y="84"/>
                    </a:lnTo>
                    <a:lnTo>
                      <a:pt x="0" y="9"/>
                    </a:lnTo>
                    <a:lnTo>
                      <a:pt x="9" y="0"/>
                    </a:lnTo>
                    <a:lnTo>
                      <a:pt x="90" y="81"/>
                    </a:lnTo>
                    <a:lnTo>
                      <a:pt x="90" y="30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6" name="Freeform 20"/>
              <p:cNvSpPr>
                <a:spLocks noEditPoints="1"/>
              </p:cNvSpPr>
              <p:nvPr/>
            </p:nvSpPr>
            <p:spPr bwMode="auto">
              <a:xfrm>
                <a:off x="204787" y="1849438"/>
                <a:ext cx="114300" cy="107950"/>
              </a:xfrm>
              <a:custGeom>
                <a:avLst/>
                <a:gdLst/>
                <a:ahLst/>
                <a:cxnLst/>
                <a:rect l="0" t="0" r="r" b="b"/>
                <a:pathLst>
                  <a:path w="24" h="23">
                    <a:moveTo>
                      <a:pt x="12" y="23"/>
                    </a:moveTo>
                    <a:cubicBezTo>
                      <a:pt x="6" y="23"/>
                      <a:pt x="0" y="18"/>
                      <a:pt x="0" y="12"/>
                    </a:cubicBezTo>
                    <a:cubicBezTo>
                      <a:pt x="0" y="5"/>
                      <a:pt x="6" y="0"/>
                      <a:pt x="12" y="0"/>
                    </a:cubicBezTo>
                    <a:cubicBezTo>
                      <a:pt x="18" y="0"/>
                      <a:pt x="24" y="5"/>
                      <a:pt x="24" y="12"/>
                    </a:cubicBezTo>
                    <a:cubicBezTo>
                      <a:pt x="24" y="18"/>
                      <a:pt x="18" y="23"/>
                      <a:pt x="12" y="23"/>
                    </a:cubicBezTo>
                    <a:close/>
                    <a:moveTo>
                      <a:pt x="12" y="4"/>
                    </a:moveTo>
                    <a:cubicBezTo>
                      <a:pt x="8" y="4"/>
                      <a:pt x="4" y="8"/>
                      <a:pt x="4" y="12"/>
                    </a:cubicBezTo>
                    <a:cubicBezTo>
                      <a:pt x="4" y="16"/>
                      <a:pt x="8" y="19"/>
                      <a:pt x="12" y="19"/>
                    </a:cubicBezTo>
                    <a:cubicBezTo>
                      <a:pt x="16" y="19"/>
                      <a:pt x="20" y="16"/>
                      <a:pt x="20" y="12"/>
                    </a:cubicBezTo>
                    <a:cubicBezTo>
                      <a:pt x="20"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7" name="Rectangle 21"/>
              <p:cNvSpPr>
                <a:spLocks noChangeArrowheads="1"/>
              </p:cNvSpPr>
              <p:nvPr/>
            </p:nvSpPr>
            <p:spPr bwMode="auto">
              <a:xfrm>
                <a:off x="133350" y="4662488"/>
                <a:ext cx="23813" cy="21812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38" name="Freeform 22"/>
              <p:cNvSpPr/>
              <p:nvPr/>
            </p:nvSpPr>
            <p:spPr bwMode="auto">
              <a:xfrm>
                <a:off x="223837" y="5041900"/>
                <a:ext cx="369888" cy="1801813"/>
              </a:xfrm>
              <a:custGeom>
                <a:avLst/>
                <a:gdLst/>
                <a:ahLst/>
                <a:cxnLst/>
                <a:rect l="0" t="0" r="r" b="b"/>
                <a:pathLst>
                  <a:path w="233" h="1135">
                    <a:moveTo>
                      <a:pt x="15" y="1135"/>
                    </a:moveTo>
                    <a:lnTo>
                      <a:pt x="0" y="1135"/>
                    </a:lnTo>
                    <a:lnTo>
                      <a:pt x="0" y="515"/>
                    </a:lnTo>
                    <a:lnTo>
                      <a:pt x="0" y="512"/>
                    </a:lnTo>
                    <a:lnTo>
                      <a:pt x="218" y="0"/>
                    </a:lnTo>
                    <a:lnTo>
                      <a:pt x="233" y="6"/>
                    </a:lnTo>
                    <a:lnTo>
                      <a:pt x="15" y="518"/>
                    </a:lnTo>
                    <a:lnTo>
                      <a:pt x="15" y="11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9" name="Freeform 23"/>
              <p:cNvSpPr>
                <a:spLocks noEditPoints="1"/>
              </p:cNvSpPr>
              <p:nvPr/>
            </p:nvSpPr>
            <p:spPr bwMode="auto">
              <a:xfrm>
                <a:off x="52387"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0" name="Freeform 24"/>
              <p:cNvSpPr/>
              <p:nvPr/>
            </p:nvSpPr>
            <p:spPr bwMode="auto">
              <a:xfrm>
                <a:off x="-14288" y="5627688"/>
                <a:ext cx="85725" cy="1216025"/>
              </a:xfrm>
              <a:custGeom>
                <a:avLst/>
                <a:gdLst/>
                <a:ahLst/>
                <a:cxnLst/>
                <a:rect l="0" t="0" r="r" b="b"/>
                <a:pathLst>
                  <a:path w="54" h="766">
                    <a:moveTo>
                      <a:pt x="54" y="766"/>
                    </a:moveTo>
                    <a:lnTo>
                      <a:pt x="36" y="766"/>
                    </a:lnTo>
                    <a:lnTo>
                      <a:pt x="36" y="149"/>
                    </a:lnTo>
                    <a:lnTo>
                      <a:pt x="0" y="3"/>
                    </a:lnTo>
                    <a:lnTo>
                      <a:pt x="18" y="0"/>
                    </a:lnTo>
                    <a:lnTo>
                      <a:pt x="54" y="146"/>
                    </a:lnTo>
                    <a:lnTo>
                      <a:pt x="54" y="76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1" name="Freeform 25"/>
              <p:cNvSpPr>
                <a:spLocks noEditPoints="1"/>
              </p:cNvSpPr>
              <p:nvPr/>
            </p:nvSpPr>
            <p:spPr bwMode="auto">
              <a:xfrm>
                <a:off x="527050" y="48672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2" name="Freeform 26"/>
              <p:cNvSpPr/>
              <p:nvPr/>
            </p:nvSpPr>
            <p:spPr bwMode="auto">
              <a:xfrm>
                <a:off x="309562" y="5422900"/>
                <a:ext cx="374650" cy="1425575"/>
              </a:xfrm>
              <a:custGeom>
                <a:avLst/>
                <a:gdLst/>
                <a:ahLst/>
                <a:cxnLst/>
                <a:rect l="0" t="0" r="r" b="b"/>
                <a:pathLst>
                  <a:path w="236" h="898">
                    <a:moveTo>
                      <a:pt x="18" y="898"/>
                    </a:moveTo>
                    <a:lnTo>
                      <a:pt x="0" y="898"/>
                    </a:lnTo>
                    <a:lnTo>
                      <a:pt x="0" y="515"/>
                    </a:lnTo>
                    <a:lnTo>
                      <a:pt x="3" y="512"/>
                    </a:lnTo>
                    <a:lnTo>
                      <a:pt x="221" y="0"/>
                    </a:lnTo>
                    <a:lnTo>
                      <a:pt x="236" y="6"/>
                    </a:lnTo>
                    <a:lnTo>
                      <a:pt x="18" y="518"/>
                    </a:lnTo>
                    <a:lnTo>
                      <a:pt x="18" y="8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3" name="Freeform 27"/>
              <p:cNvSpPr/>
              <p:nvPr/>
            </p:nvSpPr>
            <p:spPr bwMode="auto">
              <a:xfrm>
                <a:off x="569912" y="5945188"/>
                <a:ext cx="152400" cy="912813"/>
              </a:xfrm>
              <a:custGeom>
                <a:avLst/>
                <a:gdLst/>
                <a:ahLst/>
                <a:cxnLst/>
                <a:rect l="0" t="0" r="r" b="b"/>
                <a:pathLst>
                  <a:path w="96" h="575">
                    <a:moveTo>
                      <a:pt x="15" y="575"/>
                    </a:moveTo>
                    <a:lnTo>
                      <a:pt x="0" y="569"/>
                    </a:lnTo>
                    <a:lnTo>
                      <a:pt x="81" y="383"/>
                    </a:lnTo>
                    <a:lnTo>
                      <a:pt x="81" y="0"/>
                    </a:lnTo>
                    <a:lnTo>
                      <a:pt x="96" y="0"/>
                    </a:lnTo>
                    <a:lnTo>
                      <a:pt x="96" y="386"/>
                    </a:lnTo>
                    <a:lnTo>
                      <a:pt x="15" y="5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4" name="Freeform 28"/>
              <p:cNvSpPr>
                <a:spLocks noEditPoints="1"/>
              </p:cNvSpPr>
              <p:nvPr/>
            </p:nvSpPr>
            <p:spPr bwMode="auto">
              <a:xfrm>
                <a:off x="612775" y="52466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5" name="Freeform 29"/>
              <p:cNvSpPr>
                <a:spLocks noEditPoints="1"/>
              </p:cNvSpPr>
              <p:nvPr/>
            </p:nvSpPr>
            <p:spPr bwMode="auto">
              <a:xfrm>
                <a:off x="612775" y="57642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6" name="Freeform 30"/>
              <p:cNvSpPr/>
              <p:nvPr/>
            </p:nvSpPr>
            <p:spPr bwMode="auto">
              <a:xfrm>
                <a:off x="669925" y="6330950"/>
                <a:ext cx="417513" cy="517525"/>
              </a:xfrm>
              <a:custGeom>
                <a:avLst/>
                <a:gdLst/>
                <a:ahLst/>
                <a:cxnLst/>
                <a:rect l="0" t="0" r="r" b="b"/>
                <a:pathLst>
                  <a:path w="263" h="326">
                    <a:moveTo>
                      <a:pt x="15" y="326"/>
                    </a:moveTo>
                    <a:lnTo>
                      <a:pt x="0" y="320"/>
                    </a:lnTo>
                    <a:lnTo>
                      <a:pt x="45" y="206"/>
                    </a:lnTo>
                    <a:lnTo>
                      <a:pt x="48" y="206"/>
                    </a:lnTo>
                    <a:lnTo>
                      <a:pt x="254" y="0"/>
                    </a:lnTo>
                    <a:lnTo>
                      <a:pt x="263" y="12"/>
                    </a:lnTo>
                    <a:lnTo>
                      <a:pt x="60" y="215"/>
                    </a:lnTo>
                    <a:lnTo>
                      <a:pt x="15" y="32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7" name="Freeform 31"/>
              <p:cNvSpPr>
                <a:spLocks noEditPoints="1"/>
              </p:cNvSpPr>
              <p:nvPr/>
            </p:nvSpPr>
            <p:spPr bwMode="auto">
              <a:xfrm>
                <a:off x="1049337" y="6221413"/>
                <a:ext cx="157163" cy="147638"/>
              </a:xfrm>
              <a:custGeom>
                <a:avLst/>
                <a:gdLst/>
                <a:ahLst/>
                <a:cxnLst/>
                <a:rect l="0" t="0" r="r" b="b"/>
                <a:pathLst>
                  <a:path w="33" h="31">
                    <a:moveTo>
                      <a:pt x="16" y="31"/>
                    </a:moveTo>
                    <a:cubicBezTo>
                      <a:pt x="12" y="31"/>
                      <a:pt x="8" y="29"/>
                      <a:pt x="5" y="26"/>
                    </a:cubicBezTo>
                    <a:cubicBezTo>
                      <a:pt x="2" y="24"/>
                      <a:pt x="0" y="20"/>
                      <a:pt x="0" y="15"/>
                    </a:cubicBezTo>
                    <a:cubicBezTo>
                      <a:pt x="0" y="11"/>
                      <a:pt x="2" y="7"/>
                      <a:pt x="5" y="4"/>
                    </a:cubicBezTo>
                    <a:cubicBezTo>
                      <a:pt x="8" y="1"/>
                      <a:pt x="12" y="0"/>
                      <a:pt x="16" y="0"/>
                    </a:cubicBezTo>
                    <a:cubicBezTo>
                      <a:pt x="20" y="0"/>
                      <a:pt x="24" y="1"/>
                      <a:pt x="27" y="4"/>
                    </a:cubicBezTo>
                    <a:cubicBezTo>
                      <a:pt x="33" y="10"/>
                      <a:pt x="33" y="20"/>
                      <a:pt x="27" y="26"/>
                    </a:cubicBezTo>
                    <a:cubicBezTo>
                      <a:pt x="24" y="29"/>
                      <a:pt x="20" y="31"/>
                      <a:pt x="16" y="31"/>
                    </a:cubicBezTo>
                    <a:close/>
                    <a:moveTo>
                      <a:pt x="16" y="4"/>
                    </a:moveTo>
                    <a:cubicBezTo>
                      <a:pt x="13" y="4"/>
                      <a:pt x="10" y="5"/>
                      <a:pt x="8" y="7"/>
                    </a:cubicBezTo>
                    <a:cubicBezTo>
                      <a:pt x="6" y="9"/>
                      <a:pt x="4" y="12"/>
                      <a:pt x="4" y="15"/>
                    </a:cubicBezTo>
                    <a:cubicBezTo>
                      <a:pt x="4" y="19"/>
                      <a:pt x="6" y="21"/>
                      <a:pt x="8" y="24"/>
                    </a:cubicBezTo>
                    <a:cubicBezTo>
                      <a:pt x="10" y="26"/>
                      <a:pt x="13" y="27"/>
                      <a:pt x="16" y="27"/>
                    </a:cubicBezTo>
                    <a:cubicBezTo>
                      <a:pt x="19" y="27"/>
                      <a:pt x="22" y="26"/>
                      <a:pt x="24" y="24"/>
                    </a:cubicBezTo>
                    <a:cubicBezTo>
                      <a:pt x="29" y="19"/>
                      <a:pt x="29" y="12"/>
                      <a:pt x="24" y="7"/>
                    </a:cubicBezTo>
                    <a:cubicBezTo>
                      <a:pt x="22" y="5"/>
                      <a:pt x="19" y="4"/>
                      <a:pt x="16"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grpSp>
        <p:grpSp>
          <p:nvGrpSpPr>
            <p:cNvPr id="10" name="Group 9"/>
            <p:cNvGrpSpPr/>
            <p:nvPr/>
          </p:nvGrpSpPr>
          <p:grpSpPr>
            <a:xfrm>
              <a:off x="11364912" y="0"/>
              <a:ext cx="674688" cy="6848476"/>
              <a:chOff x="11364912" y="0"/>
              <a:chExt cx="674688" cy="6848476"/>
            </a:xfrm>
            <a:gradFill flip="none" rotWithShape="1">
              <a:gsLst>
                <a:gs pos="0">
                  <a:schemeClr val="tx2">
                    <a:alpha val="80000"/>
                  </a:schemeClr>
                </a:gs>
                <a:gs pos="100000">
                  <a:schemeClr val="bg2">
                    <a:lumMod val="60000"/>
                    <a:lumOff val="40000"/>
                    <a:alpha val="60000"/>
                  </a:schemeClr>
                </a:gs>
              </a:gsLst>
              <a:lin ang="5400000" scaled="0"/>
              <a:tileRect/>
            </a:gradFill>
          </p:grpSpPr>
          <p:sp>
            <p:nvSpPr>
              <p:cNvPr id="11" name="Freeform 32"/>
              <p:cNvSpPr/>
              <p:nvPr/>
            </p:nvSpPr>
            <p:spPr bwMode="auto">
              <a:xfrm>
                <a:off x="11483975" y="0"/>
                <a:ext cx="417513" cy="512763"/>
              </a:xfrm>
              <a:custGeom>
                <a:avLst/>
                <a:gdLst/>
                <a:ahLst/>
                <a:cxnLst/>
                <a:rect l="0" t="0" r="r" b="b"/>
                <a:pathLst>
                  <a:path w="263" h="323">
                    <a:moveTo>
                      <a:pt x="12" y="323"/>
                    </a:moveTo>
                    <a:lnTo>
                      <a:pt x="0" y="314"/>
                    </a:lnTo>
                    <a:lnTo>
                      <a:pt x="203" y="108"/>
                    </a:lnTo>
                    <a:lnTo>
                      <a:pt x="248" y="0"/>
                    </a:lnTo>
                    <a:lnTo>
                      <a:pt x="263" y="6"/>
                    </a:lnTo>
                    <a:lnTo>
                      <a:pt x="218" y="117"/>
                    </a:lnTo>
                    <a:lnTo>
                      <a:pt x="218" y="117"/>
                    </a:lnTo>
                    <a:lnTo>
                      <a:pt x="12" y="32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2" name="Freeform 33"/>
              <p:cNvSpPr>
                <a:spLocks noEditPoints="1"/>
              </p:cNvSpPr>
              <p:nvPr/>
            </p:nvSpPr>
            <p:spPr bwMode="auto">
              <a:xfrm>
                <a:off x="11364912" y="474663"/>
                <a:ext cx="157163" cy="152400"/>
              </a:xfrm>
              <a:custGeom>
                <a:avLst/>
                <a:gdLst/>
                <a:ahLst/>
                <a:cxnLst/>
                <a:rect l="0" t="0" r="r" b="b"/>
                <a:pathLst>
                  <a:path w="33" h="32">
                    <a:moveTo>
                      <a:pt x="17" y="32"/>
                    </a:moveTo>
                    <a:cubicBezTo>
                      <a:pt x="13" y="32"/>
                      <a:pt x="9" y="30"/>
                      <a:pt x="6" y="27"/>
                    </a:cubicBezTo>
                    <a:cubicBezTo>
                      <a:pt x="0" y="21"/>
                      <a:pt x="0" y="11"/>
                      <a:pt x="6" y="5"/>
                    </a:cubicBezTo>
                    <a:cubicBezTo>
                      <a:pt x="9" y="2"/>
                      <a:pt x="13" y="0"/>
                      <a:pt x="17" y="0"/>
                    </a:cubicBezTo>
                    <a:cubicBezTo>
                      <a:pt x="21" y="0"/>
                      <a:pt x="25" y="2"/>
                      <a:pt x="28" y="5"/>
                    </a:cubicBezTo>
                    <a:cubicBezTo>
                      <a:pt x="31" y="8"/>
                      <a:pt x="33" y="12"/>
                      <a:pt x="33" y="16"/>
                    </a:cubicBezTo>
                    <a:cubicBezTo>
                      <a:pt x="33" y="20"/>
                      <a:pt x="31" y="24"/>
                      <a:pt x="28" y="27"/>
                    </a:cubicBezTo>
                    <a:cubicBezTo>
                      <a:pt x="25" y="30"/>
                      <a:pt x="21" y="32"/>
                      <a:pt x="17" y="32"/>
                    </a:cubicBezTo>
                    <a:close/>
                    <a:moveTo>
                      <a:pt x="17" y="4"/>
                    </a:moveTo>
                    <a:cubicBezTo>
                      <a:pt x="14" y="4"/>
                      <a:pt x="11" y="6"/>
                      <a:pt x="9" y="8"/>
                    </a:cubicBezTo>
                    <a:cubicBezTo>
                      <a:pt x="4" y="12"/>
                      <a:pt x="4" y="20"/>
                      <a:pt x="9" y="24"/>
                    </a:cubicBezTo>
                    <a:cubicBezTo>
                      <a:pt x="11" y="27"/>
                      <a:pt x="14" y="28"/>
                      <a:pt x="17" y="28"/>
                    </a:cubicBezTo>
                    <a:cubicBezTo>
                      <a:pt x="20" y="28"/>
                      <a:pt x="23" y="27"/>
                      <a:pt x="26" y="24"/>
                    </a:cubicBezTo>
                    <a:cubicBezTo>
                      <a:pt x="30" y="20"/>
                      <a:pt x="30" y="12"/>
                      <a:pt x="26" y="8"/>
                    </a:cubicBezTo>
                    <a:cubicBezTo>
                      <a:pt x="23" y="6"/>
                      <a:pt x="20"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3" name="Freeform 34"/>
              <p:cNvSpPr>
                <a:spLocks noEditPoints="1"/>
              </p:cNvSpPr>
              <p:nvPr/>
            </p:nvSpPr>
            <p:spPr bwMode="auto">
              <a:xfrm>
                <a:off x="11631612" y="1539875"/>
                <a:ext cx="188913"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4" name="Freeform 35"/>
              <p:cNvSpPr/>
              <p:nvPr/>
            </p:nvSpPr>
            <p:spPr bwMode="auto">
              <a:xfrm>
                <a:off x="11531600" y="5694363"/>
                <a:ext cx="298450" cy="1154113"/>
              </a:xfrm>
              <a:custGeom>
                <a:avLst/>
                <a:gdLst/>
                <a:ahLst/>
                <a:cxnLst/>
                <a:rect l="0" t="0" r="r" b="b"/>
                <a:pathLst>
                  <a:path w="188" h="727">
                    <a:moveTo>
                      <a:pt x="15" y="727"/>
                    </a:moveTo>
                    <a:lnTo>
                      <a:pt x="0" y="727"/>
                    </a:lnTo>
                    <a:lnTo>
                      <a:pt x="0" y="407"/>
                    </a:lnTo>
                    <a:lnTo>
                      <a:pt x="0" y="407"/>
                    </a:lnTo>
                    <a:lnTo>
                      <a:pt x="176" y="0"/>
                    </a:lnTo>
                    <a:lnTo>
                      <a:pt x="188" y="6"/>
                    </a:lnTo>
                    <a:lnTo>
                      <a:pt x="15" y="410"/>
                    </a:lnTo>
                    <a:lnTo>
                      <a:pt x="15" y="72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5" name="Freeform 36"/>
              <p:cNvSpPr>
                <a:spLocks noEditPoints="1"/>
              </p:cNvSpPr>
              <p:nvPr/>
            </p:nvSpPr>
            <p:spPr bwMode="auto">
              <a:xfrm>
                <a:off x="11772900" y="5551488"/>
                <a:ext cx="157163" cy="155575"/>
              </a:xfrm>
              <a:custGeom>
                <a:avLst/>
                <a:gdLst/>
                <a:ahLst/>
                <a:cxnLst/>
                <a:rect l="0" t="0" r="r" b="b"/>
                <a:pathLst>
                  <a:path w="33" h="33">
                    <a:moveTo>
                      <a:pt x="17" y="33"/>
                    </a:moveTo>
                    <a:cubicBezTo>
                      <a:pt x="8" y="33"/>
                      <a:pt x="0" y="25"/>
                      <a:pt x="0" y="16"/>
                    </a:cubicBezTo>
                    <a:cubicBezTo>
                      <a:pt x="0" y="7"/>
                      <a:pt x="8" y="0"/>
                      <a:pt x="17" y="0"/>
                    </a:cubicBezTo>
                    <a:cubicBezTo>
                      <a:pt x="26" y="0"/>
                      <a:pt x="33" y="7"/>
                      <a:pt x="33" y="16"/>
                    </a:cubicBezTo>
                    <a:cubicBezTo>
                      <a:pt x="33" y="25"/>
                      <a:pt x="26" y="33"/>
                      <a:pt x="17" y="33"/>
                    </a:cubicBezTo>
                    <a:close/>
                    <a:moveTo>
                      <a:pt x="17" y="4"/>
                    </a:moveTo>
                    <a:cubicBezTo>
                      <a:pt x="10" y="4"/>
                      <a:pt x="4" y="9"/>
                      <a:pt x="4" y="16"/>
                    </a:cubicBezTo>
                    <a:cubicBezTo>
                      <a:pt x="4" y="23"/>
                      <a:pt x="10" y="29"/>
                      <a:pt x="17" y="29"/>
                    </a:cubicBezTo>
                    <a:cubicBezTo>
                      <a:pt x="23" y="29"/>
                      <a:pt x="29" y="23"/>
                      <a:pt x="29" y="16"/>
                    </a:cubicBezTo>
                    <a:cubicBezTo>
                      <a:pt x="29" y="9"/>
                      <a:pt x="23"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6" name="Freeform 37"/>
              <p:cNvSpPr/>
              <p:nvPr/>
            </p:nvSpPr>
            <p:spPr bwMode="auto">
              <a:xfrm>
                <a:off x="11710987" y="4763"/>
                <a:ext cx="304800" cy="1544638"/>
              </a:xfrm>
              <a:custGeom>
                <a:avLst/>
                <a:gdLst/>
                <a:ahLst/>
                <a:cxnLst/>
                <a:rect l="0" t="0" r="r" b="b"/>
                <a:pathLst>
                  <a:path w="192" h="973">
                    <a:moveTo>
                      <a:pt x="15" y="973"/>
                    </a:moveTo>
                    <a:lnTo>
                      <a:pt x="0" y="973"/>
                    </a:lnTo>
                    <a:lnTo>
                      <a:pt x="0" y="790"/>
                    </a:lnTo>
                    <a:lnTo>
                      <a:pt x="174" y="614"/>
                    </a:lnTo>
                    <a:lnTo>
                      <a:pt x="174" y="0"/>
                    </a:lnTo>
                    <a:lnTo>
                      <a:pt x="192" y="0"/>
                    </a:lnTo>
                    <a:lnTo>
                      <a:pt x="192" y="620"/>
                    </a:lnTo>
                    <a:lnTo>
                      <a:pt x="15" y="796"/>
                    </a:lnTo>
                    <a:lnTo>
                      <a:pt x="15" y="97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7" name="Freeform 38"/>
              <p:cNvSpPr>
                <a:spLocks noEditPoints="1"/>
              </p:cNvSpPr>
              <p:nvPr/>
            </p:nvSpPr>
            <p:spPr bwMode="auto">
              <a:xfrm>
                <a:off x="11636375" y="4867275"/>
                <a:ext cx="188913"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8" name="Freeform 39"/>
              <p:cNvSpPr/>
              <p:nvPr/>
            </p:nvSpPr>
            <p:spPr bwMode="auto">
              <a:xfrm>
                <a:off x="11441112" y="5046663"/>
                <a:ext cx="307975" cy="1801813"/>
              </a:xfrm>
              <a:custGeom>
                <a:avLst/>
                <a:gdLst/>
                <a:ahLst/>
                <a:cxnLst/>
                <a:rect l="0" t="0" r="r" b="b"/>
                <a:pathLst>
                  <a:path w="194" h="1135">
                    <a:moveTo>
                      <a:pt x="18" y="1135"/>
                    </a:moveTo>
                    <a:lnTo>
                      <a:pt x="0" y="1135"/>
                    </a:lnTo>
                    <a:lnTo>
                      <a:pt x="0" y="354"/>
                    </a:lnTo>
                    <a:lnTo>
                      <a:pt x="176" y="177"/>
                    </a:lnTo>
                    <a:lnTo>
                      <a:pt x="176" y="0"/>
                    </a:lnTo>
                    <a:lnTo>
                      <a:pt x="194" y="0"/>
                    </a:lnTo>
                    <a:lnTo>
                      <a:pt x="194" y="183"/>
                    </a:lnTo>
                    <a:lnTo>
                      <a:pt x="18" y="360"/>
                    </a:lnTo>
                    <a:lnTo>
                      <a:pt x="18" y="11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9" name="Freeform 40"/>
              <p:cNvSpPr>
                <a:spLocks noEditPoints="1"/>
              </p:cNvSpPr>
              <p:nvPr/>
            </p:nvSpPr>
            <p:spPr bwMode="auto">
              <a:xfrm>
                <a:off x="11849100" y="64166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0" name="Rectangle 41"/>
              <p:cNvSpPr>
                <a:spLocks noChangeArrowheads="1"/>
              </p:cNvSpPr>
              <p:nvPr/>
            </p:nvSpPr>
            <p:spPr bwMode="auto">
              <a:xfrm>
                <a:off x="11939587" y="6596063"/>
                <a:ext cx="23813" cy="2524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grpSp>
      </p:grpSp>
      <p:sp>
        <p:nvSpPr>
          <p:cNvPr id="2" name="Title Placeholder 1"/>
          <p:cNvSpPr>
            <a:spLocks noGrp="1"/>
          </p:cNvSpPr>
          <p:nvPr>
            <p:ph type="title"/>
          </p:nvPr>
        </p:nvSpPr>
        <p:spPr>
          <a:xfrm>
            <a:off x="1141413" y="618518"/>
            <a:ext cx="9905998" cy="1478570"/>
          </a:xfrm>
          <a:prstGeom prst="rect">
            <a:avLst/>
          </a:prstGeom>
        </p:spPr>
        <p:txBody>
          <a:bodyPr vert="horz" lIns="91440" tIns="45720" rIns="91440" bIns="45720" rtlCol="0" anchor="ctr">
            <a:normAutofit/>
          </a:bodyPr>
          <a:lstStyle/>
          <a:p>
            <a:endParaRPr lang="en-US" dirty="0"/>
          </a:p>
        </p:txBody>
      </p:sp>
      <p:sp>
        <p:nvSpPr>
          <p:cNvPr id="3" name="Text Placeholder 2"/>
          <p:cNvSpPr>
            <a:spLocks noGrp="1"/>
          </p:cNvSpPr>
          <p:nvPr>
            <p:ph type="body" idx="1"/>
          </p:nvPr>
        </p:nvSpPr>
        <p:spPr>
          <a:xfrm>
            <a:off x="1141412" y="2249487"/>
            <a:ext cx="9905999" cy="354171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456921" y="5883276"/>
            <a:ext cx="2743200"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48A87A34-81AB-432B-8DAE-1953F412C126}" type="datetimeFigureOut">
              <a:rPr lang="en-US" dirty="0"/>
              <a:pPr/>
              <a:t>5/6/2022</a:t>
            </a:fld>
            <a:endParaRPr lang="en-US" dirty="0"/>
          </a:p>
        </p:txBody>
      </p:sp>
      <p:sp>
        <p:nvSpPr>
          <p:cNvPr id="5" name="Footer Placeholder 4"/>
          <p:cNvSpPr>
            <a:spLocks noGrp="1"/>
          </p:cNvSpPr>
          <p:nvPr>
            <p:ph type="ftr" sz="quarter" idx="3"/>
          </p:nvPr>
        </p:nvSpPr>
        <p:spPr>
          <a:xfrm>
            <a:off x="1141411" y="5883275"/>
            <a:ext cx="6239309" cy="365125"/>
          </a:xfrm>
          <a:prstGeom prst="rect">
            <a:avLst/>
          </a:prstGeom>
        </p:spPr>
        <p:txBody>
          <a:bodyPr vert="horz" lIns="91440" tIns="45720" rIns="91440" bIns="45720" rtlCol="0" anchor="ctr"/>
          <a:lstStyle>
            <a:lvl1pPr algn="l">
              <a:defRPr sz="1050" cap="all" baseline="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10276321" y="5883274"/>
            <a:ext cx="771089"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6D22F896-40B5-4ADD-8801-0D06FADFA095}" type="slidenum">
              <a:rPr lang="en-US" dirty="0"/>
              <a:pPr/>
              <a:t>‹#›</a:t>
            </a:fld>
            <a:endParaRPr lang="en-US" dirty="0"/>
          </a:p>
        </p:txBody>
      </p:sp>
    </p:spTree>
  </p:cSld>
  <p:clrMap bg1="dk1" tx1="lt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60" r:id="rId10"/>
    <p:sldLayoutId id="2147483661" r:id="rId11"/>
    <p:sldLayoutId id="2147483666" r:id="rId12"/>
    <p:sldLayoutId id="2147483663" r:id="rId13"/>
    <p:sldLayoutId id="2147483667" r:id="rId14"/>
    <p:sldLayoutId id="2147483668" r:id="rId15"/>
    <p:sldLayoutId id="2147483658" r:id="rId16"/>
    <p:sldLayoutId id="2147483659" r:id="rId17"/>
  </p:sldLayoutIdLst>
  <p:txStyles>
    <p:title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p:titleStyle>
    <p:bodyStyle>
      <a:lvl1pPr marL="228600" indent="-228600" algn="l" defTabSz="914400" rtl="0" eaLnBrk="1" latinLnBrk="0" hangingPunct="1">
        <a:lnSpc>
          <a:spcPct val="120000"/>
        </a:lnSpc>
        <a:spcBef>
          <a:spcPts val="1000"/>
        </a:spcBef>
        <a:buSzPct val="125000"/>
        <a:buFont typeface="Arial" panose="020B0604020202020204" pitchFamily="34" charset="0"/>
        <a:buChar char="•"/>
        <a:defRPr sz="2400" kern="1200">
          <a:solidFill>
            <a:schemeClr val="tx1"/>
          </a:solidFill>
          <a:effectLst>
            <a:outerShdw blurRad="152400" dist="38100" dir="2700000" algn="tl">
              <a:srgbClr val="000000">
                <a:alpha val="36000"/>
              </a:srgbClr>
            </a:outerShdw>
          </a:effectLst>
          <a:latin typeface="+mn-lt"/>
          <a:ea typeface="+mn-ea"/>
          <a:cs typeface="+mn-cs"/>
        </a:defRPr>
      </a:lvl1pPr>
      <a:lvl2pPr marL="685800" indent="-228600" algn="l" defTabSz="914400" rtl="0" eaLnBrk="1" latinLnBrk="0" hangingPunct="1">
        <a:lnSpc>
          <a:spcPct val="120000"/>
        </a:lnSpc>
        <a:spcBef>
          <a:spcPts val="500"/>
        </a:spcBef>
        <a:buSzPct val="125000"/>
        <a:buFont typeface="Arial" panose="020B0604020202020204" pitchFamily="34" charset="0"/>
        <a:buChar char="•"/>
        <a:defRPr sz="2000" kern="1200">
          <a:solidFill>
            <a:schemeClr val="tx1"/>
          </a:solidFill>
          <a:effectLst>
            <a:outerShdw blurRad="152400" dist="38100" dir="2700000" algn="tl">
              <a:srgbClr val="000000">
                <a:alpha val="36000"/>
              </a:srgbClr>
            </a:outerShdw>
          </a:effectLst>
          <a:latin typeface="+mn-lt"/>
          <a:ea typeface="+mn-ea"/>
          <a:cs typeface="+mn-cs"/>
        </a:defRPr>
      </a:lvl2pPr>
      <a:lvl3pPr marL="1143000" indent="-228600" algn="l" defTabSz="914400" rtl="0" eaLnBrk="1" latinLnBrk="0" hangingPunct="1">
        <a:lnSpc>
          <a:spcPct val="120000"/>
        </a:lnSpc>
        <a:spcBef>
          <a:spcPts val="500"/>
        </a:spcBef>
        <a:buSzPct val="125000"/>
        <a:buFont typeface="Arial" panose="020B0604020202020204" pitchFamily="34" charset="0"/>
        <a:buChar char="•"/>
        <a:defRPr sz="1800" kern="1200">
          <a:solidFill>
            <a:schemeClr val="tx1"/>
          </a:solidFill>
          <a:effectLst>
            <a:outerShdw blurRad="152400" dist="38100" dir="2700000" algn="tl">
              <a:srgbClr val="000000">
                <a:alpha val="36000"/>
              </a:srgbClr>
            </a:outerShdw>
          </a:effectLst>
          <a:latin typeface="+mn-lt"/>
          <a:ea typeface="+mn-ea"/>
          <a:cs typeface="+mn-cs"/>
        </a:defRPr>
      </a:lvl3pPr>
      <a:lvl4pPr marL="1600200" indent="-228600" algn="l" defTabSz="914400" rtl="0" eaLnBrk="1" latinLnBrk="0" hangingPunct="1">
        <a:lnSpc>
          <a:spcPct val="120000"/>
        </a:lnSpc>
        <a:spcBef>
          <a:spcPts val="500"/>
        </a:spcBef>
        <a:buSzPct val="125000"/>
        <a:buFont typeface="Arial" panose="020B0604020202020204" pitchFamily="34" charset="0"/>
        <a:buChar char="•"/>
        <a:defRPr sz="1600" kern="1200">
          <a:solidFill>
            <a:schemeClr val="tx1"/>
          </a:solidFill>
          <a:effectLst>
            <a:outerShdw blurRad="152400" dist="38100" dir="2700000" algn="tl">
              <a:srgbClr val="000000">
                <a:alpha val="36000"/>
              </a:srgbClr>
            </a:outerShdw>
          </a:effectLst>
          <a:latin typeface="+mn-lt"/>
          <a:ea typeface="+mn-ea"/>
          <a:cs typeface="+mn-cs"/>
        </a:defRPr>
      </a:lvl4pPr>
      <a:lvl5pPr marL="2057400" indent="-228600" algn="l" defTabSz="914400" rtl="0" eaLnBrk="1" latinLnBrk="0" hangingPunct="1">
        <a:lnSpc>
          <a:spcPct val="120000"/>
        </a:lnSpc>
        <a:spcBef>
          <a:spcPts val="500"/>
        </a:spcBef>
        <a:buSzPct val="125000"/>
        <a:buFont typeface="Arial" panose="020B0604020202020204" pitchFamily="34" charset="0"/>
        <a:buChar char="•"/>
        <a:defRPr sz="1600" kern="1200">
          <a:solidFill>
            <a:schemeClr val="tx1"/>
          </a:solidFill>
          <a:effectLst>
            <a:outerShdw blurRad="152400" dist="38100" dir="2700000" algn="tl">
              <a:srgbClr val="000000">
                <a:alpha val="36000"/>
              </a:srgbClr>
            </a:outerShdw>
          </a:effectLst>
          <a:latin typeface="+mn-lt"/>
          <a:ea typeface="+mn-ea"/>
          <a:cs typeface="+mn-cs"/>
        </a:defRPr>
      </a:lvl5pPr>
      <a:lvl6pPr marL="25146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7.gif"/><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4.xml"/><Relationship Id="rId1" Type="http://schemas.openxmlformats.org/officeDocument/2006/relationships/slideLayout" Target="../slideLayouts/slideLayout7.xml"/><Relationship Id="rId4" Type="http://schemas.openxmlformats.org/officeDocument/2006/relationships/image" Target="../media/image9.jpeg"/></Relationships>
</file>

<file path=ppt/slides/_rels/slide1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hyperlink" Target="https://creativecommons.org/licenses/by-sa/3.0/" TargetMode="External"/><Relationship Id="rId13" Type="http://schemas.openxmlformats.org/officeDocument/2006/relationships/diagramColors" Target="../diagrams/colors1.xml"/><Relationship Id="rId3" Type="http://schemas.openxmlformats.org/officeDocument/2006/relationships/image" Target="../media/image10.jpg"/><Relationship Id="rId7" Type="http://schemas.openxmlformats.org/officeDocument/2006/relationships/hyperlink" Target="https://netivist.org/debate/pokemon-go-pros-and-cons" TargetMode="External"/><Relationship Id="rId12" Type="http://schemas.openxmlformats.org/officeDocument/2006/relationships/diagramQuickStyle" Target="../diagrams/quickStyle1.xml"/><Relationship Id="rId2" Type="http://schemas.openxmlformats.org/officeDocument/2006/relationships/notesSlide" Target="../notesSlides/notesSlide16.xml"/><Relationship Id="rId1" Type="http://schemas.openxmlformats.org/officeDocument/2006/relationships/slideLayout" Target="../slideLayouts/slideLayout15.xml"/><Relationship Id="rId6" Type="http://schemas.openxmlformats.org/officeDocument/2006/relationships/image" Target="../media/image12.jpg"/><Relationship Id="rId11" Type="http://schemas.openxmlformats.org/officeDocument/2006/relationships/diagramLayout" Target="../diagrams/layout1.xml"/><Relationship Id="rId5" Type="http://schemas.openxmlformats.org/officeDocument/2006/relationships/image" Target="../media/image11.jpg"/><Relationship Id="rId10" Type="http://schemas.openxmlformats.org/officeDocument/2006/relationships/diagramData" Target="../diagrams/data1.xml"/><Relationship Id="rId4" Type="http://schemas.openxmlformats.org/officeDocument/2006/relationships/hyperlink" Target="https://www.flickr.com/photos/40168038@N08/36005328171" TargetMode="External"/><Relationship Id="rId9" Type="http://schemas.openxmlformats.org/officeDocument/2006/relationships/hyperlink" Target="https://creativecommons.org/licenses/by-nc-sa/3.0/" TargetMode="External"/><Relationship Id="rId14" Type="http://schemas.microsoft.com/office/2007/relationships/diagramDrawing" Target="../diagrams/drawing1.xml"/></Relationships>
</file>

<file path=ppt/slides/_rels/slide17.xml.rels><?xml version="1.0" encoding="UTF-8" standalone="yes"?>
<Relationships xmlns="http://schemas.openxmlformats.org/package/2006/relationships"><Relationship Id="rId8" Type="http://schemas.openxmlformats.org/officeDocument/2006/relationships/hyperlink" Target="https://creativecommons.org/licenses/by-sa/3.0/" TargetMode="External"/><Relationship Id="rId13" Type="http://schemas.openxmlformats.org/officeDocument/2006/relationships/diagramLayout" Target="../diagrams/layout2.xml"/><Relationship Id="rId3" Type="http://schemas.openxmlformats.org/officeDocument/2006/relationships/image" Target="../media/image13.jpg"/><Relationship Id="rId7" Type="http://schemas.openxmlformats.org/officeDocument/2006/relationships/hyperlink" Target="https://www.universetoday.com/77523/multiverse/" TargetMode="External"/><Relationship Id="rId12" Type="http://schemas.openxmlformats.org/officeDocument/2006/relationships/diagramData" Target="../diagrams/data2.xml"/><Relationship Id="rId2" Type="http://schemas.openxmlformats.org/officeDocument/2006/relationships/notesSlide" Target="../notesSlides/notesSlide17.xml"/><Relationship Id="rId16" Type="http://schemas.microsoft.com/office/2007/relationships/diagramDrawing" Target="../diagrams/drawing2.xml"/><Relationship Id="rId1" Type="http://schemas.openxmlformats.org/officeDocument/2006/relationships/slideLayout" Target="../slideLayouts/slideLayout15.xml"/><Relationship Id="rId6" Type="http://schemas.openxmlformats.org/officeDocument/2006/relationships/image" Target="../media/image15.jpg"/><Relationship Id="rId11" Type="http://schemas.openxmlformats.org/officeDocument/2006/relationships/image" Target="../media/image17.svg"/><Relationship Id="rId5" Type="http://schemas.openxmlformats.org/officeDocument/2006/relationships/image" Target="../media/image14.gif"/><Relationship Id="rId15" Type="http://schemas.openxmlformats.org/officeDocument/2006/relationships/diagramColors" Target="../diagrams/colors2.xml"/><Relationship Id="rId10" Type="http://schemas.openxmlformats.org/officeDocument/2006/relationships/image" Target="../media/image16.png"/><Relationship Id="rId4" Type="http://schemas.openxmlformats.org/officeDocument/2006/relationships/hyperlink" Target="http://www.playstationblast.com.br/2017/02/playstation-vr-vendas.html" TargetMode="External"/><Relationship Id="rId9" Type="http://schemas.openxmlformats.org/officeDocument/2006/relationships/hyperlink" Target="https://creativecommons.org/licenses/by/3.0/" TargetMode="External"/><Relationship Id="rId14" Type="http://schemas.openxmlformats.org/officeDocument/2006/relationships/diagramQuickStyle" Target="../diagrams/quickStyle2.xml"/></Relationships>
</file>

<file path=ppt/slides/_rels/slide18.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image" Target="../media/image14.png"/><Relationship Id="rId7" Type="http://schemas.openxmlformats.org/officeDocument/2006/relationships/diagramColors" Target="../diagrams/colors3.xml"/><Relationship Id="rId2" Type="http://schemas.openxmlformats.org/officeDocument/2006/relationships/notesSlide" Target="../notesSlides/notesSlide18.xml"/><Relationship Id="rId1" Type="http://schemas.openxmlformats.org/officeDocument/2006/relationships/slideLayout" Target="../slideLayouts/slideLayout7.xml"/><Relationship Id="rId6" Type="http://schemas.openxmlformats.org/officeDocument/2006/relationships/diagramQuickStyle" Target="../diagrams/quickStyle3.xml"/><Relationship Id="rId5" Type="http://schemas.openxmlformats.org/officeDocument/2006/relationships/diagramLayout" Target="../diagrams/layout3.xml"/><Relationship Id="rId4" Type="http://schemas.openxmlformats.org/officeDocument/2006/relationships/diagramData" Target="../diagrams/data3.xml"/></Relationships>
</file>

<file path=ppt/slides/_rels/slide1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hyperlink" Target="https://github.com/michailmarkou1995" TargetMode="External"/><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hyperlink" Target="mailto:mmarkou19b@amcstudent.edu.gr"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22.xml"/><Relationship Id="rId1" Type="http://schemas.openxmlformats.org/officeDocument/2006/relationships/slideLayout" Target="../slideLayouts/slideLayout7.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3.gif"/><Relationship Id="rId7" Type="http://schemas.openxmlformats.org/officeDocument/2006/relationships/image" Target="../media/image23.svg"/><Relationship Id="rId2" Type="http://schemas.openxmlformats.org/officeDocument/2006/relationships/notesSlide" Target="../notesSlides/notesSlide23.xml"/><Relationship Id="rId1" Type="http://schemas.openxmlformats.org/officeDocument/2006/relationships/slideLayout" Target="../slideLayouts/slideLayout7.xml"/><Relationship Id="rId6" Type="http://schemas.openxmlformats.org/officeDocument/2006/relationships/image" Target="../media/image22.png"/><Relationship Id="rId5" Type="http://schemas.openxmlformats.org/officeDocument/2006/relationships/image" Target="../media/image21.jpg"/><Relationship Id="rId4" Type="http://schemas.openxmlformats.org/officeDocument/2006/relationships/image" Target="../media/image20.gif"/></Relationships>
</file>

<file path=ppt/slides/_rels/slide24.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24.xml"/><Relationship Id="rId1" Type="http://schemas.openxmlformats.org/officeDocument/2006/relationships/slideLayout" Target="../slideLayouts/slideLayout7.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2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5.xml"/><Relationship Id="rId1" Type="http://schemas.openxmlformats.org/officeDocument/2006/relationships/slideLayout" Target="../slideLayouts/slideLayout7.xml"/><Relationship Id="rId4" Type="http://schemas.openxmlformats.org/officeDocument/2006/relationships/image" Target="../media/image26.jpeg"/></Relationships>
</file>

<file path=ppt/slides/_rels/slide2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6.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8.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30.xm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3" Type="http://schemas.openxmlformats.org/officeDocument/2006/relationships/hyperlink" Target="https://medium.com/@ow/the-metaverse-is-already-here-its-called-fortnite-3a7d92e4acfd" TargetMode="External"/><Relationship Id="rId2" Type="http://schemas.openxmlformats.org/officeDocument/2006/relationships/notesSlide" Target="../notesSlides/notesSlide31.xml"/><Relationship Id="rId1" Type="http://schemas.openxmlformats.org/officeDocument/2006/relationships/slideLayout" Target="../slideLayouts/slideLayout10.xml"/><Relationship Id="rId4" Type="http://schemas.openxmlformats.org/officeDocument/2006/relationships/image" Target="../media/image27.jpeg"/></Relationships>
</file>

<file path=ppt/slides/_rels/slide32.xml.rels><?xml version="1.0" encoding="UTF-8" standalone="yes"?>
<Relationships xmlns="http://schemas.openxmlformats.org/package/2006/relationships"><Relationship Id="rId8" Type="http://schemas.openxmlformats.org/officeDocument/2006/relationships/diagramData" Target="../diagrams/data6.xml"/><Relationship Id="rId13" Type="http://schemas.openxmlformats.org/officeDocument/2006/relationships/diagramData" Target="../diagrams/data7.xml"/><Relationship Id="rId3" Type="http://schemas.openxmlformats.org/officeDocument/2006/relationships/diagramData" Target="../diagrams/data5.xml"/><Relationship Id="rId7" Type="http://schemas.microsoft.com/office/2007/relationships/diagramDrawing" Target="../diagrams/drawing5.xml"/><Relationship Id="rId12" Type="http://schemas.microsoft.com/office/2007/relationships/diagramDrawing" Target="../diagrams/drawing6.xml"/><Relationship Id="rId17" Type="http://schemas.microsoft.com/office/2007/relationships/diagramDrawing" Target="../diagrams/drawing7.xml"/><Relationship Id="rId2" Type="http://schemas.openxmlformats.org/officeDocument/2006/relationships/notesSlide" Target="../notesSlides/notesSlide32.xml"/><Relationship Id="rId16" Type="http://schemas.openxmlformats.org/officeDocument/2006/relationships/diagramColors" Target="../diagrams/colors7.xml"/><Relationship Id="rId1" Type="http://schemas.openxmlformats.org/officeDocument/2006/relationships/slideLayout" Target="../slideLayouts/slideLayout7.xml"/><Relationship Id="rId6" Type="http://schemas.openxmlformats.org/officeDocument/2006/relationships/diagramColors" Target="../diagrams/colors5.xml"/><Relationship Id="rId11" Type="http://schemas.openxmlformats.org/officeDocument/2006/relationships/diagramColors" Target="../diagrams/colors6.xml"/><Relationship Id="rId5" Type="http://schemas.openxmlformats.org/officeDocument/2006/relationships/diagramQuickStyle" Target="../diagrams/quickStyle5.xml"/><Relationship Id="rId15" Type="http://schemas.openxmlformats.org/officeDocument/2006/relationships/diagramQuickStyle" Target="../diagrams/quickStyle7.xml"/><Relationship Id="rId10" Type="http://schemas.openxmlformats.org/officeDocument/2006/relationships/diagramQuickStyle" Target="../diagrams/quickStyle6.xml"/><Relationship Id="rId4" Type="http://schemas.openxmlformats.org/officeDocument/2006/relationships/diagramLayout" Target="../diagrams/layout5.xml"/><Relationship Id="rId9" Type="http://schemas.openxmlformats.org/officeDocument/2006/relationships/diagramLayout" Target="../diagrams/layout6.xml"/><Relationship Id="rId14" Type="http://schemas.openxmlformats.org/officeDocument/2006/relationships/diagramLayout" Target="../diagrams/layout7.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35.xml"/><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36.xml"/><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37.xml"/><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1.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5.jpeg"/><Relationship Id="rId2" Type="http://schemas.openxmlformats.org/officeDocument/2006/relationships/tags" Target="../tags/tag3.xml"/><Relationship Id="rId1" Type="http://schemas.openxmlformats.org/officeDocument/2006/relationships/video" Target="https://www.youtube.com/embed/2QcsIlXXc1M?feature=oembed" TargetMode="External"/><Relationship Id="rId6" Type="http://schemas.openxmlformats.org/officeDocument/2006/relationships/image" Target="../media/image4.gif"/><Relationship Id="rId5" Type="http://schemas.openxmlformats.org/officeDocument/2006/relationships/image" Target="../media/image3.gif"/><Relationship Id="rId4" Type="http://schemas.openxmlformats.org/officeDocument/2006/relationships/notesSlide" Target="../notesSlides/notesSlide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42.xml"/><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3" Type="http://schemas.openxmlformats.org/officeDocument/2006/relationships/hyperlink" Target="https://svitla.com/blog/sdlc-methodologies" TargetMode="External"/><Relationship Id="rId2" Type="http://schemas.openxmlformats.org/officeDocument/2006/relationships/notesSlide" Target="../notesSlides/notesSlide43.xml"/><Relationship Id="rId1" Type="http://schemas.openxmlformats.org/officeDocument/2006/relationships/slideLayout" Target="../slideLayouts/slideLayout7.xml"/><Relationship Id="rId4" Type="http://schemas.openxmlformats.org/officeDocument/2006/relationships/image" Target="../media/image33.png"/></Relationships>
</file>

<file path=ppt/slides/_rels/slide4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44.xml"/><Relationship Id="rId1" Type="http://schemas.openxmlformats.org/officeDocument/2006/relationships/slideLayout" Target="../slideLayouts/slideLayout7.xml"/><Relationship Id="rId4" Type="http://schemas.openxmlformats.org/officeDocument/2006/relationships/image" Target="../media/image35.png"/></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8" Type="http://schemas.openxmlformats.org/officeDocument/2006/relationships/hyperlink" Target="https://youtu.be/K6WGjKm1JZo" TargetMode="External"/><Relationship Id="rId3" Type="http://schemas.openxmlformats.org/officeDocument/2006/relationships/image" Target="../media/image3.gif"/><Relationship Id="rId7" Type="http://schemas.openxmlformats.org/officeDocument/2006/relationships/hyperlink" Target="https://youtu.be/UaiMWREsuQU" TargetMode="External"/><Relationship Id="rId2" Type="http://schemas.openxmlformats.org/officeDocument/2006/relationships/notesSlide" Target="../notesSlides/notesSlide5.xml"/><Relationship Id="rId1" Type="http://schemas.openxmlformats.org/officeDocument/2006/relationships/slideLayout" Target="../slideLayouts/slideLayout6.xml"/><Relationship Id="rId6" Type="http://schemas.openxmlformats.org/officeDocument/2006/relationships/hyperlink" Target="https://youtu.be/FvyhLrOVsgU" TargetMode="External"/><Relationship Id="rId5" Type="http://schemas.openxmlformats.org/officeDocument/2006/relationships/hyperlink" Target="https://youtu.be/EWK5TxIxNug" TargetMode="External"/><Relationship Id="rId4" Type="http://schemas.openxmlformats.org/officeDocument/2006/relationships/image" Target="../media/image4.gif"/></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hyperlink" Target="https://www.unrealengine.com/marketplace/en-US/product/advanced-voip-voice-chat-system" TargetMode="External"/><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openxmlformats.org/officeDocument/2006/relationships/image" Target="../media/image6.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pattFill prst="pct5">
          <a:fgClr>
            <a:schemeClr val="accent1"/>
          </a:fgClr>
          <a:bgClr>
            <a:schemeClr val="bg1"/>
          </a:bgClr>
        </a:pattFill>
        <a:effectLst/>
      </p:bgPr>
    </p:bg>
    <p:spTree>
      <p:nvGrpSpPr>
        <p:cNvPr id="1" name=""/>
        <p:cNvGrpSpPr/>
        <p:nvPr/>
      </p:nvGrpSpPr>
      <p:grpSpPr>
        <a:xfrm>
          <a:off x="0" y="0"/>
          <a:ext cx="0" cy="0"/>
          <a:chOff x="0" y="0"/>
          <a:chExt cx="0" cy="0"/>
        </a:xfrm>
      </p:grpSpPr>
      <p:sp>
        <p:nvSpPr>
          <p:cNvPr id="261" name="Rectangle 260">
            <a:extLst>
              <a:ext uri="{FF2B5EF4-FFF2-40B4-BE49-F238E27FC236}">
                <a16:creationId xmlns:a16="http://schemas.microsoft.com/office/drawing/2014/main" id="{C01732A5-1625-483B-A230-06B829BEA444}"/>
              </a:ext>
            </a:extLst>
          </p:cNvPr>
          <p:cNvSpPr/>
          <p:nvPr/>
        </p:nvSpPr>
        <p:spPr>
          <a:xfrm rot="20129969">
            <a:off x="3515031" y="1961406"/>
            <a:ext cx="2370585" cy="923330"/>
          </a:xfrm>
          <a:prstGeom prst="rect">
            <a:avLst/>
          </a:prstGeom>
          <a:noFill/>
          <a:effectLst>
            <a:glow rad="63500">
              <a:schemeClr val="accent1">
                <a:satMod val="175000"/>
                <a:alpha val="40000"/>
              </a:schemeClr>
            </a:glow>
            <a:softEdge rad="63500"/>
          </a:effectLst>
        </p:spPr>
        <p:txBody>
          <a:bodyPr wrap="square" lIns="91440" tIns="45720" rIns="91440" bIns="45720">
            <a:spAutoFit/>
          </a:bodyPr>
          <a:lstStyle/>
          <a:p>
            <a:pPr algn="ctr"/>
            <a:r>
              <a:rPr lang="en-US" sz="5400" b="0" cap="none" spc="0" dirty="0">
                <a:ln w="0"/>
                <a:solidFill>
                  <a:schemeClr val="accent1"/>
                </a:solidFill>
                <a:effectLst>
                  <a:outerShdw blurRad="60007" dist="310007" dir="7680000" sx="176000" sy="176000" kx="1300200" algn="ctr" rotWithShape="0">
                    <a:prstClr val="black">
                      <a:alpha val="32000"/>
                    </a:prstClr>
                  </a:outerShdw>
                  <a:reflection blurRad="6350" stA="50000" endA="300" endPos="50000" dist="60007" dir="5400000" sy="-100000" algn="bl" rotWithShape="0"/>
                </a:effectLst>
              </a:rPr>
              <a:t>Survival</a:t>
            </a:r>
          </a:p>
        </p:txBody>
      </p:sp>
      <p:sp>
        <p:nvSpPr>
          <p:cNvPr id="2" name="Title 1">
            <a:extLst>
              <a:ext uri="{FF2B5EF4-FFF2-40B4-BE49-F238E27FC236}">
                <a16:creationId xmlns:a16="http://schemas.microsoft.com/office/drawing/2014/main" id="{1137059E-A24F-4CC9-8C0C-5AAFAEF8166D}"/>
              </a:ext>
            </a:extLst>
          </p:cNvPr>
          <p:cNvSpPr>
            <a:spLocks noGrp="1"/>
          </p:cNvSpPr>
          <p:nvPr>
            <p:ph type="ctrTitle"/>
          </p:nvPr>
        </p:nvSpPr>
        <p:spPr>
          <a:xfrm>
            <a:off x="1876424" y="1122363"/>
            <a:ext cx="9963479" cy="2387600"/>
          </a:xfrm>
        </p:spPr>
        <p:txBody>
          <a:bodyPr/>
          <a:lstStyle/>
          <a:p>
            <a:r>
              <a:rPr lang="en-US" b="1" dirty="0">
                <a:effectLst>
                  <a:outerShdw blurRad="38100" dist="38100" dir="2700000" algn="tl">
                    <a:srgbClr val="000000">
                      <a:alpha val="43137"/>
                    </a:srgbClr>
                  </a:outerShdw>
                </a:effectLst>
              </a:rPr>
              <a:t>Advanced Gameplay Mechanics</a:t>
            </a:r>
          </a:p>
        </p:txBody>
      </p:sp>
      <p:sp>
        <p:nvSpPr>
          <p:cNvPr id="3" name="Subtitle 2">
            <a:extLst>
              <a:ext uri="{FF2B5EF4-FFF2-40B4-BE49-F238E27FC236}">
                <a16:creationId xmlns:a16="http://schemas.microsoft.com/office/drawing/2014/main" id="{1A082651-88DF-4B5A-B5F7-B15D1F3FF40C}"/>
              </a:ext>
            </a:extLst>
          </p:cNvPr>
          <p:cNvSpPr>
            <a:spLocks noGrp="1"/>
          </p:cNvSpPr>
          <p:nvPr>
            <p:ph type="subTitle" idx="1"/>
          </p:nvPr>
        </p:nvSpPr>
        <p:spPr/>
        <p:txBody>
          <a:bodyPr>
            <a:normAutofit/>
          </a:bodyPr>
          <a:lstStyle/>
          <a:p>
            <a:r>
              <a:rPr lang="en-US" sz="2400" dirty="0"/>
              <a:t>For multiplayer in unreal engine</a:t>
            </a:r>
          </a:p>
        </p:txBody>
      </p:sp>
      <p:cxnSp>
        <p:nvCxnSpPr>
          <p:cNvPr id="4" name="Google Shape;649;p48">
            <a:extLst>
              <a:ext uri="{FF2B5EF4-FFF2-40B4-BE49-F238E27FC236}">
                <a16:creationId xmlns:a16="http://schemas.microsoft.com/office/drawing/2014/main" id="{9FC18034-0C70-42C8-AB34-646C7282A3B5}"/>
              </a:ext>
            </a:extLst>
          </p:cNvPr>
          <p:cNvCxnSpPr/>
          <p:nvPr/>
        </p:nvCxnSpPr>
        <p:spPr>
          <a:xfrm>
            <a:off x="-405826" y="4199650"/>
            <a:ext cx="4564500" cy="0"/>
          </a:xfrm>
          <a:prstGeom prst="straightConnector1">
            <a:avLst/>
          </a:prstGeom>
          <a:noFill/>
          <a:ln w="19050" cap="flat" cmpd="sng">
            <a:solidFill>
              <a:schemeClr val="accent1"/>
            </a:solidFill>
            <a:prstDash val="solid"/>
            <a:round/>
            <a:headEnd type="none" w="med" len="med"/>
            <a:tailEnd type="none" w="med" len="med"/>
          </a:ln>
        </p:spPr>
      </p:cxnSp>
      <p:sp>
        <p:nvSpPr>
          <p:cNvPr id="5" name="Google Shape;436;p48">
            <a:extLst>
              <a:ext uri="{FF2B5EF4-FFF2-40B4-BE49-F238E27FC236}">
                <a16:creationId xmlns:a16="http://schemas.microsoft.com/office/drawing/2014/main" id="{C4AEE91C-83D1-44CE-886E-FF861E04F114}"/>
              </a:ext>
            </a:extLst>
          </p:cNvPr>
          <p:cNvSpPr/>
          <p:nvPr/>
        </p:nvSpPr>
        <p:spPr>
          <a:xfrm rot="10800000" flipH="1">
            <a:off x="4158674" y="41290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652;p48">
            <a:extLst>
              <a:ext uri="{FF2B5EF4-FFF2-40B4-BE49-F238E27FC236}">
                <a16:creationId xmlns:a16="http://schemas.microsoft.com/office/drawing/2014/main" id="{49A3A698-6859-46BA-821E-F305ADEA92BA}"/>
              </a:ext>
            </a:extLst>
          </p:cNvPr>
          <p:cNvSpPr/>
          <p:nvPr/>
        </p:nvSpPr>
        <p:spPr>
          <a:xfrm>
            <a:off x="1474771" y="254155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51;p48">
            <a:extLst>
              <a:ext uri="{FF2B5EF4-FFF2-40B4-BE49-F238E27FC236}">
                <a16:creationId xmlns:a16="http://schemas.microsoft.com/office/drawing/2014/main" id="{AA571E70-BE30-4DAB-B330-7F676A843563}"/>
              </a:ext>
            </a:extLst>
          </p:cNvPr>
          <p:cNvSpPr/>
          <p:nvPr/>
        </p:nvSpPr>
        <p:spPr>
          <a:xfrm>
            <a:off x="9791235" y="266050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53;p48">
            <a:extLst>
              <a:ext uri="{FF2B5EF4-FFF2-40B4-BE49-F238E27FC236}">
                <a16:creationId xmlns:a16="http://schemas.microsoft.com/office/drawing/2014/main" id="{2E9B6D8F-ACFD-4F05-9A95-0FCA2AC32746}"/>
              </a:ext>
            </a:extLst>
          </p:cNvPr>
          <p:cNvSpPr/>
          <p:nvPr/>
        </p:nvSpPr>
        <p:spPr>
          <a:xfrm>
            <a:off x="8513639" y="15054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54;p48">
            <a:extLst>
              <a:ext uri="{FF2B5EF4-FFF2-40B4-BE49-F238E27FC236}">
                <a16:creationId xmlns:a16="http://schemas.microsoft.com/office/drawing/2014/main" id="{C42D8EF1-31FA-4450-82D1-E523EE36173A}"/>
              </a:ext>
            </a:extLst>
          </p:cNvPr>
          <p:cNvSpPr/>
          <p:nvPr/>
        </p:nvSpPr>
        <p:spPr>
          <a:xfrm rot="10800000" flipH="1">
            <a:off x="3309539" y="478630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55;p48">
            <a:extLst>
              <a:ext uri="{FF2B5EF4-FFF2-40B4-BE49-F238E27FC236}">
                <a16:creationId xmlns:a16="http://schemas.microsoft.com/office/drawing/2014/main" id="{2E3C7B95-F711-4EBC-A755-75C73525E7F0}"/>
              </a:ext>
            </a:extLst>
          </p:cNvPr>
          <p:cNvSpPr/>
          <p:nvPr/>
        </p:nvSpPr>
        <p:spPr>
          <a:xfrm rot="10800000" flipH="1">
            <a:off x="4930389" y="5501309"/>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94" name="Group 293">
            <a:extLst>
              <a:ext uri="{FF2B5EF4-FFF2-40B4-BE49-F238E27FC236}">
                <a16:creationId xmlns:a16="http://schemas.microsoft.com/office/drawing/2014/main" id="{0ABFBE28-212E-43D5-8380-54FF67ABFE55}"/>
              </a:ext>
            </a:extLst>
          </p:cNvPr>
          <p:cNvGrpSpPr/>
          <p:nvPr/>
        </p:nvGrpSpPr>
        <p:grpSpPr>
          <a:xfrm>
            <a:off x="5105762" y="4198067"/>
            <a:ext cx="547271" cy="455226"/>
            <a:chOff x="5105762" y="4198067"/>
            <a:chExt cx="547271" cy="455226"/>
          </a:xfrm>
        </p:grpSpPr>
        <p:grpSp>
          <p:nvGrpSpPr>
            <p:cNvPr id="293" name="Group 292">
              <a:extLst>
                <a:ext uri="{FF2B5EF4-FFF2-40B4-BE49-F238E27FC236}">
                  <a16:creationId xmlns:a16="http://schemas.microsoft.com/office/drawing/2014/main" id="{C8DF9C90-F526-4380-98F3-48A184B5EE27}"/>
                </a:ext>
              </a:extLst>
            </p:cNvPr>
            <p:cNvGrpSpPr/>
            <p:nvPr/>
          </p:nvGrpSpPr>
          <p:grpSpPr>
            <a:xfrm>
              <a:off x="5241585" y="4198067"/>
              <a:ext cx="411448" cy="357384"/>
              <a:chOff x="5241585" y="4198067"/>
              <a:chExt cx="411448" cy="357384"/>
            </a:xfrm>
          </p:grpSpPr>
          <p:sp>
            <p:nvSpPr>
              <p:cNvPr id="17" name="Google Shape;658;p48">
                <a:extLst>
                  <a:ext uri="{FF2B5EF4-FFF2-40B4-BE49-F238E27FC236}">
                    <a16:creationId xmlns:a16="http://schemas.microsoft.com/office/drawing/2014/main" id="{0F7507A4-EC6C-4C6D-89E5-E15D462AA051}"/>
                  </a:ext>
                </a:extLst>
              </p:cNvPr>
              <p:cNvSpPr/>
              <p:nvPr/>
            </p:nvSpPr>
            <p:spPr>
              <a:xfrm rot="14053952">
                <a:off x="5502282" y="4209017"/>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59;p48">
                <a:extLst>
                  <a:ext uri="{FF2B5EF4-FFF2-40B4-BE49-F238E27FC236}">
                    <a16:creationId xmlns:a16="http://schemas.microsoft.com/office/drawing/2014/main" id="{2CAD3589-AADB-49C9-931B-3FEC1075B404}"/>
                  </a:ext>
                </a:extLst>
              </p:cNvPr>
              <p:cNvSpPr/>
              <p:nvPr/>
            </p:nvSpPr>
            <p:spPr>
              <a:xfrm rot="14053952">
                <a:off x="5366459" y="4306858"/>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60;p48">
                <a:extLst>
                  <a:ext uri="{FF2B5EF4-FFF2-40B4-BE49-F238E27FC236}">
                    <a16:creationId xmlns:a16="http://schemas.microsoft.com/office/drawing/2014/main" id="{36813766-AC83-41AF-A283-BF3D3E147CA6}"/>
                  </a:ext>
                </a:extLst>
              </p:cNvPr>
              <p:cNvSpPr/>
              <p:nvPr/>
            </p:nvSpPr>
            <p:spPr>
              <a:xfrm rot="14053952">
                <a:off x="5230635" y="4404700"/>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0" name="Google Shape;661;p48">
              <a:extLst>
                <a:ext uri="{FF2B5EF4-FFF2-40B4-BE49-F238E27FC236}">
                  <a16:creationId xmlns:a16="http://schemas.microsoft.com/office/drawing/2014/main" id="{45E13989-B495-4D89-BBF1-C96435567932}"/>
                </a:ext>
              </a:extLst>
            </p:cNvPr>
            <p:cNvSpPr/>
            <p:nvPr/>
          </p:nvSpPr>
          <p:spPr>
            <a:xfrm rot="14053952">
              <a:off x="5094812" y="4502542"/>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92" name="Group 291">
            <a:extLst>
              <a:ext uri="{FF2B5EF4-FFF2-40B4-BE49-F238E27FC236}">
                <a16:creationId xmlns:a16="http://schemas.microsoft.com/office/drawing/2014/main" id="{518E8674-5CE0-4716-B92F-14D1E6120D34}"/>
              </a:ext>
            </a:extLst>
          </p:cNvPr>
          <p:cNvGrpSpPr/>
          <p:nvPr/>
        </p:nvGrpSpPr>
        <p:grpSpPr>
          <a:xfrm>
            <a:off x="2122051" y="4430998"/>
            <a:ext cx="965465" cy="814701"/>
            <a:chOff x="2122052" y="4430998"/>
            <a:chExt cx="516998" cy="436265"/>
          </a:xfrm>
        </p:grpSpPr>
        <p:sp>
          <p:nvSpPr>
            <p:cNvPr id="21" name="Google Shape;663;p48">
              <a:extLst>
                <a:ext uri="{FF2B5EF4-FFF2-40B4-BE49-F238E27FC236}">
                  <a16:creationId xmlns:a16="http://schemas.microsoft.com/office/drawing/2014/main" id="{5791E162-FCA4-45CA-8393-2656B2BB9363}"/>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4;p48">
              <a:extLst>
                <a:ext uri="{FF2B5EF4-FFF2-40B4-BE49-F238E27FC236}">
                  <a16:creationId xmlns:a16="http://schemas.microsoft.com/office/drawing/2014/main" id="{C182E87F-6B78-4E12-9D2C-E916FCF2F5C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65;p48">
              <a:extLst>
                <a:ext uri="{FF2B5EF4-FFF2-40B4-BE49-F238E27FC236}">
                  <a16:creationId xmlns:a16="http://schemas.microsoft.com/office/drawing/2014/main" id="{26C75F65-B23D-4BEC-917D-9F6C0D591B48}"/>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66;p48">
              <a:extLst>
                <a:ext uri="{FF2B5EF4-FFF2-40B4-BE49-F238E27FC236}">
                  <a16:creationId xmlns:a16="http://schemas.microsoft.com/office/drawing/2014/main" id="{55BDAF96-B9DB-4334-B5A5-DA3571E5C077}"/>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67;p48">
              <a:extLst>
                <a:ext uri="{FF2B5EF4-FFF2-40B4-BE49-F238E27FC236}">
                  <a16:creationId xmlns:a16="http://schemas.microsoft.com/office/drawing/2014/main" id="{9EAB4E93-B009-4831-8EFA-25B0E21DCD0C}"/>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68;p48">
              <a:extLst>
                <a:ext uri="{FF2B5EF4-FFF2-40B4-BE49-F238E27FC236}">
                  <a16:creationId xmlns:a16="http://schemas.microsoft.com/office/drawing/2014/main" id="{23D9B295-F676-4EBB-AB81-E816B7B6007E}"/>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7" name="Google Shape;669;p48">
              <a:extLst>
                <a:ext uri="{FF2B5EF4-FFF2-40B4-BE49-F238E27FC236}">
                  <a16:creationId xmlns:a16="http://schemas.microsoft.com/office/drawing/2014/main" id="{DF479E89-8C83-4113-BB96-724716731064}"/>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0;p48">
              <a:extLst>
                <a:ext uri="{FF2B5EF4-FFF2-40B4-BE49-F238E27FC236}">
                  <a16:creationId xmlns:a16="http://schemas.microsoft.com/office/drawing/2014/main" id="{1A303077-0EBF-4E26-8A9A-F69BDA4C347B}"/>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1;p48">
              <a:extLst>
                <a:ext uri="{FF2B5EF4-FFF2-40B4-BE49-F238E27FC236}">
                  <a16:creationId xmlns:a16="http://schemas.microsoft.com/office/drawing/2014/main" id="{3DC8AC8A-90F7-47D3-BE81-9102E12D543C}"/>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2;p48">
              <a:extLst>
                <a:ext uri="{FF2B5EF4-FFF2-40B4-BE49-F238E27FC236}">
                  <a16:creationId xmlns:a16="http://schemas.microsoft.com/office/drawing/2014/main" id="{63B5809C-3E02-4D37-8012-658EAA839A6A}"/>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3;p48">
              <a:extLst>
                <a:ext uri="{FF2B5EF4-FFF2-40B4-BE49-F238E27FC236}">
                  <a16:creationId xmlns:a16="http://schemas.microsoft.com/office/drawing/2014/main" id="{C72CF74B-C877-492C-A024-05A603311181}"/>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4;p48">
              <a:extLst>
                <a:ext uri="{FF2B5EF4-FFF2-40B4-BE49-F238E27FC236}">
                  <a16:creationId xmlns:a16="http://schemas.microsoft.com/office/drawing/2014/main" id="{57885E5A-3F0D-40C6-98ED-F68B77B951CE}"/>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5;p48">
              <a:extLst>
                <a:ext uri="{FF2B5EF4-FFF2-40B4-BE49-F238E27FC236}">
                  <a16:creationId xmlns:a16="http://schemas.microsoft.com/office/drawing/2014/main" id="{C173CE79-2297-41A4-AE05-8C514DA18BC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6;p48">
              <a:extLst>
                <a:ext uri="{FF2B5EF4-FFF2-40B4-BE49-F238E27FC236}">
                  <a16:creationId xmlns:a16="http://schemas.microsoft.com/office/drawing/2014/main" id="{0F0BC77D-7076-4B3F-8270-3A9731072169}"/>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7;p48">
              <a:extLst>
                <a:ext uri="{FF2B5EF4-FFF2-40B4-BE49-F238E27FC236}">
                  <a16:creationId xmlns:a16="http://schemas.microsoft.com/office/drawing/2014/main" id="{7F32D07F-F467-41FB-9552-FBFC11FD48F3}"/>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8;p48">
              <a:extLst>
                <a:ext uri="{FF2B5EF4-FFF2-40B4-BE49-F238E27FC236}">
                  <a16:creationId xmlns:a16="http://schemas.microsoft.com/office/drawing/2014/main" id="{2B034DA3-9D2A-4B99-8B9F-202B5E5368B1}"/>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79;p48">
              <a:extLst>
                <a:ext uri="{FF2B5EF4-FFF2-40B4-BE49-F238E27FC236}">
                  <a16:creationId xmlns:a16="http://schemas.microsoft.com/office/drawing/2014/main" id="{65AC8CB5-72CA-4D67-B358-6971DDC45A0F}"/>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80;p48">
              <a:extLst>
                <a:ext uri="{FF2B5EF4-FFF2-40B4-BE49-F238E27FC236}">
                  <a16:creationId xmlns:a16="http://schemas.microsoft.com/office/drawing/2014/main" id="{752E281E-1FF1-4B01-A2AC-C885314A7A9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1;p48">
              <a:extLst>
                <a:ext uri="{FF2B5EF4-FFF2-40B4-BE49-F238E27FC236}">
                  <a16:creationId xmlns:a16="http://schemas.microsoft.com/office/drawing/2014/main" id="{F4D58140-4542-41E3-AE1C-833C9CDE31D7}"/>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2;p48">
              <a:extLst>
                <a:ext uri="{FF2B5EF4-FFF2-40B4-BE49-F238E27FC236}">
                  <a16:creationId xmlns:a16="http://schemas.microsoft.com/office/drawing/2014/main" id="{8B48C1E5-7B1F-4CE7-A891-C597718D7061}"/>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83;p48">
              <a:extLst>
                <a:ext uri="{FF2B5EF4-FFF2-40B4-BE49-F238E27FC236}">
                  <a16:creationId xmlns:a16="http://schemas.microsoft.com/office/drawing/2014/main" id="{B81CE080-8559-42DA-BAB5-E624DB6DBBE2}"/>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2" name="Google Shape;684;p48">
              <a:extLst>
                <a:ext uri="{FF2B5EF4-FFF2-40B4-BE49-F238E27FC236}">
                  <a16:creationId xmlns:a16="http://schemas.microsoft.com/office/drawing/2014/main" id="{D6E9E3CA-5D5F-494F-ACEB-DAC50426C915}"/>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5;p48">
              <a:extLst>
                <a:ext uri="{FF2B5EF4-FFF2-40B4-BE49-F238E27FC236}">
                  <a16:creationId xmlns:a16="http://schemas.microsoft.com/office/drawing/2014/main" id="{F31F9B07-A021-442D-85ED-A6C1D46243E7}"/>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6;p48">
              <a:extLst>
                <a:ext uri="{FF2B5EF4-FFF2-40B4-BE49-F238E27FC236}">
                  <a16:creationId xmlns:a16="http://schemas.microsoft.com/office/drawing/2014/main" id="{F91BF85F-492B-40F9-886F-F00F636D08F0}"/>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87;p48">
              <a:extLst>
                <a:ext uri="{FF2B5EF4-FFF2-40B4-BE49-F238E27FC236}">
                  <a16:creationId xmlns:a16="http://schemas.microsoft.com/office/drawing/2014/main" id="{3884657A-14AA-4883-917B-97430E96060F}"/>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6" name="Google Shape;11;p2">
            <a:extLst>
              <a:ext uri="{FF2B5EF4-FFF2-40B4-BE49-F238E27FC236}">
                <a16:creationId xmlns:a16="http://schemas.microsoft.com/office/drawing/2014/main" id="{E092FDA9-58C7-4B02-9B31-26C08E296075}"/>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2;p2">
            <a:extLst>
              <a:ext uri="{FF2B5EF4-FFF2-40B4-BE49-F238E27FC236}">
                <a16:creationId xmlns:a16="http://schemas.microsoft.com/office/drawing/2014/main" id="{4D0603FC-B9C9-4AC0-88B3-C140F94D09EC}"/>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8" name="Google Shape;437;p48">
            <a:extLst>
              <a:ext uri="{FF2B5EF4-FFF2-40B4-BE49-F238E27FC236}">
                <a16:creationId xmlns:a16="http://schemas.microsoft.com/office/drawing/2014/main" id="{DF52E084-CB2D-4AEF-A34A-E23C344828F1}"/>
              </a:ext>
            </a:extLst>
          </p:cNvPr>
          <p:cNvGrpSpPr/>
          <p:nvPr/>
        </p:nvGrpSpPr>
        <p:grpSpPr>
          <a:xfrm>
            <a:off x="7698203" y="3728003"/>
            <a:ext cx="3299906" cy="2640201"/>
            <a:chOff x="946248" y="2346044"/>
            <a:chExt cx="3067963" cy="2454651"/>
          </a:xfrm>
        </p:grpSpPr>
        <p:sp>
          <p:nvSpPr>
            <p:cNvPr id="49" name="Google Shape;438;p48">
              <a:extLst>
                <a:ext uri="{FF2B5EF4-FFF2-40B4-BE49-F238E27FC236}">
                  <a16:creationId xmlns:a16="http://schemas.microsoft.com/office/drawing/2014/main" id="{BD9AC113-0924-435D-8B91-10335DD630A3}"/>
                </a:ext>
              </a:extLst>
            </p:cNvPr>
            <p:cNvSpPr/>
            <p:nvPr/>
          </p:nvSpPr>
          <p:spPr>
            <a:xfrm flipH="1">
              <a:off x="1070041" y="2632092"/>
              <a:ext cx="994455" cy="799915"/>
            </a:xfrm>
            <a:custGeom>
              <a:avLst/>
              <a:gdLst/>
              <a:ahLst/>
              <a:cxnLst/>
              <a:rect l="l" t="t" r="r" b="b"/>
              <a:pathLst>
                <a:path w="69288" h="55733" extrusionOk="0">
                  <a:moveTo>
                    <a:pt x="69287" y="1"/>
                  </a:moveTo>
                  <a:lnTo>
                    <a:pt x="247" y="12041"/>
                  </a:lnTo>
                  <a:lnTo>
                    <a:pt x="1" y="55733"/>
                  </a:lnTo>
                  <a:lnTo>
                    <a:pt x="69287" y="55733"/>
                  </a:lnTo>
                  <a:lnTo>
                    <a:pt x="69287"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439;p48">
              <a:extLst>
                <a:ext uri="{FF2B5EF4-FFF2-40B4-BE49-F238E27FC236}">
                  <a16:creationId xmlns:a16="http://schemas.microsoft.com/office/drawing/2014/main" id="{BD2DBD26-662F-4C1D-B75A-F2ED59E05993}"/>
                </a:ext>
              </a:extLst>
            </p:cNvPr>
            <p:cNvSpPr/>
            <p:nvPr/>
          </p:nvSpPr>
          <p:spPr>
            <a:xfrm flipH="1">
              <a:off x="1070041" y="2632092"/>
              <a:ext cx="992934" cy="544753"/>
            </a:xfrm>
            <a:custGeom>
              <a:avLst/>
              <a:gdLst/>
              <a:ahLst/>
              <a:cxnLst/>
              <a:rect l="l" t="t" r="r" b="b"/>
              <a:pathLst>
                <a:path w="69182" h="37955" extrusionOk="0">
                  <a:moveTo>
                    <a:pt x="69181" y="1"/>
                  </a:moveTo>
                  <a:lnTo>
                    <a:pt x="141" y="12041"/>
                  </a:lnTo>
                  <a:lnTo>
                    <a:pt x="0" y="34398"/>
                  </a:lnTo>
                  <a:cubicBezTo>
                    <a:pt x="2252" y="37054"/>
                    <a:pt x="5554" y="37954"/>
                    <a:pt x="8959" y="37954"/>
                  </a:cubicBezTo>
                  <a:cubicBezTo>
                    <a:pt x="10879" y="37954"/>
                    <a:pt x="12831" y="37668"/>
                    <a:pt x="14646" y="37249"/>
                  </a:cubicBezTo>
                  <a:cubicBezTo>
                    <a:pt x="34573" y="32919"/>
                    <a:pt x="52106" y="24469"/>
                    <a:pt x="69181" y="15210"/>
                  </a:cubicBezTo>
                  <a:lnTo>
                    <a:pt x="69181"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440;p48">
              <a:extLst>
                <a:ext uri="{FF2B5EF4-FFF2-40B4-BE49-F238E27FC236}">
                  <a16:creationId xmlns:a16="http://schemas.microsoft.com/office/drawing/2014/main" id="{D3FFD06A-11EA-4F5D-9D5B-B989E5CDB479}"/>
                </a:ext>
              </a:extLst>
            </p:cNvPr>
            <p:cNvSpPr/>
            <p:nvPr/>
          </p:nvSpPr>
          <p:spPr>
            <a:xfrm flipH="1">
              <a:off x="1070398" y="2631404"/>
              <a:ext cx="991427" cy="216294"/>
            </a:xfrm>
            <a:custGeom>
              <a:avLst/>
              <a:gdLst/>
              <a:ahLst/>
              <a:cxnLst/>
              <a:rect l="l" t="t" r="r" b="b"/>
              <a:pathLst>
                <a:path w="69077" h="15070" extrusionOk="0">
                  <a:moveTo>
                    <a:pt x="69076" y="1"/>
                  </a:moveTo>
                  <a:lnTo>
                    <a:pt x="1" y="12042"/>
                  </a:lnTo>
                  <a:lnTo>
                    <a:pt x="1" y="15069"/>
                  </a:lnTo>
                  <a:lnTo>
                    <a:pt x="69076" y="4895"/>
                  </a:lnTo>
                  <a:lnTo>
                    <a:pt x="69076"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441;p48">
              <a:extLst>
                <a:ext uri="{FF2B5EF4-FFF2-40B4-BE49-F238E27FC236}">
                  <a16:creationId xmlns:a16="http://schemas.microsoft.com/office/drawing/2014/main" id="{0D44ADCE-DFD4-4AC9-AA03-8380BEACD732}"/>
                </a:ext>
              </a:extLst>
            </p:cNvPr>
            <p:cNvSpPr/>
            <p:nvPr/>
          </p:nvSpPr>
          <p:spPr>
            <a:xfrm flipH="1">
              <a:off x="1070399" y="3351255"/>
              <a:ext cx="994957" cy="81379"/>
            </a:xfrm>
            <a:custGeom>
              <a:avLst/>
              <a:gdLst/>
              <a:ahLst/>
              <a:cxnLst/>
              <a:rect l="l" t="t" r="r" b="b"/>
              <a:pathLst>
                <a:path w="69323" h="5670" extrusionOk="0">
                  <a:moveTo>
                    <a:pt x="69322" y="1"/>
                  </a:moveTo>
                  <a:lnTo>
                    <a:pt x="36" y="2430"/>
                  </a:lnTo>
                  <a:lnTo>
                    <a:pt x="0" y="5669"/>
                  </a:lnTo>
                  <a:lnTo>
                    <a:pt x="69322" y="5669"/>
                  </a:lnTo>
                  <a:lnTo>
                    <a:pt x="69322"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442;p48">
              <a:extLst>
                <a:ext uri="{FF2B5EF4-FFF2-40B4-BE49-F238E27FC236}">
                  <a16:creationId xmlns:a16="http://schemas.microsoft.com/office/drawing/2014/main" id="{E6104001-F84E-45D5-8707-8C7E37C088CD}"/>
                </a:ext>
              </a:extLst>
            </p:cNvPr>
            <p:cNvSpPr/>
            <p:nvPr/>
          </p:nvSpPr>
          <p:spPr>
            <a:xfrm flipH="1">
              <a:off x="1902268" y="3018710"/>
              <a:ext cx="154130" cy="301979"/>
            </a:xfrm>
            <a:custGeom>
              <a:avLst/>
              <a:gdLst/>
              <a:ahLst/>
              <a:cxnLst/>
              <a:rect l="l" t="t" r="r" b="b"/>
              <a:pathLst>
                <a:path w="10739" h="21040" extrusionOk="0">
                  <a:moveTo>
                    <a:pt x="7710" y="1"/>
                  </a:moveTo>
                  <a:cubicBezTo>
                    <a:pt x="6689" y="247"/>
                    <a:pt x="5915" y="1092"/>
                    <a:pt x="5281" y="1902"/>
                  </a:cubicBezTo>
                  <a:cubicBezTo>
                    <a:pt x="3415" y="4190"/>
                    <a:pt x="2007" y="6796"/>
                    <a:pt x="1056" y="9577"/>
                  </a:cubicBezTo>
                  <a:cubicBezTo>
                    <a:pt x="141" y="12358"/>
                    <a:pt x="0" y="15351"/>
                    <a:pt x="634" y="18238"/>
                  </a:cubicBezTo>
                  <a:cubicBezTo>
                    <a:pt x="951" y="19400"/>
                    <a:pt x="1514" y="20702"/>
                    <a:pt x="2746" y="20984"/>
                  </a:cubicBezTo>
                  <a:cubicBezTo>
                    <a:pt x="2907" y="21023"/>
                    <a:pt x="3067" y="21040"/>
                    <a:pt x="3227" y="21040"/>
                  </a:cubicBezTo>
                  <a:cubicBezTo>
                    <a:pt x="3945" y="21040"/>
                    <a:pt x="4654" y="20689"/>
                    <a:pt x="5316" y="20315"/>
                  </a:cubicBezTo>
                  <a:cubicBezTo>
                    <a:pt x="7288" y="19118"/>
                    <a:pt x="9119" y="17675"/>
                    <a:pt x="10738" y="16020"/>
                  </a:cubicBezTo>
                  <a:cubicBezTo>
                    <a:pt x="9858" y="15386"/>
                    <a:pt x="9154" y="14541"/>
                    <a:pt x="8591" y="13591"/>
                  </a:cubicBezTo>
                  <a:cubicBezTo>
                    <a:pt x="7006" y="15562"/>
                    <a:pt x="5422" y="17499"/>
                    <a:pt x="3838" y="19470"/>
                  </a:cubicBezTo>
                  <a:cubicBezTo>
                    <a:pt x="3666" y="19671"/>
                    <a:pt x="3400" y="19895"/>
                    <a:pt x="3155" y="19895"/>
                  </a:cubicBezTo>
                  <a:cubicBezTo>
                    <a:pt x="3099" y="19895"/>
                    <a:pt x="3045" y="19884"/>
                    <a:pt x="2993" y="19857"/>
                  </a:cubicBezTo>
                  <a:cubicBezTo>
                    <a:pt x="2817" y="19752"/>
                    <a:pt x="2711" y="19576"/>
                    <a:pt x="2676" y="19400"/>
                  </a:cubicBezTo>
                  <a:cubicBezTo>
                    <a:pt x="1796" y="16654"/>
                    <a:pt x="2535" y="13696"/>
                    <a:pt x="3626" y="11021"/>
                  </a:cubicBezTo>
                  <a:cubicBezTo>
                    <a:pt x="4823" y="8098"/>
                    <a:pt x="6443" y="5387"/>
                    <a:pt x="8414" y="2958"/>
                  </a:cubicBezTo>
                  <a:cubicBezTo>
                    <a:pt x="8591" y="2747"/>
                    <a:pt x="8731" y="2501"/>
                    <a:pt x="8802" y="2219"/>
                  </a:cubicBezTo>
                  <a:cubicBezTo>
                    <a:pt x="8907" y="1374"/>
                    <a:pt x="7570" y="846"/>
                    <a:pt x="7710"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443;p48">
              <a:extLst>
                <a:ext uri="{FF2B5EF4-FFF2-40B4-BE49-F238E27FC236}">
                  <a16:creationId xmlns:a16="http://schemas.microsoft.com/office/drawing/2014/main" id="{6827FF7C-DB10-4995-91AE-4AA88D4D822D}"/>
                </a:ext>
              </a:extLst>
            </p:cNvPr>
            <p:cNvSpPr/>
            <p:nvPr/>
          </p:nvSpPr>
          <p:spPr>
            <a:xfrm flipH="1">
              <a:off x="1842633" y="2748824"/>
              <a:ext cx="106639" cy="301190"/>
            </a:xfrm>
            <a:custGeom>
              <a:avLst/>
              <a:gdLst/>
              <a:ahLst/>
              <a:cxnLst/>
              <a:rect l="l" t="t" r="r" b="b"/>
              <a:pathLst>
                <a:path w="7430" h="20985" extrusionOk="0">
                  <a:moveTo>
                    <a:pt x="5280" y="1"/>
                  </a:moveTo>
                  <a:cubicBezTo>
                    <a:pt x="5269" y="1"/>
                    <a:pt x="5257" y="1"/>
                    <a:pt x="5247" y="2"/>
                  </a:cubicBezTo>
                  <a:cubicBezTo>
                    <a:pt x="4683" y="72"/>
                    <a:pt x="4190" y="318"/>
                    <a:pt x="3768" y="706"/>
                  </a:cubicBezTo>
                  <a:cubicBezTo>
                    <a:pt x="1339" y="2572"/>
                    <a:pt x="459" y="4367"/>
                    <a:pt x="142" y="7817"/>
                  </a:cubicBezTo>
                  <a:cubicBezTo>
                    <a:pt x="1" y="9296"/>
                    <a:pt x="142" y="10810"/>
                    <a:pt x="635" y="12253"/>
                  </a:cubicBezTo>
                  <a:cubicBezTo>
                    <a:pt x="846" y="13063"/>
                    <a:pt x="1057" y="13908"/>
                    <a:pt x="1198" y="14718"/>
                  </a:cubicBezTo>
                  <a:cubicBezTo>
                    <a:pt x="1480" y="15880"/>
                    <a:pt x="1339" y="17077"/>
                    <a:pt x="811" y="18098"/>
                  </a:cubicBezTo>
                  <a:cubicBezTo>
                    <a:pt x="388" y="19013"/>
                    <a:pt x="107" y="19964"/>
                    <a:pt x="1" y="20949"/>
                  </a:cubicBezTo>
                  <a:lnTo>
                    <a:pt x="423" y="20985"/>
                  </a:lnTo>
                  <a:cubicBezTo>
                    <a:pt x="529" y="20069"/>
                    <a:pt x="775" y="19154"/>
                    <a:pt x="1163" y="18309"/>
                  </a:cubicBezTo>
                  <a:cubicBezTo>
                    <a:pt x="1726" y="17182"/>
                    <a:pt x="1902" y="15880"/>
                    <a:pt x="1585" y="14647"/>
                  </a:cubicBezTo>
                  <a:cubicBezTo>
                    <a:pt x="1444" y="13803"/>
                    <a:pt x="1233" y="12958"/>
                    <a:pt x="987" y="12113"/>
                  </a:cubicBezTo>
                  <a:cubicBezTo>
                    <a:pt x="564" y="10740"/>
                    <a:pt x="388" y="9296"/>
                    <a:pt x="564" y="7853"/>
                  </a:cubicBezTo>
                  <a:cubicBezTo>
                    <a:pt x="846" y="4543"/>
                    <a:pt x="1726" y="2853"/>
                    <a:pt x="4014" y="1023"/>
                  </a:cubicBezTo>
                  <a:cubicBezTo>
                    <a:pt x="4367" y="741"/>
                    <a:pt x="4789" y="530"/>
                    <a:pt x="5247" y="424"/>
                  </a:cubicBezTo>
                  <a:cubicBezTo>
                    <a:pt x="5669" y="424"/>
                    <a:pt x="6937" y="1269"/>
                    <a:pt x="7007" y="1621"/>
                  </a:cubicBezTo>
                  <a:lnTo>
                    <a:pt x="7429" y="1551"/>
                  </a:lnTo>
                  <a:cubicBezTo>
                    <a:pt x="7326" y="928"/>
                    <a:pt x="5898" y="1"/>
                    <a:pt x="528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444;p48">
              <a:extLst>
                <a:ext uri="{FF2B5EF4-FFF2-40B4-BE49-F238E27FC236}">
                  <a16:creationId xmlns:a16="http://schemas.microsoft.com/office/drawing/2014/main" id="{BAB18F62-9702-4501-AE8B-9A6B02FAFE01}"/>
                </a:ext>
              </a:extLst>
            </p:cNvPr>
            <p:cNvSpPr/>
            <p:nvPr/>
          </p:nvSpPr>
          <p:spPr>
            <a:xfrm flipH="1">
              <a:off x="1881051" y="2953152"/>
              <a:ext cx="147558" cy="162041"/>
            </a:xfrm>
            <a:custGeom>
              <a:avLst/>
              <a:gdLst/>
              <a:ahLst/>
              <a:cxnLst/>
              <a:rect l="l" t="t" r="r" b="b"/>
              <a:pathLst>
                <a:path w="10281" h="11290" extrusionOk="0">
                  <a:moveTo>
                    <a:pt x="4341" y="1"/>
                  </a:moveTo>
                  <a:cubicBezTo>
                    <a:pt x="4097" y="1"/>
                    <a:pt x="3857" y="40"/>
                    <a:pt x="3627" y="132"/>
                  </a:cubicBezTo>
                  <a:cubicBezTo>
                    <a:pt x="3028" y="449"/>
                    <a:pt x="2535" y="906"/>
                    <a:pt x="2218" y="1540"/>
                  </a:cubicBezTo>
                  <a:cubicBezTo>
                    <a:pt x="1162" y="3230"/>
                    <a:pt x="458" y="5166"/>
                    <a:pt x="177" y="7173"/>
                  </a:cubicBezTo>
                  <a:cubicBezTo>
                    <a:pt x="36" y="8089"/>
                    <a:pt x="0" y="9074"/>
                    <a:pt x="458" y="9884"/>
                  </a:cubicBezTo>
                  <a:cubicBezTo>
                    <a:pt x="1005" y="10834"/>
                    <a:pt x="2140" y="11290"/>
                    <a:pt x="3248" y="11290"/>
                  </a:cubicBezTo>
                  <a:cubicBezTo>
                    <a:pt x="3495" y="11290"/>
                    <a:pt x="3741" y="11267"/>
                    <a:pt x="3979" y="11222"/>
                  </a:cubicBezTo>
                  <a:cubicBezTo>
                    <a:pt x="5317" y="10940"/>
                    <a:pt x="6443" y="10131"/>
                    <a:pt x="7464" y="9286"/>
                  </a:cubicBezTo>
                  <a:cubicBezTo>
                    <a:pt x="8309" y="8581"/>
                    <a:pt x="9013" y="7772"/>
                    <a:pt x="9577" y="6856"/>
                  </a:cubicBezTo>
                  <a:cubicBezTo>
                    <a:pt x="10140" y="5906"/>
                    <a:pt x="10281" y="4779"/>
                    <a:pt x="9999" y="3723"/>
                  </a:cubicBezTo>
                  <a:cubicBezTo>
                    <a:pt x="9471" y="2174"/>
                    <a:pt x="7852" y="1329"/>
                    <a:pt x="6408" y="625"/>
                  </a:cubicBezTo>
                  <a:cubicBezTo>
                    <a:pt x="5758" y="313"/>
                    <a:pt x="5031" y="1"/>
                    <a:pt x="4341"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445;p48">
              <a:extLst>
                <a:ext uri="{FF2B5EF4-FFF2-40B4-BE49-F238E27FC236}">
                  <a16:creationId xmlns:a16="http://schemas.microsoft.com/office/drawing/2014/main" id="{0662BDCB-E0F5-40C9-87D1-9F606ECF8E81}"/>
                </a:ext>
              </a:extLst>
            </p:cNvPr>
            <p:cNvSpPr/>
            <p:nvPr/>
          </p:nvSpPr>
          <p:spPr>
            <a:xfrm flipH="1">
              <a:off x="1819900" y="3131725"/>
              <a:ext cx="134426" cy="143784"/>
            </a:xfrm>
            <a:custGeom>
              <a:avLst/>
              <a:gdLst/>
              <a:ahLst/>
              <a:cxnLst/>
              <a:rect l="l" t="t" r="r" b="b"/>
              <a:pathLst>
                <a:path w="9366" h="10018" extrusionOk="0">
                  <a:moveTo>
                    <a:pt x="4063" y="1"/>
                  </a:moveTo>
                  <a:cubicBezTo>
                    <a:pt x="3859" y="1"/>
                    <a:pt x="3653" y="28"/>
                    <a:pt x="3451" y="85"/>
                  </a:cubicBezTo>
                  <a:cubicBezTo>
                    <a:pt x="2958" y="296"/>
                    <a:pt x="2536" y="648"/>
                    <a:pt x="2254" y="1141"/>
                  </a:cubicBezTo>
                  <a:cubicBezTo>
                    <a:pt x="1585" y="2091"/>
                    <a:pt x="1057" y="3112"/>
                    <a:pt x="670" y="4169"/>
                  </a:cubicBezTo>
                  <a:cubicBezTo>
                    <a:pt x="212" y="5190"/>
                    <a:pt x="1" y="6316"/>
                    <a:pt x="106" y="7443"/>
                  </a:cubicBezTo>
                  <a:cubicBezTo>
                    <a:pt x="247" y="8569"/>
                    <a:pt x="987" y="9661"/>
                    <a:pt x="2078" y="9942"/>
                  </a:cubicBezTo>
                  <a:cubicBezTo>
                    <a:pt x="2284" y="9994"/>
                    <a:pt x="2488" y="10017"/>
                    <a:pt x="2691" y="10017"/>
                  </a:cubicBezTo>
                  <a:cubicBezTo>
                    <a:pt x="3597" y="10017"/>
                    <a:pt x="4463" y="9551"/>
                    <a:pt x="5211" y="9062"/>
                  </a:cubicBezTo>
                  <a:cubicBezTo>
                    <a:pt x="6232" y="8393"/>
                    <a:pt x="7148" y="7654"/>
                    <a:pt x="8028" y="6844"/>
                  </a:cubicBezTo>
                  <a:cubicBezTo>
                    <a:pt x="8556" y="6457"/>
                    <a:pt x="8943" y="5894"/>
                    <a:pt x="9155" y="5260"/>
                  </a:cubicBezTo>
                  <a:cubicBezTo>
                    <a:pt x="9366" y="4380"/>
                    <a:pt x="8908" y="3464"/>
                    <a:pt x="8345" y="2760"/>
                  </a:cubicBezTo>
                  <a:cubicBezTo>
                    <a:pt x="7535" y="1739"/>
                    <a:pt x="6514" y="930"/>
                    <a:pt x="5317" y="366"/>
                  </a:cubicBezTo>
                  <a:cubicBezTo>
                    <a:pt x="4933" y="126"/>
                    <a:pt x="4501" y="1"/>
                    <a:pt x="4063"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446;p48">
              <a:extLst>
                <a:ext uri="{FF2B5EF4-FFF2-40B4-BE49-F238E27FC236}">
                  <a16:creationId xmlns:a16="http://schemas.microsoft.com/office/drawing/2014/main" id="{592ADF22-0C4A-4E32-84A3-4E30B90A0FC5}"/>
                </a:ext>
              </a:extLst>
            </p:cNvPr>
            <p:cNvSpPr/>
            <p:nvPr/>
          </p:nvSpPr>
          <p:spPr>
            <a:xfrm flipH="1">
              <a:off x="1921970" y="2964248"/>
              <a:ext cx="98559" cy="127882"/>
            </a:xfrm>
            <a:custGeom>
              <a:avLst/>
              <a:gdLst/>
              <a:ahLst/>
              <a:cxnLst/>
              <a:rect l="l" t="t" r="r" b="b"/>
              <a:pathLst>
                <a:path w="6867" h="8910" extrusionOk="0">
                  <a:moveTo>
                    <a:pt x="3370" y="1"/>
                  </a:moveTo>
                  <a:cubicBezTo>
                    <a:pt x="3129" y="1"/>
                    <a:pt x="2894" y="50"/>
                    <a:pt x="2676" y="169"/>
                  </a:cubicBezTo>
                  <a:cubicBezTo>
                    <a:pt x="2219" y="485"/>
                    <a:pt x="1867" y="943"/>
                    <a:pt x="1726" y="1471"/>
                  </a:cubicBezTo>
                  <a:cubicBezTo>
                    <a:pt x="1127" y="2844"/>
                    <a:pt x="634" y="4253"/>
                    <a:pt x="247" y="5661"/>
                  </a:cubicBezTo>
                  <a:cubicBezTo>
                    <a:pt x="71" y="6259"/>
                    <a:pt x="1" y="6858"/>
                    <a:pt x="71" y="7492"/>
                  </a:cubicBezTo>
                  <a:cubicBezTo>
                    <a:pt x="96" y="8344"/>
                    <a:pt x="811" y="8910"/>
                    <a:pt x="1552" y="8910"/>
                  </a:cubicBezTo>
                  <a:cubicBezTo>
                    <a:pt x="1882" y="8910"/>
                    <a:pt x="2218" y="8797"/>
                    <a:pt x="2500" y="8548"/>
                  </a:cubicBezTo>
                  <a:cubicBezTo>
                    <a:pt x="2888" y="8231"/>
                    <a:pt x="3240" y="7879"/>
                    <a:pt x="3521" y="7492"/>
                  </a:cubicBezTo>
                  <a:lnTo>
                    <a:pt x="5986" y="4288"/>
                  </a:lnTo>
                  <a:cubicBezTo>
                    <a:pt x="6408" y="3724"/>
                    <a:pt x="6866" y="3056"/>
                    <a:pt x="6760" y="2351"/>
                  </a:cubicBezTo>
                  <a:cubicBezTo>
                    <a:pt x="6655" y="1542"/>
                    <a:pt x="5880" y="1049"/>
                    <a:pt x="5176" y="626"/>
                  </a:cubicBezTo>
                  <a:cubicBezTo>
                    <a:pt x="4645" y="323"/>
                    <a:pt x="3986" y="1"/>
                    <a:pt x="337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447;p48">
              <a:extLst>
                <a:ext uri="{FF2B5EF4-FFF2-40B4-BE49-F238E27FC236}">
                  <a16:creationId xmlns:a16="http://schemas.microsoft.com/office/drawing/2014/main" id="{2BDA1981-6399-4DC5-BCD2-FA9E2ACBB0EA}"/>
                </a:ext>
              </a:extLst>
            </p:cNvPr>
            <p:cNvSpPr/>
            <p:nvPr/>
          </p:nvSpPr>
          <p:spPr>
            <a:xfrm flipH="1">
              <a:off x="1705169" y="2729576"/>
              <a:ext cx="68734" cy="167338"/>
            </a:xfrm>
            <a:custGeom>
              <a:avLst/>
              <a:gdLst/>
              <a:ahLst/>
              <a:cxnLst/>
              <a:rect l="l" t="t" r="r" b="b"/>
              <a:pathLst>
                <a:path w="4789" h="11659" extrusionOk="0">
                  <a:moveTo>
                    <a:pt x="3529" y="1"/>
                  </a:moveTo>
                  <a:cubicBezTo>
                    <a:pt x="3492" y="1"/>
                    <a:pt x="3454" y="2"/>
                    <a:pt x="3416" y="5"/>
                  </a:cubicBezTo>
                  <a:cubicBezTo>
                    <a:pt x="2641" y="40"/>
                    <a:pt x="1937" y="392"/>
                    <a:pt x="1479" y="990"/>
                  </a:cubicBezTo>
                  <a:cubicBezTo>
                    <a:pt x="669" y="2011"/>
                    <a:pt x="564" y="3384"/>
                    <a:pt x="493" y="4511"/>
                  </a:cubicBezTo>
                  <a:cubicBezTo>
                    <a:pt x="282" y="7257"/>
                    <a:pt x="282" y="7680"/>
                    <a:pt x="247" y="8102"/>
                  </a:cubicBezTo>
                  <a:cubicBezTo>
                    <a:pt x="212" y="8525"/>
                    <a:pt x="212" y="8982"/>
                    <a:pt x="1" y="11658"/>
                  </a:cubicBezTo>
                  <a:lnTo>
                    <a:pt x="247" y="11658"/>
                  </a:lnTo>
                  <a:cubicBezTo>
                    <a:pt x="423" y="8982"/>
                    <a:pt x="458" y="8560"/>
                    <a:pt x="458" y="8102"/>
                  </a:cubicBezTo>
                  <a:cubicBezTo>
                    <a:pt x="493" y="7680"/>
                    <a:pt x="493" y="7257"/>
                    <a:pt x="705" y="4511"/>
                  </a:cubicBezTo>
                  <a:cubicBezTo>
                    <a:pt x="775" y="3420"/>
                    <a:pt x="881" y="2082"/>
                    <a:pt x="1620" y="1131"/>
                  </a:cubicBezTo>
                  <a:cubicBezTo>
                    <a:pt x="2078" y="568"/>
                    <a:pt x="2711" y="251"/>
                    <a:pt x="3416" y="216"/>
                  </a:cubicBezTo>
                  <a:cubicBezTo>
                    <a:pt x="3454" y="213"/>
                    <a:pt x="3492" y="211"/>
                    <a:pt x="3531" y="211"/>
                  </a:cubicBezTo>
                  <a:cubicBezTo>
                    <a:pt x="3949" y="211"/>
                    <a:pt x="4358" y="386"/>
                    <a:pt x="4648" y="709"/>
                  </a:cubicBezTo>
                  <a:lnTo>
                    <a:pt x="4789" y="568"/>
                  </a:lnTo>
                  <a:cubicBezTo>
                    <a:pt x="4462" y="209"/>
                    <a:pt x="4014" y="1"/>
                    <a:pt x="3529"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448;p48">
              <a:extLst>
                <a:ext uri="{FF2B5EF4-FFF2-40B4-BE49-F238E27FC236}">
                  <a16:creationId xmlns:a16="http://schemas.microsoft.com/office/drawing/2014/main" id="{B898D394-C8C0-461D-B509-A28C141FCF0E}"/>
                </a:ext>
              </a:extLst>
            </p:cNvPr>
            <p:cNvSpPr/>
            <p:nvPr/>
          </p:nvSpPr>
          <p:spPr>
            <a:xfrm flipH="1">
              <a:off x="1730440" y="2852439"/>
              <a:ext cx="119772" cy="251257"/>
            </a:xfrm>
            <a:custGeom>
              <a:avLst/>
              <a:gdLst/>
              <a:ahLst/>
              <a:cxnLst/>
              <a:rect l="l" t="t" r="r" b="b"/>
              <a:pathLst>
                <a:path w="8345" h="17506" extrusionOk="0">
                  <a:moveTo>
                    <a:pt x="7711" y="1"/>
                  </a:moveTo>
                  <a:cubicBezTo>
                    <a:pt x="6478" y="951"/>
                    <a:pt x="4155" y="4367"/>
                    <a:pt x="3521" y="5810"/>
                  </a:cubicBezTo>
                  <a:cubicBezTo>
                    <a:pt x="2007" y="9436"/>
                    <a:pt x="458" y="13098"/>
                    <a:pt x="0" y="17006"/>
                  </a:cubicBezTo>
                  <a:cubicBezTo>
                    <a:pt x="423" y="17006"/>
                    <a:pt x="810" y="17111"/>
                    <a:pt x="1162" y="17323"/>
                  </a:cubicBezTo>
                  <a:cubicBezTo>
                    <a:pt x="1362" y="17442"/>
                    <a:pt x="1596" y="17506"/>
                    <a:pt x="1832" y="17506"/>
                  </a:cubicBezTo>
                  <a:cubicBezTo>
                    <a:pt x="2011" y="17506"/>
                    <a:pt x="2192" y="17469"/>
                    <a:pt x="2359" y="17393"/>
                  </a:cubicBezTo>
                  <a:cubicBezTo>
                    <a:pt x="2535" y="17252"/>
                    <a:pt x="2676" y="17041"/>
                    <a:pt x="2782" y="16830"/>
                  </a:cubicBezTo>
                  <a:lnTo>
                    <a:pt x="3662" y="15140"/>
                  </a:lnTo>
                  <a:cubicBezTo>
                    <a:pt x="3838" y="14823"/>
                    <a:pt x="3944" y="14506"/>
                    <a:pt x="4014" y="14154"/>
                  </a:cubicBezTo>
                  <a:cubicBezTo>
                    <a:pt x="3979" y="13767"/>
                    <a:pt x="3908" y="13344"/>
                    <a:pt x="3767" y="12992"/>
                  </a:cubicBezTo>
                  <a:cubicBezTo>
                    <a:pt x="3627" y="12570"/>
                    <a:pt x="3697" y="12147"/>
                    <a:pt x="3979" y="11830"/>
                  </a:cubicBezTo>
                  <a:cubicBezTo>
                    <a:pt x="4577" y="11795"/>
                    <a:pt x="5141" y="11513"/>
                    <a:pt x="5528" y="11021"/>
                  </a:cubicBezTo>
                  <a:cubicBezTo>
                    <a:pt x="5880" y="10528"/>
                    <a:pt x="6197" y="10000"/>
                    <a:pt x="6408" y="9436"/>
                  </a:cubicBezTo>
                  <a:cubicBezTo>
                    <a:pt x="6690" y="8838"/>
                    <a:pt x="6866" y="8204"/>
                    <a:pt x="6901" y="7535"/>
                  </a:cubicBezTo>
                  <a:cubicBezTo>
                    <a:pt x="6901" y="6796"/>
                    <a:pt x="6584" y="6092"/>
                    <a:pt x="6443" y="5387"/>
                  </a:cubicBezTo>
                  <a:cubicBezTo>
                    <a:pt x="6232" y="4367"/>
                    <a:pt x="7781" y="1409"/>
                    <a:pt x="8344" y="529"/>
                  </a:cubicBezTo>
                  <a:cubicBezTo>
                    <a:pt x="8027" y="388"/>
                    <a:pt x="8027" y="177"/>
                    <a:pt x="7711"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449;p48">
              <a:extLst>
                <a:ext uri="{FF2B5EF4-FFF2-40B4-BE49-F238E27FC236}">
                  <a16:creationId xmlns:a16="http://schemas.microsoft.com/office/drawing/2014/main" id="{5F7F9C56-FE37-4651-B758-0915DC22FD05}"/>
                </a:ext>
              </a:extLst>
            </p:cNvPr>
            <p:cNvSpPr/>
            <p:nvPr/>
          </p:nvSpPr>
          <p:spPr>
            <a:xfrm flipH="1">
              <a:off x="1807253" y="3031774"/>
              <a:ext cx="31848" cy="64271"/>
            </a:xfrm>
            <a:custGeom>
              <a:avLst/>
              <a:gdLst/>
              <a:ahLst/>
              <a:cxnLst/>
              <a:rect l="l" t="t" r="r" b="b"/>
              <a:pathLst>
                <a:path w="2219" h="4478" extrusionOk="0">
                  <a:moveTo>
                    <a:pt x="1642" y="1"/>
                  </a:moveTo>
                  <a:cubicBezTo>
                    <a:pt x="1429" y="1"/>
                    <a:pt x="1222" y="106"/>
                    <a:pt x="1092" y="288"/>
                  </a:cubicBezTo>
                  <a:cubicBezTo>
                    <a:pt x="916" y="499"/>
                    <a:pt x="775" y="781"/>
                    <a:pt x="740" y="1062"/>
                  </a:cubicBezTo>
                  <a:cubicBezTo>
                    <a:pt x="529" y="1731"/>
                    <a:pt x="353" y="2400"/>
                    <a:pt x="142" y="3104"/>
                  </a:cubicBezTo>
                  <a:cubicBezTo>
                    <a:pt x="36" y="3351"/>
                    <a:pt x="1" y="3633"/>
                    <a:pt x="36" y="3914"/>
                  </a:cubicBezTo>
                  <a:cubicBezTo>
                    <a:pt x="71" y="4231"/>
                    <a:pt x="318" y="4442"/>
                    <a:pt x="635" y="4477"/>
                  </a:cubicBezTo>
                  <a:cubicBezTo>
                    <a:pt x="775" y="4442"/>
                    <a:pt x="951" y="4337"/>
                    <a:pt x="1022" y="4196"/>
                  </a:cubicBezTo>
                  <a:cubicBezTo>
                    <a:pt x="1128" y="4055"/>
                    <a:pt x="1198" y="3914"/>
                    <a:pt x="1233" y="3738"/>
                  </a:cubicBezTo>
                  <a:lnTo>
                    <a:pt x="2043" y="1415"/>
                  </a:lnTo>
                  <a:cubicBezTo>
                    <a:pt x="2149" y="1168"/>
                    <a:pt x="2219" y="922"/>
                    <a:pt x="2219" y="640"/>
                  </a:cubicBezTo>
                  <a:cubicBezTo>
                    <a:pt x="2219" y="394"/>
                    <a:pt x="2078" y="147"/>
                    <a:pt x="1867" y="41"/>
                  </a:cubicBezTo>
                  <a:cubicBezTo>
                    <a:pt x="1793" y="14"/>
                    <a:pt x="1717" y="1"/>
                    <a:pt x="1642"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450;p48">
              <a:extLst>
                <a:ext uri="{FF2B5EF4-FFF2-40B4-BE49-F238E27FC236}">
                  <a16:creationId xmlns:a16="http://schemas.microsoft.com/office/drawing/2014/main" id="{274A5AAE-BC17-404D-AADE-3E35FFDE1587}"/>
                </a:ext>
              </a:extLst>
            </p:cNvPr>
            <p:cNvSpPr/>
            <p:nvPr/>
          </p:nvSpPr>
          <p:spPr>
            <a:xfrm flipH="1">
              <a:off x="1766316" y="2933300"/>
              <a:ext cx="43474" cy="73586"/>
            </a:xfrm>
            <a:custGeom>
              <a:avLst/>
              <a:gdLst/>
              <a:ahLst/>
              <a:cxnLst/>
              <a:rect l="l" t="t" r="r" b="b"/>
              <a:pathLst>
                <a:path w="3029" h="5127" extrusionOk="0">
                  <a:moveTo>
                    <a:pt x="1832" y="1"/>
                  </a:moveTo>
                  <a:cubicBezTo>
                    <a:pt x="1092" y="1304"/>
                    <a:pt x="529" y="2677"/>
                    <a:pt x="71" y="4120"/>
                  </a:cubicBezTo>
                  <a:cubicBezTo>
                    <a:pt x="1" y="4331"/>
                    <a:pt x="1" y="4543"/>
                    <a:pt x="71" y="4754"/>
                  </a:cubicBezTo>
                  <a:cubicBezTo>
                    <a:pt x="212" y="4895"/>
                    <a:pt x="388" y="5000"/>
                    <a:pt x="564" y="5035"/>
                  </a:cubicBezTo>
                  <a:cubicBezTo>
                    <a:pt x="698" y="5102"/>
                    <a:pt x="832" y="5127"/>
                    <a:pt x="957" y="5127"/>
                  </a:cubicBezTo>
                  <a:cubicBezTo>
                    <a:pt x="1029" y="5127"/>
                    <a:pt x="1098" y="5119"/>
                    <a:pt x="1163" y="5106"/>
                  </a:cubicBezTo>
                  <a:cubicBezTo>
                    <a:pt x="1374" y="5000"/>
                    <a:pt x="1515" y="4824"/>
                    <a:pt x="1620" y="4648"/>
                  </a:cubicBezTo>
                  <a:cubicBezTo>
                    <a:pt x="2148" y="3698"/>
                    <a:pt x="2536" y="2677"/>
                    <a:pt x="2853" y="1656"/>
                  </a:cubicBezTo>
                  <a:cubicBezTo>
                    <a:pt x="2993" y="1374"/>
                    <a:pt x="3029" y="1057"/>
                    <a:pt x="2958" y="740"/>
                  </a:cubicBezTo>
                  <a:cubicBezTo>
                    <a:pt x="2888" y="529"/>
                    <a:pt x="2712" y="353"/>
                    <a:pt x="2501" y="247"/>
                  </a:cubicBezTo>
                  <a:cubicBezTo>
                    <a:pt x="2289" y="142"/>
                    <a:pt x="2043" y="36"/>
                    <a:pt x="1832"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451;p48">
              <a:extLst>
                <a:ext uri="{FF2B5EF4-FFF2-40B4-BE49-F238E27FC236}">
                  <a16:creationId xmlns:a16="http://schemas.microsoft.com/office/drawing/2014/main" id="{23C9F0E6-EC43-4BC1-8806-D47E22FDF39D}"/>
                </a:ext>
              </a:extLst>
            </p:cNvPr>
            <p:cNvSpPr/>
            <p:nvPr/>
          </p:nvSpPr>
          <p:spPr>
            <a:xfrm flipH="1">
              <a:off x="2602207" y="3226955"/>
              <a:ext cx="140998" cy="412824"/>
            </a:xfrm>
            <a:custGeom>
              <a:avLst/>
              <a:gdLst/>
              <a:ahLst/>
              <a:cxnLst/>
              <a:rect l="l" t="t" r="r" b="b"/>
              <a:pathLst>
                <a:path w="9824" h="28763" extrusionOk="0">
                  <a:moveTo>
                    <a:pt x="8046" y="0"/>
                  </a:moveTo>
                  <a:cubicBezTo>
                    <a:pt x="7411" y="0"/>
                    <a:pt x="6739" y="199"/>
                    <a:pt x="6197" y="527"/>
                  </a:cubicBezTo>
                  <a:cubicBezTo>
                    <a:pt x="4366" y="1619"/>
                    <a:pt x="3380" y="3660"/>
                    <a:pt x="2711" y="5667"/>
                  </a:cubicBezTo>
                  <a:cubicBezTo>
                    <a:pt x="282" y="13025"/>
                    <a:pt x="1197" y="21053"/>
                    <a:pt x="0" y="28763"/>
                  </a:cubicBezTo>
                  <a:lnTo>
                    <a:pt x="6830" y="28446"/>
                  </a:lnTo>
                  <a:cubicBezTo>
                    <a:pt x="5986" y="21440"/>
                    <a:pt x="5810" y="14363"/>
                    <a:pt x="6373" y="7322"/>
                  </a:cubicBezTo>
                  <a:cubicBezTo>
                    <a:pt x="6373" y="6019"/>
                    <a:pt x="6619" y="4717"/>
                    <a:pt x="7077" y="3484"/>
                  </a:cubicBezTo>
                  <a:cubicBezTo>
                    <a:pt x="7535" y="2252"/>
                    <a:pt x="8556" y="1302"/>
                    <a:pt x="9823" y="879"/>
                  </a:cubicBezTo>
                  <a:cubicBezTo>
                    <a:pt x="9447" y="259"/>
                    <a:pt x="8771" y="0"/>
                    <a:pt x="8046"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452;p48">
              <a:extLst>
                <a:ext uri="{FF2B5EF4-FFF2-40B4-BE49-F238E27FC236}">
                  <a16:creationId xmlns:a16="http://schemas.microsoft.com/office/drawing/2014/main" id="{BC6864C2-7FE5-4CAB-B3B5-6420A53D09BC}"/>
                </a:ext>
              </a:extLst>
            </p:cNvPr>
            <p:cNvSpPr/>
            <p:nvPr/>
          </p:nvSpPr>
          <p:spPr>
            <a:xfrm flipH="1">
              <a:off x="2298551" y="3613042"/>
              <a:ext cx="648832" cy="37920"/>
            </a:xfrm>
            <a:custGeom>
              <a:avLst/>
              <a:gdLst/>
              <a:ahLst/>
              <a:cxnLst/>
              <a:rect l="l" t="t" r="r" b="b"/>
              <a:pathLst>
                <a:path w="45207" h="2642" extrusionOk="0">
                  <a:moveTo>
                    <a:pt x="2184" y="1"/>
                  </a:moveTo>
                  <a:cubicBezTo>
                    <a:pt x="952" y="1"/>
                    <a:pt x="1" y="987"/>
                    <a:pt x="1" y="2184"/>
                  </a:cubicBezTo>
                  <a:cubicBezTo>
                    <a:pt x="1" y="2325"/>
                    <a:pt x="1" y="2501"/>
                    <a:pt x="36" y="2641"/>
                  </a:cubicBezTo>
                  <a:lnTo>
                    <a:pt x="45171" y="2641"/>
                  </a:lnTo>
                  <a:cubicBezTo>
                    <a:pt x="45171" y="2501"/>
                    <a:pt x="45206" y="2325"/>
                    <a:pt x="45206" y="2184"/>
                  </a:cubicBezTo>
                  <a:cubicBezTo>
                    <a:pt x="45206" y="987"/>
                    <a:pt x="44220" y="1"/>
                    <a:pt x="42988"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453;p48">
              <a:extLst>
                <a:ext uri="{FF2B5EF4-FFF2-40B4-BE49-F238E27FC236}">
                  <a16:creationId xmlns:a16="http://schemas.microsoft.com/office/drawing/2014/main" id="{D9A2F348-350B-4AC7-80D9-BFEB17023D29}"/>
                </a:ext>
              </a:extLst>
            </p:cNvPr>
            <p:cNvSpPr/>
            <p:nvPr/>
          </p:nvSpPr>
          <p:spPr>
            <a:xfrm flipH="1">
              <a:off x="2935243" y="3410898"/>
              <a:ext cx="18701" cy="416886"/>
            </a:xfrm>
            <a:custGeom>
              <a:avLst/>
              <a:gdLst/>
              <a:ahLst/>
              <a:cxnLst/>
              <a:rect l="l" t="t" r="r" b="b"/>
              <a:pathLst>
                <a:path w="1303" h="29046" extrusionOk="0">
                  <a:moveTo>
                    <a:pt x="0" y="0"/>
                  </a:moveTo>
                  <a:lnTo>
                    <a:pt x="0" y="29046"/>
                  </a:lnTo>
                  <a:lnTo>
                    <a:pt x="1303" y="29046"/>
                  </a:lnTo>
                  <a:lnTo>
                    <a:pt x="1303"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454;p48">
              <a:extLst>
                <a:ext uri="{FF2B5EF4-FFF2-40B4-BE49-F238E27FC236}">
                  <a16:creationId xmlns:a16="http://schemas.microsoft.com/office/drawing/2014/main" id="{A11F68F2-5907-4777-94DD-B1A33966C7B3}"/>
                </a:ext>
              </a:extLst>
            </p:cNvPr>
            <p:cNvSpPr/>
            <p:nvPr/>
          </p:nvSpPr>
          <p:spPr>
            <a:xfrm flipH="1">
              <a:off x="2894806" y="3410898"/>
              <a:ext cx="19218" cy="416886"/>
            </a:xfrm>
            <a:custGeom>
              <a:avLst/>
              <a:gdLst/>
              <a:ahLst/>
              <a:cxnLst/>
              <a:rect l="l" t="t" r="r" b="b"/>
              <a:pathLst>
                <a:path w="1339" h="29046" extrusionOk="0">
                  <a:moveTo>
                    <a:pt x="1" y="0"/>
                  </a:moveTo>
                  <a:lnTo>
                    <a:pt x="1" y="29046"/>
                  </a:lnTo>
                  <a:lnTo>
                    <a:pt x="1338" y="29046"/>
                  </a:lnTo>
                  <a:lnTo>
                    <a:pt x="133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455;p48">
              <a:extLst>
                <a:ext uri="{FF2B5EF4-FFF2-40B4-BE49-F238E27FC236}">
                  <a16:creationId xmlns:a16="http://schemas.microsoft.com/office/drawing/2014/main" id="{0B34C5D1-A1D1-4862-B6FA-66A50A19A4EF}"/>
                </a:ext>
              </a:extLst>
            </p:cNvPr>
            <p:cNvSpPr/>
            <p:nvPr/>
          </p:nvSpPr>
          <p:spPr>
            <a:xfrm flipH="1">
              <a:off x="2787664" y="3410898"/>
              <a:ext cx="18716" cy="416886"/>
            </a:xfrm>
            <a:custGeom>
              <a:avLst/>
              <a:gdLst/>
              <a:ahLst/>
              <a:cxnLst/>
              <a:rect l="l" t="t" r="r" b="b"/>
              <a:pathLst>
                <a:path w="1304" h="29046" extrusionOk="0">
                  <a:moveTo>
                    <a:pt x="1" y="0"/>
                  </a:moveTo>
                  <a:lnTo>
                    <a:pt x="1" y="29046"/>
                  </a:lnTo>
                  <a:lnTo>
                    <a:pt x="1303" y="29046"/>
                  </a:lnTo>
                  <a:lnTo>
                    <a:pt x="1303"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456;p48">
              <a:extLst>
                <a:ext uri="{FF2B5EF4-FFF2-40B4-BE49-F238E27FC236}">
                  <a16:creationId xmlns:a16="http://schemas.microsoft.com/office/drawing/2014/main" id="{8C2365D5-52A9-4E15-B219-D374288CAE4D}"/>
                </a:ext>
              </a:extLst>
            </p:cNvPr>
            <p:cNvSpPr/>
            <p:nvPr/>
          </p:nvSpPr>
          <p:spPr>
            <a:xfrm flipH="1">
              <a:off x="2687653" y="3818230"/>
              <a:ext cx="405773" cy="836800"/>
            </a:xfrm>
            <a:custGeom>
              <a:avLst/>
              <a:gdLst/>
              <a:ahLst/>
              <a:cxnLst/>
              <a:rect l="l" t="t" r="r" b="b"/>
              <a:pathLst>
                <a:path w="28272" h="58303" extrusionOk="0">
                  <a:moveTo>
                    <a:pt x="704" y="1"/>
                  </a:moveTo>
                  <a:lnTo>
                    <a:pt x="0" y="58303"/>
                  </a:lnTo>
                  <a:lnTo>
                    <a:pt x="28271" y="58303"/>
                  </a:lnTo>
                  <a:lnTo>
                    <a:pt x="28271" y="12816"/>
                  </a:lnTo>
                  <a:cubicBezTo>
                    <a:pt x="28236" y="5704"/>
                    <a:pt x="23589" y="1"/>
                    <a:pt x="1785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457;p48">
              <a:extLst>
                <a:ext uri="{FF2B5EF4-FFF2-40B4-BE49-F238E27FC236}">
                  <a16:creationId xmlns:a16="http://schemas.microsoft.com/office/drawing/2014/main" id="{44CEFA06-AA6D-41CD-ACE1-190AA044AFEC}"/>
                </a:ext>
              </a:extLst>
            </p:cNvPr>
            <p:cNvSpPr/>
            <p:nvPr/>
          </p:nvSpPr>
          <p:spPr>
            <a:xfrm flipH="1">
              <a:off x="2716457" y="3874831"/>
              <a:ext cx="367869" cy="19218"/>
            </a:xfrm>
            <a:custGeom>
              <a:avLst/>
              <a:gdLst/>
              <a:ahLst/>
              <a:cxnLst/>
              <a:rect l="l" t="t" r="r" b="b"/>
              <a:pathLst>
                <a:path w="25631" h="1339" extrusionOk="0">
                  <a:moveTo>
                    <a:pt x="0" y="1"/>
                  </a:moveTo>
                  <a:lnTo>
                    <a:pt x="0" y="1339"/>
                  </a:lnTo>
                  <a:lnTo>
                    <a:pt x="25630" y="1339"/>
                  </a:lnTo>
                  <a:cubicBezTo>
                    <a:pt x="25384" y="881"/>
                    <a:pt x="25067" y="423"/>
                    <a:pt x="2475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458;p48">
              <a:extLst>
                <a:ext uri="{FF2B5EF4-FFF2-40B4-BE49-F238E27FC236}">
                  <a16:creationId xmlns:a16="http://schemas.microsoft.com/office/drawing/2014/main" id="{2EBBC406-BBBD-41DC-A51C-B6B2BDB5B035}"/>
                </a:ext>
              </a:extLst>
            </p:cNvPr>
            <p:cNvSpPr/>
            <p:nvPr/>
          </p:nvSpPr>
          <p:spPr>
            <a:xfrm flipH="1">
              <a:off x="3020147" y="3818230"/>
              <a:ext cx="102089" cy="836800"/>
            </a:xfrm>
            <a:custGeom>
              <a:avLst/>
              <a:gdLst/>
              <a:ahLst/>
              <a:cxnLst/>
              <a:rect l="l" t="t" r="r" b="b"/>
              <a:pathLst>
                <a:path w="7113" h="58303" extrusionOk="0">
                  <a:moveTo>
                    <a:pt x="1" y="1"/>
                  </a:moveTo>
                  <a:lnTo>
                    <a:pt x="1" y="58303"/>
                  </a:lnTo>
                  <a:lnTo>
                    <a:pt x="7112" y="58303"/>
                  </a:lnTo>
                  <a:lnTo>
                    <a:pt x="7112" y="5493"/>
                  </a:lnTo>
                  <a:cubicBezTo>
                    <a:pt x="7112" y="2465"/>
                    <a:pt x="5141" y="1"/>
                    <a:pt x="2676"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459;p48">
              <a:extLst>
                <a:ext uri="{FF2B5EF4-FFF2-40B4-BE49-F238E27FC236}">
                  <a16:creationId xmlns:a16="http://schemas.microsoft.com/office/drawing/2014/main" id="{19F2E9E7-AE02-4DA0-9427-84200FF5C391}"/>
                </a:ext>
              </a:extLst>
            </p:cNvPr>
            <p:cNvSpPr/>
            <p:nvPr/>
          </p:nvSpPr>
          <p:spPr>
            <a:xfrm flipH="1">
              <a:off x="2748274" y="4119954"/>
              <a:ext cx="214268" cy="212749"/>
            </a:xfrm>
            <a:custGeom>
              <a:avLst/>
              <a:gdLst/>
              <a:ahLst/>
              <a:cxnLst/>
              <a:rect l="l" t="t" r="r" b="b"/>
              <a:pathLst>
                <a:path w="14929" h="14823" extrusionOk="0">
                  <a:moveTo>
                    <a:pt x="2571" y="0"/>
                  </a:moveTo>
                  <a:cubicBezTo>
                    <a:pt x="1163" y="0"/>
                    <a:pt x="1" y="1127"/>
                    <a:pt x="1" y="2535"/>
                  </a:cubicBezTo>
                  <a:lnTo>
                    <a:pt x="1" y="12252"/>
                  </a:lnTo>
                  <a:cubicBezTo>
                    <a:pt x="1" y="13696"/>
                    <a:pt x="1163" y="14822"/>
                    <a:pt x="2571" y="14822"/>
                  </a:cubicBezTo>
                  <a:lnTo>
                    <a:pt x="12323" y="14822"/>
                  </a:lnTo>
                  <a:cubicBezTo>
                    <a:pt x="13731" y="14822"/>
                    <a:pt x="14893" y="13696"/>
                    <a:pt x="14893" y="12252"/>
                  </a:cubicBezTo>
                  <a:lnTo>
                    <a:pt x="14928" y="2535"/>
                  </a:lnTo>
                  <a:cubicBezTo>
                    <a:pt x="14928" y="1127"/>
                    <a:pt x="13767" y="0"/>
                    <a:pt x="12358"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460;p48">
              <a:extLst>
                <a:ext uri="{FF2B5EF4-FFF2-40B4-BE49-F238E27FC236}">
                  <a16:creationId xmlns:a16="http://schemas.microsoft.com/office/drawing/2014/main" id="{7008FAF8-44AD-4E91-A5C6-CC42E031BF13}"/>
                </a:ext>
              </a:extLst>
            </p:cNvPr>
            <p:cNvSpPr/>
            <p:nvPr/>
          </p:nvSpPr>
          <p:spPr>
            <a:xfrm flipH="1">
              <a:off x="2748274" y="4360009"/>
              <a:ext cx="214268" cy="213251"/>
            </a:xfrm>
            <a:custGeom>
              <a:avLst/>
              <a:gdLst/>
              <a:ahLst/>
              <a:cxnLst/>
              <a:rect l="l" t="t" r="r" b="b"/>
              <a:pathLst>
                <a:path w="14929" h="14858" extrusionOk="0">
                  <a:moveTo>
                    <a:pt x="2571" y="0"/>
                  </a:moveTo>
                  <a:cubicBezTo>
                    <a:pt x="1163" y="0"/>
                    <a:pt x="1" y="1162"/>
                    <a:pt x="1" y="2570"/>
                  </a:cubicBezTo>
                  <a:lnTo>
                    <a:pt x="1" y="12287"/>
                  </a:lnTo>
                  <a:cubicBezTo>
                    <a:pt x="1" y="13696"/>
                    <a:pt x="1163" y="14858"/>
                    <a:pt x="2571" y="14858"/>
                  </a:cubicBezTo>
                  <a:lnTo>
                    <a:pt x="12323" y="14858"/>
                  </a:lnTo>
                  <a:cubicBezTo>
                    <a:pt x="13731" y="14858"/>
                    <a:pt x="14893" y="13696"/>
                    <a:pt x="14893" y="12287"/>
                  </a:cubicBezTo>
                  <a:lnTo>
                    <a:pt x="14928" y="2570"/>
                  </a:lnTo>
                  <a:cubicBezTo>
                    <a:pt x="14928" y="1162"/>
                    <a:pt x="13767" y="0"/>
                    <a:pt x="12358"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461;p48">
              <a:extLst>
                <a:ext uri="{FF2B5EF4-FFF2-40B4-BE49-F238E27FC236}">
                  <a16:creationId xmlns:a16="http://schemas.microsoft.com/office/drawing/2014/main" id="{84252A80-8726-4A11-BA87-CEA23B083B39}"/>
                </a:ext>
              </a:extLst>
            </p:cNvPr>
            <p:cNvSpPr/>
            <p:nvPr/>
          </p:nvSpPr>
          <p:spPr>
            <a:xfrm flipH="1">
              <a:off x="2715438" y="3947610"/>
              <a:ext cx="267818" cy="24270"/>
            </a:xfrm>
            <a:custGeom>
              <a:avLst/>
              <a:gdLst/>
              <a:ahLst/>
              <a:cxnLst/>
              <a:rect l="l" t="t" r="r" b="b"/>
              <a:pathLst>
                <a:path w="18660" h="1691" extrusionOk="0">
                  <a:moveTo>
                    <a:pt x="845" y="1"/>
                  </a:moveTo>
                  <a:cubicBezTo>
                    <a:pt x="352" y="1"/>
                    <a:pt x="0" y="388"/>
                    <a:pt x="0" y="846"/>
                  </a:cubicBezTo>
                  <a:cubicBezTo>
                    <a:pt x="0" y="1303"/>
                    <a:pt x="352" y="1691"/>
                    <a:pt x="845" y="1691"/>
                  </a:cubicBezTo>
                  <a:lnTo>
                    <a:pt x="17780" y="1691"/>
                  </a:lnTo>
                  <a:cubicBezTo>
                    <a:pt x="18273" y="1691"/>
                    <a:pt x="18660" y="1303"/>
                    <a:pt x="18660" y="846"/>
                  </a:cubicBezTo>
                  <a:cubicBezTo>
                    <a:pt x="18660" y="388"/>
                    <a:pt x="18273" y="1"/>
                    <a:pt x="1778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462;p48">
              <a:extLst>
                <a:ext uri="{FF2B5EF4-FFF2-40B4-BE49-F238E27FC236}">
                  <a16:creationId xmlns:a16="http://schemas.microsoft.com/office/drawing/2014/main" id="{21F314C9-B7C3-45ED-9399-E220A992E182}"/>
                </a:ext>
              </a:extLst>
            </p:cNvPr>
            <p:cNvSpPr/>
            <p:nvPr/>
          </p:nvSpPr>
          <p:spPr>
            <a:xfrm flipH="1">
              <a:off x="2715438" y="4012809"/>
              <a:ext cx="267818" cy="24270"/>
            </a:xfrm>
            <a:custGeom>
              <a:avLst/>
              <a:gdLst/>
              <a:ahLst/>
              <a:cxnLst/>
              <a:rect l="l" t="t" r="r" b="b"/>
              <a:pathLst>
                <a:path w="18660" h="1691" extrusionOk="0">
                  <a:moveTo>
                    <a:pt x="845" y="0"/>
                  </a:moveTo>
                  <a:cubicBezTo>
                    <a:pt x="352" y="0"/>
                    <a:pt x="0" y="388"/>
                    <a:pt x="0" y="845"/>
                  </a:cubicBezTo>
                  <a:cubicBezTo>
                    <a:pt x="0" y="1338"/>
                    <a:pt x="352" y="1690"/>
                    <a:pt x="845" y="1690"/>
                  </a:cubicBezTo>
                  <a:lnTo>
                    <a:pt x="17780" y="1690"/>
                  </a:lnTo>
                  <a:cubicBezTo>
                    <a:pt x="18273" y="1690"/>
                    <a:pt x="18660" y="1338"/>
                    <a:pt x="18660" y="845"/>
                  </a:cubicBezTo>
                  <a:cubicBezTo>
                    <a:pt x="18660" y="388"/>
                    <a:pt x="18273" y="0"/>
                    <a:pt x="1778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463;p48">
              <a:extLst>
                <a:ext uri="{FF2B5EF4-FFF2-40B4-BE49-F238E27FC236}">
                  <a16:creationId xmlns:a16="http://schemas.microsoft.com/office/drawing/2014/main" id="{79218773-8BA8-4C2E-9AEA-9A4AAE8D5DBA}"/>
                </a:ext>
              </a:extLst>
            </p:cNvPr>
            <p:cNvSpPr/>
            <p:nvPr/>
          </p:nvSpPr>
          <p:spPr>
            <a:xfrm flipH="1">
              <a:off x="2775555" y="4143696"/>
              <a:ext cx="169288" cy="166260"/>
            </a:xfrm>
            <a:custGeom>
              <a:avLst/>
              <a:gdLst/>
              <a:ahLst/>
              <a:cxnLst/>
              <a:rect l="l" t="t" r="r" b="b"/>
              <a:pathLst>
                <a:path w="11795" h="11584" extrusionOk="0">
                  <a:moveTo>
                    <a:pt x="5880" y="423"/>
                  </a:moveTo>
                  <a:cubicBezTo>
                    <a:pt x="8696" y="423"/>
                    <a:pt x="10984" y="2677"/>
                    <a:pt x="11266" y="5810"/>
                  </a:cubicBezTo>
                  <a:cubicBezTo>
                    <a:pt x="11372" y="7077"/>
                    <a:pt x="10949" y="8345"/>
                    <a:pt x="10069" y="9295"/>
                  </a:cubicBezTo>
                  <a:cubicBezTo>
                    <a:pt x="8978" y="10457"/>
                    <a:pt x="7464" y="11126"/>
                    <a:pt x="5880" y="11126"/>
                  </a:cubicBezTo>
                  <a:lnTo>
                    <a:pt x="5739" y="11126"/>
                  </a:lnTo>
                  <a:cubicBezTo>
                    <a:pt x="2817" y="11126"/>
                    <a:pt x="458" y="8732"/>
                    <a:pt x="458" y="5775"/>
                  </a:cubicBezTo>
                  <a:cubicBezTo>
                    <a:pt x="493" y="2817"/>
                    <a:pt x="2887" y="423"/>
                    <a:pt x="5880" y="423"/>
                  </a:cubicBezTo>
                  <a:close/>
                  <a:moveTo>
                    <a:pt x="5780" y="1"/>
                  </a:moveTo>
                  <a:cubicBezTo>
                    <a:pt x="2606" y="1"/>
                    <a:pt x="35" y="2592"/>
                    <a:pt x="35" y="5775"/>
                  </a:cubicBezTo>
                  <a:cubicBezTo>
                    <a:pt x="0" y="8979"/>
                    <a:pt x="2570" y="11549"/>
                    <a:pt x="5739" y="11584"/>
                  </a:cubicBezTo>
                  <a:lnTo>
                    <a:pt x="5844" y="11584"/>
                  </a:lnTo>
                  <a:cubicBezTo>
                    <a:pt x="7569" y="11549"/>
                    <a:pt x="9224" y="10845"/>
                    <a:pt x="10386" y="9577"/>
                  </a:cubicBezTo>
                  <a:cubicBezTo>
                    <a:pt x="11337" y="8556"/>
                    <a:pt x="11794" y="7148"/>
                    <a:pt x="11689" y="5775"/>
                  </a:cubicBezTo>
                  <a:cubicBezTo>
                    <a:pt x="11372" y="2430"/>
                    <a:pt x="8942" y="1"/>
                    <a:pt x="5844" y="1"/>
                  </a:cubicBezTo>
                  <a:cubicBezTo>
                    <a:pt x="5823" y="1"/>
                    <a:pt x="5802" y="1"/>
                    <a:pt x="5780"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464;p48">
              <a:extLst>
                <a:ext uri="{FF2B5EF4-FFF2-40B4-BE49-F238E27FC236}">
                  <a16:creationId xmlns:a16="http://schemas.microsoft.com/office/drawing/2014/main" id="{B08BB94F-232C-4AAA-8E68-0C7C1C10058D}"/>
                </a:ext>
              </a:extLst>
            </p:cNvPr>
            <p:cNvSpPr/>
            <p:nvPr/>
          </p:nvSpPr>
          <p:spPr>
            <a:xfrm flipH="1">
              <a:off x="2777081" y="4386495"/>
              <a:ext cx="194548" cy="166562"/>
            </a:xfrm>
            <a:custGeom>
              <a:avLst/>
              <a:gdLst/>
              <a:ahLst/>
              <a:cxnLst/>
              <a:rect l="l" t="t" r="r" b="b"/>
              <a:pathLst>
                <a:path w="13555" h="11605" extrusionOk="0">
                  <a:moveTo>
                    <a:pt x="7746" y="444"/>
                  </a:moveTo>
                  <a:cubicBezTo>
                    <a:pt x="10703" y="444"/>
                    <a:pt x="13097" y="2838"/>
                    <a:pt x="13132" y="5830"/>
                  </a:cubicBezTo>
                  <a:cubicBezTo>
                    <a:pt x="13108" y="9045"/>
                    <a:pt x="10476" y="11180"/>
                    <a:pt x="7728" y="11180"/>
                  </a:cubicBezTo>
                  <a:cubicBezTo>
                    <a:pt x="6413" y="11180"/>
                    <a:pt x="5072" y="10691"/>
                    <a:pt x="3978" y="9597"/>
                  </a:cubicBezTo>
                  <a:cubicBezTo>
                    <a:pt x="599" y="6253"/>
                    <a:pt x="2957" y="479"/>
                    <a:pt x="7746" y="444"/>
                  </a:cubicBezTo>
                  <a:close/>
                  <a:moveTo>
                    <a:pt x="7716" y="0"/>
                  </a:moveTo>
                  <a:cubicBezTo>
                    <a:pt x="6294" y="0"/>
                    <a:pt x="4844" y="529"/>
                    <a:pt x="3662" y="1711"/>
                  </a:cubicBezTo>
                  <a:cubicBezTo>
                    <a:pt x="0" y="5337"/>
                    <a:pt x="2570" y="11569"/>
                    <a:pt x="7746" y="11604"/>
                  </a:cubicBezTo>
                  <a:cubicBezTo>
                    <a:pt x="10949" y="11604"/>
                    <a:pt x="13555" y="9034"/>
                    <a:pt x="13555" y="5830"/>
                  </a:cubicBezTo>
                  <a:cubicBezTo>
                    <a:pt x="13555" y="2326"/>
                    <a:pt x="10698" y="0"/>
                    <a:pt x="7716"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465;p48">
              <a:extLst>
                <a:ext uri="{FF2B5EF4-FFF2-40B4-BE49-F238E27FC236}">
                  <a16:creationId xmlns:a16="http://schemas.microsoft.com/office/drawing/2014/main" id="{AE2A5824-9377-442A-8EB1-6FCA4E02EF46}"/>
                </a:ext>
              </a:extLst>
            </p:cNvPr>
            <p:cNvSpPr/>
            <p:nvPr/>
          </p:nvSpPr>
          <p:spPr>
            <a:xfrm flipH="1">
              <a:off x="1394418" y="3669586"/>
              <a:ext cx="435857" cy="929347"/>
            </a:xfrm>
            <a:custGeom>
              <a:avLst/>
              <a:gdLst/>
              <a:ahLst/>
              <a:cxnLst/>
              <a:rect l="l" t="t" r="r" b="b"/>
              <a:pathLst>
                <a:path w="30368" h="64751" extrusionOk="0">
                  <a:moveTo>
                    <a:pt x="799" y="1"/>
                  </a:moveTo>
                  <a:cubicBezTo>
                    <a:pt x="404" y="1"/>
                    <a:pt x="0" y="316"/>
                    <a:pt x="125" y="815"/>
                  </a:cubicBezTo>
                  <a:lnTo>
                    <a:pt x="14842" y="61053"/>
                  </a:lnTo>
                  <a:cubicBezTo>
                    <a:pt x="15194" y="62426"/>
                    <a:pt x="16320" y="63447"/>
                    <a:pt x="17764" y="63623"/>
                  </a:cubicBezTo>
                  <a:lnTo>
                    <a:pt x="26460" y="64750"/>
                  </a:lnTo>
                  <a:lnTo>
                    <a:pt x="26917" y="64750"/>
                  </a:lnTo>
                  <a:cubicBezTo>
                    <a:pt x="27762" y="64750"/>
                    <a:pt x="28572" y="64433"/>
                    <a:pt x="29206" y="63870"/>
                  </a:cubicBezTo>
                  <a:cubicBezTo>
                    <a:pt x="29945" y="63236"/>
                    <a:pt x="30368" y="62286"/>
                    <a:pt x="30368" y="61300"/>
                  </a:cubicBezTo>
                  <a:lnTo>
                    <a:pt x="29488" y="1977"/>
                  </a:lnTo>
                  <a:cubicBezTo>
                    <a:pt x="29488" y="1625"/>
                    <a:pt x="29206" y="1308"/>
                    <a:pt x="28854" y="1308"/>
                  </a:cubicBezTo>
                  <a:cubicBezTo>
                    <a:pt x="28467" y="1343"/>
                    <a:pt x="28185" y="1625"/>
                    <a:pt x="28185" y="1977"/>
                  </a:cubicBezTo>
                  <a:lnTo>
                    <a:pt x="29030" y="61335"/>
                  </a:lnTo>
                  <a:cubicBezTo>
                    <a:pt x="29030" y="61934"/>
                    <a:pt x="28783" y="62497"/>
                    <a:pt x="28361" y="62884"/>
                  </a:cubicBezTo>
                  <a:cubicBezTo>
                    <a:pt x="27953" y="63234"/>
                    <a:pt x="27472" y="63439"/>
                    <a:pt x="26958" y="63439"/>
                  </a:cubicBezTo>
                  <a:cubicBezTo>
                    <a:pt x="26852" y="63439"/>
                    <a:pt x="26745" y="63430"/>
                    <a:pt x="26636" y="63412"/>
                  </a:cubicBezTo>
                  <a:lnTo>
                    <a:pt x="17905" y="62321"/>
                  </a:lnTo>
                  <a:cubicBezTo>
                    <a:pt x="17060" y="62215"/>
                    <a:pt x="16320" y="61581"/>
                    <a:pt x="16109" y="60737"/>
                  </a:cubicBezTo>
                  <a:lnTo>
                    <a:pt x="1428" y="498"/>
                  </a:lnTo>
                  <a:cubicBezTo>
                    <a:pt x="1341" y="152"/>
                    <a:pt x="1072" y="1"/>
                    <a:pt x="799"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466;p48">
              <a:extLst>
                <a:ext uri="{FF2B5EF4-FFF2-40B4-BE49-F238E27FC236}">
                  <a16:creationId xmlns:a16="http://schemas.microsoft.com/office/drawing/2014/main" id="{494BA949-8E9C-4592-963E-A69923533D70}"/>
                </a:ext>
              </a:extLst>
            </p:cNvPr>
            <p:cNvSpPr/>
            <p:nvPr/>
          </p:nvSpPr>
          <p:spPr>
            <a:xfrm flipH="1">
              <a:off x="1376939" y="3644881"/>
              <a:ext cx="1902966" cy="39944"/>
            </a:xfrm>
            <a:custGeom>
              <a:avLst/>
              <a:gdLst/>
              <a:ahLst/>
              <a:cxnLst/>
              <a:rect l="l" t="t" r="r" b="b"/>
              <a:pathLst>
                <a:path w="132588" h="2783" extrusionOk="0">
                  <a:moveTo>
                    <a:pt x="0" y="1"/>
                  </a:moveTo>
                  <a:lnTo>
                    <a:pt x="0" y="2782"/>
                  </a:lnTo>
                  <a:lnTo>
                    <a:pt x="132588" y="2782"/>
                  </a:lnTo>
                  <a:lnTo>
                    <a:pt x="13258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467;p48">
              <a:extLst>
                <a:ext uri="{FF2B5EF4-FFF2-40B4-BE49-F238E27FC236}">
                  <a16:creationId xmlns:a16="http://schemas.microsoft.com/office/drawing/2014/main" id="{E54C31AA-617C-43ED-8F34-A55E83A61B7A}"/>
                </a:ext>
              </a:extLst>
            </p:cNvPr>
            <p:cNvSpPr/>
            <p:nvPr/>
          </p:nvSpPr>
          <p:spPr>
            <a:xfrm flipH="1">
              <a:off x="1732070" y="3607487"/>
              <a:ext cx="884788" cy="37920"/>
            </a:xfrm>
            <a:custGeom>
              <a:avLst/>
              <a:gdLst/>
              <a:ahLst/>
              <a:cxnLst/>
              <a:rect l="l" t="t" r="r" b="b"/>
              <a:pathLst>
                <a:path w="61647" h="2642" extrusionOk="0">
                  <a:moveTo>
                    <a:pt x="0" y="1"/>
                  </a:moveTo>
                  <a:lnTo>
                    <a:pt x="0" y="2641"/>
                  </a:lnTo>
                  <a:lnTo>
                    <a:pt x="61647" y="2641"/>
                  </a:lnTo>
                  <a:lnTo>
                    <a:pt x="61647"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468;p48">
              <a:extLst>
                <a:ext uri="{FF2B5EF4-FFF2-40B4-BE49-F238E27FC236}">
                  <a16:creationId xmlns:a16="http://schemas.microsoft.com/office/drawing/2014/main" id="{433BFC1C-8427-453E-85F4-FD1F8FA9F2B3}"/>
                </a:ext>
              </a:extLst>
            </p:cNvPr>
            <p:cNvSpPr/>
            <p:nvPr/>
          </p:nvSpPr>
          <p:spPr>
            <a:xfrm flipH="1">
              <a:off x="1732070" y="3607487"/>
              <a:ext cx="884788" cy="11138"/>
            </a:xfrm>
            <a:custGeom>
              <a:avLst/>
              <a:gdLst/>
              <a:ahLst/>
              <a:cxnLst/>
              <a:rect l="l" t="t" r="r" b="b"/>
              <a:pathLst>
                <a:path w="61647" h="776" extrusionOk="0">
                  <a:moveTo>
                    <a:pt x="0" y="1"/>
                  </a:moveTo>
                  <a:lnTo>
                    <a:pt x="0" y="775"/>
                  </a:lnTo>
                  <a:lnTo>
                    <a:pt x="61647" y="775"/>
                  </a:lnTo>
                  <a:lnTo>
                    <a:pt x="61647"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469;p48">
              <a:extLst>
                <a:ext uri="{FF2B5EF4-FFF2-40B4-BE49-F238E27FC236}">
                  <a16:creationId xmlns:a16="http://schemas.microsoft.com/office/drawing/2014/main" id="{3FC9C5E2-0865-4390-917E-AE30013D33EB}"/>
                </a:ext>
              </a:extLst>
            </p:cNvPr>
            <p:cNvSpPr/>
            <p:nvPr/>
          </p:nvSpPr>
          <p:spPr>
            <a:xfrm flipH="1">
              <a:off x="2658528" y="3663328"/>
              <a:ext cx="607741" cy="1087197"/>
            </a:xfrm>
            <a:custGeom>
              <a:avLst/>
              <a:gdLst/>
              <a:ahLst/>
              <a:cxnLst/>
              <a:rect l="l" t="t" r="r" b="b"/>
              <a:pathLst>
                <a:path w="42344" h="75749" extrusionOk="0">
                  <a:moveTo>
                    <a:pt x="41508" y="1"/>
                  </a:moveTo>
                  <a:cubicBezTo>
                    <a:pt x="41267" y="1"/>
                    <a:pt x="41027" y="131"/>
                    <a:pt x="40911" y="441"/>
                  </a:cubicBezTo>
                  <a:lnTo>
                    <a:pt x="12886" y="72544"/>
                  </a:lnTo>
                  <a:cubicBezTo>
                    <a:pt x="12423" y="73728"/>
                    <a:pt x="11302" y="74422"/>
                    <a:pt x="10128" y="74422"/>
                  </a:cubicBezTo>
                  <a:cubicBezTo>
                    <a:pt x="9695" y="74422"/>
                    <a:pt x="9255" y="74328"/>
                    <a:pt x="8838" y="74129"/>
                  </a:cubicBezTo>
                  <a:lnTo>
                    <a:pt x="2500" y="71030"/>
                  </a:lnTo>
                  <a:cubicBezTo>
                    <a:pt x="1796" y="70714"/>
                    <a:pt x="1374" y="69974"/>
                    <a:pt x="1444" y="69200"/>
                  </a:cubicBezTo>
                  <a:lnTo>
                    <a:pt x="7922" y="1392"/>
                  </a:lnTo>
                  <a:cubicBezTo>
                    <a:pt x="7959" y="925"/>
                    <a:pt x="7611" y="676"/>
                    <a:pt x="7265" y="676"/>
                  </a:cubicBezTo>
                  <a:cubicBezTo>
                    <a:pt x="6958" y="676"/>
                    <a:pt x="6653" y="872"/>
                    <a:pt x="6619" y="1286"/>
                  </a:cubicBezTo>
                  <a:lnTo>
                    <a:pt x="141" y="69059"/>
                  </a:lnTo>
                  <a:cubicBezTo>
                    <a:pt x="1" y="70361"/>
                    <a:pt x="705" y="71629"/>
                    <a:pt x="1902" y="72227"/>
                  </a:cubicBezTo>
                  <a:lnTo>
                    <a:pt x="8204" y="75290"/>
                  </a:lnTo>
                  <a:cubicBezTo>
                    <a:pt x="8802" y="75572"/>
                    <a:pt x="9436" y="75748"/>
                    <a:pt x="10105" y="75748"/>
                  </a:cubicBezTo>
                  <a:cubicBezTo>
                    <a:pt x="10633" y="75748"/>
                    <a:pt x="11161" y="75642"/>
                    <a:pt x="11654" y="75431"/>
                  </a:cubicBezTo>
                  <a:cubicBezTo>
                    <a:pt x="12745" y="75009"/>
                    <a:pt x="13626" y="74129"/>
                    <a:pt x="14048" y="73037"/>
                  </a:cubicBezTo>
                  <a:lnTo>
                    <a:pt x="42143" y="899"/>
                  </a:lnTo>
                  <a:cubicBezTo>
                    <a:pt x="42343" y="386"/>
                    <a:pt x="41924" y="1"/>
                    <a:pt x="4150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470;p48">
              <a:extLst>
                <a:ext uri="{FF2B5EF4-FFF2-40B4-BE49-F238E27FC236}">
                  <a16:creationId xmlns:a16="http://schemas.microsoft.com/office/drawing/2014/main" id="{90D91142-8DD4-42C9-A258-57C93F573557}"/>
                </a:ext>
              </a:extLst>
            </p:cNvPr>
            <p:cNvSpPr/>
            <p:nvPr/>
          </p:nvSpPr>
          <p:spPr>
            <a:xfrm flipH="1">
              <a:off x="1376939" y="3668136"/>
              <a:ext cx="1902966" cy="39929"/>
            </a:xfrm>
            <a:custGeom>
              <a:avLst/>
              <a:gdLst/>
              <a:ahLst/>
              <a:cxnLst/>
              <a:rect l="l" t="t" r="r" b="b"/>
              <a:pathLst>
                <a:path w="132588" h="2782" extrusionOk="0">
                  <a:moveTo>
                    <a:pt x="0" y="0"/>
                  </a:moveTo>
                  <a:lnTo>
                    <a:pt x="0" y="2782"/>
                  </a:lnTo>
                  <a:lnTo>
                    <a:pt x="132588" y="2782"/>
                  </a:lnTo>
                  <a:lnTo>
                    <a:pt x="132588"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471;p48">
              <a:extLst>
                <a:ext uri="{FF2B5EF4-FFF2-40B4-BE49-F238E27FC236}">
                  <a16:creationId xmlns:a16="http://schemas.microsoft.com/office/drawing/2014/main" id="{1BDCB84A-A466-44F8-93FE-5043D725C32F}"/>
                </a:ext>
              </a:extLst>
            </p:cNvPr>
            <p:cNvSpPr/>
            <p:nvPr/>
          </p:nvSpPr>
          <p:spPr>
            <a:xfrm flipH="1">
              <a:off x="2132867" y="2633614"/>
              <a:ext cx="1125822" cy="799915"/>
            </a:xfrm>
            <a:custGeom>
              <a:avLst/>
              <a:gdLst/>
              <a:ahLst/>
              <a:cxnLst/>
              <a:rect l="l" t="t" r="r" b="b"/>
              <a:pathLst>
                <a:path w="78441" h="55733" extrusionOk="0">
                  <a:moveTo>
                    <a:pt x="1" y="0"/>
                  </a:moveTo>
                  <a:lnTo>
                    <a:pt x="1" y="55733"/>
                  </a:lnTo>
                  <a:lnTo>
                    <a:pt x="78441" y="55733"/>
                  </a:lnTo>
                  <a:lnTo>
                    <a:pt x="78124" y="12041"/>
                  </a:lnTo>
                  <a:lnTo>
                    <a:pt x="1"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472;p48">
              <a:extLst>
                <a:ext uri="{FF2B5EF4-FFF2-40B4-BE49-F238E27FC236}">
                  <a16:creationId xmlns:a16="http://schemas.microsoft.com/office/drawing/2014/main" id="{DB054960-48B8-4616-9AB2-F705F6B8B1D5}"/>
                </a:ext>
              </a:extLst>
            </p:cNvPr>
            <p:cNvSpPr/>
            <p:nvPr/>
          </p:nvSpPr>
          <p:spPr>
            <a:xfrm flipH="1">
              <a:off x="2132867" y="2855482"/>
              <a:ext cx="1125822" cy="578080"/>
            </a:xfrm>
            <a:custGeom>
              <a:avLst/>
              <a:gdLst/>
              <a:ahLst/>
              <a:cxnLst/>
              <a:rect l="l" t="t" r="r" b="b"/>
              <a:pathLst>
                <a:path w="78441" h="40277" extrusionOk="0">
                  <a:moveTo>
                    <a:pt x="1" y="0"/>
                  </a:moveTo>
                  <a:lnTo>
                    <a:pt x="1" y="40277"/>
                  </a:lnTo>
                  <a:lnTo>
                    <a:pt x="78441" y="40277"/>
                  </a:lnTo>
                  <a:lnTo>
                    <a:pt x="78300" y="19258"/>
                  </a:lnTo>
                  <a:cubicBezTo>
                    <a:pt x="73544" y="19995"/>
                    <a:pt x="68754" y="20347"/>
                    <a:pt x="63967" y="20347"/>
                  </a:cubicBezTo>
                  <a:cubicBezTo>
                    <a:pt x="41296" y="20347"/>
                    <a:pt x="18692" y="12442"/>
                    <a:pt x="1"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473;p48">
              <a:extLst>
                <a:ext uri="{FF2B5EF4-FFF2-40B4-BE49-F238E27FC236}">
                  <a16:creationId xmlns:a16="http://schemas.microsoft.com/office/drawing/2014/main" id="{B57C1A7C-00C6-45F1-B9EC-984B50974F85}"/>
                </a:ext>
              </a:extLst>
            </p:cNvPr>
            <p:cNvSpPr/>
            <p:nvPr/>
          </p:nvSpPr>
          <p:spPr>
            <a:xfrm flipH="1">
              <a:off x="2136797" y="2632594"/>
              <a:ext cx="1121775" cy="205688"/>
            </a:xfrm>
            <a:custGeom>
              <a:avLst/>
              <a:gdLst/>
              <a:ahLst/>
              <a:cxnLst/>
              <a:rect l="l" t="t" r="r" b="b"/>
              <a:pathLst>
                <a:path w="78159" h="14331" extrusionOk="0">
                  <a:moveTo>
                    <a:pt x="0" y="1"/>
                  </a:moveTo>
                  <a:lnTo>
                    <a:pt x="0" y="4437"/>
                  </a:lnTo>
                  <a:lnTo>
                    <a:pt x="78159" y="14330"/>
                  </a:lnTo>
                  <a:lnTo>
                    <a:pt x="78159" y="12042"/>
                  </a:lnTo>
                  <a:lnTo>
                    <a:pt x="0"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474;p48">
              <a:extLst>
                <a:ext uri="{FF2B5EF4-FFF2-40B4-BE49-F238E27FC236}">
                  <a16:creationId xmlns:a16="http://schemas.microsoft.com/office/drawing/2014/main" id="{2232254A-6A08-43A9-964B-88F8159B84AA}"/>
                </a:ext>
              </a:extLst>
            </p:cNvPr>
            <p:cNvSpPr/>
            <p:nvPr/>
          </p:nvSpPr>
          <p:spPr>
            <a:xfrm flipH="1">
              <a:off x="2132748" y="3353780"/>
              <a:ext cx="1125822" cy="78853"/>
            </a:xfrm>
            <a:custGeom>
              <a:avLst/>
              <a:gdLst/>
              <a:ahLst/>
              <a:cxnLst/>
              <a:rect l="l" t="t" r="r" b="b"/>
              <a:pathLst>
                <a:path w="78441" h="5494" extrusionOk="0">
                  <a:moveTo>
                    <a:pt x="0" y="1"/>
                  </a:moveTo>
                  <a:lnTo>
                    <a:pt x="0" y="5493"/>
                  </a:lnTo>
                  <a:lnTo>
                    <a:pt x="78440" y="5493"/>
                  </a:lnTo>
                  <a:lnTo>
                    <a:pt x="78440" y="2078"/>
                  </a:lnTo>
                  <a:lnTo>
                    <a:pt x="0"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475;p48">
              <a:extLst>
                <a:ext uri="{FF2B5EF4-FFF2-40B4-BE49-F238E27FC236}">
                  <a16:creationId xmlns:a16="http://schemas.microsoft.com/office/drawing/2014/main" id="{6E719AD0-877F-4BFF-B78B-EF7F9E1D8376}"/>
                </a:ext>
              </a:extLst>
            </p:cNvPr>
            <p:cNvSpPr/>
            <p:nvPr/>
          </p:nvSpPr>
          <p:spPr>
            <a:xfrm flipH="1">
              <a:off x="2235927" y="3248157"/>
              <a:ext cx="882262" cy="57625"/>
            </a:xfrm>
            <a:custGeom>
              <a:avLst/>
              <a:gdLst/>
              <a:ahLst/>
              <a:cxnLst/>
              <a:rect l="l" t="t" r="r" b="b"/>
              <a:pathLst>
                <a:path w="61471" h="4015" extrusionOk="0">
                  <a:moveTo>
                    <a:pt x="423" y="1"/>
                  </a:moveTo>
                  <a:cubicBezTo>
                    <a:pt x="176" y="1"/>
                    <a:pt x="0" y="212"/>
                    <a:pt x="0" y="458"/>
                  </a:cubicBezTo>
                  <a:cubicBezTo>
                    <a:pt x="0" y="705"/>
                    <a:pt x="176" y="916"/>
                    <a:pt x="423" y="951"/>
                  </a:cubicBezTo>
                  <a:lnTo>
                    <a:pt x="61013" y="4014"/>
                  </a:lnTo>
                  <a:cubicBezTo>
                    <a:pt x="61260" y="4014"/>
                    <a:pt x="61471" y="3838"/>
                    <a:pt x="61471" y="3592"/>
                  </a:cubicBezTo>
                  <a:cubicBezTo>
                    <a:pt x="61471" y="3345"/>
                    <a:pt x="61260" y="3134"/>
                    <a:pt x="61013" y="3099"/>
                  </a:cubicBezTo>
                  <a:lnTo>
                    <a:pt x="423"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476;p48">
              <a:extLst>
                <a:ext uri="{FF2B5EF4-FFF2-40B4-BE49-F238E27FC236}">
                  <a16:creationId xmlns:a16="http://schemas.microsoft.com/office/drawing/2014/main" id="{BE8EACD2-BA80-4F6F-B423-2895EB2CC50D}"/>
                </a:ext>
              </a:extLst>
            </p:cNvPr>
            <p:cNvSpPr/>
            <p:nvPr/>
          </p:nvSpPr>
          <p:spPr>
            <a:xfrm flipH="1">
              <a:off x="2340016" y="2796526"/>
              <a:ext cx="808504" cy="448548"/>
            </a:xfrm>
            <a:custGeom>
              <a:avLst/>
              <a:gdLst/>
              <a:ahLst/>
              <a:cxnLst/>
              <a:rect l="l" t="t" r="r" b="b"/>
              <a:pathLst>
                <a:path w="56332" h="31252" extrusionOk="0">
                  <a:moveTo>
                    <a:pt x="27275" y="0"/>
                  </a:moveTo>
                  <a:cubicBezTo>
                    <a:pt x="26639" y="0"/>
                    <a:pt x="25973" y="223"/>
                    <a:pt x="25349" y="446"/>
                  </a:cubicBezTo>
                  <a:cubicBezTo>
                    <a:pt x="16724" y="3579"/>
                    <a:pt x="7746" y="7064"/>
                    <a:pt x="1515" y="14704"/>
                  </a:cubicBezTo>
                  <a:cubicBezTo>
                    <a:pt x="775" y="15655"/>
                    <a:pt x="1" y="16746"/>
                    <a:pt x="1" y="18014"/>
                  </a:cubicBezTo>
                  <a:cubicBezTo>
                    <a:pt x="1" y="19422"/>
                    <a:pt x="916" y="20619"/>
                    <a:pt x="1761" y="21640"/>
                  </a:cubicBezTo>
                  <a:lnTo>
                    <a:pt x="7465" y="28470"/>
                  </a:lnTo>
                  <a:lnTo>
                    <a:pt x="56331" y="31251"/>
                  </a:lnTo>
                  <a:cubicBezTo>
                    <a:pt x="55451" y="27449"/>
                    <a:pt x="52388" y="20865"/>
                    <a:pt x="49572" y="18894"/>
                  </a:cubicBezTo>
                  <a:cubicBezTo>
                    <a:pt x="48586" y="18190"/>
                    <a:pt x="47459" y="17732"/>
                    <a:pt x="46720" y="16746"/>
                  </a:cubicBezTo>
                  <a:cubicBezTo>
                    <a:pt x="45910" y="15584"/>
                    <a:pt x="45769" y="13965"/>
                    <a:pt x="45981" y="12486"/>
                  </a:cubicBezTo>
                  <a:cubicBezTo>
                    <a:pt x="46192" y="11043"/>
                    <a:pt x="46685" y="9635"/>
                    <a:pt x="46966" y="8191"/>
                  </a:cubicBezTo>
                  <a:cubicBezTo>
                    <a:pt x="47213" y="6924"/>
                    <a:pt x="47178" y="5304"/>
                    <a:pt x="46227" y="4670"/>
                  </a:cubicBezTo>
                  <a:cubicBezTo>
                    <a:pt x="45833" y="4445"/>
                    <a:pt x="45371" y="4332"/>
                    <a:pt x="44931" y="4332"/>
                  </a:cubicBezTo>
                  <a:cubicBezTo>
                    <a:pt x="44822" y="4332"/>
                    <a:pt x="44713" y="4339"/>
                    <a:pt x="44607" y="4354"/>
                  </a:cubicBezTo>
                  <a:cubicBezTo>
                    <a:pt x="41897" y="4530"/>
                    <a:pt x="39256" y="5128"/>
                    <a:pt x="36756" y="6114"/>
                  </a:cubicBezTo>
                  <a:cubicBezTo>
                    <a:pt x="35680" y="6536"/>
                    <a:pt x="34465" y="7009"/>
                    <a:pt x="33360" y="7009"/>
                  </a:cubicBezTo>
                  <a:cubicBezTo>
                    <a:pt x="32622" y="7009"/>
                    <a:pt x="31934" y="6798"/>
                    <a:pt x="31370" y="6220"/>
                  </a:cubicBezTo>
                  <a:cubicBezTo>
                    <a:pt x="29821" y="4670"/>
                    <a:pt x="30173" y="1291"/>
                    <a:pt x="28342" y="270"/>
                  </a:cubicBezTo>
                  <a:cubicBezTo>
                    <a:pt x="28006" y="75"/>
                    <a:pt x="27645" y="0"/>
                    <a:pt x="27275"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477;p48">
              <a:extLst>
                <a:ext uri="{FF2B5EF4-FFF2-40B4-BE49-F238E27FC236}">
                  <a16:creationId xmlns:a16="http://schemas.microsoft.com/office/drawing/2014/main" id="{384835D4-A3C2-4545-B93D-DA9714F526E2}"/>
                </a:ext>
              </a:extLst>
            </p:cNvPr>
            <p:cNvSpPr/>
            <p:nvPr/>
          </p:nvSpPr>
          <p:spPr>
            <a:xfrm flipH="1">
              <a:off x="2421355" y="2895202"/>
              <a:ext cx="557866" cy="344835"/>
            </a:xfrm>
            <a:custGeom>
              <a:avLst/>
              <a:gdLst/>
              <a:ahLst/>
              <a:cxnLst/>
              <a:rect l="l" t="t" r="r" b="b"/>
              <a:pathLst>
                <a:path w="38869" h="24026" extrusionOk="0">
                  <a:moveTo>
                    <a:pt x="20374" y="1"/>
                  </a:moveTo>
                  <a:cubicBezTo>
                    <a:pt x="18122" y="1"/>
                    <a:pt x="15866" y="181"/>
                    <a:pt x="13626" y="543"/>
                  </a:cubicBezTo>
                  <a:lnTo>
                    <a:pt x="10704" y="3887"/>
                  </a:lnTo>
                  <a:lnTo>
                    <a:pt x="18132" y="4521"/>
                  </a:lnTo>
                  <a:cubicBezTo>
                    <a:pt x="18484" y="4521"/>
                    <a:pt x="18836" y="4627"/>
                    <a:pt x="19118" y="4838"/>
                  </a:cubicBezTo>
                  <a:cubicBezTo>
                    <a:pt x="19365" y="5190"/>
                    <a:pt x="19294" y="5648"/>
                    <a:pt x="18907" y="5894"/>
                  </a:cubicBezTo>
                  <a:cubicBezTo>
                    <a:pt x="18555" y="6140"/>
                    <a:pt x="18097" y="6281"/>
                    <a:pt x="17675" y="6352"/>
                  </a:cubicBezTo>
                  <a:cubicBezTo>
                    <a:pt x="12499" y="7443"/>
                    <a:pt x="7465" y="9203"/>
                    <a:pt x="2712" y="11492"/>
                  </a:cubicBezTo>
                  <a:cubicBezTo>
                    <a:pt x="2008" y="11773"/>
                    <a:pt x="1374" y="12196"/>
                    <a:pt x="811" y="12689"/>
                  </a:cubicBezTo>
                  <a:cubicBezTo>
                    <a:pt x="283" y="13147"/>
                    <a:pt x="1" y="13851"/>
                    <a:pt x="142" y="14555"/>
                  </a:cubicBezTo>
                  <a:cubicBezTo>
                    <a:pt x="353" y="15294"/>
                    <a:pt x="1092" y="15822"/>
                    <a:pt x="1902" y="16069"/>
                  </a:cubicBezTo>
                  <a:cubicBezTo>
                    <a:pt x="2606" y="16215"/>
                    <a:pt x="3310" y="16289"/>
                    <a:pt x="4035" y="16289"/>
                  </a:cubicBezTo>
                  <a:cubicBezTo>
                    <a:pt x="4180" y="16289"/>
                    <a:pt x="4326" y="16286"/>
                    <a:pt x="4472" y="16280"/>
                  </a:cubicBezTo>
                  <a:cubicBezTo>
                    <a:pt x="9233" y="16228"/>
                    <a:pt x="14011" y="16064"/>
                    <a:pt x="18781" y="16064"/>
                  </a:cubicBezTo>
                  <a:cubicBezTo>
                    <a:pt x="23676" y="16064"/>
                    <a:pt x="28562" y="16236"/>
                    <a:pt x="33412" y="16878"/>
                  </a:cubicBezTo>
                  <a:cubicBezTo>
                    <a:pt x="34151" y="16949"/>
                    <a:pt x="34926" y="17125"/>
                    <a:pt x="35630" y="17442"/>
                  </a:cubicBezTo>
                  <a:cubicBezTo>
                    <a:pt x="36299" y="17688"/>
                    <a:pt x="36792" y="18287"/>
                    <a:pt x="36933" y="18991"/>
                  </a:cubicBezTo>
                  <a:cubicBezTo>
                    <a:pt x="37003" y="19977"/>
                    <a:pt x="35982" y="20786"/>
                    <a:pt x="35031" y="21385"/>
                  </a:cubicBezTo>
                  <a:cubicBezTo>
                    <a:pt x="34187" y="21878"/>
                    <a:pt x="32884" y="23145"/>
                    <a:pt x="32004" y="23603"/>
                  </a:cubicBezTo>
                  <a:lnTo>
                    <a:pt x="33658" y="24025"/>
                  </a:lnTo>
                  <a:cubicBezTo>
                    <a:pt x="33975" y="23920"/>
                    <a:pt x="34539" y="23356"/>
                    <a:pt x="35384" y="22934"/>
                  </a:cubicBezTo>
                  <a:cubicBezTo>
                    <a:pt x="36193" y="22441"/>
                    <a:pt x="36968" y="21913"/>
                    <a:pt x="37707" y="21314"/>
                  </a:cubicBezTo>
                  <a:cubicBezTo>
                    <a:pt x="38376" y="20857"/>
                    <a:pt x="38834" y="20082"/>
                    <a:pt x="38869" y="19272"/>
                  </a:cubicBezTo>
                  <a:cubicBezTo>
                    <a:pt x="38799" y="17899"/>
                    <a:pt x="37390" y="16562"/>
                    <a:pt x="35912" y="16033"/>
                  </a:cubicBezTo>
                  <a:cubicBezTo>
                    <a:pt x="31634" y="14450"/>
                    <a:pt x="26959" y="14104"/>
                    <a:pt x="22218" y="14104"/>
                  </a:cubicBezTo>
                  <a:cubicBezTo>
                    <a:pt x="18844" y="14104"/>
                    <a:pt x="15435" y="14279"/>
                    <a:pt x="12112" y="14308"/>
                  </a:cubicBezTo>
                  <a:cubicBezTo>
                    <a:pt x="11126" y="14308"/>
                    <a:pt x="9824" y="14062"/>
                    <a:pt x="9788" y="13252"/>
                  </a:cubicBezTo>
                  <a:cubicBezTo>
                    <a:pt x="9753" y="12654"/>
                    <a:pt x="10387" y="12231"/>
                    <a:pt x="10985" y="11949"/>
                  </a:cubicBezTo>
                  <a:cubicBezTo>
                    <a:pt x="18766" y="8112"/>
                    <a:pt x="27990" y="7232"/>
                    <a:pt x="36827" y="6000"/>
                  </a:cubicBezTo>
                  <a:cubicBezTo>
                    <a:pt x="37637" y="5894"/>
                    <a:pt x="38658" y="5577"/>
                    <a:pt x="38728" y="4873"/>
                  </a:cubicBezTo>
                  <a:cubicBezTo>
                    <a:pt x="38763" y="4310"/>
                    <a:pt x="38059" y="3887"/>
                    <a:pt x="37461" y="3606"/>
                  </a:cubicBezTo>
                  <a:cubicBezTo>
                    <a:pt x="32045" y="1216"/>
                    <a:pt x="26226" y="1"/>
                    <a:pt x="2037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478;p48">
              <a:extLst>
                <a:ext uri="{FF2B5EF4-FFF2-40B4-BE49-F238E27FC236}">
                  <a16:creationId xmlns:a16="http://schemas.microsoft.com/office/drawing/2014/main" id="{760E35D7-28D7-4853-B446-D65253E6C36F}"/>
                </a:ext>
              </a:extLst>
            </p:cNvPr>
            <p:cNvSpPr/>
            <p:nvPr/>
          </p:nvSpPr>
          <p:spPr>
            <a:xfrm flipH="1">
              <a:off x="2190337" y="2898933"/>
              <a:ext cx="174340" cy="26796"/>
            </a:xfrm>
            <a:custGeom>
              <a:avLst/>
              <a:gdLst/>
              <a:ahLst/>
              <a:cxnLst/>
              <a:rect l="l" t="t" r="r" b="b"/>
              <a:pathLst>
                <a:path w="12147" h="1867" extrusionOk="0">
                  <a:moveTo>
                    <a:pt x="35" y="1"/>
                  </a:moveTo>
                  <a:lnTo>
                    <a:pt x="0" y="459"/>
                  </a:lnTo>
                  <a:lnTo>
                    <a:pt x="12111" y="1867"/>
                  </a:lnTo>
                  <a:lnTo>
                    <a:pt x="12146" y="1444"/>
                  </a:lnTo>
                  <a:lnTo>
                    <a:pt x="35"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479;p48">
              <a:extLst>
                <a:ext uri="{FF2B5EF4-FFF2-40B4-BE49-F238E27FC236}">
                  <a16:creationId xmlns:a16="http://schemas.microsoft.com/office/drawing/2014/main" id="{BB4C306F-8B11-4964-9616-F250BA16E893}"/>
                </a:ext>
              </a:extLst>
            </p:cNvPr>
            <p:cNvSpPr/>
            <p:nvPr/>
          </p:nvSpPr>
          <p:spPr>
            <a:xfrm flipH="1">
              <a:off x="2190337" y="2953525"/>
              <a:ext cx="174340" cy="24270"/>
            </a:xfrm>
            <a:custGeom>
              <a:avLst/>
              <a:gdLst/>
              <a:ahLst/>
              <a:cxnLst/>
              <a:rect l="l" t="t" r="r" b="b"/>
              <a:pathLst>
                <a:path w="12147" h="1691" extrusionOk="0">
                  <a:moveTo>
                    <a:pt x="35" y="0"/>
                  </a:moveTo>
                  <a:lnTo>
                    <a:pt x="0" y="458"/>
                  </a:lnTo>
                  <a:cubicBezTo>
                    <a:pt x="2007" y="669"/>
                    <a:pt x="4049" y="880"/>
                    <a:pt x="6056" y="1056"/>
                  </a:cubicBezTo>
                  <a:cubicBezTo>
                    <a:pt x="8027" y="1268"/>
                    <a:pt x="10069" y="1479"/>
                    <a:pt x="12111" y="1690"/>
                  </a:cubicBezTo>
                  <a:lnTo>
                    <a:pt x="12146" y="1268"/>
                  </a:lnTo>
                  <a:cubicBezTo>
                    <a:pt x="10140" y="1021"/>
                    <a:pt x="8062" y="810"/>
                    <a:pt x="6091" y="634"/>
                  </a:cubicBezTo>
                  <a:cubicBezTo>
                    <a:pt x="4119" y="458"/>
                    <a:pt x="2042" y="247"/>
                    <a:pt x="35"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480;p48">
              <a:extLst>
                <a:ext uri="{FF2B5EF4-FFF2-40B4-BE49-F238E27FC236}">
                  <a16:creationId xmlns:a16="http://schemas.microsoft.com/office/drawing/2014/main" id="{E76F80A7-D6AD-4CD2-B7F6-F211683010C5}"/>
                </a:ext>
              </a:extLst>
            </p:cNvPr>
            <p:cNvSpPr/>
            <p:nvPr/>
          </p:nvSpPr>
          <p:spPr>
            <a:xfrm flipH="1">
              <a:off x="2190337" y="3004054"/>
              <a:ext cx="174340" cy="25791"/>
            </a:xfrm>
            <a:custGeom>
              <a:avLst/>
              <a:gdLst/>
              <a:ahLst/>
              <a:cxnLst/>
              <a:rect l="l" t="t" r="r" b="b"/>
              <a:pathLst>
                <a:path w="12147" h="1797" extrusionOk="0">
                  <a:moveTo>
                    <a:pt x="35" y="1"/>
                  </a:moveTo>
                  <a:lnTo>
                    <a:pt x="0" y="423"/>
                  </a:lnTo>
                  <a:cubicBezTo>
                    <a:pt x="2007" y="670"/>
                    <a:pt x="4014" y="916"/>
                    <a:pt x="6056" y="1127"/>
                  </a:cubicBezTo>
                  <a:cubicBezTo>
                    <a:pt x="8062" y="1339"/>
                    <a:pt x="10069" y="1585"/>
                    <a:pt x="12111" y="1796"/>
                  </a:cubicBezTo>
                  <a:lnTo>
                    <a:pt x="12146" y="1374"/>
                  </a:lnTo>
                  <a:cubicBezTo>
                    <a:pt x="10140" y="1127"/>
                    <a:pt x="8098" y="916"/>
                    <a:pt x="6091" y="670"/>
                  </a:cubicBezTo>
                  <a:cubicBezTo>
                    <a:pt x="4084" y="459"/>
                    <a:pt x="2042" y="247"/>
                    <a:pt x="35"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481;p48">
              <a:extLst>
                <a:ext uri="{FF2B5EF4-FFF2-40B4-BE49-F238E27FC236}">
                  <a16:creationId xmlns:a16="http://schemas.microsoft.com/office/drawing/2014/main" id="{3A9FC0E4-5EE6-416D-AF69-CB942F0215DD}"/>
                </a:ext>
              </a:extLst>
            </p:cNvPr>
            <p:cNvSpPr/>
            <p:nvPr/>
          </p:nvSpPr>
          <p:spPr>
            <a:xfrm flipH="1">
              <a:off x="2190337" y="3058646"/>
              <a:ext cx="173837" cy="23753"/>
            </a:xfrm>
            <a:custGeom>
              <a:avLst/>
              <a:gdLst/>
              <a:ahLst/>
              <a:cxnLst/>
              <a:rect l="l" t="t" r="r" b="b"/>
              <a:pathLst>
                <a:path w="12112" h="1655" extrusionOk="0">
                  <a:moveTo>
                    <a:pt x="36" y="0"/>
                  </a:moveTo>
                  <a:lnTo>
                    <a:pt x="0" y="423"/>
                  </a:lnTo>
                  <a:cubicBezTo>
                    <a:pt x="2007" y="669"/>
                    <a:pt x="4049" y="880"/>
                    <a:pt x="6021" y="1021"/>
                  </a:cubicBezTo>
                  <a:cubicBezTo>
                    <a:pt x="7992" y="1197"/>
                    <a:pt x="10034" y="1408"/>
                    <a:pt x="12076" y="1655"/>
                  </a:cubicBezTo>
                  <a:lnTo>
                    <a:pt x="12111" y="1197"/>
                  </a:lnTo>
                  <a:cubicBezTo>
                    <a:pt x="10105" y="951"/>
                    <a:pt x="8063" y="775"/>
                    <a:pt x="6091" y="599"/>
                  </a:cubicBezTo>
                  <a:cubicBezTo>
                    <a:pt x="4119" y="423"/>
                    <a:pt x="2078" y="211"/>
                    <a:pt x="3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482;p48">
              <a:extLst>
                <a:ext uri="{FF2B5EF4-FFF2-40B4-BE49-F238E27FC236}">
                  <a16:creationId xmlns:a16="http://schemas.microsoft.com/office/drawing/2014/main" id="{05A925BD-7411-4800-9DF9-7E844C45F9DA}"/>
                </a:ext>
              </a:extLst>
            </p:cNvPr>
            <p:cNvSpPr/>
            <p:nvPr/>
          </p:nvSpPr>
          <p:spPr>
            <a:xfrm flipH="1">
              <a:off x="2190840" y="3115246"/>
              <a:ext cx="174857" cy="26796"/>
            </a:xfrm>
            <a:custGeom>
              <a:avLst/>
              <a:gdLst/>
              <a:ahLst/>
              <a:cxnLst/>
              <a:rect l="l" t="t" r="r" b="b"/>
              <a:pathLst>
                <a:path w="12183" h="1867" extrusionOk="0">
                  <a:moveTo>
                    <a:pt x="71" y="0"/>
                  </a:moveTo>
                  <a:lnTo>
                    <a:pt x="1" y="458"/>
                  </a:lnTo>
                  <a:lnTo>
                    <a:pt x="12112" y="1866"/>
                  </a:lnTo>
                  <a:lnTo>
                    <a:pt x="12182" y="1444"/>
                  </a:lnTo>
                  <a:lnTo>
                    <a:pt x="71"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483;p48">
              <a:extLst>
                <a:ext uri="{FF2B5EF4-FFF2-40B4-BE49-F238E27FC236}">
                  <a16:creationId xmlns:a16="http://schemas.microsoft.com/office/drawing/2014/main" id="{165435D9-F941-418E-9BCB-6333172CFAE3}"/>
                </a:ext>
              </a:extLst>
            </p:cNvPr>
            <p:cNvSpPr/>
            <p:nvPr/>
          </p:nvSpPr>
          <p:spPr>
            <a:xfrm flipH="1">
              <a:off x="2736172" y="2825653"/>
              <a:ext cx="410323" cy="148966"/>
            </a:xfrm>
            <a:custGeom>
              <a:avLst/>
              <a:gdLst/>
              <a:ahLst/>
              <a:cxnLst/>
              <a:rect l="l" t="t" r="r" b="b"/>
              <a:pathLst>
                <a:path w="28589" h="10379" extrusionOk="0">
                  <a:moveTo>
                    <a:pt x="26898" y="1"/>
                  </a:moveTo>
                  <a:cubicBezTo>
                    <a:pt x="24716" y="2008"/>
                    <a:pt x="21793" y="3029"/>
                    <a:pt x="18907" y="3627"/>
                  </a:cubicBezTo>
                  <a:cubicBezTo>
                    <a:pt x="16020" y="4191"/>
                    <a:pt x="13027" y="4402"/>
                    <a:pt x="10140" y="5035"/>
                  </a:cubicBezTo>
                  <a:cubicBezTo>
                    <a:pt x="6549" y="5810"/>
                    <a:pt x="3099" y="7183"/>
                    <a:pt x="1" y="9190"/>
                  </a:cubicBezTo>
                  <a:cubicBezTo>
                    <a:pt x="160" y="9194"/>
                    <a:pt x="319" y="9196"/>
                    <a:pt x="478" y="9196"/>
                  </a:cubicBezTo>
                  <a:cubicBezTo>
                    <a:pt x="4289" y="9196"/>
                    <a:pt x="8009" y="8028"/>
                    <a:pt x="11795" y="8028"/>
                  </a:cubicBezTo>
                  <a:cubicBezTo>
                    <a:pt x="12957" y="8028"/>
                    <a:pt x="14189" y="8169"/>
                    <a:pt x="15175" y="8838"/>
                  </a:cubicBezTo>
                  <a:cubicBezTo>
                    <a:pt x="15808" y="9225"/>
                    <a:pt x="16301" y="9859"/>
                    <a:pt x="17005" y="10140"/>
                  </a:cubicBezTo>
                  <a:cubicBezTo>
                    <a:pt x="17454" y="10299"/>
                    <a:pt x="17903" y="10378"/>
                    <a:pt x="18367" y="10378"/>
                  </a:cubicBezTo>
                  <a:cubicBezTo>
                    <a:pt x="18521" y="10378"/>
                    <a:pt x="18678" y="10369"/>
                    <a:pt x="18836" y="10352"/>
                  </a:cubicBezTo>
                  <a:lnTo>
                    <a:pt x="23659" y="10281"/>
                  </a:lnTo>
                  <a:cubicBezTo>
                    <a:pt x="23906" y="10281"/>
                    <a:pt x="24117" y="10246"/>
                    <a:pt x="24328" y="10140"/>
                  </a:cubicBezTo>
                  <a:cubicBezTo>
                    <a:pt x="24716" y="9929"/>
                    <a:pt x="24786" y="9436"/>
                    <a:pt x="24856" y="8979"/>
                  </a:cubicBezTo>
                  <a:cubicBezTo>
                    <a:pt x="25244" y="5951"/>
                    <a:pt x="26546" y="3099"/>
                    <a:pt x="28588" y="846"/>
                  </a:cubicBezTo>
                  <a:lnTo>
                    <a:pt x="2689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 name="Google Shape;484;p48">
              <a:extLst>
                <a:ext uri="{FF2B5EF4-FFF2-40B4-BE49-F238E27FC236}">
                  <a16:creationId xmlns:a16="http://schemas.microsoft.com/office/drawing/2014/main" id="{A502877C-E051-4A89-91D7-F2C56044BF10}"/>
                </a:ext>
              </a:extLst>
            </p:cNvPr>
            <p:cNvSpPr/>
            <p:nvPr/>
          </p:nvSpPr>
          <p:spPr>
            <a:xfrm flipH="1">
              <a:off x="2725030" y="2885296"/>
              <a:ext cx="185449" cy="33427"/>
            </a:xfrm>
            <a:custGeom>
              <a:avLst/>
              <a:gdLst/>
              <a:ahLst/>
              <a:cxnLst/>
              <a:rect l="l" t="t" r="r" b="b"/>
              <a:pathLst>
                <a:path w="12921" h="2329" extrusionOk="0">
                  <a:moveTo>
                    <a:pt x="12886" y="0"/>
                  </a:moveTo>
                  <a:lnTo>
                    <a:pt x="11336" y="18"/>
                  </a:lnTo>
                  <a:lnTo>
                    <a:pt x="11336" y="18"/>
                  </a:lnTo>
                  <a:cubicBezTo>
                    <a:pt x="10763" y="7"/>
                    <a:pt x="10190" y="2"/>
                    <a:pt x="9618" y="2"/>
                  </a:cubicBezTo>
                  <a:cubicBezTo>
                    <a:pt x="6518" y="2"/>
                    <a:pt x="3435" y="160"/>
                    <a:pt x="352" y="493"/>
                  </a:cubicBezTo>
                  <a:lnTo>
                    <a:pt x="0" y="1796"/>
                  </a:lnTo>
                  <a:cubicBezTo>
                    <a:pt x="1226" y="2151"/>
                    <a:pt x="2512" y="2328"/>
                    <a:pt x="3802" y="2328"/>
                  </a:cubicBezTo>
                  <a:cubicBezTo>
                    <a:pt x="3920" y="2328"/>
                    <a:pt x="4037" y="2327"/>
                    <a:pt x="4154" y="2324"/>
                  </a:cubicBezTo>
                  <a:cubicBezTo>
                    <a:pt x="7147" y="2289"/>
                    <a:pt x="10034" y="1514"/>
                    <a:pt x="12921" y="775"/>
                  </a:cubicBezTo>
                  <a:cubicBezTo>
                    <a:pt x="12921" y="528"/>
                    <a:pt x="12921" y="282"/>
                    <a:pt x="1288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485;p48">
              <a:extLst>
                <a:ext uri="{FF2B5EF4-FFF2-40B4-BE49-F238E27FC236}">
                  <a16:creationId xmlns:a16="http://schemas.microsoft.com/office/drawing/2014/main" id="{DF3A7E61-B956-479B-9F8C-F3DF90CB3012}"/>
                </a:ext>
              </a:extLst>
            </p:cNvPr>
            <p:cNvSpPr/>
            <p:nvPr/>
          </p:nvSpPr>
          <p:spPr>
            <a:xfrm flipH="1">
              <a:off x="2773030" y="2930012"/>
              <a:ext cx="170307" cy="30672"/>
            </a:xfrm>
            <a:custGeom>
              <a:avLst/>
              <a:gdLst/>
              <a:ahLst/>
              <a:cxnLst/>
              <a:rect l="l" t="t" r="r" b="b"/>
              <a:pathLst>
                <a:path w="11866" h="2137" extrusionOk="0">
                  <a:moveTo>
                    <a:pt x="8389" y="1"/>
                  </a:moveTo>
                  <a:cubicBezTo>
                    <a:pt x="5710" y="1"/>
                    <a:pt x="3032" y="152"/>
                    <a:pt x="353" y="441"/>
                  </a:cubicBezTo>
                  <a:cubicBezTo>
                    <a:pt x="247" y="828"/>
                    <a:pt x="141" y="1251"/>
                    <a:pt x="1" y="1638"/>
                  </a:cubicBezTo>
                  <a:cubicBezTo>
                    <a:pt x="1112" y="1987"/>
                    <a:pt x="2281" y="2136"/>
                    <a:pt x="3455" y="2136"/>
                  </a:cubicBezTo>
                  <a:cubicBezTo>
                    <a:pt x="3583" y="2136"/>
                    <a:pt x="3710" y="2135"/>
                    <a:pt x="3838" y="2131"/>
                  </a:cubicBezTo>
                  <a:cubicBezTo>
                    <a:pt x="6584" y="2096"/>
                    <a:pt x="9260" y="1392"/>
                    <a:pt x="11865" y="723"/>
                  </a:cubicBezTo>
                  <a:lnTo>
                    <a:pt x="11830" y="19"/>
                  </a:lnTo>
                  <a:lnTo>
                    <a:pt x="10351" y="28"/>
                  </a:lnTo>
                  <a:lnTo>
                    <a:pt x="10351" y="28"/>
                  </a:lnTo>
                  <a:cubicBezTo>
                    <a:pt x="9697" y="10"/>
                    <a:pt x="9043" y="1"/>
                    <a:pt x="838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486;p48">
              <a:extLst>
                <a:ext uri="{FF2B5EF4-FFF2-40B4-BE49-F238E27FC236}">
                  <a16:creationId xmlns:a16="http://schemas.microsoft.com/office/drawing/2014/main" id="{A03F0862-5D3E-407D-A227-3747987F195E}"/>
                </a:ext>
              </a:extLst>
            </p:cNvPr>
            <p:cNvSpPr/>
            <p:nvPr/>
          </p:nvSpPr>
          <p:spPr>
            <a:xfrm flipH="1">
              <a:off x="2730082" y="2889330"/>
              <a:ext cx="177368" cy="12716"/>
            </a:xfrm>
            <a:custGeom>
              <a:avLst/>
              <a:gdLst/>
              <a:ahLst/>
              <a:cxnLst/>
              <a:rect l="l" t="t" r="r" b="b"/>
              <a:pathLst>
                <a:path w="12358" h="886" extrusionOk="0">
                  <a:moveTo>
                    <a:pt x="12287" y="1"/>
                  </a:moveTo>
                  <a:cubicBezTo>
                    <a:pt x="10070" y="468"/>
                    <a:pt x="7800" y="698"/>
                    <a:pt x="5529" y="698"/>
                  </a:cubicBezTo>
                  <a:cubicBezTo>
                    <a:pt x="3688" y="698"/>
                    <a:pt x="1848" y="547"/>
                    <a:pt x="36" y="247"/>
                  </a:cubicBezTo>
                  <a:lnTo>
                    <a:pt x="0" y="459"/>
                  </a:lnTo>
                  <a:cubicBezTo>
                    <a:pt x="1643" y="716"/>
                    <a:pt x="3345" y="886"/>
                    <a:pt x="5051" y="886"/>
                  </a:cubicBezTo>
                  <a:cubicBezTo>
                    <a:pt x="5210" y="886"/>
                    <a:pt x="5369" y="884"/>
                    <a:pt x="5528" y="881"/>
                  </a:cubicBezTo>
                  <a:cubicBezTo>
                    <a:pt x="5672" y="883"/>
                    <a:pt x="5816" y="884"/>
                    <a:pt x="5960" y="884"/>
                  </a:cubicBezTo>
                  <a:cubicBezTo>
                    <a:pt x="8104" y="884"/>
                    <a:pt x="10247" y="641"/>
                    <a:pt x="12358" y="212"/>
                  </a:cubicBezTo>
                  <a:lnTo>
                    <a:pt x="12287"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487;p48">
              <a:extLst>
                <a:ext uri="{FF2B5EF4-FFF2-40B4-BE49-F238E27FC236}">
                  <a16:creationId xmlns:a16="http://schemas.microsoft.com/office/drawing/2014/main" id="{B864ADD7-01C4-4238-864B-A6FC6FA45C25}"/>
                </a:ext>
              </a:extLst>
            </p:cNvPr>
            <p:cNvSpPr/>
            <p:nvPr/>
          </p:nvSpPr>
          <p:spPr>
            <a:xfrm flipH="1">
              <a:off x="2776575" y="2934319"/>
              <a:ext cx="161207" cy="10190"/>
            </a:xfrm>
            <a:custGeom>
              <a:avLst/>
              <a:gdLst/>
              <a:ahLst/>
              <a:cxnLst/>
              <a:rect l="l" t="t" r="r" b="b"/>
              <a:pathLst>
                <a:path w="11232" h="710" extrusionOk="0">
                  <a:moveTo>
                    <a:pt x="11161" y="0"/>
                  </a:moveTo>
                  <a:cubicBezTo>
                    <a:pt x="9124" y="333"/>
                    <a:pt x="7055" y="503"/>
                    <a:pt x="4982" y="503"/>
                  </a:cubicBezTo>
                  <a:cubicBezTo>
                    <a:pt x="3330" y="503"/>
                    <a:pt x="1676" y="395"/>
                    <a:pt x="36" y="176"/>
                  </a:cubicBezTo>
                  <a:lnTo>
                    <a:pt x="1" y="388"/>
                  </a:lnTo>
                  <a:cubicBezTo>
                    <a:pt x="1516" y="577"/>
                    <a:pt x="3032" y="710"/>
                    <a:pt x="4547" y="710"/>
                  </a:cubicBezTo>
                  <a:cubicBezTo>
                    <a:pt x="4722" y="710"/>
                    <a:pt x="4896" y="708"/>
                    <a:pt x="5071" y="704"/>
                  </a:cubicBezTo>
                  <a:cubicBezTo>
                    <a:pt x="7113" y="704"/>
                    <a:pt x="9190" y="564"/>
                    <a:pt x="11232" y="212"/>
                  </a:cubicBezTo>
                  <a:lnTo>
                    <a:pt x="111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488;p48">
              <a:extLst>
                <a:ext uri="{FF2B5EF4-FFF2-40B4-BE49-F238E27FC236}">
                  <a16:creationId xmlns:a16="http://schemas.microsoft.com/office/drawing/2014/main" id="{20AB54C7-87F2-455F-B301-F7C48A709C09}"/>
                </a:ext>
              </a:extLst>
            </p:cNvPr>
            <p:cNvSpPr/>
            <p:nvPr/>
          </p:nvSpPr>
          <p:spPr>
            <a:xfrm flipH="1">
              <a:off x="2874597" y="2899953"/>
              <a:ext cx="31346" cy="12659"/>
            </a:xfrm>
            <a:custGeom>
              <a:avLst/>
              <a:gdLst/>
              <a:ahLst/>
              <a:cxnLst/>
              <a:rect l="l" t="t" r="r" b="b"/>
              <a:pathLst>
                <a:path w="2184" h="882" extrusionOk="0">
                  <a:moveTo>
                    <a:pt x="564" y="0"/>
                  </a:moveTo>
                  <a:cubicBezTo>
                    <a:pt x="388" y="0"/>
                    <a:pt x="177" y="0"/>
                    <a:pt x="71" y="141"/>
                  </a:cubicBezTo>
                  <a:cubicBezTo>
                    <a:pt x="1" y="317"/>
                    <a:pt x="36" y="493"/>
                    <a:pt x="177" y="599"/>
                  </a:cubicBezTo>
                  <a:cubicBezTo>
                    <a:pt x="283" y="704"/>
                    <a:pt x="459" y="740"/>
                    <a:pt x="599" y="775"/>
                  </a:cubicBezTo>
                  <a:cubicBezTo>
                    <a:pt x="872" y="843"/>
                    <a:pt x="1145" y="882"/>
                    <a:pt x="1418" y="882"/>
                  </a:cubicBezTo>
                  <a:cubicBezTo>
                    <a:pt x="1568" y="882"/>
                    <a:pt x="1717" y="870"/>
                    <a:pt x="1867" y="845"/>
                  </a:cubicBezTo>
                  <a:cubicBezTo>
                    <a:pt x="2008" y="810"/>
                    <a:pt x="2149" y="740"/>
                    <a:pt x="2184" y="599"/>
                  </a:cubicBezTo>
                  <a:cubicBezTo>
                    <a:pt x="2184" y="458"/>
                    <a:pt x="2078" y="352"/>
                    <a:pt x="1937" y="282"/>
                  </a:cubicBezTo>
                  <a:cubicBezTo>
                    <a:pt x="1515" y="106"/>
                    <a:pt x="1022" y="0"/>
                    <a:pt x="564"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489;p48">
              <a:extLst>
                <a:ext uri="{FF2B5EF4-FFF2-40B4-BE49-F238E27FC236}">
                  <a16:creationId xmlns:a16="http://schemas.microsoft.com/office/drawing/2014/main" id="{5358221B-7595-47ED-819C-4321C2FD8AC3}"/>
                </a:ext>
              </a:extLst>
            </p:cNvPr>
            <p:cNvSpPr/>
            <p:nvPr/>
          </p:nvSpPr>
          <p:spPr>
            <a:xfrm flipH="1">
              <a:off x="2906435" y="2942903"/>
              <a:ext cx="31346" cy="10721"/>
            </a:xfrm>
            <a:custGeom>
              <a:avLst/>
              <a:gdLst/>
              <a:ahLst/>
              <a:cxnLst/>
              <a:rect l="l" t="t" r="r" b="b"/>
              <a:pathLst>
                <a:path w="2184" h="747" extrusionOk="0">
                  <a:moveTo>
                    <a:pt x="283" y="1"/>
                  </a:moveTo>
                  <a:cubicBezTo>
                    <a:pt x="107" y="71"/>
                    <a:pt x="1" y="247"/>
                    <a:pt x="1" y="423"/>
                  </a:cubicBezTo>
                  <a:cubicBezTo>
                    <a:pt x="494" y="639"/>
                    <a:pt x="1041" y="747"/>
                    <a:pt x="1571" y="747"/>
                  </a:cubicBezTo>
                  <a:cubicBezTo>
                    <a:pt x="1646" y="747"/>
                    <a:pt x="1722" y="745"/>
                    <a:pt x="1796" y="740"/>
                  </a:cubicBezTo>
                  <a:cubicBezTo>
                    <a:pt x="1902" y="740"/>
                    <a:pt x="1972" y="705"/>
                    <a:pt x="2043" y="670"/>
                  </a:cubicBezTo>
                  <a:cubicBezTo>
                    <a:pt x="2113" y="635"/>
                    <a:pt x="2184" y="564"/>
                    <a:pt x="2184" y="494"/>
                  </a:cubicBezTo>
                  <a:cubicBezTo>
                    <a:pt x="2184" y="318"/>
                    <a:pt x="2043" y="247"/>
                    <a:pt x="1902" y="177"/>
                  </a:cubicBezTo>
                  <a:cubicBezTo>
                    <a:pt x="1374" y="36"/>
                    <a:pt x="811" y="1"/>
                    <a:pt x="283"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490;p48">
              <a:extLst>
                <a:ext uri="{FF2B5EF4-FFF2-40B4-BE49-F238E27FC236}">
                  <a16:creationId xmlns:a16="http://schemas.microsoft.com/office/drawing/2014/main" id="{9A51AE1E-9B79-431A-9F60-D65F15BE701A}"/>
                </a:ext>
              </a:extLst>
            </p:cNvPr>
            <p:cNvSpPr/>
            <p:nvPr/>
          </p:nvSpPr>
          <p:spPr>
            <a:xfrm flipH="1">
              <a:off x="2748749" y="2852252"/>
              <a:ext cx="20237" cy="2139"/>
            </a:xfrm>
            <a:custGeom>
              <a:avLst/>
              <a:gdLst/>
              <a:ahLst/>
              <a:cxnLst/>
              <a:rect l="l" t="t" r="r" b="b"/>
              <a:pathLst>
                <a:path w="1410" h="149" extrusionOk="0">
                  <a:moveTo>
                    <a:pt x="777" y="0"/>
                  </a:moveTo>
                  <a:cubicBezTo>
                    <a:pt x="515" y="0"/>
                    <a:pt x="253" y="26"/>
                    <a:pt x="1" y="84"/>
                  </a:cubicBezTo>
                  <a:cubicBezTo>
                    <a:pt x="193" y="129"/>
                    <a:pt x="390" y="148"/>
                    <a:pt x="589" y="148"/>
                  </a:cubicBezTo>
                  <a:cubicBezTo>
                    <a:pt x="865" y="148"/>
                    <a:pt x="1143" y="110"/>
                    <a:pt x="1409" y="49"/>
                  </a:cubicBezTo>
                  <a:cubicBezTo>
                    <a:pt x="1203" y="17"/>
                    <a:pt x="991" y="0"/>
                    <a:pt x="777"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491;p48">
              <a:extLst>
                <a:ext uri="{FF2B5EF4-FFF2-40B4-BE49-F238E27FC236}">
                  <a16:creationId xmlns:a16="http://schemas.microsoft.com/office/drawing/2014/main" id="{11C3FF89-10E3-4D81-A6A3-8002F8C5FC3C}"/>
                </a:ext>
              </a:extLst>
            </p:cNvPr>
            <p:cNvSpPr/>
            <p:nvPr/>
          </p:nvSpPr>
          <p:spPr>
            <a:xfrm flipH="1">
              <a:off x="2760377" y="2867224"/>
              <a:ext cx="26294" cy="2440"/>
            </a:xfrm>
            <a:custGeom>
              <a:avLst/>
              <a:gdLst/>
              <a:ahLst/>
              <a:cxnLst/>
              <a:rect l="l" t="t" r="r" b="b"/>
              <a:pathLst>
                <a:path w="1832" h="170" extrusionOk="0">
                  <a:moveTo>
                    <a:pt x="1111" y="1"/>
                  </a:moveTo>
                  <a:cubicBezTo>
                    <a:pt x="738" y="1"/>
                    <a:pt x="363" y="47"/>
                    <a:pt x="1" y="133"/>
                  </a:cubicBezTo>
                  <a:cubicBezTo>
                    <a:pt x="225" y="158"/>
                    <a:pt x="445" y="169"/>
                    <a:pt x="662" y="169"/>
                  </a:cubicBezTo>
                  <a:cubicBezTo>
                    <a:pt x="1058" y="169"/>
                    <a:pt x="1445" y="130"/>
                    <a:pt x="1831" y="62"/>
                  </a:cubicBezTo>
                  <a:cubicBezTo>
                    <a:pt x="1595" y="21"/>
                    <a:pt x="1354" y="1"/>
                    <a:pt x="1111"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 name="Google Shape;492;p48">
              <a:extLst>
                <a:ext uri="{FF2B5EF4-FFF2-40B4-BE49-F238E27FC236}">
                  <a16:creationId xmlns:a16="http://schemas.microsoft.com/office/drawing/2014/main" id="{84AB1DA6-69AE-46C4-83F1-C830208388D7}"/>
                </a:ext>
              </a:extLst>
            </p:cNvPr>
            <p:cNvSpPr/>
            <p:nvPr/>
          </p:nvSpPr>
          <p:spPr>
            <a:xfrm flipH="1">
              <a:off x="2791210" y="2957401"/>
              <a:ext cx="24270" cy="2569"/>
            </a:xfrm>
            <a:custGeom>
              <a:avLst/>
              <a:gdLst/>
              <a:ahLst/>
              <a:cxnLst/>
              <a:rect l="l" t="t" r="r" b="b"/>
              <a:pathLst>
                <a:path w="1691" h="179" extrusionOk="0">
                  <a:moveTo>
                    <a:pt x="991" y="1"/>
                  </a:moveTo>
                  <a:cubicBezTo>
                    <a:pt x="661" y="1"/>
                    <a:pt x="331" y="35"/>
                    <a:pt x="1" y="117"/>
                  </a:cubicBezTo>
                  <a:cubicBezTo>
                    <a:pt x="223" y="159"/>
                    <a:pt x="445" y="179"/>
                    <a:pt x="667" y="179"/>
                  </a:cubicBezTo>
                  <a:cubicBezTo>
                    <a:pt x="1009" y="179"/>
                    <a:pt x="1350" y="132"/>
                    <a:pt x="1691" y="47"/>
                  </a:cubicBezTo>
                  <a:cubicBezTo>
                    <a:pt x="1457" y="18"/>
                    <a:pt x="1224" y="1"/>
                    <a:pt x="991"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493;p48">
              <a:extLst>
                <a:ext uri="{FF2B5EF4-FFF2-40B4-BE49-F238E27FC236}">
                  <a16:creationId xmlns:a16="http://schemas.microsoft.com/office/drawing/2014/main" id="{50D66B1C-8238-4F46-B701-E30A54A49B0F}"/>
                </a:ext>
              </a:extLst>
            </p:cNvPr>
            <p:cNvSpPr/>
            <p:nvPr/>
          </p:nvSpPr>
          <p:spPr>
            <a:xfrm flipH="1">
              <a:off x="2986796" y="2901748"/>
              <a:ext cx="67213" cy="14898"/>
            </a:xfrm>
            <a:custGeom>
              <a:avLst/>
              <a:gdLst/>
              <a:ahLst/>
              <a:cxnLst/>
              <a:rect l="l" t="t" r="r" b="b"/>
              <a:pathLst>
                <a:path w="4683" h="1038" extrusionOk="0">
                  <a:moveTo>
                    <a:pt x="3940" y="1"/>
                  </a:moveTo>
                  <a:cubicBezTo>
                    <a:pt x="3845" y="1"/>
                    <a:pt x="3750" y="7"/>
                    <a:pt x="3662" y="16"/>
                  </a:cubicBezTo>
                  <a:cubicBezTo>
                    <a:pt x="2394" y="192"/>
                    <a:pt x="1162" y="544"/>
                    <a:pt x="0" y="1037"/>
                  </a:cubicBezTo>
                  <a:cubicBezTo>
                    <a:pt x="1585" y="967"/>
                    <a:pt x="3169" y="720"/>
                    <a:pt x="4683" y="298"/>
                  </a:cubicBezTo>
                  <a:cubicBezTo>
                    <a:pt x="4524" y="60"/>
                    <a:pt x="4227" y="1"/>
                    <a:pt x="394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 name="Google Shape;494;p48">
              <a:extLst>
                <a:ext uri="{FF2B5EF4-FFF2-40B4-BE49-F238E27FC236}">
                  <a16:creationId xmlns:a16="http://schemas.microsoft.com/office/drawing/2014/main" id="{FD6F541B-6E78-4028-85B0-C94A1068C352}"/>
                </a:ext>
              </a:extLst>
            </p:cNvPr>
            <p:cNvSpPr/>
            <p:nvPr/>
          </p:nvSpPr>
          <p:spPr>
            <a:xfrm flipH="1">
              <a:off x="2624447" y="3299204"/>
              <a:ext cx="69236" cy="28317"/>
            </a:xfrm>
            <a:custGeom>
              <a:avLst/>
              <a:gdLst/>
              <a:ahLst/>
              <a:cxnLst/>
              <a:rect l="l" t="t" r="r" b="b"/>
              <a:pathLst>
                <a:path w="4824" h="1973" extrusionOk="0">
                  <a:moveTo>
                    <a:pt x="986" y="1"/>
                  </a:moveTo>
                  <a:cubicBezTo>
                    <a:pt x="423" y="1"/>
                    <a:pt x="1" y="423"/>
                    <a:pt x="1" y="986"/>
                  </a:cubicBezTo>
                  <a:cubicBezTo>
                    <a:pt x="1" y="1514"/>
                    <a:pt x="423" y="1972"/>
                    <a:pt x="986" y="1972"/>
                  </a:cubicBezTo>
                  <a:lnTo>
                    <a:pt x="3838" y="1972"/>
                  </a:lnTo>
                  <a:cubicBezTo>
                    <a:pt x="4401" y="1972"/>
                    <a:pt x="4824" y="1514"/>
                    <a:pt x="4824" y="986"/>
                  </a:cubicBezTo>
                  <a:cubicBezTo>
                    <a:pt x="4824" y="423"/>
                    <a:pt x="4401" y="1"/>
                    <a:pt x="383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495;p48">
              <a:extLst>
                <a:ext uri="{FF2B5EF4-FFF2-40B4-BE49-F238E27FC236}">
                  <a16:creationId xmlns:a16="http://schemas.microsoft.com/office/drawing/2014/main" id="{63348E51-9E0B-4F8A-81E5-3EBE10880C45}"/>
                </a:ext>
              </a:extLst>
            </p:cNvPr>
            <p:cNvSpPr/>
            <p:nvPr/>
          </p:nvSpPr>
          <p:spPr>
            <a:xfrm flipH="1">
              <a:off x="2514279" y="3132615"/>
              <a:ext cx="102075" cy="103913"/>
            </a:xfrm>
            <a:custGeom>
              <a:avLst/>
              <a:gdLst/>
              <a:ahLst/>
              <a:cxnLst/>
              <a:rect l="l" t="t" r="r" b="b"/>
              <a:pathLst>
                <a:path w="7112" h="7240" extrusionOk="0">
                  <a:moveTo>
                    <a:pt x="527" y="0"/>
                  </a:moveTo>
                  <a:cubicBezTo>
                    <a:pt x="357" y="0"/>
                    <a:pt x="188" y="89"/>
                    <a:pt x="106" y="199"/>
                  </a:cubicBezTo>
                  <a:cubicBezTo>
                    <a:pt x="0" y="410"/>
                    <a:pt x="0" y="621"/>
                    <a:pt x="35" y="832"/>
                  </a:cubicBezTo>
                  <a:cubicBezTo>
                    <a:pt x="352" y="2698"/>
                    <a:pt x="775" y="5198"/>
                    <a:pt x="1092" y="7064"/>
                  </a:cubicBezTo>
                  <a:lnTo>
                    <a:pt x="7112" y="7240"/>
                  </a:lnTo>
                  <a:cubicBezTo>
                    <a:pt x="6654" y="5832"/>
                    <a:pt x="5950" y="3614"/>
                    <a:pt x="5528" y="2205"/>
                  </a:cubicBezTo>
                  <a:cubicBezTo>
                    <a:pt x="5387" y="1642"/>
                    <a:pt x="5140" y="1114"/>
                    <a:pt x="4753" y="656"/>
                  </a:cubicBezTo>
                  <a:cubicBezTo>
                    <a:pt x="4334" y="366"/>
                    <a:pt x="3856" y="194"/>
                    <a:pt x="3373" y="194"/>
                  </a:cubicBezTo>
                  <a:cubicBezTo>
                    <a:pt x="3329" y="194"/>
                    <a:pt x="3284" y="196"/>
                    <a:pt x="3239" y="199"/>
                  </a:cubicBezTo>
                  <a:lnTo>
                    <a:pt x="669" y="23"/>
                  </a:lnTo>
                  <a:cubicBezTo>
                    <a:pt x="623" y="7"/>
                    <a:pt x="575" y="0"/>
                    <a:pt x="527"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496;p48">
              <a:extLst>
                <a:ext uri="{FF2B5EF4-FFF2-40B4-BE49-F238E27FC236}">
                  <a16:creationId xmlns:a16="http://schemas.microsoft.com/office/drawing/2014/main" id="{8ADDD9A8-D6D6-4BC8-923C-057DF5121B37}"/>
                </a:ext>
              </a:extLst>
            </p:cNvPr>
            <p:cNvSpPr/>
            <p:nvPr/>
          </p:nvSpPr>
          <p:spPr>
            <a:xfrm flipH="1">
              <a:off x="2518313" y="3128381"/>
              <a:ext cx="103611" cy="58630"/>
            </a:xfrm>
            <a:custGeom>
              <a:avLst/>
              <a:gdLst/>
              <a:ahLst/>
              <a:cxnLst/>
              <a:rect l="l" t="t" r="r" b="b"/>
              <a:pathLst>
                <a:path w="7219" h="4085" extrusionOk="0">
                  <a:moveTo>
                    <a:pt x="811" y="1"/>
                  </a:moveTo>
                  <a:cubicBezTo>
                    <a:pt x="1" y="1127"/>
                    <a:pt x="71" y="2641"/>
                    <a:pt x="212" y="4049"/>
                  </a:cubicBezTo>
                  <a:lnTo>
                    <a:pt x="7218" y="4085"/>
                  </a:lnTo>
                  <a:cubicBezTo>
                    <a:pt x="6937" y="2712"/>
                    <a:pt x="6373" y="1092"/>
                    <a:pt x="517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 name="Google Shape;497;p48">
              <a:extLst>
                <a:ext uri="{FF2B5EF4-FFF2-40B4-BE49-F238E27FC236}">
                  <a16:creationId xmlns:a16="http://schemas.microsoft.com/office/drawing/2014/main" id="{5DE4C47F-747B-472A-ACBC-F435399282A3}"/>
                </a:ext>
              </a:extLst>
            </p:cNvPr>
            <p:cNvSpPr/>
            <p:nvPr/>
          </p:nvSpPr>
          <p:spPr>
            <a:xfrm flipH="1">
              <a:off x="2732602" y="3053837"/>
              <a:ext cx="133908" cy="38680"/>
            </a:xfrm>
            <a:custGeom>
              <a:avLst/>
              <a:gdLst/>
              <a:ahLst/>
              <a:cxnLst/>
              <a:rect l="l" t="t" r="r" b="b"/>
              <a:pathLst>
                <a:path w="9330" h="2695" extrusionOk="0">
                  <a:moveTo>
                    <a:pt x="4584" y="1"/>
                  </a:moveTo>
                  <a:cubicBezTo>
                    <a:pt x="3703" y="1"/>
                    <a:pt x="2831" y="152"/>
                    <a:pt x="2007" y="476"/>
                  </a:cubicBezTo>
                  <a:cubicBezTo>
                    <a:pt x="1021" y="863"/>
                    <a:pt x="282" y="1673"/>
                    <a:pt x="0" y="2694"/>
                  </a:cubicBezTo>
                  <a:lnTo>
                    <a:pt x="9330" y="2166"/>
                  </a:lnTo>
                  <a:cubicBezTo>
                    <a:pt x="8942" y="1497"/>
                    <a:pt x="8590" y="863"/>
                    <a:pt x="8203" y="230"/>
                  </a:cubicBezTo>
                  <a:cubicBezTo>
                    <a:pt x="7182" y="230"/>
                    <a:pt x="6126" y="54"/>
                    <a:pt x="5105" y="18"/>
                  </a:cubicBezTo>
                  <a:cubicBezTo>
                    <a:pt x="4931" y="7"/>
                    <a:pt x="4758" y="1"/>
                    <a:pt x="4584"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498;p48">
              <a:extLst>
                <a:ext uri="{FF2B5EF4-FFF2-40B4-BE49-F238E27FC236}">
                  <a16:creationId xmlns:a16="http://schemas.microsoft.com/office/drawing/2014/main" id="{8BF90EE7-9EF9-43D4-B781-936F1BCC41A5}"/>
                </a:ext>
              </a:extLst>
            </p:cNvPr>
            <p:cNvSpPr/>
            <p:nvPr/>
          </p:nvSpPr>
          <p:spPr>
            <a:xfrm flipH="1">
              <a:off x="2582536" y="3081125"/>
              <a:ext cx="413868" cy="154893"/>
            </a:xfrm>
            <a:custGeom>
              <a:avLst/>
              <a:gdLst/>
              <a:ahLst/>
              <a:cxnLst/>
              <a:rect l="l" t="t" r="r" b="b"/>
              <a:pathLst>
                <a:path w="28836" h="10792" extrusionOk="0">
                  <a:moveTo>
                    <a:pt x="13880" y="0"/>
                  </a:moveTo>
                  <a:cubicBezTo>
                    <a:pt x="12619" y="0"/>
                    <a:pt x="11360" y="9"/>
                    <a:pt x="10105" y="18"/>
                  </a:cubicBezTo>
                  <a:cubicBezTo>
                    <a:pt x="9956" y="7"/>
                    <a:pt x="9809" y="1"/>
                    <a:pt x="9662" y="1"/>
                  </a:cubicBezTo>
                  <a:cubicBezTo>
                    <a:pt x="8940" y="1"/>
                    <a:pt x="8243" y="142"/>
                    <a:pt x="7570" y="406"/>
                  </a:cubicBezTo>
                  <a:cubicBezTo>
                    <a:pt x="6761" y="863"/>
                    <a:pt x="6056" y="1462"/>
                    <a:pt x="5493" y="2201"/>
                  </a:cubicBezTo>
                  <a:cubicBezTo>
                    <a:pt x="3416" y="4560"/>
                    <a:pt x="1304" y="6954"/>
                    <a:pt x="1" y="10017"/>
                  </a:cubicBezTo>
                  <a:lnTo>
                    <a:pt x="28835" y="10792"/>
                  </a:lnTo>
                  <a:cubicBezTo>
                    <a:pt x="28518" y="8609"/>
                    <a:pt x="27885" y="5616"/>
                    <a:pt x="27568" y="3434"/>
                  </a:cubicBezTo>
                  <a:cubicBezTo>
                    <a:pt x="27497" y="2694"/>
                    <a:pt x="27251" y="1955"/>
                    <a:pt x="26864" y="1321"/>
                  </a:cubicBezTo>
                  <a:cubicBezTo>
                    <a:pt x="26335" y="652"/>
                    <a:pt x="25490" y="511"/>
                    <a:pt x="24716" y="441"/>
                  </a:cubicBezTo>
                  <a:cubicBezTo>
                    <a:pt x="21138" y="75"/>
                    <a:pt x="17502" y="0"/>
                    <a:pt x="13880"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 name="Google Shape;499;p48">
              <a:extLst>
                <a:ext uri="{FF2B5EF4-FFF2-40B4-BE49-F238E27FC236}">
                  <a16:creationId xmlns:a16="http://schemas.microsoft.com/office/drawing/2014/main" id="{0215A93C-DA22-4007-8EA7-42C33933D599}"/>
                </a:ext>
              </a:extLst>
            </p:cNvPr>
            <p:cNvSpPr/>
            <p:nvPr/>
          </p:nvSpPr>
          <p:spPr>
            <a:xfrm flipH="1">
              <a:off x="2922109" y="3108672"/>
              <a:ext cx="127350" cy="118251"/>
            </a:xfrm>
            <a:custGeom>
              <a:avLst/>
              <a:gdLst/>
              <a:ahLst/>
              <a:cxnLst/>
              <a:rect l="l" t="t" r="r" b="b"/>
              <a:pathLst>
                <a:path w="8873" h="8239" extrusionOk="0">
                  <a:moveTo>
                    <a:pt x="7614" y="1"/>
                  </a:moveTo>
                  <a:cubicBezTo>
                    <a:pt x="6443" y="1"/>
                    <a:pt x="4747" y="477"/>
                    <a:pt x="3838" y="1127"/>
                  </a:cubicBezTo>
                  <a:cubicBezTo>
                    <a:pt x="3063" y="1726"/>
                    <a:pt x="2430" y="2500"/>
                    <a:pt x="2007" y="3345"/>
                  </a:cubicBezTo>
                  <a:cubicBezTo>
                    <a:pt x="1127" y="4824"/>
                    <a:pt x="458" y="6408"/>
                    <a:pt x="0" y="8063"/>
                  </a:cubicBezTo>
                  <a:lnTo>
                    <a:pt x="6232" y="8239"/>
                  </a:lnTo>
                  <a:cubicBezTo>
                    <a:pt x="6830" y="5634"/>
                    <a:pt x="7746" y="3064"/>
                    <a:pt x="8872" y="634"/>
                  </a:cubicBezTo>
                  <a:cubicBezTo>
                    <a:pt x="8872" y="187"/>
                    <a:pt x="8346" y="1"/>
                    <a:pt x="7614"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 name="Google Shape;500;p48">
              <a:extLst>
                <a:ext uri="{FF2B5EF4-FFF2-40B4-BE49-F238E27FC236}">
                  <a16:creationId xmlns:a16="http://schemas.microsoft.com/office/drawing/2014/main" id="{C5726753-9A4F-46C9-AA26-C96E56711BC4}"/>
                </a:ext>
              </a:extLst>
            </p:cNvPr>
            <p:cNvSpPr/>
            <p:nvPr/>
          </p:nvSpPr>
          <p:spPr>
            <a:xfrm flipH="1">
              <a:off x="2898871" y="3103117"/>
              <a:ext cx="147054" cy="69236"/>
            </a:xfrm>
            <a:custGeom>
              <a:avLst/>
              <a:gdLst/>
              <a:ahLst/>
              <a:cxnLst/>
              <a:rect l="l" t="t" r="r" b="b"/>
              <a:pathLst>
                <a:path w="10246" h="4824" extrusionOk="0">
                  <a:moveTo>
                    <a:pt x="8296" y="93"/>
                  </a:moveTo>
                  <a:cubicBezTo>
                    <a:pt x="8231" y="93"/>
                    <a:pt x="8165" y="97"/>
                    <a:pt x="8098" y="106"/>
                  </a:cubicBezTo>
                  <a:cubicBezTo>
                    <a:pt x="6232" y="388"/>
                    <a:pt x="4190" y="0"/>
                    <a:pt x="2571" y="951"/>
                  </a:cubicBezTo>
                  <a:cubicBezTo>
                    <a:pt x="1233" y="1796"/>
                    <a:pt x="564" y="3310"/>
                    <a:pt x="1" y="4824"/>
                  </a:cubicBezTo>
                  <a:lnTo>
                    <a:pt x="9788" y="4824"/>
                  </a:lnTo>
                  <a:cubicBezTo>
                    <a:pt x="9612" y="3803"/>
                    <a:pt x="9753" y="2782"/>
                    <a:pt x="10246" y="1902"/>
                  </a:cubicBezTo>
                  <a:lnTo>
                    <a:pt x="9647" y="951"/>
                  </a:lnTo>
                  <a:cubicBezTo>
                    <a:pt x="9577" y="881"/>
                    <a:pt x="9471" y="775"/>
                    <a:pt x="9436" y="705"/>
                  </a:cubicBezTo>
                  <a:cubicBezTo>
                    <a:pt x="9159" y="304"/>
                    <a:pt x="8748" y="93"/>
                    <a:pt x="8296" y="93"/>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 name="Google Shape;501;p48">
              <a:extLst>
                <a:ext uri="{FF2B5EF4-FFF2-40B4-BE49-F238E27FC236}">
                  <a16:creationId xmlns:a16="http://schemas.microsoft.com/office/drawing/2014/main" id="{BA2ECD7C-0362-4A5B-AD03-D74773449AB5}"/>
                </a:ext>
              </a:extLst>
            </p:cNvPr>
            <p:cNvSpPr/>
            <p:nvPr/>
          </p:nvSpPr>
          <p:spPr>
            <a:xfrm flipH="1">
              <a:off x="2494582" y="2912585"/>
              <a:ext cx="285012" cy="225064"/>
            </a:xfrm>
            <a:custGeom>
              <a:avLst/>
              <a:gdLst/>
              <a:ahLst/>
              <a:cxnLst/>
              <a:rect l="l" t="t" r="r" b="b"/>
              <a:pathLst>
                <a:path w="19858" h="15681" extrusionOk="0">
                  <a:moveTo>
                    <a:pt x="18977" y="0"/>
                  </a:moveTo>
                  <a:cubicBezTo>
                    <a:pt x="18097" y="106"/>
                    <a:pt x="17252" y="353"/>
                    <a:pt x="16442" y="705"/>
                  </a:cubicBezTo>
                  <a:lnTo>
                    <a:pt x="15386" y="1866"/>
                  </a:lnTo>
                  <a:cubicBezTo>
                    <a:pt x="10879" y="5880"/>
                    <a:pt x="6162" y="9647"/>
                    <a:pt x="1233" y="13168"/>
                  </a:cubicBezTo>
                  <a:cubicBezTo>
                    <a:pt x="846" y="13379"/>
                    <a:pt x="529" y="13696"/>
                    <a:pt x="282" y="14048"/>
                  </a:cubicBezTo>
                  <a:cubicBezTo>
                    <a:pt x="36" y="14400"/>
                    <a:pt x="1" y="14858"/>
                    <a:pt x="212" y="15245"/>
                  </a:cubicBezTo>
                  <a:cubicBezTo>
                    <a:pt x="427" y="15514"/>
                    <a:pt x="746" y="15681"/>
                    <a:pt x="1089" y="15681"/>
                  </a:cubicBezTo>
                  <a:cubicBezTo>
                    <a:pt x="1194" y="15681"/>
                    <a:pt x="1302" y="15665"/>
                    <a:pt x="1409" y="15632"/>
                  </a:cubicBezTo>
                  <a:cubicBezTo>
                    <a:pt x="1867" y="15527"/>
                    <a:pt x="2254" y="15315"/>
                    <a:pt x="2606" y="15034"/>
                  </a:cubicBezTo>
                  <a:cubicBezTo>
                    <a:pt x="8168" y="11091"/>
                    <a:pt x="13942" y="7429"/>
                    <a:pt x="19857" y="4014"/>
                  </a:cubicBezTo>
                  <a:cubicBezTo>
                    <a:pt x="19083" y="2817"/>
                    <a:pt x="18766" y="1409"/>
                    <a:pt x="1897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 name="Google Shape;502;p48">
              <a:extLst>
                <a:ext uri="{FF2B5EF4-FFF2-40B4-BE49-F238E27FC236}">
                  <a16:creationId xmlns:a16="http://schemas.microsoft.com/office/drawing/2014/main" id="{24BE3F5D-4657-4606-98DB-A006571C126B}"/>
                </a:ext>
              </a:extLst>
            </p:cNvPr>
            <p:cNvSpPr/>
            <p:nvPr/>
          </p:nvSpPr>
          <p:spPr>
            <a:xfrm flipH="1">
              <a:off x="2453520" y="2894914"/>
              <a:ext cx="121393" cy="106109"/>
            </a:xfrm>
            <a:custGeom>
              <a:avLst/>
              <a:gdLst/>
              <a:ahLst/>
              <a:cxnLst/>
              <a:rect l="l" t="t" r="r" b="b"/>
              <a:pathLst>
                <a:path w="8458" h="7393" extrusionOk="0">
                  <a:moveTo>
                    <a:pt x="6024" y="0"/>
                  </a:moveTo>
                  <a:cubicBezTo>
                    <a:pt x="5851" y="0"/>
                    <a:pt x="5673" y="22"/>
                    <a:pt x="5492" y="70"/>
                  </a:cubicBezTo>
                  <a:cubicBezTo>
                    <a:pt x="4788" y="105"/>
                    <a:pt x="4084" y="281"/>
                    <a:pt x="3415" y="563"/>
                  </a:cubicBezTo>
                  <a:lnTo>
                    <a:pt x="2535" y="950"/>
                  </a:lnTo>
                  <a:cubicBezTo>
                    <a:pt x="1937" y="1724"/>
                    <a:pt x="1338" y="2499"/>
                    <a:pt x="740" y="3273"/>
                  </a:cubicBezTo>
                  <a:cubicBezTo>
                    <a:pt x="423" y="3626"/>
                    <a:pt x="176" y="4048"/>
                    <a:pt x="35" y="4506"/>
                  </a:cubicBezTo>
                  <a:cubicBezTo>
                    <a:pt x="0" y="4928"/>
                    <a:pt x="35" y="5386"/>
                    <a:pt x="176" y="5773"/>
                  </a:cubicBezTo>
                  <a:cubicBezTo>
                    <a:pt x="458" y="6548"/>
                    <a:pt x="1056" y="7357"/>
                    <a:pt x="1901" y="7393"/>
                  </a:cubicBezTo>
                  <a:cubicBezTo>
                    <a:pt x="2324" y="7393"/>
                    <a:pt x="2746" y="7287"/>
                    <a:pt x="3098" y="7111"/>
                  </a:cubicBezTo>
                  <a:lnTo>
                    <a:pt x="5105" y="6301"/>
                  </a:lnTo>
                  <a:cubicBezTo>
                    <a:pt x="5457" y="6196"/>
                    <a:pt x="5774" y="6020"/>
                    <a:pt x="6056" y="5808"/>
                  </a:cubicBezTo>
                  <a:cubicBezTo>
                    <a:pt x="6408" y="5527"/>
                    <a:pt x="6689" y="5210"/>
                    <a:pt x="6901" y="4823"/>
                  </a:cubicBezTo>
                  <a:cubicBezTo>
                    <a:pt x="7358" y="4224"/>
                    <a:pt x="7710" y="3520"/>
                    <a:pt x="7957" y="2781"/>
                  </a:cubicBezTo>
                  <a:cubicBezTo>
                    <a:pt x="8457" y="1404"/>
                    <a:pt x="7402" y="0"/>
                    <a:pt x="6024"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 name="Google Shape;503;p48">
              <a:extLst>
                <a:ext uri="{FF2B5EF4-FFF2-40B4-BE49-F238E27FC236}">
                  <a16:creationId xmlns:a16="http://schemas.microsoft.com/office/drawing/2014/main" id="{F959455A-081A-4647-A3D5-F036258C9ED0}"/>
                </a:ext>
              </a:extLst>
            </p:cNvPr>
            <p:cNvSpPr/>
            <p:nvPr/>
          </p:nvSpPr>
          <p:spPr>
            <a:xfrm flipH="1">
              <a:off x="2464233" y="2903470"/>
              <a:ext cx="49028" cy="44982"/>
            </a:xfrm>
            <a:custGeom>
              <a:avLst/>
              <a:gdLst/>
              <a:ahLst/>
              <a:cxnLst/>
              <a:rect l="l" t="t" r="r" b="b"/>
              <a:pathLst>
                <a:path w="3416" h="3134" extrusionOk="0">
                  <a:moveTo>
                    <a:pt x="1596" y="1"/>
                  </a:moveTo>
                  <a:cubicBezTo>
                    <a:pt x="1334" y="1"/>
                    <a:pt x="1074" y="63"/>
                    <a:pt x="845" y="178"/>
                  </a:cubicBezTo>
                  <a:cubicBezTo>
                    <a:pt x="529" y="424"/>
                    <a:pt x="282" y="741"/>
                    <a:pt x="176" y="1128"/>
                  </a:cubicBezTo>
                  <a:cubicBezTo>
                    <a:pt x="0" y="1516"/>
                    <a:pt x="36" y="1973"/>
                    <a:pt x="212" y="2396"/>
                  </a:cubicBezTo>
                  <a:cubicBezTo>
                    <a:pt x="388" y="2748"/>
                    <a:pt x="740" y="2994"/>
                    <a:pt x="1127" y="3100"/>
                  </a:cubicBezTo>
                  <a:cubicBezTo>
                    <a:pt x="1250" y="3122"/>
                    <a:pt x="1376" y="3134"/>
                    <a:pt x="1502" y="3134"/>
                  </a:cubicBezTo>
                  <a:cubicBezTo>
                    <a:pt x="1775" y="3134"/>
                    <a:pt x="2048" y="3079"/>
                    <a:pt x="2289" y="2959"/>
                  </a:cubicBezTo>
                  <a:cubicBezTo>
                    <a:pt x="2993" y="2677"/>
                    <a:pt x="3415" y="1938"/>
                    <a:pt x="3275" y="1164"/>
                  </a:cubicBezTo>
                  <a:cubicBezTo>
                    <a:pt x="3099" y="706"/>
                    <a:pt x="2747" y="319"/>
                    <a:pt x="2254" y="143"/>
                  </a:cubicBezTo>
                  <a:cubicBezTo>
                    <a:pt x="2044" y="46"/>
                    <a:pt x="1819" y="1"/>
                    <a:pt x="1596"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 name="Google Shape;504;p48">
              <a:extLst>
                <a:ext uri="{FF2B5EF4-FFF2-40B4-BE49-F238E27FC236}">
                  <a16:creationId xmlns:a16="http://schemas.microsoft.com/office/drawing/2014/main" id="{B224C167-B183-4F39-BA21-DAED98415AAE}"/>
                </a:ext>
              </a:extLst>
            </p:cNvPr>
            <p:cNvSpPr/>
            <p:nvPr/>
          </p:nvSpPr>
          <p:spPr>
            <a:xfrm flipH="1">
              <a:off x="2937781" y="3186504"/>
              <a:ext cx="101573" cy="3043"/>
            </a:xfrm>
            <a:custGeom>
              <a:avLst/>
              <a:gdLst/>
              <a:ahLst/>
              <a:cxnLst/>
              <a:rect l="l" t="t" r="r" b="b"/>
              <a:pathLst>
                <a:path w="7077" h="212" extrusionOk="0">
                  <a:moveTo>
                    <a:pt x="0" y="0"/>
                  </a:moveTo>
                  <a:lnTo>
                    <a:pt x="0" y="212"/>
                  </a:lnTo>
                  <a:lnTo>
                    <a:pt x="7077" y="212"/>
                  </a:lnTo>
                  <a:lnTo>
                    <a:pt x="707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 name="Google Shape;505;p48">
              <a:extLst>
                <a:ext uri="{FF2B5EF4-FFF2-40B4-BE49-F238E27FC236}">
                  <a16:creationId xmlns:a16="http://schemas.microsoft.com/office/drawing/2014/main" id="{19BF7ACE-422C-4E6D-8817-35045EDE9BE5}"/>
                </a:ext>
              </a:extLst>
            </p:cNvPr>
            <p:cNvSpPr/>
            <p:nvPr/>
          </p:nvSpPr>
          <p:spPr>
            <a:xfrm flipH="1">
              <a:off x="2929184" y="3200658"/>
              <a:ext cx="114720" cy="3043"/>
            </a:xfrm>
            <a:custGeom>
              <a:avLst/>
              <a:gdLst/>
              <a:ahLst/>
              <a:cxnLst/>
              <a:rect l="l" t="t" r="r" b="b"/>
              <a:pathLst>
                <a:path w="7993" h="212" extrusionOk="0">
                  <a:moveTo>
                    <a:pt x="1" y="0"/>
                  </a:moveTo>
                  <a:lnTo>
                    <a:pt x="1" y="211"/>
                  </a:lnTo>
                  <a:lnTo>
                    <a:pt x="7992" y="211"/>
                  </a:lnTo>
                  <a:lnTo>
                    <a:pt x="7992"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 name="Google Shape;506;p48">
              <a:extLst>
                <a:ext uri="{FF2B5EF4-FFF2-40B4-BE49-F238E27FC236}">
                  <a16:creationId xmlns:a16="http://schemas.microsoft.com/office/drawing/2014/main" id="{D49E4AAA-F808-4D93-8C48-4A7755582D60}"/>
                </a:ext>
              </a:extLst>
            </p:cNvPr>
            <p:cNvSpPr/>
            <p:nvPr/>
          </p:nvSpPr>
          <p:spPr>
            <a:xfrm flipH="1">
              <a:off x="2531961" y="3196610"/>
              <a:ext cx="72265" cy="3043"/>
            </a:xfrm>
            <a:custGeom>
              <a:avLst/>
              <a:gdLst/>
              <a:ahLst/>
              <a:cxnLst/>
              <a:rect l="l" t="t" r="r" b="b"/>
              <a:pathLst>
                <a:path w="5035" h="212" extrusionOk="0">
                  <a:moveTo>
                    <a:pt x="0" y="1"/>
                  </a:moveTo>
                  <a:lnTo>
                    <a:pt x="0" y="212"/>
                  </a:lnTo>
                  <a:lnTo>
                    <a:pt x="5035" y="212"/>
                  </a:lnTo>
                  <a:lnTo>
                    <a:pt x="503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 name="Google Shape;507;p48">
              <a:extLst>
                <a:ext uri="{FF2B5EF4-FFF2-40B4-BE49-F238E27FC236}">
                  <a16:creationId xmlns:a16="http://schemas.microsoft.com/office/drawing/2014/main" id="{3E325E9F-CB31-4372-AE22-67F467CBD7AC}"/>
                </a:ext>
              </a:extLst>
            </p:cNvPr>
            <p:cNvSpPr/>
            <p:nvPr/>
          </p:nvSpPr>
          <p:spPr>
            <a:xfrm flipH="1">
              <a:off x="2537514" y="3212285"/>
              <a:ext cx="60151" cy="3545"/>
            </a:xfrm>
            <a:custGeom>
              <a:avLst/>
              <a:gdLst/>
              <a:ahLst/>
              <a:cxnLst/>
              <a:rect l="l" t="t" r="r" b="b"/>
              <a:pathLst>
                <a:path w="4191" h="247" extrusionOk="0">
                  <a:moveTo>
                    <a:pt x="1" y="0"/>
                  </a:moveTo>
                  <a:lnTo>
                    <a:pt x="1" y="246"/>
                  </a:lnTo>
                  <a:lnTo>
                    <a:pt x="4190" y="246"/>
                  </a:lnTo>
                  <a:lnTo>
                    <a:pt x="419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 name="Google Shape;508;p48">
              <a:extLst>
                <a:ext uri="{FF2B5EF4-FFF2-40B4-BE49-F238E27FC236}">
                  <a16:creationId xmlns:a16="http://schemas.microsoft.com/office/drawing/2014/main" id="{80457D22-1236-41B7-B328-B237AB8A8874}"/>
                </a:ext>
              </a:extLst>
            </p:cNvPr>
            <p:cNvSpPr/>
            <p:nvPr/>
          </p:nvSpPr>
          <p:spPr>
            <a:xfrm flipH="1">
              <a:off x="2544588" y="2954028"/>
              <a:ext cx="38422" cy="49029"/>
            </a:xfrm>
            <a:custGeom>
              <a:avLst/>
              <a:gdLst/>
              <a:ahLst/>
              <a:cxnLst/>
              <a:rect l="l" t="t" r="r" b="b"/>
              <a:pathLst>
                <a:path w="2677" h="3416" extrusionOk="0">
                  <a:moveTo>
                    <a:pt x="494" y="0"/>
                  </a:moveTo>
                  <a:lnTo>
                    <a:pt x="494" y="0"/>
                  </a:lnTo>
                  <a:cubicBezTo>
                    <a:pt x="1" y="1550"/>
                    <a:pt x="1022" y="3204"/>
                    <a:pt x="2641" y="3415"/>
                  </a:cubicBezTo>
                  <a:lnTo>
                    <a:pt x="2677" y="3204"/>
                  </a:lnTo>
                  <a:cubicBezTo>
                    <a:pt x="1163" y="2993"/>
                    <a:pt x="212" y="1479"/>
                    <a:pt x="705" y="71"/>
                  </a:cubicBezTo>
                  <a:lnTo>
                    <a:pt x="494"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 name="Google Shape;509;p48">
              <a:extLst>
                <a:ext uri="{FF2B5EF4-FFF2-40B4-BE49-F238E27FC236}">
                  <a16:creationId xmlns:a16="http://schemas.microsoft.com/office/drawing/2014/main" id="{316B6730-95AB-4CDA-9556-162BB0927A64}"/>
                </a:ext>
              </a:extLst>
            </p:cNvPr>
            <p:cNvSpPr/>
            <p:nvPr/>
          </p:nvSpPr>
          <p:spPr>
            <a:xfrm flipH="1">
              <a:off x="2820528" y="3093513"/>
              <a:ext cx="62161" cy="10119"/>
            </a:xfrm>
            <a:custGeom>
              <a:avLst/>
              <a:gdLst/>
              <a:ahLst/>
              <a:cxnLst/>
              <a:rect l="l" t="t" r="r" b="b"/>
              <a:pathLst>
                <a:path w="4331" h="705" extrusionOk="0">
                  <a:moveTo>
                    <a:pt x="352" y="0"/>
                  </a:moveTo>
                  <a:cubicBezTo>
                    <a:pt x="247" y="247"/>
                    <a:pt x="106" y="458"/>
                    <a:pt x="0" y="705"/>
                  </a:cubicBezTo>
                  <a:lnTo>
                    <a:pt x="4331" y="669"/>
                  </a:lnTo>
                  <a:lnTo>
                    <a:pt x="4120" y="36"/>
                  </a:lnTo>
                  <a:lnTo>
                    <a:pt x="352"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 name="Google Shape;510;p48">
              <a:extLst>
                <a:ext uri="{FF2B5EF4-FFF2-40B4-BE49-F238E27FC236}">
                  <a16:creationId xmlns:a16="http://schemas.microsoft.com/office/drawing/2014/main" id="{52D9991C-B2FB-4ED2-BAF2-9A7F5F1797C2}"/>
                </a:ext>
              </a:extLst>
            </p:cNvPr>
            <p:cNvSpPr/>
            <p:nvPr/>
          </p:nvSpPr>
          <p:spPr>
            <a:xfrm flipH="1">
              <a:off x="2624943" y="3100561"/>
              <a:ext cx="30327" cy="33599"/>
            </a:xfrm>
            <a:custGeom>
              <a:avLst/>
              <a:gdLst/>
              <a:ahLst/>
              <a:cxnLst/>
              <a:rect l="l" t="t" r="r" b="b"/>
              <a:pathLst>
                <a:path w="2113" h="2341" extrusionOk="0">
                  <a:moveTo>
                    <a:pt x="530" y="1"/>
                  </a:moveTo>
                  <a:cubicBezTo>
                    <a:pt x="462" y="1"/>
                    <a:pt x="392" y="13"/>
                    <a:pt x="317" y="38"/>
                  </a:cubicBezTo>
                  <a:cubicBezTo>
                    <a:pt x="141" y="178"/>
                    <a:pt x="0" y="390"/>
                    <a:pt x="36" y="636"/>
                  </a:cubicBezTo>
                  <a:cubicBezTo>
                    <a:pt x="71" y="1094"/>
                    <a:pt x="282" y="1516"/>
                    <a:pt x="599" y="1868"/>
                  </a:cubicBezTo>
                  <a:cubicBezTo>
                    <a:pt x="775" y="2044"/>
                    <a:pt x="986" y="2185"/>
                    <a:pt x="1197" y="2291"/>
                  </a:cubicBezTo>
                  <a:cubicBezTo>
                    <a:pt x="1276" y="2325"/>
                    <a:pt x="1359" y="2340"/>
                    <a:pt x="1441" y="2340"/>
                  </a:cubicBezTo>
                  <a:cubicBezTo>
                    <a:pt x="1614" y="2340"/>
                    <a:pt x="1782" y="2270"/>
                    <a:pt x="1902" y="2150"/>
                  </a:cubicBezTo>
                  <a:cubicBezTo>
                    <a:pt x="2078" y="1904"/>
                    <a:pt x="2113" y="1587"/>
                    <a:pt x="1972" y="1305"/>
                  </a:cubicBezTo>
                  <a:cubicBezTo>
                    <a:pt x="1796" y="777"/>
                    <a:pt x="1409" y="354"/>
                    <a:pt x="881" y="108"/>
                  </a:cubicBezTo>
                  <a:cubicBezTo>
                    <a:pt x="767" y="40"/>
                    <a:pt x="653" y="1"/>
                    <a:pt x="530"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 name="Google Shape;511;p48">
              <a:extLst>
                <a:ext uri="{FF2B5EF4-FFF2-40B4-BE49-F238E27FC236}">
                  <a16:creationId xmlns:a16="http://schemas.microsoft.com/office/drawing/2014/main" id="{0F135790-B513-4E9F-969A-11405140E936}"/>
                </a:ext>
              </a:extLst>
            </p:cNvPr>
            <p:cNvSpPr/>
            <p:nvPr/>
          </p:nvSpPr>
          <p:spPr>
            <a:xfrm flipH="1">
              <a:off x="2462211" y="2896407"/>
              <a:ext cx="67227" cy="67227"/>
            </a:xfrm>
            <a:custGeom>
              <a:avLst/>
              <a:gdLst/>
              <a:ahLst/>
              <a:cxnLst/>
              <a:rect l="l" t="t" r="r" b="b"/>
              <a:pathLst>
                <a:path w="4684" h="4684" extrusionOk="0">
                  <a:moveTo>
                    <a:pt x="1656" y="1"/>
                  </a:moveTo>
                  <a:cubicBezTo>
                    <a:pt x="670" y="388"/>
                    <a:pt x="1" y="1374"/>
                    <a:pt x="71" y="2430"/>
                  </a:cubicBezTo>
                  <a:cubicBezTo>
                    <a:pt x="177" y="3486"/>
                    <a:pt x="951" y="4366"/>
                    <a:pt x="1972" y="4613"/>
                  </a:cubicBezTo>
                  <a:cubicBezTo>
                    <a:pt x="2148" y="4683"/>
                    <a:pt x="2360" y="4683"/>
                    <a:pt x="2536" y="4683"/>
                  </a:cubicBezTo>
                  <a:cubicBezTo>
                    <a:pt x="3381" y="4683"/>
                    <a:pt x="4190" y="4261"/>
                    <a:pt x="4683" y="3557"/>
                  </a:cubicBezTo>
                  <a:lnTo>
                    <a:pt x="4507" y="3416"/>
                  </a:lnTo>
                  <a:cubicBezTo>
                    <a:pt x="4046" y="4079"/>
                    <a:pt x="3325" y="4459"/>
                    <a:pt x="2557" y="4459"/>
                  </a:cubicBezTo>
                  <a:cubicBezTo>
                    <a:pt x="2387" y="4459"/>
                    <a:pt x="2215" y="4440"/>
                    <a:pt x="2043" y="4402"/>
                  </a:cubicBezTo>
                  <a:cubicBezTo>
                    <a:pt x="1092" y="4155"/>
                    <a:pt x="423" y="3381"/>
                    <a:pt x="318" y="2430"/>
                  </a:cubicBezTo>
                  <a:cubicBezTo>
                    <a:pt x="247" y="1444"/>
                    <a:pt x="811" y="564"/>
                    <a:pt x="1726" y="212"/>
                  </a:cubicBezTo>
                  <a:lnTo>
                    <a:pt x="1656"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 name="Google Shape;512;p48">
              <a:extLst>
                <a:ext uri="{FF2B5EF4-FFF2-40B4-BE49-F238E27FC236}">
                  <a16:creationId xmlns:a16="http://schemas.microsoft.com/office/drawing/2014/main" id="{3B4907B0-7332-4D31-B6F2-A1D9CB1D050F}"/>
                </a:ext>
              </a:extLst>
            </p:cNvPr>
            <p:cNvSpPr/>
            <p:nvPr/>
          </p:nvSpPr>
          <p:spPr>
            <a:xfrm flipH="1">
              <a:off x="3412899" y="2346044"/>
              <a:ext cx="601311" cy="2284520"/>
            </a:xfrm>
            <a:custGeom>
              <a:avLst/>
              <a:gdLst/>
              <a:ahLst/>
              <a:cxnLst/>
              <a:rect l="l" t="t" r="r" b="b"/>
              <a:pathLst>
                <a:path w="41896" h="159171" extrusionOk="0">
                  <a:moveTo>
                    <a:pt x="0" y="1"/>
                  </a:moveTo>
                  <a:lnTo>
                    <a:pt x="0" y="159170"/>
                  </a:lnTo>
                  <a:lnTo>
                    <a:pt x="41896" y="159170"/>
                  </a:lnTo>
                  <a:lnTo>
                    <a:pt x="4189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 name="Google Shape;513;p48">
              <a:extLst>
                <a:ext uri="{FF2B5EF4-FFF2-40B4-BE49-F238E27FC236}">
                  <a16:creationId xmlns:a16="http://schemas.microsoft.com/office/drawing/2014/main" id="{95C9AD22-577F-4940-8393-ED37316E9FF1}"/>
                </a:ext>
              </a:extLst>
            </p:cNvPr>
            <p:cNvSpPr/>
            <p:nvPr/>
          </p:nvSpPr>
          <p:spPr>
            <a:xfrm flipH="1">
              <a:off x="3902032" y="2346044"/>
              <a:ext cx="112179" cy="2284520"/>
            </a:xfrm>
            <a:custGeom>
              <a:avLst/>
              <a:gdLst/>
              <a:ahLst/>
              <a:cxnLst/>
              <a:rect l="l" t="t" r="r" b="b"/>
              <a:pathLst>
                <a:path w="7816" h="159171" extrusionOk="0">
                  <a:moveTo>
                    <a:pt x="0" y="1"/>
                  </a:moveTo>
                  <a:lnTo>
                    <a:pt x="0" y="159170"/>
                  </a:lnTo>
                  <a:lnTo>
                    <a:pt x="7816" y="159170"/>
                  </a:lnTo>
                  <a:lnTo>
                    <a:pt x="7816" y="1"/>
                  </a:ln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 name="Google Shape;514;p48">
              <a:extLst>
                <a:ext uri="{FF2B5EF4-FFF2-40B4-BE49-F238E27FC236}">
                  <a16:creationId xmlns:a16="http://schemas.microsoft.com/office/drawing/2014/main" id="{CDDE740D-1EF5-4ED0-B08F-0F59017C789D}"/>
                </a:ext>
              </a:extLst>
            </p:cNvPr>
            <p:cNvSpPr/>
            <p:nvPr/>
          </p:nvSpPr>
          <p:spPr>
            <a:xfrm flipH="1">
              <a:off x="3472520" y="2346044"/>
              <a:ext cx="541691" cy="2284520"/>
            </a:xfrm>
            <a:custGeom>
              <a:avLst/>
              <a:gdLst/>
              <a:ahLst/>
              <a:cxnLst/>
              <a:rect l="l" t="t" r="r" b="b"/>
              <a:pathLst>
                <a:path w="37742" h="159171" extrusionOk="0">
                  <a:moveTo>
                    <a:pt x="0" y="1"/>
                  </a:moveTo>
                  <a:lnTo>
                    <a:pt x="0" y="159170"/>
                  </a:lnTo>
                  <a:lnTo>
                    <a:pt x="37741" y="159170"/>
                  </a:lnTo>
                  <a:lnTo>
                    <a:pt x="3774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 name="Google Shape;515;p48">
              <a:extLst>
                <a:ext uri="{FF2B5EF4-FFF2-40B4-BE49-F238E27FC236}">
                  <a16:creationId xmlns:a16="http://schemas.microsoft.com/office/drawing/2014/main" id="{9DF5634E-5C39-4EB9-A0E4-EC5E2E3E89F3}"/>
                </a:ext>
              </a:extLst>
            </p:cNvPr>
            <p:cNvSpPr/>
            <p:nvPr/>
          </p:nvSpPr>
          <p:spPr>
            <a:xfrm flipH="1">
              <a:off x="3913140" y="2346044"/>
              <a:ext cx="101070" cy="2284520"/>
            </a:xfrm>
            <a:custGeom>
              <a:avLst/>
              <a:gdLst/>
              <a:ahLst/>
              <a:cxnLst/>
              <a:rect l="l" t="t" r="r" b="b"/>
              <a:pathLst>
                <a:path w="7042" h="159171" extrusionOk="0">
                  <a:moveTo>
                    <a:pt x="0" y="1"/>
                  </a:moveTo>
                  <a:lnTo>
                    <a:pt x="0" y="159170"/>
                  </a:lnTo>
                  <a:lnTo>
                    <a:pt x="7041" y="159170"/>
                  </a:lnTo>
                  <a:lnTo>
                    <a:pt x="7041" y="1"/>
                  </a:ln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 name="Google Shape;516;p48">
              <a:extLst>
                <a:ext uri="{FF2B5EF4-FFF2-40B4-BE49-F238E27FC236}">
                  <a16:creationId xmlns:a16="http://schemas.microsoft.com/office/drawing/2014/main" id="{54A812D5-EE65-47F3-9FC3-DF873F03E951}"/>
                </a:ext>
              </a:extLst>
            </p:cNvPr>
            <p:cNvSpPr/>
            <p:nvPr/>
          </p:nvSpPr>
          <p:spPr>
            <a:xfrm flipH="1">
              <a:off x="3471496" y="2346561"/>
              <a:ext cx="405256" cy="2284505"/>
            </a:xfrm>
            <a:custGeom>
              <a:avLst/>
              <a:gdLst/>
              <a:ahLst/>
              <a:cxnLst/>
              <a:rect l="l" t="t" r="r" b="b"/>
              <a:pathLst>
                <a:path w="28236" h="159170" extrusionOk="0">
                  <a:moveTo>
                    <a:pt x="0" y="0"/>
                  </a:moveTo>
                  <a:lnTo>
                    <a:pt x="0" y="159169"/>
                  </a:lnTo>
                  <a:lnTo>
                    <a:pt x="28236" y="159169"/>
                  </a:lnTo>
                  <a:lnTo>
                    <a:pt x="2823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 name="Google Shape;517;p48">
              <a:extLst>
                <a:ext uri="{FF2B5EF4-FFF2-40B4-BE49-F238E27FC236}">
                  <a16:creationId xmlns:a16="http://schemas.microsoft.com/office/drawing/2014/main" id="{BB0E8D07-FC9B-4612-9642-2D137D728B15}"/>
                </a:ext>
              </a:extLst>
            </p:cNvPr>
            <p:cNvSpPr/>
            <p:nvPr/>
          </p:nvSpPr>
          <p:spPr>
            <a:xfrm flipH="1">
              <a:off x="3471462" y="2346561"/>
              <a:ext cx="170292" cy="2284505"/>
            </a:xfrm>
            <a:custGeom>
              <a:avLst/>
              <a:gdLst/>
              <a:ahLst/>
              <a:cxnLst/>
              <a:rect l="l" t="t" r="r" b="b"/>
              <a:pathLst>
                <a:path w="11865" h="159170" extrusionOk="0">
                  <a:moveTo>
                    <a:pt x="0" y="0"/>
                  </a:moveTo>
                  <a:lnTo>
                    <a:pt x="0" y="159169"/>
                  </a:lnTo>
                  <a:lnTo>
                    <a:pt x="11865" y="159169"/>
                  </a:lnTo>
                  <a:lnTo>
                    <a:pt x="1186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 name="Google Shape;518;p48">
              <a:extLst>
                <a:ext uri="{FF2B5EF4-FFF2-40B4-BE49-F238E27FC236}">
                  <a16:creationId xmlns:a16="http://schemas.microsoft.com/office/drawing/2014/main" id="{9DBF4195-CC25-44FE-9419-D30B4CDBE4C3}"/>
                </a:ext>
              </a:extLst>
            </p:cNvPr>
            <p:cNvSpPr/>
            <p:nvPr/>
          </p:nvSpPr>
          <p:spPr>
            <a:xfrm flipH="1">
              <a:off x="3912136" y="2346561"/>
              <a:ext cx="101070" cy="2284505"/>
            </a:xfrm>
            <a:custGeom>
              <a:avLst/>
              <a:gdLst/>
              <a:ahLst/>
              <a:cxnLst/>
              <a:rect l="l" t="t" r="r" b="b"/>
              <a:pathLst>
                <a:path w="7042" h="159170" extrusionOk="0">
                  <a:moveTo>
                    <a:pt x="0" y="0"/>
                  </a:moveTo>
                  <a:lnTo>
                    <a:pt x="0" y="159169"/>
                  </a:lnTo>
                  <a:lnTo>
                    <a:pt x="7042" y="159169"/>
                  </a:lnTo>
                  <a:lnTo>
                    <a:pt x="7042"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 name="Google Shape;519;p48">
              <a:extLst>
                <a:ext uri="{FF2B5EF4-FFF2-40B4-BE49-F238E27FC236}">
                  <a16:creationId xmlns:a16="http://schemas.microsoft.com/office/drawing/2014/main" id="{E92A6864-0F03-44C0-8D6B-B944BC863B3A}"/>
                </a:ext>
              </a:extLst>
            </p:cNvPr>
            <p:cNvSpPr/>
            <p:nvPr/>
          </p:nvSpPr>
          <p:spPr>
            <a:xfrm flipH="1">
              <a:off x="3416414" y="2851434"/>
              <a:ext cx="485617" cy="16190"/>
            </a:xfrm>
            <a:custGeom>
              <a:avLst/>
              <a:gdLst/>
              <a:ahLst/>
              <a:cxnLst/>
              <a:rect l="l" t="t" r="r" b="b"/>
              <a:pathLst>
                <a:path w="33835" h="1128" extrusionOk="0">
                  <a:moveTo>
                    <a:pt x="1" y="0"/>
                  </a:moveTo>
                  <a:lnTo>
                    <a:pt x="1" y="1127"/>
                  </a:lnTo>
                  <a:lnTo>
                    <a:pt x="33834" y="1127"/>
                  </a:lnTo>
                  <a:lnTo>
                    <a:pt x="3383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 name="Google Shape;520;p48">
              <a:extLst>
                <a:ext uri="{FF2B5EF4-FFF2-40B4-BE49-F238E27FC236}">
                  <a16:creationId xmlns:a16="http://schemas.microsoft.com/office/drawing/2014/main" id="{04C27757-F01A-41AB-88F6-7EA874D38706}"/>
                </a:ext>
              </a:extLst>
            </p:cNvPr>
            <p:cNvSpPr/>
            <p:nvPr/>
          </p:nvSpPr>
          <p:spPr>
            <a:xfrm flipH="1">
              <a:off x="3416414" y="3386638"/>
              <a:ext cx="485617" cy="15673"/>
            </a:xfrm>
            <a:custGeom>
              <a:avLst/>
              <a:gdLst/>
              <a:ahLst/>
              <a:cxnLst/>
              <a:rect l="l" t="t" r="r" b="b"/>
              <a:pathLst>
                <a:path w="33835" h="1092" extrusionOk="0">
                  <a:moveTo>
                    <a:pt x="1" y="0"/>
                  </a:moveTo>
                  <a:lnTo>
                    <a:pt x="1" y="1092"/>
                  </a:lnTo>
                  <a:lnTo>
                    <a:pt x="33834" y="1092"/>
                  </a:lnTo>
                  <a:lnTo>
                    <a:pt x="3383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 name="Google Shape;521;p48">
              <a:extLst>
                <a:ext uri="{FF2B5EF4-FFF2-40B4-BE49-F238E27FC236}">
                  <a16:creationId xmlns:a16="http://schemas.microsoft.com/office/drawing/2014/main" id="{1F773C9C-2E97-42AA-B8B7-F369A3760782}"/>
                </a:ext>
              </a:extLst>
            </p:cNvPr>
            <p:cNvSpPr/>
            <p:nvPr/>
          </p:nvSpPr>
          <p:spPr>
            <a:xfrm flipH="1">
              <a:off x="3416414" y="3921328"/>
              <a:ext cx="485617" cy="15687"/>
            </a:xfrm>
            <a:custGeom>
              <a:avLst/>
              <a:gdLst/>
              <a:ahLst/>
              <a:cxnLst/>
              <a:rect l="l" t="t" r="r" b="b"/>
              <a:pathLst>
                <a:path w="33835" h="1093" extrusionOk="0">
                  <a:moveTo>
                    <a:pt x="1" y="1"/>
                  </a:moveTo>
                  <a:lnTo>
                    <a:pt x="1" y="1092"/>
                  </a:lnTo>
                  <a:lnTo>
                    <a:pt x="33834" y="1092"/>
                  </a:lnTo>
                  <a:lnTo>
                    <a:pt x="3383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 name="Google Shape;522;p48">
              <a:extLst>
                <a:ext uri="{FF2B5EF4-FFF2-40B4-BE49-F238E27FC236}">
                  <a16:creationId xmlns:a16="http://schemas.microsoft.com/office/drawing/2014/main" id="{4573C38A-E041-4A2B-A1F2-F0CBE00F44F8}"/>
                </a:ext>
              </a:extLst>
            </p:cNvPr>
            <p:cNvSpPr/>
            <p:nvPr/>
          </p:nvSpPr>
          <p:spPr>
            <a:xfrm flipH="1">
              <a:off x="3416414" y="4456029"/>
              <a:ext cx="485617" cy="16190"/>
            </a:xfrm>
            <a:custGeom>
              <a:avLst/>
              <a:gdLst/>
              <a:ahLst/>
              <a:cxnLst/>
              <a:rect l="l" t="t" r="r" b="b"/>
              <a:pathLst>
                <a:path w="33835" h="1128" extrusionOk="0">
                  <a:moveTo>
                    <a:pt x="1" y="1"/>
                  </a:moveTo>
                  <a:lnTo>
                    <a:pt x="1" y="1127"/>
                  </a:lnTo>
                  <a:lnTo>
                    <a:pt x="33834" y="1127"/>
                  </a:lnTo>
                  <a:lnTo>
                    <a:pt x="3383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 name="Google Shape;523;p48">
              <a:extLst>
                <a:ext uri="{FF2B5EF4-FFF2-40B4-BE49-F238E27FC236}">
                  <a16:creationId xmlns:a16="http://schemas.microsoft.com/office/drawing/2014/main" id="{3964D224-1445-4D9F-A615-4203F9D8A5A9}"/>
                </a:ext>
              </a:extLst>
            </p:cNvPr>
            <p:cNvSpPr/>
            <p:nvPr/>
          </p:nvSpPr>
          <p:spPr>
            <a:xfrm flipH="1">
              <a:off x="3493189" y="2530016"/>
              <a:ext cx="125326" cy="129690"/>
            </a:xfrm>
            <a:custGeom>
              <a:avLst/>
              <a:gdLst/>
              <a:ahLst/>
              <a:cxnLst/>
              <a:rect l="l" t="t" r="r" b="b"/>
              <a:pathLst>
                <a:path w="8732" h="9036" extrusionOk="0">
                  <a:moveTo>
                    <a:pt x="7957" y="0"/>
                  </a:moveTo>
                  <a:lnTo>
                    <a:pt x="6232" y="2429"/>
                  </a:lnTo>
                  <a:lnTo>
                    <a:pt x="6197" y="2394"/>
                  </a:lnTo>
                  <a:cubicBezTo>
                    <a:pt x="5722" y="2109"/>
                    <a:pt x="5161" y="1966"/>
                    <a:pt x="4617" y="1966"/>
                  </a:cubicBezTo>
                  <a:cubicBezTo>
                    <a:pt x="4557" y="1966"/>
                    <a:pt x="4497" y="1968"/>
                    <a:pt x="4437" y="1972"/>
                  </a:cubicBezTo>
                  <a:cubicBezTo>
                    <a:pt x="3803" y="2042"/>
                    <a:pt x="3169" y="2324"/>
                    <a:pt x="2712" y="2746"/>
                  </a:cubicBezTo>
                  <a:lnTo>
                    <a:pt x="177" y="563"/>
                  </a:lnTo>
                  <a:lnTo>
                    <a:pt x="1" y="704"/>
                  </a:lnTo>
                  <a:lnTo>
                    <a:pt x="1902" y="3732"/>
                  </a:lnTo>
                  <a:cubicBezTo>
                    <a:pt x="1339" y="4577"/>
                    <a:pt x="1127" y="5598"/>
                    <a:pt x="1374" y="6619"/>
                  </a:cubicBezTo>
                  <a:cubicBezTo>
                    <a:pt x="1691" y="7745"/>
                    <a:pt x="2606" y="8626"/>
                    <a:pt x="3768" y="8943"/>
                  </a:cubicBezTo>
                  <a:cubicBezTo>
                    <a:pt x="4052" y="9005"/>
                    <a:pt x="4343" y="9035"/>
                    <a:pt x="4634" y="9035"/>
                  </a:cubicBezTo>
                  <a:cubicBezTo>
                    <a:pt x="5498" y="9035"/>
                    <a:pt x="6366" y="8765"/>
                    <a:pt x="7077" y="8238"/>
                  </a:cubicBezTo>
                  <a:cubicBezTo>
                    <a:pt x="7746" y="7781"/>
                    <a:pt x="8239" y="7077"/>
                    <a:pt x="8485" y="6302"/>
                  </a:cubicBezTo>
                  <a:cubicBezTo>
                    <a:pt x="8732" y="5492"/>
                    <a:pt x="8591" y="4612"/>
                    <a:pt x="8098" y="3908"/>
                  </a:cubicBezTo>
                  <a:cubicBezTo>
                    <a:pt x="7887" y="3662"/>
                    <a:pt x="7605" y="3415"/>
                    <a:pt x="7324" y="3274"/>
                  </a:cubicBezTo>
                  <a:lnTo>
                    <a:pt x="7288" y="3239"/>
                  </a:lnTo>
                  <a:cubicBezTo>
                    <a:pt x="7570" y="2253"/>
                    <a:pt x="7887" y="1267"/>
                    <a:pt x="8309" y="282"/>
                  </a:cubicBezTo>
                  <a:lnTo>
                    <a:pt x="795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 name="Google Shape;524;p48">
              <a:extLst>
                <a:ext uri="{FF2B5EF4-FFF2-40B4-BE49-F238E27FC236}">
                  <a16:creationId xmlns:a16="http://schemas.microsoft.com/office/drawing/2014/main" id="{BFD0DE48-1749-4F6C-9BA7-5D45EC48AFAB}"/>
                </a:ext>
              </a:extLst>
            </p:cNvPr>
            <p:cNvSpPr/>
            <p:nvPr/>
          </p:nvSpPr>
          <p:spPr>
            <a:xfrm flipH="1">
              <a:off x="3507320" y="2589803"/>
              <a:ext cx="62936" cy="54023"/>
            </a:xfrm>
            <a:custGeom>
              <a:avLst/>
              <a:gdLst/>
              <a:ahLst/>
              <a:cxnLst/>
              <a:rect l="l" t="t" r="r" b="b"/>
              <a:pathLst>
                <a:path w="4385" h="3764" extrusionOk="0">
                  <a:moveTo>
                    <a:pt x="2257" y="0"/>
                  </a:moveTo>
                  <a:cubicBezTo>
                    <a:pt x="1085" y="0"/>
                    <a:pt x="0" y="1170"/>
                    <a:pt x="511" y="2524"/>
                  </a:cubicBezTo>
                  <a:cubicBezTo>
                    <a:pt x="808" y="3283"/>
                    <a:pt x="1537" y="3763"/>
                    <a:pt x="2352" y="3763"/>
                  </a:cubicBezTo>
                  <a:cubicBezTo>
                    <a:pt x="2407" y="3763"/>
                    <a:pt x="2462" y="3761"/>
                    <a:pt x="2518" y="3757"/>
                  </a:cubicBezTo>
                  <a:cubicBezTo>
                    <a:pt x="3363" y="3651"/>
                    <a:pt x="4032" y="2982"/>
                    <a:pt x="4208" y="2137"/>
                  </a:cubicBezTo>
                  <a:cubicBezTo>
                    <a:pt x="4384" y="1327"/>
                    <a:pt x="4173" y="1116"/>
                    <a:pt x="3539" y="553"/>
                  </a:cubicBezTo>
                  <a:cubicBezTo>
                    <a:pt x="3153" y="167"/>
                    <a:pt x="2699" y="0"/>
                    <a:pt x="225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 name="Google Shape;525;p48">
              <a:extLst>
                <a:ext uri="{FF2B5EF4-FFF2-40B4-BE49-F238E27FC236}">
                  <a16:creationId xmlns:a16="http://schemas.microsoft.com/office/drawing/2014/main" id="{0127F6B6-A5A4-416E-B556-EDEC1FDF95EF}"/>
                </a:ext>
              </a:extLst>
            </p:cNvPr>
            <p:cNvSpPr/>
            <p:nvPr/>
          </p:nvSpPr>
          <p:spPr>
            <a:xfrm flipH="1">
              <a:off x="3550808" y="2558511"/>
              <a:ext cx="227400" cy="168083"/>
            </a:xfrm>
            <a:custGeom>
              <a:avLst/>
              <a:gdLst/>
              <a:ahLst/>
              <a:cxnLst/>
              <a:rect l="l" t="t" r="r" b="b"/>
              <a:pathLst>
                <a:path w="15844" h="11711" extrusionOk="0">
                  <a:moveTo>
                    <a:pt x="12509" y="0"/>
                  </a:moveTo>
                  <a:cubicBezTo>
                    <a:pt x="12399" y="0"/>
                    <a:pt x="12290" y="7"/>
                    <a:pt x="12182" y="22"/>
                  </a:cubicBezTo>
                  <a:cubicBezTo>
                    <a:pt x="8767" y="92"/>
                    <a:pt x="5387" y="374"/>
                    <a:pt x="2042" y="972"/>
                  </a:cubicBezTo>
                  <a:lnTo>
                    <a:pt x="282" y="4352"/>
                  </a:lnTo>
                  <a:cubicBezTo>
                    <a:pt x="141" y="4528"/>
                    <a:pt x="71" y="4740"/>
                    <a:pt x="36" y="4986"/>
                  </a:cubicBezTo>
                  <a:cubicBezTo>
                    <a:pt x="0" y="5514"/>
                    <a:pt x="493" y="5901"/>
                    <a:pt x="916" y="6183"/>
                  </a:cubicBezTo>
                  <a:cubicBezTo>
                    <a:pt x="3134" y="7732"/>
                    <a:pt x="5493" y="9316"/>
                    <a:pt x="6760" y="11710"/>
                  </a:cubicBezTo>
                  <a:cubicBezTo>
                    <a:pt x="8211" y="11496"/>
                    <a:pt x="9677" y="11395"/>
                    <a:pt x="11149" y="11395"/>
                  </a:cubicBezTo>
                  <a:cubicBezTo>
                    <a:pt x="11856" y="11395"/>
                    <a:pt x="12565" y="11418"/>
                    <a:pt x="13273" y="11464"/>
                  </a:cubicBezTo>
                  <a:cubicBezTo>
                    <a:pt x="15315" y="8647"/>
                    <a:pt x="15843" y="5021"/>
                    <a:pt x="14717" y="1747"/>
                  </a:cubicBezTo>
                  <a:cubicBezTo>
                    <a:pt x="14576" y="1148"/>
                    <a:pt x="14224" y="656"/>
                    <a:pt x="13766" y="303"/>
                  </a:cubicBezTo>
                  <a:cubicBezTo>
                    <a:pt x="13374" y="107"/>
                    <a:pt x="12937" y="0"/>
                    <a:pt x="1250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 name="Google Shape;526;p48">
              <a:extLst>
                <a:ext uri="{FF2B5EF4-FFF2-40B4-BE49-F238E27FC236}">
                  <a16:creationId xmlns:a16="http://schemas.microsoft.com/office/drawing/2014/main" id="{EF5F1073-36F4-4082-B10C-F3092DB0ABA0}"/>
                </a:ext>
              </a:extLst>
            </p:cNvPr>
            <p:cNvSpPr/>
            <p:nvPr/>
          </p:nvSpPr>
          <p:spPr>
            <a:xfrm flipH="1">
              <a:off x="3582626" y="2659381"/>
              <a:ext cx="88942" cy="66725"/>
            </a:xfrm>
            <a:custGeom>
              <a:avLst/>
              <a:gdLst/>
              <a:ahLst/>
              <a:cxnLst/>
              <a:rect l="l" t="t" r="r" b="b"/>
              <a:pathLst>
                <a:path w="6197" h="4649" extrusionOk="0">
                  <a:moveTo>
                    <a:pt x="4859" y="1"/>
                  </a:moveTo>
                  <a:lnTo>
                    <a:pt x="1796" y="177"/>
                  </a:lnTo>
                  <a:lnTo>
                    <a:pt x="1760" y="247"/>
                  </a:lnTo>
                  <a:cubicBezTo>
                    <a:pt x="1267" y="1620"/>
                    <a:pt x="704" y="2958"/>
                    <a:pt x="0" y="4261"/>
                  </a:cubicBezTo>
                  <a:lnTo>
                    <a:pt x="211" y="4331"/>
                  </a:lnTo>
                  <a:cubicBezTo>
                    <a:pt x="880" y="3064"/>
                    <a:pt x="1479" y="1761"/>
                    <a:pt x="1936" y="388"/>
                  </a:cubicBezTo>
                  <a:lnTo>
                    <a:pt x="4682" y="247"/>
                  </a:lnTo>
                  <a:lnTo>
                    <a:pt x="5950" y="4648"/>
                  </a:lnTo>
                  <a:lnTo>
                    <a:pt x="6196" y="4578"/>
                  </a:lnTo>
                  <a:lnTo>
                    <a:pt x="485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 name="Google Shape;527;p48">
              <a:extLst>
                <a:ext uri="{FF2B5EF4-FFF2-40B4-BE49-F238E27FC236}">
                  <a16:creationId xmlns:a16="http://schemas.microsoft.com/office/drawing/2014/main" id="{248E1BF0-6ECF-4393-B5A9-203F2A0EAD9D}"/>
                </a:ext>
              </a:extLst>
            </p:cNvPr>
            <p:cNvSpPr/>
            <p:nvPr/>
          </p:nvSpPr>
          <p:spPr>
            <a:xfrm flipH="1">
              <a:off x="3653381" y="2574487"/>
              <a:ext cx="101070" cy="85915"/>
            </a:xfrm>
            <a:custGeom>
              <a:avLst/>
              <a:gdLst/>
              <a:ahLst/>
              <a:cxnLst/>
              <a:rect l="l" t="t" r="r" b="b"/>
              <a:pathLst>
                <a:path w="7042" h="5986" extrusionOk="0">
                  <a:moveTo>
                    <a:pt x="71" y="0"/>
                  </a:moveTo>
                  <a:lnTo>
                    <a:pt x="0" y="211"/>
                  </a:lnTo>
                  <a:cubicBezTo>
                    <a:pt x="2922" y="1232"/>
                    <a:pt x="5352" y="3274"/>
                    <a:pt x="6865" y="5985"/>
                  </a:cubicBezTo>
                  <a:lnTo>
                    <a:pt x="7041" y="5880"/>
                  </a:lnTo>
                  <a:cubicBezTo>
                    <a:pt x="5528" y="3134"/>
                    <a:pt x="3028" y="1021"/>
                    <a:pt x="7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 name="Google Shape;528;p48">
              <a:extLst>
                <a:ext uri="{FF2B5EF4-FFF2-40B4-BE49-F238E27FC236}">
                  <a16:creationId xmlns:a16="http://schemas.microsoft.com/office/drawing/2014/main" id="{F4D81243-8E80-40A2-B048-2B98B4E3A0C3}"/>
                </a:ext>
              </a:extLst>
            </p:cNvPr>
            <p:cNvSpPr/>
            <p:nvPr/>
          </p:nvSpPr>
          <p:spPr>
            <a:xfrm flipH="1">
              <a:off x="3572010" y="2563362"/>
              <a:ext cx="24772" cy="80360"/>
            </a:xfrm>
            <a:custGeom>
              <a:avLst/>
              <a:gdLst/>
              <a:ahLst/>
              <a:cxnLst/>
              <a:rect l="l" t="t" r="r" b="b"/>
              <a:pathLst>
                <a:path w="1726" h="5599" extrusionOk="0">
                  <a:moveTo>
                    <a:pt x="1444" y="1"/>
                  </a:moveTo>
                  <a:lnTo>
                    <a:pt x="1444" y="1"/>
                  </a:lnTo>
                  <a:cubicBezTo>
                    <a:pt x="1550" y="1937"/>
                    <a:pt x="1022" y="3838"/>
                    <a:pt x="1" y="5458"/>
                  </a:cubicBezTo>
                  <a:lnTo>
                    <a:pt x="177" y="5599"/>
                  </a:lnTo>
                  <a:cubicBezTo>
                    <a:pt x="1198" y="3979"/>
                    <a:pt x="1726" y="2078"/>
                    <a:pt x="1655" y="177"/>
                  </a:cubicBezTo>
                  <a:lnTo>
                    <a:pt x="144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 name="Google Shape;529;p48">
              <a:extLst>
                <a:ext uri="{FF2B5EF4-FFF2-40B4-BE49-F238E27FC236}">
                  <a16:creationId xmlns:a16="http://schemas.microsoft.com/office/drawing/2014/main" id="{E0DFE5CE-4583-41DD-BFD5-993BFC33D9F7}"/>
                </a:ext>
              </a:extLst>
            </p:cNvPr>
            <p:cNvSpPr/>
            <p:nvPr/>
          </p:nvSpPr>
          <p:spPr>
            <a:xfrm flipH="1">
              <a:off x="3660966" y="2699818"/>
              <a:ext cx="138974" cy="137957"/>
            </a:xfrm>
            <a:custGeom>
              <a:avLst/>
              <a:gdLst/>
              <a:ahLst/>
              <a:cxnLst/>
              <a:rect l="l" t="t" r="r" b="b"/>
              <a:pathLst>
                <a:path w="9683" h="9612" extrusionOk="0">
                  <a:moveTo>
                    <a:pt x="7676" y="0"/>
                  </a:moveTo>
                  <a:cubicBezTo>
                    <a:pt x="6866" y="106"/>
                    <a:pt x="6021" y="141"/>
                    <a:pt x="5211" y="141"/>
                  </a:cubicBezTo>
                  <a:cubicBezTo>
                    <a:pt x="5160" y="139"/>
                    <a:pt x="5110" y="138"/>
                    <a:pt x="5059" y="138"/>
                  </a:cubicBezTo>
                  <a:cubicBezTo>
                    <a:pt x="4300" y="138"/>
                    <a:pt x="3550" y="383"/>
                    <a:pt x="2923" y="845"/>
                  </a:cubicBezTo>
                  <a:cubicBezTo>
                    <a:pt x="2359" y="1374"/>
                    <a:pt x="1937" y="2078"/>
                    <a:pt x="1761" y="2817"/>
                  </a:cubicBezTo>
                  <a:cubicBezTo>
                    <a:pt x="951" y="5035"/>
                    <a:pt x="388" y="7288"/>
                    <a:pt x="1" y="9612"/>
                  </a:cubicBezTo>
                  <a:lnTo>
                    <a:pt x="5704" y="9049"/>
                  </a:lnTo>
                  <a:cubicBezTo>
                    <a:pt x="5598" y="6971"/>
                    <a:pt x="5282" y="4929"/>
                    <a:pt x="4824" y="2887"/>
                  </a:cubicBezTo>
                  <a:cubicBezTo>
                    <a:pt x="6338" y="2113"/>
                    <a:pt x="7992" y="1620"/>
                    <a:pt x="9682" y="1444"/>
                  </a:cubicBezTo>
                  <a:lnTo>
                    <a:pt x="767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 name="Google Shape;530;p48">
              <a:extLst>
                <a:ext uri="{FF2B5EF4-FFF2-40B4-BE49-F238E27FC236}">
                  <a16:creationId xmlns:a16="http://schemas.microsoft.com/office/drawing/2014/main" id="{38AC34C8-5D2E-4604-8B39-720040004BB3}"/>
                </a:ext>
              </a:extLst>
            </p:cNvPr>
            <p:cNvSpPr/>
            <p:nvPr/>
          </p:nvSpPr>
          <p:spPr>
            <a:xfrm flipH="1">
              <a:off x="3504295" y="2706895"/>
              <a:ext cx="103094" cy="112582"/>
            </a:xfrm>
            <a:custGeom>
              <a:avLst/>
              <a:gdLst/>
              <a:ahLst/>
              <a:cxnLst/>
              <a:rect l="l" t="t" r="r" b="b"/>
              <a:pathLst>
                <a:path w="7183" h="7844" extrusionOk="0">
                  <a:moveTo>
                    <a:pt x="0" y="0"/>
                  </a:moveTo>
                  <a:lnTo>
                    <a:pt x="0" y="0"/>
                  </a:lnTo>
                  <a:cubicBezTo>
                    <a:pt x="317" y="1127"/>
                    <a:pt x="2183" y="1057"/>
                    <a:pt x="2606" y="2148"/>
                  </a:cubicBezTo>
                  <a:cubicBezTo>
                    <a:pt x="2711" y="2500"/>
                    <a:pt x="2711" y="2852"/>
                    <a:pt x="2641" y="3204"/>
                  </a:cubicBezTo>
                  <a:cubicBezTo>
                    <a:pt x="2430" y="4753"/>
                    <a:pt x="2148" y="6302"/>
                    <a:pt x="1796" y="7816"/>
                  </a:cubicBezTo>
                  <a:cubicBezTo>
                    <a:pt x="2277" y="7835"/>
                    <a:pt x="2758" y="7844"/>
                    <a:pt x="3239" y="7844"/>
                  </a:cubicBezTo>
                  <a:cubicBezTo>
                    <a:pt x="4554" y="7844"/>
                    <a:pt x="5868" y="7779"/>
                    <a:pt x="7182" y="7675"/>
                  </a:cubicBezTo>
                  <a:lnTo>
                    <a:pt x="5070" y="1937"/>
                  </a:lnTo>
                  <a:cubicBezTo>
                    <a:pt x="4929" y="1444"/>
                    <a:pt x="4648" y="986"/>
                    <a:pt x="4295" y="634"/>
                  </a:cubicBezTo>
                  <a:cubicBezTo>
                    <a:pt x="3799" y="254"/>
                    <a:pt x="3205" y="44"/>
                    <a:pt x="2594" y="44"/>
                  </a:cubicBezTo>
                  <a:cubicBezTo>
                    <a:pt x="2469" y="44"/>
                    <a:pt x="2344" y="53"/>
                    <a:pt x="2218" y="71"/>
                  </a:cubicBezTo>
                  <a:cubicBezTo>
                    <a:pt x="1927" y="112"/>
                    <a:pt x="1635" y="132"/>
                    <a:pt x="1343" y="132"/>
                  </a:cubicBezTo>
                  <a:cubicBezTo>
                    <a:pt x="896" y="132"/>
                    <a:pt x="448" y="86"/>
                    <a:pt x="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 name="Google Shape;531;p48">
              <a:extLst>
                <a:ext uri="{FF2B5EF4-FFF2-40B4-BE49-F238E27FC236}">
                  <a16:creationId xmlns:a16="http://schemas.microsoft.com/office/drawing/2014/main" id="{628BFDC1-1726-4FBB-AE31-5BB3BA0498F6}"/>
                </a:ext>
              </a:extLst>
            </p:cNvPr>
            <p:cNvSpPr/>
            <p:nvPr/>
          </p:nvSpPr>
          <p:spPr>
            <a:xfrm flipH="1">
              <a:off x="3600317" y="2514599"/>
              <a:ext cx="126345" cy="106540"/>
            </a:xfrm>
            <a:custGeom>
              <a:avLst/>
              <a:gdLst/>
              <a:ahLst/>
              <a:cxnLst/>
              <a:rect l="l" t="t" r="r" b="b"/>
              <a:pathLst>
                <a:path w="8803" h="7423" extrusionOk="0">
                  <a:moveTo>
                    <a:pt x="3953" y="1"/>
                  </a:moveTo>
                  <a:cubicBezTo>
                    <a:pt x="3414" y="1"/>
                    <a:pt x="2873" y="99"/>
                    <a:pt x="2359" y="299"/>
                  </a:cubicBezTo>
                  <a:cubicBezTo>
                    <a:pt x="881" y="933"/>
                    <a:pt x="1" y="2447"/>
                    <a:pt x="177" y="3996"/>
                  </a:cubicBezTo>
                  <a:cubicBezTo>
                    <a:pt x="1831" y="4912"/>
                    <a:pt x="3451" y="5933"/>
                    <a:pt x="5035" y="7024"/>
                  </a:cubicBezTo>
                  <a:cubicBezTo>
                    <a:pt x="5395" y="7289"/>
                    <a:pt x="5827" y="7422"/>
                    <a:pt x="6264" y="7422"/>
                  </a:cubicBezTo>
                  <a:cubicBezTo>
                    <a:pt x="6639" y="7422"/>
                    <a:pt x="7017" y="7325"/>
                    <a:pt x="7359" y="7130"/>
                  </a:cubicBezTo>
                  <a:cubicBezTo>
                    <a:pt x="7922" y="6813"/>
                    <a:pt x="8450" y="6496"/>
                    <a:pt x="8661" y="5933"/>
                  </a:cubicBezTo>
                  <a:cubicBezTo>
                    <a:pt x="8767" y="5580"/>
                    <a:pt x="8802" y="5264"/>
                    <a:pt x="8767" y="4912"/>
                  </a:cubicBezTo>
                  <a:cubicBezTo>
                    <a:pt x="8661" y="3362"/>
                    <a:pt x="7922" y="1919"/>
                    <a:pt x="6690" y="933"/>
                  </a:cubicBezTo>
                  <a:cubicBezTo>
                    <a:pt x="5896" y="321"/>
                    <a:pt x="4928" y="1"/>
                    <a:pt x="3953"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 name="Google Shape;532;p48">
              <a:extLst>
                <a:ext uri="{FF2B5EF4-FFF2-40B4-BE49-F238E27FC236}">
                  <a16:creationId xmlns:a16="http://schemas.microsoft.com/office/drawing/2014/main" id="{B825A699-3909-4128-8808-58A744C84769}"/>
                </a:ext>
              </a:extLst>
            </p:cNvPr>
            <p:cNvSpPr/>
            <p:nvPr/>
          </p:nvSpPr>
          <p:spPr>
            <a:xfrm flipH="1">
              <a:off x="3655397" y="2566391"/>
              <a:ext cx="37403" cy="32868"/>
            </a:xfrm>
            <a:custGeom>
              <a:avLst/>
              <a:gdLst/>
              <a:ahLst/>
              <a:cxnLst/>
              <a:rect l="l" t="t" r="r" b="b"/>
              <a:pathLst>
                <a:path w="2606" h="2290" extrusionOk="0">
                  <a:moveTo>
                    <a:pt x="0" y="1"/>
                  </a:moveTo>
                  <a:lnTo>
                    <a:pt x="0" y="1"/>
                  </a:lnTo>
                  <a:cubicBezTo>
                    <a:pt x="740" y="881"/>
                    <a:pt x="1620" y="1656"/>
                    <a:pt x="2606" y="2289"/>
                  </a:cubicBezTo>
                  <a:cubicBezTo>
                    <a:pt x="2535" y="1233"/>
                    <a:pt x="951" y="388"/>
                    <a:pt x="0"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 name="Google Shape;533;p48">
              <a:extLst>
                <a:ext uri="{FF2B5EF4-FFF2-40B4-BE49-F238E27FC236}">
                  <a16:creationId xmlns:a16="http://schemas.microsoft.com/office/drawing/2014/main" id="{353E27AF-ACE8-47EE-B406-DF85CBCF4B9A}"/>
                </a:ext>
              </a:extLst>
            </p:cNvPr>
            <p:cNvSpPr/>
            <p:nvPr/>
          </p:nvSpPr>
          <p:spPr>
            <a:xfrm flipH="1">
              <a:off x="3605352" y="2557304"/>
              <a:ext cx="11640" cy="32352"/>
            </a:xfrm>
            <a:custGeom>
              <a:avLst/>
              <a:gdLst/>
              <a:ahLst/>
              <a:cxnLst/>
              <a:rect l="l" t="t" r="r" b="b"/>
              <a:pathLst>
                <a:path w="811" h="2254" extrusionOk="0">
                  <a:moveTo>
                    <a:pt x="247" y="0"/>
                  </a:moveTo>
                  <a:lnTo>
                    <a:pt x="247" y="0"/>
                  </a:lnTo>
                  <a:cubicBezTo>
                    <a:pt x="36" y="740"/>
                    <a:pt x="0" y="1514"/>
                    <a:pt x="141" y="2253"/>
                  </a:cubicBezTo>
                  <a:cubicBezTo>
                    <a:pt x="775" y="1655"/>
                    <a:pt x="810" y="669"/>
                    <a:pt x="24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 name="Google Shape;534;p48">
              <a:extLst>
                <a:ext uri="{FF2B5EF4-FFF2-40B4-BE49-F238E27FC236}">
                  <a16:creationId xmlns:a16="http://schemas.microsoft.com/office/drawing/2014/main" id="{BDD35AD0-841F-4D0D-BCE9-798635F9E7DA}"/>
                </a:ext>
              </a:extLst>
            </p:cNvPr>
            <p:cNvSpPr/>
            <p:nvPr/>
          </p:nvSpPr>
          <p:spPr>
            <a:xfrm flipH="1">
              <a:off x="3753952" y="2530016"/>
              <a:ext cx="124824" cy="129690"/>
            </a:xfrm>
            <a:custGeom>
              <a:avLst/>
              <a:gdLst/>
              <a:ahLst/>
              <a:cxnLst/>
              <a:rect l="l" t="t" r="r" b="b"/>
              <a:pathLst>
                <a:path w="8697" h="9036" extrusionOk="0">
                  <a:moveTo>
                    <a:pt x="7957" y="0"/>
                  </a:moveTo>
                  <a:lnTo>
                    <a:pt x="6232" y="2429"/>
                  </a:lnTo>
                  <a:lnTo>
                    <a:pt x="6197" y="2394"/>
                  </a:lnTo>
                  <a:cubicBezTo>
                    <a:pt x="5721" y="2109"/>
                    <a:pt x="5161" y="1966"/>
                    <a:pt x="4617" y="1966"/>
                  </a:cubicBezTo>
                  <a:cubicBezTo>
                    <a:pt x="4556" y="1966"/>
                    <a:pt x="4496" y="1968"/>
                    <a:pt x="4436" y="1972"/>
                  </a:cubicBezTo>
                  <a:cubicBezTo>
                    <a:pt x="3767" y="2042"/>
                    <a:pt x="3169" y="2324"/>
                    <a:pt x="2711" y="2746"/>
                  </a:cubicBezTo>
                  <a:lnTo>
                    <a:pt x="176" y="563"/>
                  </a:lnTo>
                  <a:lnTo>
                    <a:pt x="0" y="704"/>
                  </a:lnTo>
                  <a:lnTo>
                    <a:pt x="1902" y="3732"/>
                  </a:lnTo>
                  <a:cubicBezTo>
                    <a:pt x="1338" y="4577"/>
                    <a:pt x="1127" y="5598"/>
                    <a:pt x="1373" y="6619"/>
                  </a:cubicBezTo>
                  <a:cubicBezTo>
                    <a:pt x="1690" y="7745"/>
                    <a:pt x="2606" y="8626"/>
                    <a:pt x="3767" y="8943"/>
                  </a:cubicBezTo>
                  <a:cubicBezTo>
                    <a:pt x="4052" y="9005"/>
                    <a:pt x="4343" y="9035"/>
                    <a:pt x="4634" y="9035"/>
                  </a:cubicBezTo>
                  <a:cubicBezTo>
                    <a:pt x="5498" y="9035"/>
                    <a:pt x="6366" y="8765"/>
                    <a:pt x="7077" y="8238"/>
                  </a:cubicBezTo>
                  <a:cubicBezTo>
                    <a:pt x="7746" y="7781"/>
                    <a:pt x="8239" y="7077"/>
                    <a:pt x="8485" y="6302"/>
                  </a:cubicBezTo>
                  <a:cubicBezTo>
                    <a:pt x="8696" y="5492"/>
                    <a:pt x="8556" y="4612"/>
                    <a:pt x="8098" y="3908"/>
                  </a:cubicBezTo>
                  <a:cubicBezTo>
                    <a:pt x="7887" y="3662"/>
                    <a:pt x="7605" y="3415"/>
                    <a:pt x="7323" y="3274"/>
                  </a:cubicBezTo>
                  <a:lnTo>
                    <a:pt x="7253" y="3239"/>
                  </a:lnTo>
                  <a:cubicBezTo>
                    <a:pt x="7570" y="2253"/>
                    <a:pt x="7887" y="1267"/>
                    <a:pt x="8309" y="282"/>
                  </a:cubicBezTo>
                  <a:lnTo>
                    <a:pt x="795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 name="Google Shape;535;p48">
              <a:extLst>
                <a:ext uri="{FF2B5EF4-FFF2-40B4-BE49-F238E27FC236}">
                  <a16:creationId xmlns:a16="http://schemas.microsoft.com/office/drawing/2014/main" id="{8DF01A3D-7474-4CDC-9042-AC8AC0C44DC0}"/>
                </a:ext>
              </a:extLst>
            </p:cNvPr>
            <p:cNvSpPr/>
            <p:nvPr/>
          </p:nvSpPr>
          <p:spPr>
            <a:xfrm flipH="1">
              <a:off x="3767596" y="2589803"/>
              <a:ext cx="62563" cy="54023"/>
            </a:xfrm>
            <a:custGeom>
              <a:avLst/>
              <a:gdLst/>
              <a:ahLst/>
              <a:cxnLst/>
              <a:rect l="l" t="t" r="r" b="b"/>
              <a:pathLst>
                <a:path w="4359" h="3764" extrusionOk="0">
                  <a:moveTo>
                    <a:pt x="2237" y="0"/>
                  </a:moveTo>
                  <a:cubicBezTo>
                    <a:pt x="1074" y="0"/>
                    <a:pt x="0" y="1170"/>
                    <a:pt x="486" y="2524"/>
                  </a:cubicBezTo>
                  <a:cubicBezTo>
                    <a:pt x="816" y="3283"/>
                    <a:pt x="1516" y="3763"/>
                    <a:pt x="2327" y="3763"/>
                  </a:cubicBezTo>
                  <a:cubicBezTo>
                    <a:pt x="2382" y="3763"/>
                    <a:pt x="2437" y="3761"/>
                    <a:pt x="2493" y="3757"/>
                  </a:cubicBezTo>
                  <a:cubicBezTo>
                    <a:pt x="3338" y="3651"/>
                    <a:pt x="4042" y="2982"/>
                    <a:pt x="4183" y="2137"/>
                  </a:cubicBezTo>
                  <a:cubicBezTo>
                    <a:pt x="4359" y="1327"/>
                    <a:pt x="4148" y="1116"/>
                    <a:pt x="3514" y="553"/>
                  </a:cubicBezTo>
                  <a:cubicBezTo>
                    <a:pt x="3128" y="167"/>
                    <a:pt x="2676" y="0"/>
                    <a:pt x="223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 name="Google Shape;536;p48">
              <a:extLst>
                <a:ext uri="{FF2B5EF4-FFF2-40B4-BE49-F238E27FC236}">
                  <a16:creationId xmlns:a16="http://schemas.microsoft.com/office/drawing/2014/main" id="{16634FCE-BEC0-4373-874B-6D910DD3E89C}"/>
                </a:ext>
              </a:extLst>
            </p:cNvPr>
            <p:cNvSpPr/>
            <p:nvPr/>
          </p:nvSpPr>
          <p:spPr>
            <a:xfrm flipH="1">
              <a:off x="3681166" y="2609857"/>
              <a:ext cx="59649" cy="53578"/>
            </a:xfrm>
            <a:custGeom>
              <a:avLst/>
              <a:gdLst/>
              <a:ahLst/>
              <a:cxnLst/>
              <a:rect l="l" t="t" r="r" b="b"/>
              <a:pathLst>
                <a:path w="4156" h="3733" extrusionOk="0">
                  <a:moveTo>
                    <a:pt x="1057" y="1"/>
                  </a:moveTo>
                  <a:cubicBezTo>
                    <a:pt x="599" y="1"/>
                    <a:pt x="212" y="318"/>
                    <a:pt x="106" y="740"/>
                  </a:cubicBezTo>
                  <a:cubicBezTo>
                    <a:pt x="1" y="1163"/>
                    <a:pt x="106" y="1620"/>
                    <a:pt x="388" y="1937"/>
                  </a:cubicBezTo>
                  <a:cubicBezTo>
                    <a:pt x="670" y="2289"/>
                    <a:pt x="987" y="2571"/>
                    <a:pt x="1374" y="2747"/>
                  </a:cubicBezTo>
                  <a:cubicBezTo>
                    <a:pt x="2148" y="3169"/>
                    <a:pt x="2958" y="3486"/>
                    <a:pt x="3803" y="3733"/>
                  </a:cubicBezTo>
                  <a:cubicBezTo>
                    <a:pt x="4049" y="3592"/>
                    <a:pt x="4155" y="3345"/>
                    <a:pt x="4085" y="3099"/>
                  </a:cubicBezTo>
                  <a:cubicBezTo>
                    <a:pt x="4049" y="2852"/>
                    <a:pt x="3944" y="2606"/>
                    <a:pt x="3768" y="2430"/>
                  </a:cubicBezTo>
                  <a:cubicBezTo>
                    <a:pt x="3275" y="1831"/>
                    <a:pt x="2676" y="1374"/>
                    <a:pt x="2148" y="810"/>
                  </a:cubicBezTo>
                  <a:cubicBezTo>
                    <a:pt x="1831" y="458"/>
                    <a:pt x="1515" y="36"/>
                    <a:pt x="105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 name="Google Shape;537;p48">
              <a:extLst>
                <a:ext uri="{FF2B5EF4-FFF2-40B4-BE49-F238E27FC236}">
                  <a16:creationId xmlns:a16="http://schemas.microsoft.com/office/drawing/2014/main" id="{DF1B5D5E-791A-4F27-819E-381E3C86A724}"/>
                </a:ext>
              </a:extLst>
            </p:cNvPr>
            <p:cNvSpPr/>
            <p:nvPr/>
          </p:nvSpPr>
          <p:spPr>
            <a:xfrm flipH="1">
              <a:off x="3562907" y="2602780"/>
              <a:ext cx="17194" cy="42024"/>
            </a:xfrm>
            <a:custGeom>
              <a:avLst/>
              <a:gdLst/>
              <a:ahLst/>
              <a:cxnLst/>
              <a:rect l="l" t="t" r="r" b="b"/>
              <a:pathLst>
                <a:path w="1198" h="2928" extrusionOk="0">
                  <a:moveTo>
                    <a:pt x="599" y="1"/>
                  </a:moveTo>
                  <a:cubicBezTo>
                    <a:pt x="423" y="775"/>
                    <a:pt x="247" y="1550"/>
                    <a:pt x="71" y="2324"/>
                  </a:cubicBezTo>
                  <a:cubicBezTo>
                    <a:pt x="0" y="2500"/>
                    <a:pt x="36" y="2676"/>
                    <a:pt x="106" y="2817"/>
                  </a:cubicBezTo>
                  <a:cubicBezTo>
                    <a:pt x="182" y="2893"/>
                    <a:pt x="277" y="2928"/>
                    <a:pt x="371" y="2928"/>
                  </a:cubicBezTo>
                  <a:cubicBezTo>
                    <a:pt x="453" y="2928"/>
                    <a:pt x="534" y="2902"/>
                    <a:pt x="599" y="2853"/>
                  </a:cubicBezTo>
                  <a:cubicBezTo>
                    <a:pt x="740" y="2747"/>
                    <a:pt x="845" y="2606"/>
                    <a:pt x="916" y="2430"/>
                  </a:cubicBezTo>
                  <a:cubicBezTo>
                    <a:pt x="1162" y="1832"/>
                    <a:pt x="1197" y="1198"/>
                    <a:pt x="1092" y="599"/>
                  </a:cubicBezTo>
                  <a:cubicBezTo>
                    <a:pt x="1092" y="458"/>
                    <a:pt x="1021" y="318"/>
                    <a:pt x="951" y="212"/>
                  </a:cubicBezTo>
                  <a:cubicBezTo>
                    <a:pt x="881" y="71"/>
                    <a:pt x="740" y="1"/>
                    <a:pt x="599"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 name="Google Shape;538;p48">
              <a:extLst>
                <a:ext uri="{FF2B5EF4-FFF2-40B4-BE49-F238E27FC236}">
                  <a16:creationId xmlns:a16="http://schemas.microsoft.com/office/drawing/2014/main" id="{8D65B81B-1C83-4029-AFB4-AEB4316D0CF8}"/>
                </a:ext>
              </a:extLst>
            </p:cNvPr>
            <p:cNvSpPr/>
            <p:nvPr/>
          </p:nvSpPr>
          <p:spPr>
            <a:xfrm flipH="1">
              <a:off x="3565435" y="2695268"/>
              <a:ext cx="24270" cy="32352"/>
            </a:xfrm>
            <a:custGeom>
              <a:avLst/>
              <a:gdLst/>
              <a:ahLst/>
              <a:cxnLst/>
              <a:rect l="l" t="t" r="r" b="b"/>
              <a:pathLst>
                <a:path w="1691" h="2254" extrusionOk="0">
                  <a:moveTo>
                    <a:pt x="1303" y="1"/>
                  </a:moveTo>
                  <a:lnTo>
                    <a:pt x="0" y="2007"/>
                  </a:lnTo>
                  <a:lnTo>
                    <a:pt x="353" y="2254"/>
                  </a:lnTo>
                  <a:lnTo>
                    <a:pt x="1690" y="247"/>
                  </a:lnTo>
                  <a:lnTo>
                    <a:pt x="130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 name="Google Shape;539;p48">
              <a:extLst>
                <a:ext uri="{FF2B5EF4-FFF2-40B4-BE49-F238E27FC236}">
                  <a16:creationId xmlns:a16="http://schemas.microsoft.com/office/drawing/2014/main" id="{48D05CEB-2553-411F-AC7E-9B70AD0EE594}"/>
                </a:ext>
              </a:extLst>
            </p:cNvPr>
            <p:cNvSpPr/>
            <p:nvPr/>
          </p:nvSpPr>
          <p:spPr>
            <a:xfrm flipH="1">
              <a:off x="3674100" y="2691737"/>
              <a:ext cx="34374" cy="41452"/>
            </a:xfrm>
            <a:custGeom>
              <a:avLst/>
              <a:gdLst/>
              <a:ahLst/>
              <a:cxnLst/>
              <a:rect l="l" t="t" r="r" b="b"/>
              <a:pathLst>
                <a:path w="2395" h="2888" extrusionOk="0">
                  <a:moveTo>
                    <a:pt x="1" y="0"/>
                  </a:moveTo>
                  <a:lnTo>
                    <a:pt x="1" y="423"/>
                  </a:lnTo>
                  <a:cubicBezTo>
                    <a:pt x="1128" y="458"/>
                    <a:pt x="1867" y="1655"/>
                    <a:pt x="1409" y="2676"/>
                  </a:cubicBezTo>
                  <a:lnTo>
                    <a:pt x="1796" y="2887"/>
                  </a:lnTo>
                  <a:cubicBezTo>
                    <a:pt x="2395" y="1549"/>
                    <a:pt x="1444" y="35"/>
                    <a:pt x="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 name="Google Shape;540;p48">
              <a:extLst>
                <a:ext uri="{FF2B5EF4-FFF2-40B4-BE49-F238E27FC236}">
                  <a16:creationId xmlns:a16="http://schemas.microsoft.com/office/drawing/2014/main" id="{30D3F904-C36E-43B2-B234-53D4BC1D17EA}"/>
                </a:ext>
              </a:extLst>
            </p:cNvPr>
            <p:cNvSpPr/>
            <p:nvPr/>
          </p:nvSpPr>
          <p:spPr>
            <a:xfrm flipH="1">
              <a:off x="3728678" y="2710427"/>
              <a:ext cx="44478" cy="43476"/>
            </a:xfrm>
            <a:custGeom>
              <a:avLst/>
              <a:gdLst/>
              <a:ahLst/>
              <a:cxnLst/>
              <a:rect l="l" t="t" r="r" b="b"/>
              <a:pathLst>
                <a:path w="3099" h="3029" extrusionOk="0">
                  <a:moveTo>
                    <a:pt x="1550" y="1"/>
                  </a:moveTo>
                  <a:lnTo>
                    <a:pt x="1479" y="458"/>
                  </a:lnTo>
                  <a:cubicBezTo>
                    <a:pt x="1831" y="529"/>
                    <a:pt x="2113" y="775"/>
                    <a:pt x="2219" y="1092"/>
                  </a:cubicBezTo>
                  <a:cubicBezTo>
                    <a:pt x="2324" y="1444"/>
                    <a:pt x="2289" y="1796"/>
                    <a:pt x="2078" y="2078"/>
                  </a:cubicBezTo>
                  <a:cubicBezTo>
                    <a:pt x="1831" y="2324"/>
                    <a:pt x="1514" y="2500"/>
                    <a:pt x="1198" y="2571"/>
                  </a:cubicBezTo>
                  <a:cubicBezTo>
                    <a:pt x="1004" y="2588"/>
                    <a:pt x="810" y="2597"/>
                    <a:pt x="617" y="2597"/>
                  </a:cubicBezTo>
                  <a:cubicBezTo>
                    <a:pt x="423" y="2597"/>
                    <a:pt x="229" y="2588"/>
                    <a:pt x="36" y="2571"/>
                  </a:cubicBezTo>
                  <a:lnTo>
                    <a:pt x="1" y="2993"/>
                  </a:lnTo>
                  <a:cubicBezTo>
                    <a:pt x="212" y="3029"/>
                    <a:pt x="423" y="3029"/>
                    <a:pt x="669" y="3029"/>
                  </a:cubicBezTo>
                  <a:cubicBezTo>
                    <a:pt x="845" y="3029"/>
                    <a:pt x="1057" y="3029"/>
                    <a:pt x="1268" y="2993"/>
                  </a:cubicBezTo>
                  <a:cubicBezTo>
                    <a:pt x="1690" y="2923"/>
                    <a:pt x="2113" y="2677"/>
                    <a:pt x="2430" y="2360"/>
                  </a:cubicBezTo>
                  <a:cubicBezTo>
                    <a:pt x="3099" y="1479"/>
                    <a:pt x="2606" y="212"/>
                    <a:pt x="155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 name="Google Shape;541;p48">
              <a:extLst>
                <a:ext uri="{FF2B5EF4-FFF2-40B4-BE49-F238E27FC236}">
                  <a16:creationId xmlns:a16="http://schemas.microsoft.com/office/drawing/2014/main" id="{BB21472B-663C-43AB-AE04-7F9AFC07385B}"/>
                </a:ext>
              </a:extLst>
            </p:cNvPr>
            <p:cNvSpPr/>
            <p:nvPr/>
          </p:nvSpPr>
          <p:spPr>
            <a:xfrm flipH="1">
              <a:off x="3528545" y="2715996"/>
              <a:ext cx="31346" cy="34503"/>
            </a:xfrm>
            <a:custGeom>
              <a:avLst/>
              <a:gdLst/>
              <a:ahLst/>
              <a:cxnLst/>
              <a:rect l="l" t="t" r="r" b="b"/>
              <a:pathLst>
                <a:path w="2184" h="2404" extrusionOk="0">
                  <a:moveTo>
                    <a:pt x="951" y="0"/>
                  </a:moveTo>
                  <a:cubicBezTo>
                    <a:pt x="705" y="35"/>
                    <a:pt x="458" y="141"/>
                    <a:pt x="282" y="317"/>
                  </a:cubicBezTo>
                  <a:cubicBezTo>
                    <a:pt x="106" y="528"/>
                    <a:pt x="1" y="810"/>
                    <a:pt x="1" y="1091"/>
                  </a:cubicBezTo>
                  <a:cubicBezTo>
                    <a:pt x="36" y="1584"/>
                    <a:pt x="388" y="2042"/>
                    <a:pt x="846" y="2218"/>
                  </a:cubicBezTo>
                  <a:cubicBezTo>
                    <a:pt x="1079" y="2335"/>
                    <a:pt x="1312" y="2403"/>
                    <a:pt x="1566" y="2403"/>
                  </a:cubicBezTo>
                  <a:cubicBezTo>
                    <a:pt x="1618" y="2403"/>
                    <a:pt x="1671" y="2400"/>
                    <a:pt x="1726" y="2394"/>
                  </a:cubicBezTo>
                  <a:cubicBezTo>
                    <a:pt x="1867" y="2394"/>
                    <a:pt x="2007" y="2394"/>
                    <a:pt x="2183" y="2359"/>
                  </a:cubicBezTo>
                  <a:lnTo>
                    <a:pt x="2113" y="1901"/>
                  </a:lnTo>
                  <a:cubicBezTo>
                    <a:pt x="1960" y="1943"/>
                    <a:pt x="1813" y="1963"/>
                    <a:pt x="1669" y="1963"/>
                  </a:cubicBezTo>
                  <a:cubicBezTo>
                    <a:pt x="1448" y="1963"/>
                    <a:pt x="1235" y="1916"/>
                    <a:pt x="1022" y="1831"/>
                  </a:cubicBezTo>
                  <a:cubicBezTo>
                    <a:pt x="705" y="1690"/>
                    <a:pt x="494" y="1408"/>
                    <a:pt x="423" y="1056"/>
                  </a:cubicBezTo>
                  <a:cubicBezTo>
                    <a:pt x="423" y="880"/>
                    <a:pt x="494" y="739"/>
                    <a:pt x="599" y="599"/>
                  </a:cubicBezTo>
                  <a:cubicBezTo>
                    <a:pt x="705" y="528"/>
                    <a:pt x="810" y="458"/>
                    <a:pt x="951" y="458"/>
                  </a:cubicBezTo>
                  <a:lnTo>
                    <a:pt x="95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 name="Google Shape;542;p48">
              <a:extLst>
                <a:ext uri="{FF2B5EF4-FFF2-40B4-BE49-F238E27FC236}">
                  <a16:creationId xmlns:a16="http://schemas.microsoft.com/office/drawing/2014/main" id="{2EFB9424-7F51-4FA8-8E56-27ECC942869E}"/>
                </a:ext>
              </a:extLst>
            </p:cNvPr>
            <p:cNvSpPr/>
            <p:nvPr/>
          </p:nvSpPr>
          <p:spPr>
            <a:xfrm flipH="1">
              <a:off x="3478533" y="2815418"/>
              <a:ext cx="129359" cy="32996"/>
            </a:xfrm>
            <a:custGeom>
              <a:avLst/>
              <a:gdLst/>
              <a:ahLst/>
              <a:cxnLst/>
              <a:rect l="l" t="t" r="r" b="b"/>
              <a:pathLst>
                <a:path w="9013" h="2299" extrusionOk="0">
                  <a:moveTo>
                    <a:pt x="5957" y="1"/>
                  </a:moveTo>
                  <a:cubicBezTo>
                    <a:pt x="5873" y="1"/>
                    <a:pt x="5788" y="4"/>
                    <a:pt x="5704" y="10"/>
                  </a:cubicBezTo>
                  <a:cubicBezTo>
                    <a:pt x="4929" y="45"/>
                    <a:pt x="4119" y="45"/>
                    <a:pt x="3345" y="115"/>
                  </a:cubicBezTo>
                  <a:cubicBezTo>
                    <a:pt x="2852" y="151"/>
                    <a:pt x="2394" y="221"/>
                    <a:pt x="1972" y="362"/>
                  </a:cubicBezTo>
                  <a:cubicBezTo>
                    <a:pt x="1091" y="714"/>
                    <a:pt x="528" y="1524"/>
                    <a:pt x="0" y="2298"/>
                  </a:cubicBezTo>
                  <a:lnTo>
                    <a:pt x="9013" y="2298"/>
                  </a:lnTo>
                  <a:cubicBezTo>
                    <a:pt x="8450" y="1524"/>
                    <a:pt x="8027" y="573"/>
                    <a:pt x="7147" y="186"/>
                  </a:cubicBezTo>
                  <a:cubicBezTo>
                    <a:pt x="6768" y="69"/>
                    <a:pt x="6365" y="1"/>
                    <a:pt x="595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543;p48">
              <a:extLst>
                <a:ext uri="{FF2B5EF4-FFF2-40B4-BE49-F238E27FC236}">
                  <a16:creationId xmlns:a16="http://schemas.microsoft.com/office/drawing/2014/main" id="{40FB4765-90D0-4112-AD36-9EEA22297913}"/>
                </a:ext>
              </a:extLst>
            </p:cNvPr>
            <p:cNvSpPr/>
            <p:nvPr/>
          </p:nvSpPr>
          <p:spPr>
            <a:xfrm flipH="1">
              <a:off x="3691296" y="2815418"/>
              <a:ext cx="129359" cy="32996"/>
            </a:xfrm>
            <a:custGeom>
              <a:avLst/>
              <a:gdLst/>
              <a:ahLst/>
              <a:cxnLst/>
              <a:rect l="l" t="t" r="r" b="b"/>
              <a:pathLst>
                <a:path w="9013" h="2299" extrusionOk="0">
                  <a:moveTo>
                    <a:pt x="5957" y="1"/>
                  </a:moveTo>
                  <a:cubicBezTo>
                    <a:pt x="5873" y="1"/>
                    <a:pt x="5788" y="4"/>
                    <a:pt x="5704" y="10"/>
                  </a:cubicBezTo>
                  <a:cubicBezTo>
                    <a:pt x="4929" y="45"/>
                    <a:pt x="4119" y="45"/>
                    <a:pt x="3345" y="115"/>
                  </a:cubicBezTo>
                  <a:cubicBezTo>
                    <a:pt x="2887" y="151"/>
                    <a:pt x="2429" y="221"/>
                    <a:pt x="1972" y="362"/>
                  </a:cubicBezTo>
                  <a:cubicBezTo>
                    <a:pt x="1092" y="714"/>
                    <a:pt x="528" y="1524"/>
                    <a:pt x="0" y="2298"/>
                  </a:cubicBezTo>
                  <a:lnTo>
                    <a:pt x="9013" y="2298"/>
                  </a:lnTo>
                  <a:cubicBezTo>
                    <a:pt x="8450" y="1524"/>
                    <a:pt x="8027" y="573"/>
                    <a:pt x="7182" y="186"/>
                  </a:cubicBezTo>
                  <a:cubicBezTo>
                    <a:pt x="6774" y="69"/>
                    <a:pt x="6366" y="1"/>
                    <a:pt x="595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 name="Google Shape;544;p48">
              <a:extLst>
                <a:ext uri="{FF2B5EF4-FFF2-40B4-BE49-F238E27FC236}">
                  <a16:creationId xmlns:a16="http://schemas.microsoft.com/office/drawing/2014/main" id="{AFCFFB07-D17D-4976-A06B-6996740A3646}"/>
                </a:ext>
              </a:extLst>
            </p:cNvPr>
            <p:cNvSpPr/>
            <p:nvPr/>
          </p:nvSpPr>
          <p:spPr>
            <a:xfrm flipH="1">
              <a:off x="3566978" y="3000523"/>
              <a:ext cx="178387" cy="297128"/>
            </a:xfrm>
            <a:custGeom>
              <a:avLst/>
              <a:gdLst/>
              <a:ahLst/>
              <a:cxnLst/>
              <a:rect l="l" t="t" r="r" b="b"/>
              <a:pathLst>
                <a:path w="12429" h="20702" extrusionOk="0">
                  <a:moveTo>
                    <a:pt x="6901" y="0"/>
                  </a:moveTo>
                  <a:lnTo>
                    <a:pt x="775" y="529"/>
                  </a:lnTo>
                  <a:cubicBezTo>
                    <a:pt x="1" y="3838"/>
                    <a:pt x="71" y="7253"/>
                    <a:pt x="283" y="10598"/>
                  </a:cubicBezTo>
                  <a:cubicBezTo>
                    <a:pt x="494" y="13942"/>
                    <a:pt x="881" y="17322"/>
                    <a:pt x="740" y="20702"/>
                  </a:cubicBezTo>
                  <a:cubicBezTo>
                    <a:pt x="3304" y="20352"/>
                    <a:pt x="5882" y="20173"/>
                    <a:pt x="8466" y="20173"/>
                  </a:cubicBezTo>
                  <a:cubicBezTo>
                    <a:pt x="9786" y="20173"/>
                    <a:pt x="11108" y="20219"/>
                    <a:pt x="12429" y="20315"/>
                  </a:cubicBezTo>
                  <a:cubicBezTo>
                    <a:pt x="11865" y="16724"/>
                    <a:pt x="11302" y="13097"/>
                    <a:pt x="10739" y="9506"/>
                  </a:cubicBezTo>
                  <a:cubicBezTo>
                    <a:pt x="10422" y="7464"/>
                    <a:pt x="10105" y="5387"/>
                    <a:pt x="9647" y="3345"/>
                  </a:cubicBezTo>
                  <a:cubicBezTo>
                    <a:pt x="9507" y="2571"/>
                    <a:pt x="9225" y="1866"/>
                    <a:pt x="8803" y="1197"/>
                  </a:cubicBezTo>
                  <a:cubicBezTo>
                    <a:pt x="8415" y="493"/>
                    <a:pt x="7676" y="71"/>
                    <a:pt x="6901"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545;p48">
              <a:extLst>
                <a:ext uri="{FF2B5EF4-FFF2-40B4-BE49-F238E27FC236}">
                  <a16:creationId xmlns:a16="http://schemas.microsoft.com/office/drawing/2014/main" id="{31AC862C-247D-420C-895D-4970168D6A8D}"/>
                </a:ext>
              </a:extLst>
            </p:cNvPr>
            <p:cNvSpPr/>
            <p:nvPr/>
          </p:nvSpPr>
          <p:spPr>
            <a:xfrm flipH="1">
              <a:off x="3708470" y="2988393"/>
              <a:ext cx="69236" cy="114477"/>
            </a:xfrm>
            <a:custGeom>
              <a:avLst/>
              <a:gdLst/>
              <a:ahLst/>
              <a:cxnLst/>
              <a:rect l="l" t="t" r="r" b="b"/>
              <a:pathLst>
                <a:path w="4824" h="7976" extrusionOk="0">
                  <a:moveTo>
                    <a:pt x="3028" y="0"/>
                  </a:moveTo>
                  <a:cubicBezTo>
                    <a:pt x="2359" y="71"/>
                    <a:pt x="1761" y="493"/>
                    <a:pt x="1444" y="1127"/>
                  </a:cubicBezTo>
                  <a:cubicBezTo>
                    <a:pt x="1198" y="1726"/>
                    <a:pt x="1127" y="2430"/>
                    <a:pt x="1303" y="3063"/>
                  </a:cubicBezTo>
                  <a:cubicBezTo>
                    <a:pt x="810" y="3662"/>
                    <a:pt x="564" y="4401"/>
                    <a:pt x="634" y="5176"/>
                  </a:cubicBezTo>
                  <a:cubicBezTo>
                    <a:pt x="247" y="5598"/>
                    <a:pt x="1" y="6197"/>
                    <a:pt x="36" y="6795"/>
                  </a:cubicBezTo>
                  <a:cubicBezTo>
                    <a:pt x="36" y="7147"/>
                    <a:pt x="141" y="7429"/>
                    <a:pt x="353" y="7676"/>
                  </a:cubicBezTo>
                  <a:cubicBezTo>
                    <a:pt x="593" y="7879"/>
                    <a:pt x="872" y="7975"/>
                    <a:pt x="1149" y="7975"/>
                  </a:cubicBezTo>
                  <a:cubicBezTo>
                    <a:pt x="1400" y="7975"/>
                    <a:pt x="1649" y="7896"/>
                    <a:pt x="1867" y="7746"/>
                  </a:cubicBezTo>
                  <a:cubicBezTo>
                    <a:pt x="2324" y="7429"/>
                    <a:pt x="2641" y="6971"/>
                    <a:pt x="2817" y="6478"/>
                  </a:cubicBezTo>
                  <a:cubicBezTo>
                    <a:pt x="2958" y="5950"/>
                    <a:pt x="3134" y="5457"/>
                    <a:pt x="3345" y="4965"/>
                  </a:cubicBezTo>
                  <a:cubicBezTo>
                    <a:pt x="3662" y="4331"/>
                    <a:pt x="4190" y="3838"/>
                    <a:pt x="4472" y="3204"/>
                  </a:cubicBezTo>
                  <a:cubicBezTo>
                    <a:pt x="4754" y="2606"/>
                    <a:pt x="4824" y="1937"/>
                    <a:pt x="4683" y="1338"/>
                  </a:cubicBezTo>
                  <a:cubicBezTo>
                    <a:pt x="4613" y="986"/>
                    <a:pt x="4472" y="705"/>
                    <a:pt x="4261" y="458"/>
                  </a:cubicBezTo>
                  <a:cubicBezTo>
                    <a:pt x="4049" y="176"/>
                    <a:pt x="3733" y="36"/>
                    <a:pt x="3380" y="36"/>
                  </a:cubicBezTo>
                  <a:lnTo>
                    <a:pt x="3028" y="0"/>
                  </a:lnTo>
                  <a:close/>
                </a:path>
              </a:pathLst>
            </a:custGeom>
            <a:solidFill>
              <a:srgbClr val="7FC3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546;p48">
              <a:extLst>
                <a:ext uri="{FF2B5EF4-FFF2-40B4-BE49-F238E27FC236}">
                  <a16:creationId xmlns:a16="http://schemas.microsoft.com/office/drawing/2014/main" id="{3E1D369D-A0F8-4A64-8CFA-8F52F67E2235}"/>
                </a:ext>
              </a:extLst>
            </p:cNvPr>
            <p:cNvSpPr/>
            <p:nvPr/>
          </p:nvSpPr>
          <p:spPr>
            <a:xfrm flipH="1">
              <a:off x="3612965" y="2979464"/>
              <a:ext cx="140984" cy="135273"/>
            </a:xfrm>
            <a:custGeom>
              <a:avLst/>
              <a:gdLst/>
              <a:ahLst/>
              <a:cxnLst/>
              <a:rect l="l" t="t" r="r" b="b"/>
              <a:pathLst>
                <a:path w="9823" h="9425" extrusionOk="0">
                  <a:moveTo>
                    <a:pt x="5025" y="0"/>
                  </a:moveTo>
                  <a:cubicBezTo>
                    <a:pt x="4229" y="0"/>
                    <a:pt x="3479" y="109"/>
                    <a:pt x="2641" y="235"/>
                  </a:cubicBezTo>
                  <a:cubicBezTo>
                    <a:pt x="1972" y="306"/>
                    <a:pt x="1373" y="517"/>
                    <a:pt x="810" y="834"/>
                  </a:cubicBezTo>
                  <a:cubicBezTo>
                    <a:pt x="352" y="1186"/>
                    <a:pt x="106" y="1714"/>
                    <a:pt x="106" y="2312"/>
                  </a:cubicBezTo>
                  <a:cubicBezTo>
                    <a:pt x="0" y="4002"/>
                    <a:pt x="1444" y="5375"/>
                    <a:pt x="1796" y="7030"/>
                  </a:cubicBezTo>
                  <a:cubicBezTo>
                    <a:pt x="1972" y="7875"/>
                    <a:pt x="2148" y="8650"/>
                    <a:pt x="2218" y="9424"/>
                  </a:cubicBezTo>
                  <a:lnTo>
                    <a:pt x="7922" y="9424"/>
                  </a:lnTo>
                  <a:cubicBezTo>
                    <a:pt x="8203" y="8298"/>
                    <a:pt x="8591" y="7206"/>
                    <a:pt x="9119" y="6185"/>
                  </a:cubicBezTo>
                  <a:cubicBezTo>
                    <a:pt x="9823" y="4495"/>
                    <a:pt x="9506" y="2911"/>
                    <a:pt x="9436" y="1080"/>
                  </a:cubicBezTo>
                  <a:cubicBezTo>
                    <a:pt x="7546" y="252"/>
                    <a:pt x="6233" y="0"/>
                    <a:pt x="5025"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 name="Google Shape;547;p48">
              <a:extLst>
                <a:ext uri="{FF2B5EF4-FFF2-40B4-BE49-F238E27FC236}">
                  <a16:creationId xmlns:a16="http://schemas.microsoft.com/office/drawing/2014/main" id="{120B59EC-05D2-4369-8F30-B14823C5CD91}"/>
                </a:ext>
              </a:extLst>
            </p:cNvPr>
            <p:cNvSpPr/>
            <p:nvPr/>
          </p:nvSpPr>
          <p:spPr>
            <a:xfrm flipH="1">
              <a:off x="3635694" y="3114744"/>
              <a:ext cx="85914" cy="35380"/>
            </a:xfrm>
            <a:custGeom>
              <a:avLst/>
              <a:gdLst/>
              <a:ahLst/>
              <a:cxnLst/>
              <a:rect l="l" t="t" r="r" b="b"/>
              <a:pathLst>
                <a:path w="5986" h="2465" extrusionOk="0">
                  <a:moveTo>
                    <a:pt x="1" y="0"/>
                  </a:moveTo>
                  <a:cubicBezTo>
                    <a:pt x="141" y="810"/>
                    <a:pt x="141" y="1655"/>
                    <a:pt x="1" y="2465"/>
                  </a:cubicBezTo>
                  <a:cubicBezTo>
                    <a:pt x="1409" y="2429"/>
                    <a:pt x="4577" y="2113"/>
                    <a:pt x="5986" y="2077"/>
                  </a:cubicBezTo>
                  <a:cubicBezTo>
                    <a:pt x="5669" y="1444"/>
                    <a:pt x="5563" y="704"/>
                    <a:pt x="566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 name="Google Shape;548;p48">
              <a:extLst>
                <a:ext uri="{FF2B5EF4-FFF2-40B4-BE49-F238E27FC236}">
                  <a16:creationId xmlns:a16="http://schemas.microsoft.com/office/drawing/2014/main" id="{A72F6DED-22D7-463B-85DC-078E9FEFE377}"/>
                </a:ext>
              </a:extLst>
            </p:cNvPr>
            <p:cNvSpPr/>
            <p:nvPr/>
          </p:nvSpPr>
          <p:spPr>
            <a:xfrm flipH="1">
              <a:off x="3717559" y="3287074"/>
              <a:ext cx="97540" cy="100440"/>
            </a:xfrm>
            <a:custGeom>
              <a:avLst/>
              <a:gdLst/>
              <a:ahLst/>
              <a:cxnLst/>
              <a:rect l="l" t="t" r="r" b="b"/>
              <a:pathLst>
                <a:path w="6796" h="6998" extrusionOk="0">
                  <a:moveTo>
                    <a:pt x="6619" y="1"/>
                  </a:moveTo>
                  <a:cubicBezTo>
                    <a:pt x="5669" y="317"/>
                    <a:pt x="4683" y="529"/>
                    <a:pt x="3662" y="564"/>
                  </a:cubicBezTo>
                  <a:cubicBezTo>
                    <a:pt x="3451" y="1937"/>
                    <a:pt x="3239" y="3345"/>
                    <a:pt x="3028" y="4718"/>
                  </a:cubicBezTo>
                  <a:cubicBezTo>
                    <a:pt x="2535" y="5317"/>
                    <a:pt x="1866" y="5774"/>
                    <a:pt x="1162" y="6056"/>
                  </a:cubicBezTo>
                  <a:cubicBezTo>
                    <a:pt x="916" y="6127"/>
                    <a:pt x="669" y="6232"/>
                    <a:pt x="423" y="6338"/>
                  </a:cubicBezTo>
                  <a:cubicBezTo>
                    <a:pt x="176" y="6479"/>
                    <a:pt x="36" y="6690"/>
                    <a:pt x="0" y="6972"/>
                  </a:cubicBezTo>
                  <a:cubicBezTo>
                    <a:pt x="388" y="6989"/>
                    <a:pt x="775" y="6998"/>
                    <a:pt x="1162" y="6998"/>
                  </a:cubicBezTo>
                  <a:cubicBezTo>
                    <a:pt x="1549" y="6998"/>
                    <a:pt x="1937" y="6989"/>
                    <a:pt x="2324" y="6972"/>
                  </a:cubicBezTo>
                  <a:cubicBezTo>
                    <a:pt x="2676" y="6972"/>
                    <a:pt x="3028" y="6901"/>
                    <a:pt x="3345" y="6725"/>
                  </a:cubicBezTo>
                  <a:cubicBezTo>
                    <a:pt x="3458" y="6631"/>
                    <a:pt x="3541" y="6597"/>
                    <a:pt x="3632" y="6597"/>
                  </a:cubicBezTo>
                  <a:cubicBezTo>
                    <a:pt x="3710" y="6597"/>
                    <a:pt x="3794" y="6622"/>
                    <a:pt x="3908" y="6655"/>
                  </a:cubicBezTo>
                  <a:cubicBezTo>
                    <a:pt x="4155" y="6619"/>
                    <a:pt x="4331" y="6549"/>
                    <a:pt x="4542" y="6443"/>
                  </a:cubicBezTo>
                  <a:cubicBezTo>
                    <a:pt x="4648" y="6373"/>
                    <a:pt x="4648" y="6197"/>
                    <a:pt x="4612" y="6056"/>
                  </a:cubicBezTo>
                  <a:cubicBezTo>
                    <a:pt x="4577" y="5915"/>
                    <a:pt x="4542" y="5739"/>
                    <a:pt x="4542" y="5563"/>
                  </a:cubicBezTo>
                  <a:cubicBezTo>
                    <a:pt x="4577" y="4648"/>
                    <a:pt x="5141" y="3803"/>
                    <a:pt x="5633" y="2993"/>
                  </a:cubicBezTo>
                  <a:cubicBezTo>
                    <a:pt x="6197" y="2113"/>
                    <a:pt x="6795" y="1127"/>
                    <a:pt x="6619" y="71"/>
                  </a:cubicBezTo>
                  <a:lnTo>
                    <a:pt x="6619"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549;p48">
              <a:extLst>
                <a:ext uri="{FF2B5EF4-FFF2-40B4-BE49-F238E27FC236}">
                  <a16:creationId xmlns:a16="http://schemas.microsoft.com/office/drawing/2014/main" id="{5B3574E1-9E3F-42DA-A253-81B62713EEB3}"/>
                </a:ext>
              </a:extLst>
            </p:cNvPr>
            <p:cNvSpPr/>
            <p:nvPr/>
          </p:nvSpPr>
          <p:spPr>
            <a:xfrm flipH="1">
              <a:off x="3573021" y="3290103"/>
              <a:ext cx="65706" cy="96794"/>
            </a:xfrm>
            <a:custGeom>
              <a:avLst/>
              <a:gdLst/>
              <a:ahLst/>
              <a:cxnLst/>
              <a:rect l="l" t="t" r="r" b="b"/>
              <a:pathLst>
                <a:path w="4578" h="6744" extrusionOk="0">
                  <a:moveTo>
                    <a:pt x="106" y="1"/>
                  </a:moveTo>
                  <a:lnTo>
                    <a:pt x="106" y="1"/>
                  </a:lnTo>
                  <a:cubicBezTo>
                    <a:pt x="0" y="987"/>
                    <a:pt x="529" y="1937"/>
                    <a:pt x="1092" y="2782"/>
                  </a:cubicBezTo>
                  <a:cubicBezTo>
                    <a:pt x="1585" y="3451"/>
                    <a:pt x="1937" y="4190"/>
                    <a:pt x="2148" y="5000"/>
                  </a:cubicBezTo>
                  <a:cubicBezTo>
                    <a:pt x="2042" y="5493"/>
                    <a:pt x="1972" y="5986"/>
                    <a:pt x="1937" y="6479"/>
                  </a:cubicBezTo>
                  <a:cubicBezTo>
                    <a:pt x="2268" y="6677"/>
                    <a:pt x="2684" y="6744"/>
                    <a:pt x="3120" y="6744"/>
                  </a:cubicBezTo>
                  <a:cubicBezTo>
                    <a:pt x="3612" y="6744"/>
                    <a:pt x="4129" y="6659"/>
                    <a:pt x="4577" y="6584"/>
                  </a:cubicBezTo>
                  <a:cubicBezTo>
                    <a:pt x="4331" y="6021"/>
                    <a:pt x="4014" y="5317"/>
                    <a:pt x="3732" y="4824"/>
                  </a:cubicBezTo>
                  <a:cubicBezTo>
                    <a:pt x="3521" y="3275"/>
                    <a:pt x="3275" y="1761"/>
                    <a:pt x="3028" y="212"/>
                  </a:cubicBezTo>
                  <a:cubicBezTo>
                    <a:pt x="2042" y="212"/>
                    <a:pt x="1057" y="142"/>
                    <a:pt x="10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 name="Google Shape;550;p48">
              <a:extLst>
                <a:ext uri="{FF2B5EF4-FFF2-40B4-BE49-F238E27FC236}">
                  <a16:creationId xmlns:a16="http://schemas.microsoft.com/office/drawing/2014/main" id="{DE5F5B59-BA45-4796-B8D6-E63BEE79BC9E}"/>
                </a:ext>
              </a:extLst>
            </p:cNvPr>
            <p:cNvSpPr/>
            <p:nvPr/>
          </p:nvSpPr>
          <p:spPr>
            <a:xfrm flipH="1">
              <a:off x="3663988" y="3135960"/>
              <a:ext cx="98042" cy="159185"/>
            </a:xfrm>
            <a:custGeom>
              <a:avLst/>
              <a:gdLst/>
              <a:ahLst/>
              <a:cxnLst/>
              <a:rect l="l" t="t" r="r" b="b"/>
              <a:pathLst>
                <a:path w="6831" h="11091" extrusionOk="0">
                  <a:moveTo>
                    <a:pt x="3133" y="1"/>
                  </a:moveTo>
                  <a:cubicBezTo>
                    <a:pt x="2253" y="881"/>
                    <a:pt x="1620" y="1937"/>
                    <a:pt x="1197" y="3064"/>
                  </a:cubicBezTo>
                  <a:cubicBezTo>
                    <a:pt x="880" y="4296"/>
                    <a:pt x="669" y="5528"/>
                    <a:pt x="634" y="6760"/>
                  </a:cubicBezTo>
                  <a:cubicBezTo>
                    <a:pt x="528" y="7641"/>
                    <a:pt x="387" y="8521"/>
                    <a:pt x="247" y="9401"/>
                  </a:cubicBezTo>
                  <a:lnTo>
                    <a:pt x="0" y="11091"/>
                  </a:lnTo>
                  <a:cubicBezTo>
                    <a:pt x="986" y="11020"/>
                    <a:pt x="1972" y="10844"/>
                    <a:pt x="2922" y="10492"/>
                  </a:cubicBezTo>
                  <a:cubicBezTo>
                    <a:pt x="2817" y="9929"/>
                    <a:pt x="2500" y="9331"/>
                    <a:pt x="2711" y="8767"/>
                  </a:cubicBezTo>
                  <a:cubicBezTo>
                    <a:pt x="2957" y="8169"/>
                    <a:pt x="3345" y="7922"/>
                    <a:pt x="3626" y="7324"/>
                  </a:cubicBezTo>
                  <a:cubicBezTo>
                    <a:pt x="3873" y="6901"/>
                    <a:pt x="4084" y="6479"/>
                    <a:pt x="4260" y="6021"/>
                  </a:cubicBezTo>
                  <a:cubicBezTo>
                    <a:pt x="4436" y="5458"/>
                    <a:pt x="4964" y="5071"/>
                    <a:pt x="5387" y="4613"/>
                  </a:cubicBezTo>
                  <a:cubicBezTo>
                    <a:pt x="6513" y="3381"/>
                    <a:pt x="6830" y="1585"/>
                    <a:pt x="623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551;p48">
              <a:extLst>
                <a:ext uri="{FF2B5EF4-FFF2-40B4-BE49-F238E27FC236}">
                  <a16:creationId xmlns:a16="http://schemas.microsoft.com/office/drawing/2014/main" id="{0EDE85EA-C083-40EA-9BD3-C15AFFBE15BF}"/>
                </a:ext>
              </a:extLst>
            </p:cNvPr>
            <p:cNvSpPr/>
            <p:nvPr/>
          </p:nvSpPr>
          <p:spPr>
            <a:xfrm flipH="1">
              <a:off x="3594757" y="3136477"/>
              <a:ext cx="98544" cy="157161"/>
            </a:xfrm>
            <a:custGeom>
              <a:avLst/>
              <a:gdLst/>
              <a:ahLst/>
              <a:cxnLst/>
              <a:rect l="l" t="t" r="r" b="b"/>
              <a:pathLst>
                <a:path w="6866" h="10950" extrusionOk="0">
                  <a:moveTo>
                    <a:pt x="634" y="0"/>
                  </a:moveTo>
                  <a:cubicBezTo>
                    <a:pt x="0" y="1549"/>
                    <a:pt x="352" y="3345"/>
                    <a:pt x="1479" y="4612"/>
                  </a:cubicBezTo>
                  <a:cubicBezTo>
                    <a:pt x="1901" y="5035"/>
                    <a:pt x="2429" y="5422"/>
                    <a:pt x="2605" y="5985"/>
                  </a:cubicBezTo>
                  <a:cubicBezTo>
                    <a:pt x="2781" y="6443"/>
                    <a:pt x="2993" y="6865"/>
                    <a:pt x="3239" y="7323"/>
                  </a:cubicBezTo>
                  <a:cubicBezTo>
                    <a:pt x="3521" y="7886"/>
                    <a:pt x="3908" y="8133"/>
                    <a:pt x="4155" y="8731"/>
                  </a:cubicBezTo>
                  <a:cubicBezTo>
                    <a:pt x="4401" y="9330"/>
                    <a:pt x="4014" y="9928"/>
                    <a:pt x="3908" y="10562"/>
                  </a:cubicBezTo>
                  <a:lnTo>
                    <a:pt x="3908" y="10738"/>
                  </a:lnTo>
                  <a:cubicBezTo>
                    <a:pt x="4894" y="10844"/>
                    <a:pt x="5880" y="10914"/>
                    <a:pt x="6865" y="10949"/>
                  </a:cubicBezTo>
                  <a:cubicBezTo>
                    <a:pt x="6760" y="10421"/>
                    <a:pt x="6689" y="9893"/>
                    <a:pt x="6619" y="9365"/>
                  </a:cubicBezTo>
                  <a:cubicBezTo>
                    <a:pt x="6478" y="8485"/>
                    <a:pt x="6337" y="7605"/>
                    <a:pt x="6232" y="6724"/>
                  </a:cubicBezTo>
                  <a:cubicBezTo>
                    <a:pt x="6091" y="5492"/>
                    <a:pt x="6056" y="4225"/>
                    <a:pt x="5668" y="3028"/>
                  </a:cubicBezTo>
                  <a:cubicBezTo>
                    <a:pt x="5246" y="1901"/>
                    <a:pt x="4577" y="845"/>
                    <a:pt x="3732"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552;p48">
              <a:extLst>
                <a:ext uri="{FF2B5EF4-FFF2-40B4-BE49-F238E27FC236}">
                  <a16:creationId xmlns:a16="http://schemas.microsoft.com/office/drawing/2014/main" id="{3B9BDC42-9E86-4A30-94B6-7D094588B9D7}"/>
                </a:ext>
              </a:extLst>
            </p:cNvPr>
            <p:cNvSpPr/>
            <p:nvPr/>
          </p:nvSpPr>
          <p:spPr>
            <a:xfrm flipH="1">
              <a:off x="3738280" y="3062593"/>
              <a:ext cx="36900" cy="38005"/>
            </a:xfrm>
            <a:custGeom>
              <a:avLst/>
              <a:gdLst/>
              <a:ahLst/>
              <a:cxnLst/>
              <a:rect l="l" t="t" r="r" b="b"/>
              <a:pathLst>
                <a:path w="2571" h="2648" extrusionOk="0">
                  <a:moveTo>
                    <a:pt x="1788" y="0"/>
                  </a:moveTo>
                  <a:cubicBezTo>
                    <a:pt x="1444" y="0"/>
                    <a:pt x="1083" y="104"/>
                    <a:pt x="775" y="288"/>
                  </a:cubicBezTo>
                  <a:cubicBezTo>
                    <a:pt x="458" y="500"/>
                    <a:pt x="212" y="817"/>
                    <a:pt x="106" y="1204"/>
                  </a:cubicBezTo>
                  <a:cubicBezTo>
                    <a:pt x="1" y="1450"/>
                    <a:pt x="1" y="1732"/>
                    <a:pt x="106" y="1978"/>
                  </a:cubicBezTo>
                  <a:cubicBezTo>
                    <a:pt x="212" y="2154"/>
                    <a:pt x="353" y="2295"/>
                    <a:pt x="564" y="2366"/>
                  </a:cubicBezTo>
                  <a:cubicBezTo>
                    <a:pt x="963" y="2553"/>
                    <a:pt x="1409" y="2647"/>
                    <a:pt x="1871" y="2647"/>
                  </a:cubicBezTo>
                  <a:cubicBezTo>
                    <a:pt x="2101" y="2647"/>
                    <a:pt x="2336" y="2624"/>
                    <a:pt x="2571" y="2577"/>
                  </a:cubicBezTo>
                  <a:cubicBezTo>
                    <a:pt x="1972" y="1873"/>
                    <a:pt x="1761" y="922"/>
                    <a:pt x="1937" y="7"/>
                  </a:cubicBezTo>
                  <a:cubicBezTo>
                    <a:pt x="1888" y="2"/>
                    <a:pt x="1838" y="0"/>
                    <a:pt x="1788"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553;p48">
              <a:extLst>
                <a:ext uri="{FF2B5EF4-FFF2-40B4-BE49-F238E27FC236}">
                  <a16:creationId xmlns:a16="http://schemas.microsoft.com/office/drawing/2014/main" id="{FC87CA71-4D7F-4192-81CB-272D4450480D}"/>
                </a:ext>
              </a:extLst>
            </p:cNvPr>
            <p:cNvSpPr/>
            <p:nvPr/>
          </p:nvSpPr>
          <p:spPr>
            <a:xfrm flipH="1">
              <a:off x="3660456" y="3054598"/>
              <a:ext cx="89961" cy="44982"/>
            </a:xfrm>
            <a:custGeom>
              <a:avLst/>
              <a:gdLst/>
              <a:ahLst/>
              <a:cxnLst/>
              <a:rect l="l" t="t" r="r" b="b"/>
              <a:pathLst>
                <a:path w="6268" h="3134" extrusionOk="0">
                  <a:moveTo>
                    <a:pt x="5387" y="1"/>
                  </a:moveTo>
                  <a:cubicBezTo>
                    <a:pt x="3803" y="317"/>
                    <a:pt x="2219" y="493"/>
                    <a:pt x="635" y="529"/>
                  </a:cubicBezTo>
                  <a:lnTo>
                    <a:pt x="212" y="529"/>
                  </a:lnTo>
                  <a:cubicBezTo>
                    <a:pt x="1" y="1444"/>
                    <a:pt x="247" y="2395"/>
                    <a:pt x="811" y="3134"/>
                  </a:cubicBezTo>
                  <a:cubicBezTo>
                    <a:pt x="987" y="3099"/>
                    <a:pt x="1198" y="3064"/>
                    <a:pt x="1374" y="2993"/>
                  </a:cubicBezTo>
                  <a:cubicBezTo>
                    <a:pt x="2184" y="2711"/>
                    <a:pt x="2993" y="2359"/>
                    <a:pt x="3768" y="1972"/>
                  </a:cubicBezTo>
                  <a:cubicBezTo>
                    <a:pt x="4542" y="1550"/>
                    <a:pt x="5387" y="1268"/>
                    <a:pt x="6268" y="1198"/>
                  </a:cubicBezTo>
                  <a:lnTo>
                    <a:pt x="5387"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554;p48">
              <a:extLst>
                <a:ext uri="{FF2B5EF4-FFF2-40B4-BE49-F238E27FC236}">
                  <a16:creationId xmlns:a16="http://schemas.microsoft.com/office/drawing/2014/main" id="{639D6157-5EF3-42BC-90B5-56C02B355F36}"/>
                </a:ext>
              </a:extLst>
            </p:cNvPr>
            <p:cNvSpPr/>
            <p:nvPr/>
          </p:nvSpPr>
          <p:spPr>
            <a:xfrm flipH="1">
              <a:off x="3634671" y="3051569"/>
              <a:ext cx="54597" cy="25275"/>
            </a:xfrm>
            <a:custGeom>
              <a:avLst/>
              <a:gdLst/>
              <a:ahLst/>
              <a:cxnLst/>
              <a:rect l="l" t="t" r="r" b="b"/>
              <a:pathLst>
                <a:path w="3804" h="1761" extrusionOk="0">
                  <a:moveTo>
                    <a:pt x="1761" y="0"/>
                  </a:moveTo>
                  <a:cubicBezTo>
                    <a:pt x="1233" y="36"/>
                    <a:pt x="740" y="212"/>
                    <a:pt x="282" y="528"/>
                  </a:cubicBezTo>
                  <a:lnTo>
                    <a:pt x="1" y="1338"/>
                  </a:lnTo>
                  <a:lnTo>
                    <a:pt x="3099" y="1761"/>
                  </a:lnTo>
                  <a:cubicBezTo>
                    <a:pt x="3381" y="1479"/>
                    <a:pt x="3592" y="1197"/>
                    <a:pt x="3803" y="880"/>
                  </a:cubicBezTo>
                  <a:cubicBezTo>
                    <a:pt x="3099" y="634"/>
                    <a:pt x="2536" y="36"/>
                    <a:pt x="1761"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555;p48">
              <a:extLst>
                <a:ext uri="{FF2B5EF4-FFF2-40B4-BE49-F238E27FC236}">
                  <a16:creationId xmlns:a16="http://schemas.microsoft.com/office/drawing/2014/main" id="{8DC5C0B7-9C8A-45CC-B8E9-4FD307F11247}"/>
                </a:ext>
              </a:extLst>
            </p:cNvPr>
            <p:cNvSpPr/>
            <p:nvPr/>
          </p:nvSpPr>
          <p:spPr>
            <a:xfrm flipH="1">
              <a:off x="3657427" y="3039942"/>
              <a:ext cx="89445" cy="49530"/>
            </a:xfrm>
            <a:custGeom>
              <a:avLst/>
              <a:gdLst/>
              <a:ahLst/>
              <a:cxnLst/>
              <a:rect l="l" t="t" r="r" b="b"/>
              <a:pathLst>
                <a:path w="6232" h="3451" extrusionOk="0">
                  <a:moveTo>
                    <a:pt x="1866" y="1"/>
                  </a:moveTo>
                  <a:cubicBezTo>
                    <a:pt x="669" y="71"/>
                    <a:pt x="0" y="1057"/>
                    <a:pt x="106" y="1655"/>
                  </a:cubicBezTo>
                  <a:cubicBezTo>
                    <a:pt x="318" y="1566"/>
                    <a:pt x="438" y="1530"/>
                    <a:pt x="525" y="1530"/>
                  </a:cubicBezTo>
                  <a:cubicBezTo>
                    <a:pt x="714" y="1530"/>
                    <a:pt x="751" y="1698"/>
                    <a:pt x="1232" y="1866"/>
                  </a:cubicBezTo>
                  <a:cubicBezTo>
                    <a:pt x="1250" y="1875"/>
                    <a:pt x="1285" y="1879"/>
                    <a:pt x="1332" y="1879"/>
                  </a:cubicBezTo>
                  <a:cubicBezTo>
                    <a:pt x="1606" y="1879"/>
                    <a:pt x="2306" y="1748"/>
                    <a:pt x="2600" y="1748"/>
                  </a:cubicBezTo>
                  <a:cubicBezTo>
                    <a:pt x="2650" y="1748"/>
                    <a:pt x="2689" y="1752"/>
                    <a:pt x="2711" y="1761"/>
                  </a:cubicBezTo>
                  <a:cubicBezTo>
                    <a:pt x="3310" y="2043"/>
                    <a:pt x="3943" y="2395"/>
                    <a:pt x="4507" y="2747"/>
                  </a:cubicBezTo>
                  <a:cubicBezTo>
                    <a:pt x="4824" y="2958"/>
                    <a:pt x="5105" y="3204"/>
                    <a:pt x="5387" y="3451"/>
                  </a:cubicBezTo>
                  <a:cubicBezTo>
                    <a:pt x="5633" y="2852"/>
                    <a:pt x="5915" y="2289"/>
                    <a:pt x="6232" y="1726"/>
                  </a:cubicBezTo>
                  <a:cubicBezTo>
                    <a:pt x="5563" y="1479"/>
                    <a:pt x="4929" y="1162"/>
                    <a:pt x="4295" y="775"/>
                  </a:cubicBezTo>
                  <a:cubicBezTo>
                    <a:pt x="3591" y="317"/>
                    <a:pt x="2711" y="36"/>
                    <a:pt x="1866"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 name="Google Shape;556;p48">
              <a:extLst>
                <a:ext uri="{FF2B5EF4-FFF2-40B4-BE49-F238E27FC236}">
                  <a16:creationId xmlns:a16="http://schemas.microsoft.com/office/drawing/2014/main" id="{A8A7895E-506D-46D0-813B-12013CC82C36}"/>
                </a:ext>
              </a:extLst>
            </p:cNvPr>
            <p:cNvSpPr/>
            <p:nvPr/>
          </p:nvSpPr>
          <p:spPr>
            <a:xfrm flipH="1">
              <a:off x="3599304" y="2994595"/>
              <a:ext cx="70255" cy="116629"/>
            </a:xfrm>
            <a:custGeom>
              <a:avLst/>
              <a:gdLst/>
              <a:ahLst/>
              <a:cxnLst/>
              <a:rect l="l" t="t" r="r" b="b"/>
              <a:pathLst>
                <a:path w="4895" h="8126" extrusionOk="0">
                  <a:moveTo>
                    <a:pt x="3317" y="0"/>
                  </a:moveTo>
                  <a:cubicBezTo>
                    <a:pt x="3107" y="0"/>
                    <a:pt x="2907" y="86"/>
                    <a:pt x="2747" y="273"/>
                  </a:cubicBezTo>
                  <a:cubicBezTo>
                    <a:pt x="2184" y="836"/>
                    <a:pt x="2219" y="1646"/>
                    <a:pt x="2360" y="2385"/>
                  </a:cubicBezTo>
                  <a:cubicBezTo>
                    <a:pt x="2008" y="2667"/>
                    <a:pt x="1832" y="3054"/>
                    <a:pt x="1796" y="3476"/>
                  </a:cubicBezTo>
                  <a:lnTo>
                    <a:pt x="1444" y="5131"/>
                  </a:lnTo>
                  <a:lnTo>
                    <a:pt x="846" y="4885"/>
                  </a:lnTo>
                  <a:cubicBezTo>
                    <a:pt x="529" y="5448"/>
                    <a:pt x="212" y="6011"/>
                    <a:pt x="1" y="6610"/>
                  </a:cubicBezTo>
                  <a:cubicBezTo>
                    <a:pt x="494" y="7032"/>
                    <a:pt x="881" y="7455"/>
                    <a:pt x="1339" y="7877"/>
                  </a:cubicBezTo>
                  <a:cubicBezTo>
                    <a:pt x="1536" y="8046"/>
                    <a:pt x="1767" y="8125"/>
                    <a:pt x="1991" y="8125"/>
                  </a:cubicBezTo>
                  <a:cubicBezTo>
                    <a:pt x="2327" y="8125"/>
                    <a:pt x="2648" y="7948"/>
                    <a:pt x="2817" y="7631"/>
                  </a:cubicBezTo>
                  <a:cubicBezTo>
                    <a:pt x="3134" y="6997"/>
                    <a:pt x="3522" y="6399"/>
                    <a:pt x="3874" y="5765"/>
                  </a:cubicBezTo>
                  <a:cubicBezTo>
                    <a:pt x="4472" y="4849"/>
                    <a:pt x="4824" y="3758"/>
                    <a:pt x="4895" y="2667"/>
                  </a:cubicBezTo>
                  <a:cubicBezTo>
                    <a:pt x="4895" y="2033"/>
                    <a:pt x="4719" y="1399"/>
                    <a:pt x="4366" y="871"/>
                  </a:cubicBezTo>
                  <a:cubicBezTo>
                    <a:pt x="4190" y="589"/>
                    <a:pt x="3944" y="343"/>
                    <a:pt x="3698" y="167"/>
                  </a:cubicBezTo>
                  <a:cubicBezTo>
                    <a:pt x="3662" y="97"/>
                    <a:pt x="3592" y="61"/>
                    <a:pt x="3522" y="26"/>
                  </a:cubicBezTo>
                  <a:cubicBezTo>
                    <a:pt x="3453" y="9"/>
                    <a:pt x="3385" y="0"/>
                    <a:pt x="3317"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557;p48">
              <a:extLst>
                <a:ext uri="{FF2B5EF4-FFF2-40B4-BE49-F238E27FC236}">
                  <a16:creationId xmlns:a16="http://schemas.microsoft.com/office/drawing/2014/main" id="{17F9BC50-C9EB-4422-8BBB-36FE8D419F13}"/>
                </a:ext>
              </a:extLst>
            </p:cNvPr>
            <p:cNvSpPr/>
            <p:nvPr/>
          </p:nvSpPr>
          <p:spPr>
            <a:xfrm flipH="1">
              <a:off x="3639728" y="2913849"/>
              <a:ext cx="86431" cy="116486"/>
            </a:xfrm>
            <a:custGeom>
              <a:avLst/>
              <a:gdLst/>
              <a:ahLst/>
              <a:cxnLst/>
              <a:rect l="l" t="t" r="r" b="b"/>
              <a:pathLst>
                <a:path w="6022" h="8116" extrusionOk="0">
                  <a:moveTo>
                    <a:pt x="2113" y="0"/>
                  </a:moveTo>
                  <a:cubicBezTo>
                    <a:pt x="1937" y="0"/>
                    <a:pt x="1761" y="18"/>
                    <a:pt x="1585" y="53"/>
                  </a:cubicBezTo>
                  <a:cubicBezTo>
                    <a:pt x="1163" y="265"/>
                    <a:pt x="881" y="617"/>
                    <a:pt x="775" y="1074"/>
                  </a:cubicBezTo>
                  <a:cubicBezTo>
                    <a:pt x="705" y="1497"/>
                    <a:pt x="670" y="1954"/>
                    <a:pt x="740" y="2377"/>
                  </a:cubicBezTo>
                  <a:cubicBezTo>
                    <a:pt x="775" y="3468"/>
                    <a:pt x="670" y="4630"/>
                    <a:pt x="1" y="5475"/>
                  </a:cubicBezTo>
                  <a:cubicBezTo>
                    <a:pt x="916" y="6074"/>
                    <a:pt x="1198" y="7271"/>
                    <a:pt x="1937" y="8116"/>
                  </a:cubicBezTo>
                  <a:cubicBezTo>
                    <a:pt x="3064" y="6848"/>
                    <a:pt x="4437" y="5862"/>
                    <a:pt x="6021" y="5264"/>
                  </a:cubicBezTo>
                  <a:cubicBezTo>
                    <a:pt x="5458" y="4841"/>
                    <a:pt x="5070" y="4243"/>
                    <a:pt x="4894" y="3574"/>
                  </a:cubicBezTo>
                  <a:cubicBezTo>
                    <a:pt x="4683" y="2940"/>
                    <a:pt x="4578" y="2271"/>
                    <a:pt x="4402" y="1602"/>
                  </a:cubicBezTo>
                  <a:cubicBezTo>
                    <a:pt x="4296" y="1180"/>
                    <a:pt x="4049" y="793"/>
                    <a:pt x="3733" y="476"/>
                  </a:cubicBezTo>
                  <a:cubicBezTo>
                    <a:pt x="3416" y="265"/>
                    <a:pt x="3028" y="124"/>
                    <a:pt x="2641" y="53"/>
                  </a:cubicBezTo>
                  <a:cubicBezTo>
                    <a:pt x="2465" y="18"/>
                    <a:pt x="2289" y="0"/>
                    <a:pt x="2113"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 name="Google Shape;558;p48">
              <a:extLst>
                <a:ext uri="{FF2B5EF4-FFF2-40B4-BE49-F238E27FC236}">
                  <a16:creationId xmlns:a16="http://schemas.microsoft.com/office/drawing/2014/main" id="{5B187522-A602-43D6-AA3B-F8EA0F4F79A3}"/>
                </a:ext>
              </a:extLst>
            </p:cNvPr>
            <p:cNvSpPr/>
            <p:nvPr/>
          </p:nvSpPr>
          <p:spPr>
            <a:xfrm flipH="1">
              <a:off x="3673082" y="2957057"/>
              <a:ext cx="37403" cy="25978"/>
            </a:xfrm>
            <a:custGeom>
              <a:avLst/>
              <a:gdLst/>
              <a:ahLst/>
              <a:cxnLst/>
              <a:rect l="l" t="t" r="r" b="b"/>
              <a:pathLst>
                <a:path w="2606" h="1810" extrusionOk="0">
                  <a:moveTo>
                    <a:pt x="2605" y="1"/>
                  </a:moveTo>
                  <a:cubicBezTo>
                    <a:pt x="2140" y="223"/>
                    <a:pt x="1629" y="341"/>
                    <a:pt x="1117" y="341"/>
                  </a:cubicBezTo>
                  <a:cubicBezTo>
                    <a:pt x="738" y="341"/>
                    <a:pt x="360" y="276"/>
                    <a:pt x="0" y="141"/>
                  </a:cubicBezTo>
                  <a:lnTo>
                    <a:pt x="0" y="141"/>
                  </a:lnTo>
                  <a:cubicBezTo>
                    <a:pt x="0" y="388"/>
                    <a:pt x="0" y="670"/>
                    <a:pt x="71" y="916"/>
                  </a:cubicBezTo>
                  <a:cubicBezTo>
                    <a:pt x="106" y="1162"/>
                    <a:pt x="247" y="1409"/>
                    <a:pt x="458" y="1550"/>
                  </a:cubicBezTo>
                  <a:cubicBezTo>
                    <a:pt x="764" y="1703"/>
                    <a:pt x="1124" y="1803"/>
                    <a:pt x="1491" y="1803"/>
                  </a:cubicBezTo>
                  <a:cubicBezTo>
                    <a:pt x="1546" y="1803"/>
                    <a:pt x="1600" y="1801"/>
                    <a:pt x="1655" y="1796"/>
                  </a:cubicBezTo>
                  <a:cubicBezTo>
                    <a:pt x="1699" y="1805"/>
                    <a:pt x="1745" y="1809"/>
                    <a:pt x="1792" y="1809"/>
                  </a:cubicBezTo>
                  <a:cubicBezTo>
                    <a:pt x="1934" y="1809"/>
                    <a:pt x="2086" y="1770"/>
                    <a:pt x="2218" y="1691"/>
                  </a:cubicBezTo>
                  <a:cubicBezTo>
                    <a:pt x="2324" y="1585"/>
                    <a:pt x="2359" y="1479"/>
                    <a:pt x="2394" y="1339"/>
                  </a:cubicBezTo>
                  <a:cubicBezTo>
                    <a:pt x="2535" y="881"/>
                    <a:pt x="2605" y="423"/>
                    <a:pt x="260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 name="Google Shape;559;p48">
              <a:extLst>
                <a:ext uri="{FF2B5EF4-FFF2-40B4-BE49-F238E27FC236}">
                  <a16:creationId xmlns:a16="http://schemas.microsoft.com/office/drawing/2014/main" id="{EA9905C5-5AC3-4737-84BE-2910BF492F35}"/>
                </a:ext>
              </a:extLst>
            </p:cNvPr>
            <p:cNvSpPr/>
            <p:nvPr/>
          </p:nvSpPr>
          <p:spPr>
            <a:xfrm flipH="1">
              <a:off x="3670557" y="2936113"/>
              <a:ext cx="46502" cy="17266"/>
            </a:xfrm>
            <a:custGeom>
              <a:avLst/>
              <a:gdLst/>
              <a:ahLst/>
              <a:cxnLst/>
              <a:rect l="l" t="t" r="r" b="b"/>
              <a:pathLst>
                <a:path w="3240" h="1203" extrusionOk="0">
                  <a:moveTo>
                    <a:pt x="2571" y="1"/>
                  </a:moveTo>
                  <a:cubicBezTo>
                    <a:pt x="2524" y="1"/>
                    <a:pt x="2477" y="4"/>
                    <a:pt x="2430" y="16"/>
                  </a:cubicBezTo>
                  <a:lnTo>
                    <a:pt x="916" y="51"/>
                  </a:lnTo>
                  <a:cubicBezTo>
                    <a:pt x="740" y="51"/>
                    <a:pt x="529" y="87"/>
                    <a:pt x="353" y="192"/>
                  </a:cubicBezTo>
                  <a:cubicBezTo>
                    <a:pt x="106" y="298"/>
                    <a:pt x="0" y="615"/>
                    <a:pt x="141" y="861"/>
                  </a:cubicBezTo>
                  <a:cubicBezTo>
                    <a:pt x="282" y="1037"/>
                    <a:pt x="493" y="1143"/>
                    <a:pt x="705" y="1143"/>
                  </a:cubicBezTo>
                  <a:cubicBezTo>
                    <a:pt x="929" y="1182"/>
                    <a:pt x="1158" y="1202"/>
                    <a:pt x="1391" y="1202"/>
                  </a:cubicBezTo>
                  <a:cubicBezTo>
                    <a:pt x="1778" y="1202"/>
                    <a:pt x="2174" y="1147"/>
                    <a:pt x="2571" y="1037"/>
                  </a:cubicBezTo>
                  <a:cubicBezTo>
                    <a:pt x="2747" y="1002"/>
                    <a:pt x="2923" y="896"/>
                    <a:pt x="3063" y="791"/>
                  </a:cubicBezTo>
                  <a:cubicBezTo>
                    <a:pt x="3169" y="650"/>
                    <a:pt x="3239" y="439"/>
                    <a:pt x="3169" y="263"/>
                  </a:cubicBezTo>
                  <a:cubicBezTo>
                    <a:pt x="3099" y="157"/>
                    <a:pt x="2958" y="51"/>
                    <a:pt x="2852" y="16"/>
                  </a:cubicBezTo>
                  <a:cubicBezTo>
                    <a:pt x="2758" y="16"/>
                    <a:pt x="2664" y="1"/>
                    <a:pt x="2571"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 name="Google Shape;560;p48">
              <a:extLst>
                <a:ext uri="{FF2B5EF4-FFF2-40B4-BE49-F238E27FC236}">
                  <a16:creationId xmlns:a16="http://schemas.microsoft.com/office/drawing/2014/main" id="{850FE867-139A-4A94-A38F-3D9FFBA48FFF}"/>
                </a:ext>
              </a:extLst>
            </p:cNvPr>
            <p:cNvSpPr/>
            <p:nvPr/>
          </p:nvSpPr>
          <p:spPr>
            <a:xfrm flipH="1">
              <a:off x="3640747" y="3114744"/>
              <a:ext cx="81867" cy="7090"/>
            </a:xfrm>
            <a:custGeom>
              <a:avLst/>
              <a:gdLst/>
              <a:ahLst/>
              <a:cxnLst/>
              <a:rect l="l" t="t" r="r" b="b"/>
              <a:pathLst>
                <a:path w="5704" h="494" extrusionOk="0">
                  <a:moveTo>
                    <a:pt x="0" y="0"/>
                  </a:moveTo>
                  <a:lnTo>
                    <a:pt x="0" y="493"/>
                  </a:lnTo>
                  <a:lnTo>
                    <a:pt x="5704" y="493"/>
                  </a:lnTo>
                  <a:lnTo>
                    <a:pt x="5704"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 name="Google Shape;561;p48">
              <a:extLst>
                <a:ext uri="{FF2B5EF4-FFF2-40B4-BE49-F238E27FC236}">
                  <a16:creationId xmlns:a16="http://schemas.microsoft.com/office/drawing/2014/main" id="{1ED964E5-60BD-464A-B628-17DA3A007A33}"/>
                </a:ext>
              </a:extLst>
            </p:cNvPr>
            <p:cNvSpPr/>
            <p:nvPr/>
          </p:nvSpPr>
          <p:spPr>
            <a:xfrm flipH="1">
              <a:off x="3720592" y="2982321"/>
              <a:ext cx="20223" cy="23768"/>
            </a:xfrm>
            <a:custGeom>
              <a:avLst/>
              <a:gdLst/>
              <a:ahLst/>
              <a:cxnLst/>
              <a:rect l="l" t="t" r="r" b="b"/>
              <a:pathLst>
                <a:path w="1409" h="1656" extrusionOk="0">
                  <a:moveTo>
                    <a:pt x="1409" y="1"/>
                  </a:moveTo>
                  <a:lnTo>
                    <a:pt x="36" y="423"/>
                  </a:lnTo>
                  <a:cubicBezTo>
                    <a:pt x="1" y="881"/>
                    <a:pt x="212" y="1339"/>
                    <a:pt x="529" y="1656"/>
                  </a:cubicBezTo>
                  <a:lnTo>
                    <a:pt x="140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562;p48">
              <a:extLst>
                <a:ext uri="{FF2B5EF4-FFF2-40B4-BE49-F238E27FC236}">
                  <a16:creationId xmlns:a16="http://schemas.microsoft.com/office/drawing/2014/main" id="{5A04DC90-D9A2-4CDE-A8D6-35AE0A9C67D2}"/>
                </a:ext>
              </a:extLst>
            </p:cNvPr>
            <p:cNvSpPr/>
            <p:nvPr/>
          </p:nvSpPr>
          <p:spPr>
            <a:xfrm flipH="1">
              <a:off x="3627089" y="2982838"/>
              <a:ext cx="31346" cy="26796"/>
            </a:xfrm>
            <a:custGeom>
              <a:avLst/>
              <a:gdLst/>
              <a:ahLst/>
              <a:cxnLst/>
              <a:rect l="l" t="t" r="r" b="b"/>
              <a:pathLst>
                <a:path w="2184" h="1867" extrusionOk="0">
                  <a:moveTo>
                    <a:pt x="705" y="0"/>
                  </a:moveTo>
                  <a:cubicBezTo>
                    <a:pt x="352" y="599"/>
                    <a:pt x="141" y="1197"/>
                    <a:pt x="0" y="1866"/>
                  </a:cubicBezTo>
                  <a:cubicBezTo>
                    <a:pt x="669" y="1338"/>
                    <a:pt x="1409" y="916"/>
                    <a:pt x="2183" y="599"/>
                  </a:cubicBezTo>
                  <a:cubicBezTo>
                    <a:pt x="1690" y="387"/>
                    <a:pt x="1197" y="176"/>
                    <a:pt x="705"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 name="Google Shape;563;p48">
              <a:extLst>
                <a:ext uri="{FF2B5EF4-FFF2-40B4-BE49-F238E27FC236}">
                  <a16:creationId xmlns:a16="http://schemas.microsoft.com/office/drawing/2014/main" id="{7287402D-63D4-4831-BF23-30E564A780EA}"/>
                </a:ext>
              </a:extLst>
            </p:cNvPr>
            <p:cNvSpPr/>
            <p:nvPr/>
          </p:nvSpPr>
          <p:spPr>
            <a:xfrm flipH="1">
              <a:off x="3557896" y="4147744"/>
              <a:ext cx="310272" cy="152611"/>
            </a:xfrm>
            <a:custGeom>
              <a:avLst/>
              <a:gdLst/>
              <a:ahLst/>
              <a:cxnLst/>
              <a:rect l="l" t="t" r="r" b="b"/>
              <a:pathLst>
                <a:path w="21618" h="10633" extrusionOk="0">
                  <a:moveTo>
                    <a:pt x="1" y="1"/>
                  </a:moveTo>
                  <a:lnTo>
                    <a:pt x="1" y="10633"/>
                  </a:lnTo>
                  <a:lnTo>
                    <a:pt x="21617" y="10633"/>
                  </a:lnTo>
                  <a:lnTo>
                    <a:pt x="21617"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564;p48">
              <a:extLst>
                <a:ext uri="{FF2B5EF4-FFF2-40B4-BE49-F238E27FC236}">
                  <a16:creationId xmlns:a16="http://schemas.microsoft.com/office/drawing/2014/main" id="{28A81409-EAFD-4B61-B1E2-56B8AFBC7662}"/>
                </a:ext>
              </a:extLst>
            </p:cNvPr>
            <p:cNvSpPr/>
            <p:nvPr/>
          </p:nvSpPr>
          <p:spPr>
            <a:xfrm flipH="1">
              <a:off x="3557896" y="4147744"/>
              <a:ext cx="310272" cy="132403"/>
            </a:xfrm>
            <a:custGeom>
              <a:avLst/>
              <a:gdLst/>
              <a:ahLst/>
              <a:cxnLst/>
              <a:rect l="l" t="t" r="r" b="b"/>
              <a:pathLst>
                <a:path w="21618" h="9225" extrusionOk="0">
                  <a:moveTo>
                    <a:pt x="1" y="1"/>
                  </a:moveTo>
                  <a:lnTo>
                    <a:pt x="1" y="9225"/>
                  </a:lnTo>
                  <a:lnTo>
                    <a:pt x="21617" y="9225"/>
                  </a:lnTo>
                  <a:lnTo>
                    <a:pt x="21617"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565;p48">
              <a:extLst>
                <a:ext uri="{FF2B5EF4-FFF2-40B4-BE49-F238E27FC236}">
                  <a16:creationId xmlns:a16="http://schemas.microsoft.com/office/drawing/2014/main" id="{1FA43CC3-F7DB-4294-BBDF-857A9024907C}"/>
                </a:ext>
              </a:extLst>
            </p:cNvPr>
            <p:cNvSpPr/>
            <p:nvPr/>
          </p:nvSpPr>
          <p:spPr>
            <a:xfrm flipH="1">
              <a:off x="3826719" y="4147744"/>
              <a:ext cx="41450" cy="132403"/>
            </a:xfrm>
            <a:custGeom>
              <a:avLst/>
              <a:gdLst/>
              <a:ahLst/>
              <a:cxnLst/>
              <a:rect l="l" t="t" r="r" b="b"/>
              <a:pathLst>
                <a:path w="2888" h="9225" extrusionOk="0">
                  <a:moveTo>
                    <a:pt x="1" y="1"/>
                  </a:moveTo>
                  <a:lnTo>
                    <a:pt x="1" y="9225"/>
                  </a:lnTo>
                  <a:lnTo>
                    <a:pt x="2888" y="9225"/>
                  </a:lnTo>
                  <a:lnTo>
                    <a:pt x="288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 name="Google Shape;566;p48">
              <a:extLst>
                <a:ext uri="{FF2B5EF4-FFF2-40B4-BE49-F238E27FC236}">
                  <a16:creationId xmlns:a16="http://schemas.microsoft.com/office/drawing/2014/main" id="{651850AE-EA4D-4D8D-921E-C64A5829D65C}"/>
                </a:ext>
              </a:extLst>
            </p:cNvPr>
            <p:cNvSpPr/>
            <p:nvPr/>
          </p:nvSpPr>
          <p:spPr>
            <a:xfrm flipH="1">
              <a:off x="3743839" y="4166952"/>
              <a:ext cx="69236" cy="68734"/>
            </a:xfrm>
            <a:custGeom>
              <a:avLst/>
              <a:gdLst/>
              <a:ahLst/>
              <a:cxnLst/>
              <a:rect l="l" t="t" r="r" b="b"/>
              <a:pathLst>
                <a:path w="4824" h="4789" extrusionOk="0">
                  <a:moveTo>
                    <a:pt x="2429" y="0"/>
                  </a:moveTo>
                  <a:cubicBezTo>
                    <a:pt x="1092" y="0"/>
                    <a:pt x="0" y="1092"/>
                    <a:pt x="0" y="2394"/>
                  </a:cubicBezTo>
                  <a:cubicBezTo>
                    <a:pt x="0" y="3732"/>
                    <a:pt x="1092" y="4788"/>
                    <a:pt x="2429" y="4788"/>
                  </a:cubicBezTo>
                  <a:cubicBezTo>
                    <a:pt x="3767" y="4788"/>
                    <a:pt x="4823" y="3732"/>
                    <a:pt x="4823" y="2394"/>
                  </a:cubicBezTo>
                  <a:cubicBezTo>
                    <a:pt x="4823" y="1092"/>
                    <a:pt x="3767" y="0"/>
                    <a:pt x="2429"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 name="Google Shape;567;p48">
              <a:extLst>
                <a:ext uri="{FF2B5EF4-FFF2-40B4-BE49-F238E27FC236}">
                  <a16:creationId xmlns:a16="http://schemas.microsoft.com/office/drawing/2014/main" id="{95F7730B-6156-4F45-9124-8733E3521D7E}"/>
                </a:ext>
              </a:extLst>
            </p:cNvPr>
            <p:cNvSpPr/>
            <p:nvPr/>
          </p:nvSpPr>
          <p:spPr>
            <a:xfrm flipH="1">
              <a:off x="3733735" y="4167440"/>
              <a:ext cx="80718" cy="68864"/>
            </a:xfrm>
            <a:custGeom>
              <a:avLst/>
              <a:gdLst/>
              <a:ahLst/>
              <a:cxnLst/>
              <a:rect l="l" t="t" r="r" b="b"/>
              <a:pathLst>
                <a:path w="5624" h="4798" extrusionOk="0">
                  <a:moveTo>
                    <a:pt x="3291" y="1"/>
                  </a:moveTo>
                  <a:cubicBezTo>
                    <a:pt x="3270" y="1"/>
                    <a:pt x="3250" y="1"/>
                    <a:pt x="3230" y="2"/>
                  </a:cubicBezTo>
                  <a:cubicBezTo>
                    <a:pt x="3215" y="1"/>
                    <a:pt x="3201" y="1"/>
                    <a:pt x="3187" y="1"/>
                  </a:cubicBezTo>
                  <a:cubicBezTo>
                    <a:pt x="1067" y="1"/>
                    <a:pt x="1" y="2582"/>
                    <a:pt x="1504" y="4086"/>
                  </a:cubicBezTo>
                  <a:cubicBezTo>
                    <a:pt x="1996" y="4577"/>
                    <a:pt x="2603" y="4798"/>
                    <a:pt x="3199" y="4798"/>
                  </a:cubicBezTo>
                  <a:cubicBezTo>
                    <a:pt x="4436" y="4798"/>
                    <a:pt x="5624" y="3846"/>
                    <a:pt x="5624" y="2396"/>
                  </a:cubicBezTo>
                  <a:cubicBezTo>
                    <a:pt x="5624" y="1079"/>
                    <a:pt x="4566" y="1"/>
                    <a:pt x="329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 name="Google Shape;568;p48">
              <a:extLst>
                <a:ext uri="{FF2B5EF4-FFF2-40B4-BE49-F238E27FC236}">
                  <a16:creationId xmlns:a16="http://schemas.microsoft.com/office/drawing/2014/main" id="{06839B7F-0430-42ED-9FA1-CAC5917FE33F}"/>
                </a:ext>
              </a:extLst>
            </p:cNvPr>
            <p:cNvSpPr/>
            <p:nvPr/>
          </p:nvSpPr>
          <p:spPr>
            <a:xfrm flipH="1">
              <a:off x="3504333" y="4294307"/>
              <a:ext cx="363835" cy="155654"/>
            </a:xfrm>
            <a:custGeom>
              <a:avLst/>
              <a:gdLst/>
              <a:ahLst/>
              <a:cxnLst/>
              <a:rect l="l" t="t" r="r" b="b"/>
              <a:pathLst>
                <a:path w="25350" h="10845" extrusionOk="0">
                  <a:moveTo>
                    <a:pt x="1" y="0"/>
                  </a:moveTo>
                  <a:lnTo>
                    <a:pt x="1" y="10844"/>
                  </a:lnTo>
                  <a:lnTo>
                    <a:pt x="25349" y="10844"/>
                  </a:lnTo>
                  <a:lnTo>
                    <a:pt x="25349"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 name="Google Shape;569;p48">
              <a:extLst>
                <a:ext uri="{FF2B5EF4-FFF2-40B4-BE49-F238E27FC236}">
                  <a16:creationId xmlns:a16="http://schemas.microsoft.com/office/drawing/2014/main" id="{1681394F-36D3-425A-A0C6-19A20EE3FE5A}"/>
                </a:ext>
              </a:extLst>
            </p:cNvPr>
            <p:cNvSpPr/>
            <p:nvPr/>
          </p:nvSpPr>
          <p:spPr>
            <a:xfrm flipH="1">
              <a:off x="3819642" y="4294307"/>
              <a:ext cx="48526" cy="155654"/>
            </a:xfrm>
            <a:custGeom>
              <a:avLst/>
              <a:gdLst/>
              <a:ahLst/>
              <a:cxnLst/>
              <a:rect l="l" t="t" r="r" b="b"/>
              <a:pathLst>
                <a:path w="3381" h="10845" extrusionOk="0">
                  <a:moveTo>
                    <a:pt x="1" y="0"/>
                  </a:moveTo>
                  <a:lnTo>
                    <a:pt x="1" y="10844"/>
                  </a:lnTo>
                  <a:lnTo>
                    <a:pt x="3381" y="10844"/>
                  </a:lnTo>
                  <a:lnTo>
                    <a:pt x="338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 name="Google Shape;570;p48">
              <a:extLst>
                <a:ext uri="{FF2B5EF4-FFF2-40B4-BE49-F238E27FC236}">
                  <a16:creationId xmlns:a16="http://schemas.microsoft.com/office/drawing/2014/main" id="{C2CED2EA-2A36-411D-A339-B61CF055F163}"/>
                </a:ext>
              </a:extLst>
            </p:cNvPr>
            <p:cNvSpPr/>
            <p:nvPr/>
          </p:nvSpPr>
          <p:spPr>
            <a:xfrm flipH="1">
              <a:off x="3759494" y="4319070"/>
              <a:ext cx="32365" cy="32352"/>
            </a:xfrm>
            <a:custGeom>
              <a:avLst/>
              <a:gdLst/>
              <a:ahLst/>
              <a:cxnLst/>
              <a:rect l="l" t="t" r="r" b="b"/>
              <a:pathLst>
                <a:path w="2255" h="2254" extrusionOk="0">
                  <a:moveTo>
                    <a:pt x="1127" y="1"/>
                  </a:moveTo>
                  <a:cubicBezTo>
                    <a:pt x="494" y="1"/>
                    <a:pt x="1" y="493"/>
                    <a:pt x="1" y="1127"/>
                  </a:cubicBezTo>
                  <a:cubicBezTo>
                    <a:pt x="1" y="1761"/>
                    <a:pt x="494" y="2254"/>
                    <a:pt x="1127" y="2254"/>
                  </a:cubicBezTo>
                  <a:cubicBezTo>
                    <a:pt x="1761" y="2254"/>
                    <a:pt x="2254" y="1761"/>
                    <a:pt x="2254" y="1127"/>
                  </a:cubicBezTo>
                  <a:cubicBezTo>
                    <a:pt x="2254" y="493"/>
                    <a:pt x="1761" y="1"/>
                    <a:pt x="1127"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 name="Google Shape;571;p48">
              <a:extLst>
                <a:ext uri="{FF2B5EF4-FFF2-40B4-BE49-F238E27FC236}">
                  <a16:creationId xmlns:a16="http://schemas.microsoft.com/office/drawing/2014/main" id="{C10E3233-4180-4AC0-B4C9-C5E28FD03C85}"/>
                </a:ext>
              </a:extLst>
            </p:cNvPr>
            <p:cNvSpPr/>
            <p:nvPr/>
          </p:nvSpPr>
          <p:spPr>
            <a:xfrm flipH="1">
              <a:off x="3751915" y="4319070"/>
              <a:ext cx="32867" cy="32352"/>
            </a:xfrm>
            <a:custGeom>
              <a:avLst/>
              <a:gdLst/>
              <a:ahLst/>
              <a:cxnLst/>
              <a:rect l="l" t="t" r="r" b="b"/>
              <a:pathLst>
                <a:path w="2290" h="2254" extrusionOk="0">
                  <a:moveTo>
                    <a:pt x="1163" y="1"/>
                  </a:moveTo>
                  <a:cubicBezTo>
                    <a:pt x="529" y="1"/>
                    <a:pt x="1" y="493"/>
                    <a:pt x="1" y="1127"/>
                  </a:cubicBezTo>
                  <a:cubicBezTo>
                    <a:pt x="1" y="1761"/>
                    <a:pt x="529" y="2254"/>
                    <a:pt x="1163" y="2254"/>
                  </a:cubicBezTo>
                  <a:cubicBezTo>
                    <a:pt x="1761" y="2254"/>
                    <a:pt x="2289" y="1761"/>
                    <a:pt x="2289" y="1127"/>
                  </a:cubicBezTo>
                  <a:cubicBezTo>
                    <a:pt x="2289" y="493"/>
                    <a:pt x="1761" y="1"/>
                    <a:pt x="116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 name="Google Shape;572;p48">
              <a:extLst>
                <a:ext uri="{FF2B5EF4-FFF2-40B4-BE49-F238E27FC236}">
                  <a16:creationId xmlns:a16="http://schemas.microsoft.com/office/drawing/2014/main" id="{17321DA0-8D72-42DB-B1CB-C1166181A3D2}"/>
                </a:ext>
              </a:extLst>
            </p:cNvPr>
            <p:cNvSpPr/>
            <p:nvPr/>
          </p:nvSpPr>
          <p:spPr>
            <a:xfrm flipH="1">
              <a:off x="3717550" y="4319070"/>
              <a:ext cx="32351" cy="32352"/>
            </a:xfrm>
            <a:custGeom>
              <a:avLst/>
              <a:gdLst/>
              <a:ahLst/>
              <a:cxnLst/>
              <a:rect l="l" t="t" r="r" b="b"/>
              <a:pathLst>
                <a:path w="2254" h="2254" extrusionOk="0">
                  <a:moveTo>
                    <a:pt x="1127" y="1"/>
                  </a:moveTo>
                  <a:cubicBezTo>
                    <a:pt x="493" y="1"/>
                    <a:pt x="0" y="493"/>
                    <a:pt x="0" y="1127"/>
                  </a:cubicBezTo>
                  <a:cubicBezTo>
                    <a:pt x="0" y="1761"/>
                    <a:pt x="493" y="2254"/>
                    <a:pt x="1127" y="2254"/>
                  </a:cubicBezTo>
                  <a:cubicBezTo>
                    <a:pt x="1760" y="2254"/>
                    <a:pt x="2253" y="1761"/>
                    <a:pt x="2253" y="1127"/>
                  </a:cubicBezTo>
                  <a:cubicBezTo>
                    <a:pt x="2253" y="493"/>
                    <a:pt x="1760" y="1"/>
                    <a:pt x="1127"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 name="Google Shape;573;p48">
              <a:extLst>
                <a:ext uri="{FF2B5EF4-FFF2-40B4-BE49-F238E27FC236}">
                  <a16:creationId xmlns:a16="http://schemas.microsoft.com/office/drawing/2014/main" id="{81060EC7-FBFF-4D8E-8984-479F25A2F83A}"/>
                </a:ext>
              </a:extLst>
            </p:cNvPr>
            <p:cNvSpPr/>
            <p:nvPr/>
          </p:nvSpPr>
          <p:spPr>
            <a:xfrm flipH="1">
              <a:off x="3710473" y="4319070"/>
              <a:ext cx="32365" cy="32352"/>
            </a:xfrm>
            <a:custGeom>
              <a:avLst/>
              <a:gdLst/>
              <a:ahLst/>
              <a:cxnLst/>
              <a:rect l="l" t="t" r="r" b="b"/>
              <a:pathLst>
                <a:path w="2255" h="2254" extrusionOk="0">
                  <a:moveTo>
                    <a:pt x="1128" y="1"/>
                  </a:moveTo>
                  <a:cubicBezTo>
                    <a:pt x="494" y="1"/>
                    <a:pt x="1" y="493"/>
                    <a:pt x="1" y="1127"/>
                  </a:cubicBezTo>
                  <a:cubicBezTo>
                    <a:pt x="1" y="1761"/>
                    <a:pt x="494" y="2254"/>
                    <a:pt x="1128" y="2254"/>
                  </a:cubicBezTo>
                  <a:cubicBezTo>
                    <a:pt x="1761" y="2254"/>
                    <a:pt x="2254" y="1761"/>
                    <a:pt x="2254" y="1127"/>
                  </a:cubicBezTo>
                  <a:cubicBezTo>
                    <a:pt x="2254" y="493"/>
                    <a:pt x="1761" y="1"/>
                    <a:pt x="112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 name="Google Shape;574;p48">
              <a:extLst>
                <a:ext uri="{FF2B5EF4-FFF2-40B4-BE49-F238E27FC236}">
                  <a16:creationId xmlns:a16="http://schemas.microsoft.com/office/drawing/2014/main" id="{EC71300D-ECC2-4353-AA42-61BD52182B01}"/>
                </a:ext>
              </a:extLst>
            </p:cNvPr>
            <p:cNvSpPr/>
            <p:nvPr/>
          </p:nvSpPr>
          <p:spPr>
            <a:xfrm flipH="1">
              <a:off x="3652865" y="4326649"/>
              <a:ext cx="7090" cy="106138"/>
            </a:xfrm>
            <a:custGeom>
              <a:avLst/>
              <a:gdLst/>
              <a:ahLst/>
              <a:cxnLst/>
              <a:rect l="l" t="t" r="r" b="b"/>
              <a:pathLst>
                <a:path w="494" h="7395" extrusionOk="0">
                  <a:moveTo>
                    <a:pt x="247" y="1"/>
                  </a:moveTo>
                  <a:cubicBezTo>
                    <a:pt x="106" y="1"/>
                    <a:pt x="1" y="106"/>
                    <a:pt x="1" y="247"/>
                  </a:cubicBezTo>
                  <a:lnTo>
                    <a:pt x="1" y="7148"/>
                  </a:lnTo>
                  <a:cubicBezTo>
                    <a:pt x="1" y="7253"/>
                    <a:pt x="106" y="7394"/>
                    <a:pt x="247" y="7394"/>
                  </a:cubicBezTo>
                  <a:cubicBezTo>
                    <a:pt x="388" y="7394"/>
                    <a:pt x="494" y="7253"/>
                    <a:pt x="494" y="7148"/>
                  </a:cubicBezTo>
                  <a:lnTo>
                    <a:pt x="494" y="247"/>
                  </a:lnTo>
                  <a:cubicBezTo>
                    <a:pt x="494" y="106"/>
                    <a:pt x="388"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 name="Google Shape;575;p48">
              <a:extLst>
                <a:ext uri="{FF2B5EF4-FFF2-40B4-BE49-F238E27FC236}">
                  <a16:creationId xmlns:a16="http://schemas.microsoft.com/office/drawing/2014/main" id="{E8E47F20-B6A3-493C-AC7E-ACCAD92ED793}"/>
                </a:ext>
              </a:extLst>
            </p:cNvPr>
            <p:cNvSpPr/>
            <p:nvPr/>
          </p:nvSpPr>
          <p:spPr>
            <a:xfrm flipH="1">
              <a:off x="3624056" y="4326649"/>
              <a:ext cx="7592" cy="106138"/>
            </a:xfrm>
            <a:custGeom>
              <a:avLst/>
              <a:gdLst/>
              <a:ahLst/>
              <a:cxnLst/>
              <a:rect l="l" t="t" r="r" b="b"/>
              <a:pathLst>
                <a:path w="529" h="7395" extrusionOk="0">
                  <a:moveTo>
                    <a:pt x="282" y="1"/>
                  </a:moveTo>
                  <a:cubicBezTo>
                    <a:pt x="141" y="1"/>
                    <a:pt x="0" y="106"/>
                    <a:pt x="36" y="247"/>
                  </a:cubicBezTo>
                  <a:lnTo>
                    <a:pt x="36" y="7148"/>
                  </a:lnTo>
                  <a:cubicBezTo>
                    <a:pt x="0" y="7253"/>
                    <a:pt x="141" y="7394"/>
                    <a:pt x="282" y="7394"/>
                  </a:cubicBezTo>
                  <a:cubicBezTo>
                    <a:pt x="388" y="7394"/>
                    <a:pt x="528" y="7253"/>
                    <a:pt x="528" y="7148"/>
                  </a:cubicBezTo>
                  <a:lnTo>
                    <a:pt x="528" y="247"/>
                  </a:lnTo>
                  <a:cubicBezTo>
                    <a:pt x="528" y="106"/>
                    <a:pt x="388" y="1"/>
                    <a:pt x="282"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 name="Google Shape;576;p48">
              <a:extLst>
                <a:ext uri="{FF2B5EF4-FFF2-40B4-BE49-F238E27FC236}">
                  <a16:creationId xmlns:a16="http://schemas.microsoft.com/office/drawing/2014/main" id="{0CFD9506-C528-408C-BE70-5D693B370503}"/>
                </a:ext>
              </a:extLst>
            </p:cNvPr>
            <p:cNvSpPr/>
            <p:nvPr/>
          </p:nvSpPr>
          <p:spPr>
            <a:xfrm flipH="1">
              <a:off x="3595748" y="4326649"/>
              <a:ext cx="7090" cy="106138"/>
            </a:xfrm>
            <a:custGeom>
              <a:avLst/>
              <a:gdLst/>
              <a:ahLst/>
              <a:cxnLst/>
              <a:rect l="l" t="t" r="r" b="b"/>
              <a:pathLst>
                <a:path w="494" h="7395" extrusionOk="0">
                  <a:moveTo>
                    <a:pt x="247" y="1"/>
                  </a:moveTo>
                  <a:cubicBezTo>
                    <a:pt x="106" y="1"/>
                    <a:pt x="0" y="106"/>
                    <a:pt x="0" y="247"/>
                  </a:cubicBezTo>
                  <a:lnTo>
                    <a:pt x="0" y="7148"/>
                  </a:lnTo>
                  <a:cubicBezTo>
                    <a:pt x="0" y="7253"/>
                    <a:pt x="106" y="7394"/>
                    <a:pt x="247" y="7394"/>
                  </a:cubicBezTo>
                  <a:cubicBezTo>
                    <a:pt x="387" y="7394"/>
                    <a:pt x="493" y="7253"/>
                    <a:pt x="493" y="7148"/>
                  </a:cubicBezTo>
                  <a:lnTo>
                    <a:pt x="493" y="247"/>
                  </a:lnTo>
                  <a:cubicBezTo>
                    <a:pt x="493" y="106"/>
                    <a:pt x="387"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 name="Google Shape;577;p48">
              <a:extLst>
                <a:ext uri="{FF2B5EF4-FFF2-40B4-BE49-F238E27FC236}">
                  <a16:creationId xmlns:a16="http://schemas.microsoft.com/office/drawing/2014/main" id="{18532A95-EF86-49C9-9759-56D7372F3B7A}"/>
                </a:ext>
              </a:extLst>
            </p:cNvPr>
            <p:cNvSpPr/>
            <p:nvPr/>
          </p:nvSpPr>
          <p:spPr>
            <a:xfrm flipH="1">
              <a:off x="3566953" y="4326649"/>
              <a:ext cx="7090" cy="106138"/>
            </a:xfrm>
            <a:custGeom>
              <a:avLst/>
              <a:gdLst/>
              <a:ahLst/>
              <a:cxnLst/>
              <a:rect l="l" t="t" r="r" b="b"/>
              <a:pathLst>
                <a:path w="494" h="7395" extrusionOk="0">
                  <a:moveTo>
                    <a:pt x="247" y="1"/>
                  </a:moveTo>
                  <a:cubicBezTo>
                    <a:pt x="107" y="1"/>
                    <a:pt x="1" y="106"/>
                    <a:pt x="1" y="247"/>
                  </a:cubicBezTo>
                  <a:lnTo>
                    <a:pt x="1" y="7148"/>
                  </a:lnTo>
                  <a:cubicBezTo>
                    <a:pt x="1" y="7253"/>
                    <a:pt x="107" y="7394"/>
                    <a:pt x="247" y="7394"/>
                  </a:cubicBezTo>
                  <a:cubicBezTo>
                    <a:pt x="388" y="7394"/>
                    <a:pt x="494" y="7253"/>
                    <a:pt x="494" y="7148"/>
                  </a:cubicBezTo>
                  <a:lnTo>
                    <a:pt x="494" y="247"/>
                  </a:lnTo>
                  <a:cubicBezTo>
                    <a:pt x="494" y="106"/>
                    <a:pt x="388"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 name="Google Shape;578;p48">
              <a:extLst>
                <a:ext uri="{FF2B5EF4-FFF2-40B4-BE49-F238E27FC236}">
                  <a16:creationId xmlns:a16="http://schemas.microsoft.com/office/drawing/2014/main" id="{FC688A96-52EA-4C38-9193-152AAB8CFB82}"/>
                </a:ext>
              </a:extLst>
            </p:cNvPr>
            <p:cNvSpPr/>
            <p:nvPr/>
          </p:nvSpPr>
          <p:spPr>
            <a:xfrm flipH="1">
              <a:off x="3538144" y="4326649"/>
              <a:ext cx="7090" cy="106138"/>
            </a:xfrm>
            <a:custGeom>
              <a:avLst/>
              <a:gdLst/>
              <a:ahLst/>
              <a:cxnLst/>
              <a:rect l="l" t="t" r="r" b="b"/>
              <a:pathLst>
                <a:path w="494" h="7395" extrusionOk="0">
                  <a:moveTo>
                    <a:pt x="247" y="1"/>
                  </a:moveTo>
                  <a:cubicBezTo>
                    <a:pt x="106" y="1"/>
                    <a:pt x="1" y="106"/>
                    <a:pt x="1" y="247"/>
                  </a:cubicBezTo>
                  <a:lnTo>
                    <a:pt x="1" y="7148"/>
                  </a:lnTo>
                  <a:cubicBezTo>
                    <a:pt x="1" y="7253"/>
                    <a:pt x="106" y="7394"/>
                    <a:pt x="247" y="7394"/>
                  </a:cubicBezTo>
                  <a:cubicBezTo>
                    <a:pt x="388" y="7394"/>
                    <a:pt x="494" y="7253"/>
                    <a:pt x="494" y="7148"/>
                  </a:cubicBezTo>
                  <a:lnTo>
                    <a:pt x="494" y="247"/>
                  </a:lnTo>
                  <a:cubicBezTo>
                    <a:pt x="494" y="106"/>
                    <a:pt x="388"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 name="Google Shape;579;p48">
              <a:extLst>
                <a:ext uri="{FF2B5EF4-FFF2-40B4-BE49-F238E27FC236}">
                  <a16:creationId xmlns:a16="http://schemas.microsoft.com/office/drawing/2014/main" id="{E847D0E2-8717-4630-9EF0-142BC705A1FC}"/>
                </a:ext>
              </a:extLst>
            </p:cNvPr>
            <p:cNvSpPr/>
            <p:nvPr/>
          </p:nvSpPr>
          <p:spPr>
            <a:xfrm flipH="1">
              <a:off x="3515956" y="3692152"/>
              <a:ext cx="342607" cy="229628"/>
            </a:xfrm>
            <a:custGeom>
              <a:avLst/>
              <a:gdLst/>
              <a:ahLst/>
              <a:cxnLst/>
              <a:rect l="l" t="t" r="r" b="b"/>
              <a:pathLst>
                <a:path w="23871" h="15999" extrusionOk="0">
                  <a:moveTo>
                    <a:pt x="19025" y="0"/>
                  </a:moveTo>
                  <a:cubicBezTo>
                    <a:pt x="18795" y="0"/>
                    <a:pt x="18567" y="7"/>
                    <a:pt x="18343" y="17"/>
                  </a:cubicBezTo>
                  <a:cubicBezTo>
                    <a:pt x="12851" y="158"/>
                    <a:pt x="7464" y="1355"/>
                    <a:pt x="2395" y="3503"/>
                  </a:cubicBezTo>
                  <a:cubicBezTo>
                    <a:pt x="1585" y="3820"/>
                    <a:pt x="705" y="4277"/>
                    <a:pt x="317" y="5052"/>
                  </a:cubicBezTo>
                  <a:cubicBezTo>
                    <a:pt x="71" y="5650"/>
                    <a:pt x="1" y="6319"/>
                    <a:pt x="71" y="6953"/>
                  </a:cubicBezTo>
                  <a:lnTo>
                    <a:pt x="212" y="11600"/>
                  </a:lnTo>
                  <a:cubicBezTo>
                    <a:pt x="282" y="13149"/>
                    <a:pt x="494" y="14980"/>
                    <a:pt x="1867" y="15720"/>
                  </a:cubicBezTo>
                  <a:cubicBezTo>
                    <a:pt x="2230" y="15913"/>
                    <a:pt x="2627" y="15999"/>
                    <a:pt x="3031" y="15999"/>
                  </a:cubicBezTo>
                  <a:cubicBezTo>
                    <a:pt x="3802" y="15999"/>
                    <a:pt x="4600" y="15688"/>
                    <a:pt x="5246" y="15227"/>
                  </a:cubicBezTo>
                  <a:cubicBezTo>
                    <a:pt x="6197" y="14522"/>
                    <a:pt x="6866" y="13501"/>
                    <a:pt x="7605" y="12586"/>
                  </a:cubicBezTo>
                  <a:cubicBezTo>
                    <a:pt x="8380" y="11671"/>
                    <a:pt x="9260" y="10755"/>
                    <a:pt x="10422" y="10439"/>
                  </a:cubicBezTo>
                  <a:cubicBezTo>
                    <a:pt x="10741" y="10351"/>
                    <a:pt x="11065" y="10312"/>
                    <a:pt x="11392" y="10312"/>
                  </a:cubicBezTo>
                  <a:cubicBezTo>
                    <a:pt x="12507" y="10312"/>
                    <a:pt x="13647" y="10766"/>
                    <a:pt x="14682" y="11283"/>
                  </a:cubicBezTo>
                  <a:cubicBezTo>
                    <a:pt x="16653" y="12269"/>
                    <a:pt x="18554" y="13431"/>
                    <a:pt x="20315" y="14804"/>
                  </a:cubicBezTo>
                  <a:cubicBezTo>
                    <a:pt x="20862" y="15214"/>
                    <a:pt x="21536" y="15667"/>
                    <a:pt x="22173" y="15667"/>
                  </a:cubicBezTo>
                  <a:cubicBezTo>
                    <a:pt x="22356" y="15667"/>
                    <a:pt x="22536" y="15630"/>
                    <a:pt x="22709" y="15543"/>
                  </a:cubicBezTo>
                  <a:cubicBezTo>
                    <a:pt x="23413" y="15191"/>
                    <a:pt x="23554" y="14311"/>
                    <a:pt x="23589" y="13572"/>
                  </a:cubicBezTo>
                  <a:cubicBezTo>
                    <a:pt x="23835" y="10544"/>
                    <a:pt x="23871" y="7552"/>
                    <a:pt x="23659" y="4559"/>
                  </a:cubicBezTo>
                  <a:cubicBezTo>
                    <a:pt x="23554" y="3362"/>
                    <a:pt x="23413" y="2059"/>
                    <a:pt x="22603" y="1179"/>
                  </a:cubicBezTo>
                  <a:cubicBezTo>
                    <a:pt x="21733" y="219"/>
                    <a:pt x="20351" y="0"/>
                    <a:pt x="19025"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 name="Google Shape;580;p48">
              <a:extLst>
                <a:ext uri="{FF2B5EF4-FFF2-40B4-BE49-F238E27FC236}">
                  <a16:creationId xmlns:a16="http://schemas.microsoft.com/office/drawing/2014/main" id="{1C1BC995-4669-4B7D-B6B1-7C43D7FC52D0}"/>
                </a:ext>
              </a:extLst>
            </p:cNvPr>
            <p:cNvSpPr/>
            <p:nvPr/>
          </p:nvSpPr>
          <p:spPr>
            <a:xfrm flipH="1">
              <a:off x="3546747" y="3704985"/>
              <a:ext cx="138974" cy="103626"/>
            </a:xfrm>
            <a:custGeom>
              <a:avLst/>
              <a:gdLst/>
              <a:ahLst/>
              <a:cxnLst/>
              <a:rect l="l" t="t" r="r" b="b"/>
              <a:pathLst>
                <a:path w="9683" h="7220" extrusionOk="0">
                  <a:moveTo>
                    <a:pt x="5189" y="1"/>
                  </a:moveTo>
                  <a:cubicBezTo>
                    <a:pt x="4701" y="1"/>
                    <a:pt x="4211" y="71"/>
                    <a:pt x="3732" y="215"/>
                  </a:cubicBezTo>
                  <a:cubicBezTo>
                    <a:pt x="2676" y="532"/>
                    <a:pt x="1690" y="1165"/>
                    <a:pt x="951" y="1975"/>
                  </a:cubicBezTo>
                  <a:cubicBezTo>
                    <a:pt x="388" y="2538"/>
                    <a:pt x="71" y="3243"/>
                    <a:pt x="0" y="4017"/>
                  </a:cubicBezTo>
                  <a:cubicBezTo>
                    <a:pt x="35" y="5003"/>
                    <a:pt x="528" y="5883"/>
                    <a:pt x="1338" y="6376"/>
                  </a:cubicBezTo>
                  <a:cubicBezTo>
                    <a:pt x="2148" y="6869"/>
                    <a:pt x="3098" y="7150"/>
                    <a:pt x="4049" y="7186"/>
                  </a:cubicBezTo>
                  <a:cubicBezTo>
                    <a:pt x="4275" y="7208"/>
                    <a:pt x="4503" y="7220"/>
                    <a:pt x="4731" y="7220"/>
                  </a:cubicBezTo>
                  <a:cubicBezTo>
                    <a:pt x="5568" y="7220"/>
                    <a:pt x="6408" y="7067"/>
                    <a:pt x="7182" y="6763"/>
                  </a:cubicBezTo>
                  <a:cubicBezTo>
                    <a:pt x="8203" y="6376"/>
                    <a:pt x="8978" y="5566"/>
                    <a:pt x="9330" y="4545"/>
                  </a:cubicBezTo>
                  <a:cubicBezTo>
                    <a:pt x="9682" y="3102"/>
                    <a:pt x="9119" y="1623"/>
                    <a:pt x="7887" y="778"/>
                  </a:cubicBezTo>
                  <a:cubicBezTo>
                    <a:pt x="7073" y="267"/>
                    <a:pt x="6137" y="1"/>
                    <a:pt x="5189" y="1"/>
                  </a:cubicBez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 name="Google Shape;581;p48">
              <a:extLst>
                <a:ext uri="{FF2B5EF4-FFF2-40B4-BE49-F238E27FC236}">
                  <a16:creationId xmlns:a16="http://schemas.microsoft.com/office/drawing/2014/main" id="{DF2FD820-8F1C-422F-B421-EBEF1E8E5D0B}"/>
                </a:ext>
              </a:extLst>
            </p:cNvPr>
            <p:cNvSpPr/>
            <p:nvPr/>
          </p:nvSpPr>
          <p:spPr>
            <a:xfrm flipH="1">
              <a:off x="3754580" y="3741146"/>
              <a:ext cx="97410" cy="87636"/>
            </a:xfrm>
            <a:custGeom>
              <a:avLst/>
              <a:gdLst/>
              <a:ahLst/>
              <a:cxnLst/>
              <a:rect l="l" t="t" r="r" b="b"/>
              <a:pathLst>
                <a:path w="6787" h="6106" extrusionOk="0">
                  <a:moveTo>
                    <a:pt x="3644" y="0"/>
                  </a:moveTo>
                  <a:cubicBezTo>
                    <a:pt x="3262" y="0"/>
                    <a:pt x="2861" y="93"/>
                    <a:pt x="2465" y="301"/>
                  </a:cubicBezTo>
                  <a:cubicBezTo>
                    <a:pt x="1585" y="724"/>
                    <a:pt x="880" y="1428"/>
                    <a:pt x="493" y="2343"/>
                  </a:cubicBezTo>
                  <a:cubicBezTo>
                    <a:pt x="141" y="3012"/>
                    <a:pt x="0" y="3786"/>
                    <a:pt x="106" y="4561"/>
                  </a:cubicBezTo>
                  <a:cubicBezTo>
                    <a:pt x="176" y="5054"/>
                    <a:pt x="493" y="5512"/>
                    <a:pt x="880" y="5793"/>
                  </a:cubicBezTo>
                  <a:cubicBezTo>
                    <a:pt x="1207" y="6017"/>
                    <a:pt x="1584" y="6106"/>
                    <a:pt x="1974" y="6106"/>
                  </a:cubicBezTo>
                  <a:cubicBezTo>
                    <a:pt x="2384" y="6106"/>
                    <a:pt x="2808" y="6008"/>
                    <a:pt x="3204" y="5864"/>
                  </a:cubicBezTo>
                  <a:cubicBezTo>
                    <a:pt x="4295" y="5547"/>
                    <a:pt x="5211" y="4772"/>
                    <a:pt x="5774" y="3751"/>
                  </a:cubicBezTo>
                  <a:cubicBezTo>
                    <a:pt x="6786" y="1959"/>
                    <a:pt x="5400" y="0"/>
                    <a:pt x="364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 name="Google Shape;582;p48">
              <a:extLst>
                <a:ext uri="{FF2B5EF4-FFF2-40B4-BE49-F238E27FC236}">
                  <a16:creationId xmlns:a16="http://schemas.microsoft.com/office/drawing/2014/main" id="{B6D29980-414B-4E49-8EAC-1E7DC9E78193}"/>
                </a:ext>
              </a:extLst>
            </p:cNvPr>
            <p:cNvSpPr/>
            <p:nvPr/>
          </p:nvSpPr>
          <p:spPr>
            <a:xfrm flipH="1">
              <a:off x="3800432" y="3749959"/>
              <a:ext cx="23768" cy="20353"/>
            </a:xfrm>
            <a:custGeom>
              <a:avLst/>
              <a:gdLst/>
              <a:ahLst/>
              <a:cxnLst/>
              <a:rect l="l" t="t" r="r" b="b"/>
              <a:pathLst>
                <a:path w="1656" h="1418" extrusionOk="0">
                  <a:moveTo>
                    <a:pt x="1055" y="0"/>
                  </a:moveTo>
                  <a:cubicBezTo>
                    <a:pt x="1032" y="0"/>
                    <a:pt x="1009" y="1"/>
                    <a:pt x="986" y="4"/>
                  </a:cubicBezTo>
                  <a:cubicBezTo>
                    <a:pt x="670" y="39"/>
                    <a:pt x="388" y="215"/>
                    <a:pt x="212" y="497"/>
                  </a:cubicBezTo>
                  <a:cubicBezTo>
                    <a:pt x="71" y="638"/>
                    <a:pt x="1" y="849"/>
                    <a:pt x="36" y="1095"/>
                  </a:cubicBezTo>
                  <a:cubicBezTo>
                    <a:pt x="131" y="1285"/>
                    <a:pt x="310" y="1418"/>
                    <a:pt x="524" y="1418"/>
                  </a:cubicBezTo>
                  <a:cubicBezTo>
                    <a:pt x="549" y="1418"/>
                    <a:pt x="574" y="1416"/>
                    <a:pt x="599" y="1412"/>
                  </a:cubicBezTo>
                  <a:cubicBezTo>
                    <a:pt x="810" y="1412"/>
                    <a:pt x="1057" y="1307"/>
                    <a:pt x="1233" y="1166"/>
                  </a:cubicBezTo>
                  <a:cubicBezTo>
                    <a:pt x="1479" y="1025"/>
                    <a:pt x="1620" y="778"/>
                    <a:pt x="1655" y="532"/>
                  </a:cubicBezTo>
                  <a:cubicBezTo>
                    <a:pt x="1590" y="205"/>
                    <a:pt x="1343" y="0"/>
                    <a:pt x="1055"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 name="Google Shape;583;p48">
              <a:extLst>
                <a:ext uri="{FF2B5EF4-FFF2-40B4-BE49-F238E27FC236}">
                  <a16:creationId xmlns:a16="http://schemas.microsoft.com/office/drawing/2014/main" id="{3E2FFC67-239A-4C6F-BB14-39F83E990AE4}"/>
                </a:ext>
              </a:extLst>
            </p:cNvPr>
            <p:cNvSpPr/>
            <p:nvPr/>
          </p:nvSpPr>
          <p:spPr>
            <a:xfrm flipH="1">
              <a:off x="3817112" y="3776243"/>
              <a:ext cx="23251" cy="20782"/>
            </a:xfrm>
            <a:custGeom>
              <a:avLst/>
              <a:gdLst/>
              <a:ahLst/>
              <a:cxnLst/>
              <a:rect l="l" t="t" r="r" b="b"/>
              <a:pathLst>
                <a:path w="1620" h="1448" extrusionOk="0">
                  <a:moveTo>
                    <a:pt x="1011" y="0"/>
                  </a:moveTo>
                  <a:cubicBezTo>
                    <a:pt x="991" y="0"/>
                    <a:pt x="971" y="1"/>
                    <a:pt x="951" y="4"/>
                  </a:cubicBezTo>
                  <a:cubicBezTo>
                    <a:pt x="634" y="39"/>
                    <a:pt x="352" y="215"/>
                    <a:pt x="211" y="497"/>
                  </a:cubicBezTo>
                  <a:cubicBezTo>
                    <a:pt x="35" y="637"/>
                    <a:pt x="0" y="884"/>
                    <a:pt x="35" y="1095"/>
                  </a:cubicBezTo>
                  <a:cubicBezTo>
                    <a:pt x="106" y="1306"/>
                    <a:pt x="352" y="1447"/>
                    <a:pt x="563" y="1447"/>
                  </a:cubicBezTo>
                  <a:cubicBezTo>
                    <a:pt x="810" y="1412"/>
                    <a:pt x="1021" y="1341"/>
                    <a:pt x="1197" y="1165"/>
                  </a:cubicBezTo>
                  <a:cubicBezTo>
                    <a:pt x="1444" y="1025"/>
                    <a:pt x="1620" y="778"/>
                    <a:pt x="1620" y="532"/>
                  </a:cubicBezTo>
                  <a:cubicBezTo>
                    <a:pt x="1587" y="235"/>
                    <a:pt x="1307" y="0"/>
                    <a:pt x="1011"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 name="Google Shape;584;p48">
              <a:extLst>
                <a:ext uri="{FF2B5EF4-FFF2-40B4-BE49-F238E27FC236}">
                  <a16:creationId xmlns:a16="http://schemas.microsoft.com/office/drawing/2014/main" id="{205906BC-CA55-4DA4-935D-B9060F370731}"/>
                </a:ext>
              </a:extLst>
            </p:cNvPr>
            <p:cNvSpPr/>
            <p:nvPr/>
          </p:nvSpPr>
          <p:spPr>
            <a:xfrm flipH="1">
              <a:off x="3778197" y="3766625"/>
              <a:ext cx="23768" cy="20869"/>
            </a:xfrm>
            <a:custGeom>
              <a:avLst/>
              <a:gdLst/>
              <a:ahLst/>
              <a:cxnLst/>
              <a:rect l="l" t="t" r="r" b="b"/>
              <a:pathLst>
                <a:path w="1656" h="1454" extrusionOk="0">
                  <a:moveTo>
                    <a:pt x="1055" y="1"/>
                  </a:moveTo>
                  <a:cubicBezTo>
                    <a:pt x="1033" y="1"/>
                    <a:pt x="1010" y="2"/>
                    <a:pt x="987" y="5"/>
                  </a:cubicBezTo>
                  <a:cubicBezTo>
                    <a:pt x="670" y="40"/>
                    <a:pt x="388" y="216"/>
                    <a:pt x="212" y="498"/>
                  </a:cubicBezTo>
                  <a:cubicBezTo>
                    <a:pt x="71" y="674"/>
                    <a:pt x="1" y="885"/>
                    <a:pt x="36" y="1096"/>
                  </a:cubicBezTo>
                  <a:cubicBezTo>
                    <a:pt x="131" y="1317"/>
                    <a:pt x="311" y="1454"/>
                    <a:pt x="525" y="1454"/>
                  </a:cubicBezTo>
                  <a:cubicBezTo>
                    <a:pt x="549" y="1454"/>
                    <a:pt x="574" y="1452"/>
                    <a:pt x="599" y="1448"/>
                  </a:cubicBezTo>
                  <a:cubicBezTo>
                    <a:pt x="810" y="1448"/>
                    <a:pt x="1057" y="1343"/>
                    <a:pt x="1233" y="1202"/>
                  </a:cubicBezTo>
                  <a:cubicBezTo>
                    <a:pt x="1479" y="1061"/>
                    <a:pt x="1655" y="814"/>
                    <a:pt x="1655" y="498"/>
                  </a:cubicBezTo>
                  <a:cubicBezTo>
                    <a:pt x="1590" y="204"/>
                    <a:pt x="1343" y="1"/>
                    <a:pt x="1055"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 name="Google Shape;585;p48">
              <a:extLst>
                <a:ext uri="{FF2B5EF4-FFF2-40B4-BE49-F238E27FC236}">
                  <a16:creationId xmlns:a16="http://schemas.microsoft.com/office/drawing/2014/main" id="{BB880A1B-4409-4CD4-A18E-79410A56AC90}"/>
                </a:ext>
              </a:extLst>
            </p:cNvPr>
            <p:cNvSpPr/>
            <p:nvPr/>
          </p:nvSpPr>
          <p:spPr>
            <a:xfrm flipH="1">
              <a:off x="3803461" y="3796454"/>
              <a:ext cx="23265" cy="20280"/>
            </a:xfrm>
            <a:custGeom>
              <a:avLst/>
              <a:gdLst/>
              <a:ahLst/>
              <a:cxnLst/>
              <a:rect l="l" t="t" r="r" b="b"/>
              <a:pathLst>
                <a:path w="1621" h="1413" extrusionOk="0">
                  <a:moveTo>
                    <a:pt x="1027" y="0"/>
                  </a:moveTo>
                  <a:cubicBezTo>
                    <a:pt x="1002" y="0"/>
                    <a:pt x="977" y="1"/>
                    <a:pt x="951" y="4"/>
                  </a:cubicBezTo>
                  <a:cubicBezTo>
                    <a:pt x="670" y="39"/>
                    <a:pt x="388" y="215"/>
                    <a:pt x="212" y="462"/>
                  </a:cubicBezTo>
                  <a:cubicBezTo>
                    <a:pt x="71" y="638"/>
                    <a:pt x="1" y="849"/>
                    <a:pt x="36" y="1060"/>
                  </a:cubicBezTo>
                  <a:cubicBezTo>
                    <a:pt x="141" y="1307"/>
                    <a:pt x="353" y="1412"/>
                    <a:pt x="599" y="1412"/>
                  </a:cubicBezTo>
                  <a:cubicBezTo>
                    <a:pt x="810" y="1412"/>
                    <a:pt x="1022" y="1307"/>
                    <a:pt x="1233" y="1166"/>
                  </a:cubicBezTo>
                  <a:cubicBezTo>
                    <a:pt x="1444" y="1025"/>
                    <a:pt x="1620" y="778"/>
                    <a:pt x="1620" y="497"/>
                  </a:cubicBezTo>
                  <a:cubicBezTo>
                    <a:pt x="1587" y="203"/>
                    <a:pt x="1343" y="0"/>
                    <a:pt x="102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 name="Google Shape;586;p48">
              <a:extLst>
                <a:ext uri="{FF2B5EF4-FFF2-40B4-BE49-F238E27FC236}">
                  <a16:creationId xmlns:a16="http://schemas.microsoft.com/office/drawing/2014/main" id="{5E0C6948-4E73-4332-BA20-8A10A6270C29}"/>
                </a:ext>
              </a:extLst>
            </p:cNvPr>
            <p:cNvSpPr/>
            <p:nvPr/>
          </p:nvSpPr>
          <p:spPr>
            <a:xfrm flipH="1">
              <a:off x="3601825" y="3711560"/>
              <a:ext cx="33370" cy="23868"/>
            </a:xfrm>
            <a:custGeom>
              <a:avLst/>
              <a:gdLst/>
              <a:ahLst/>
              <a:cxnLst/>
              <a:rect l="l" t="t" r="r" b="b"/>
              <a:pathLst>
                <a:path w="2325" h="1663" extrusionOk="0">
                  <a:moveTo>
                    <a:pt x="1439" y="1"/>
                  </a:moveTo>
                  <a:cubicBezTo>
                    <a:pt x="1417" y="1"/>
                    <a:pt x="1396" y="1"/>
                    <a:pt x="1374" y="3"/>
                  </a:cubicBezTo>
                  <a:cubicBezTo>
                    <a:pt x="951" y="38"/>
                    <a:pt x="564" y="214"/>
                    <a:pt x="283" y="566"/>
                  </a:cubicBezTo>
                  <a:cubicBezTo>
                    <a:pt x="107" y="743"/>
                    <a:pt x="1" y="989"/>
                    <a:pt x="71" y="1271"/>
                  </a:cubicBezTo>
                  <a:cubicBezTo>
                    <a:pt x="200" y="1496"/>
                    <a:pt x="476" y="1662"/>
                    <a:pt x="764" y="1662"/>
                  </a:cubicBezTo>
                  <a:cubicBezTo>
                    <a:pt x="791" y="1662"/>
                    <a:pt x="819" y="1661"/>
                    <a:pt x="846" y="1658"/>
                  </a:cubicBezTo>
                  <a:cubicBezTo>
                    <a:pt x="1128" y="1658"/>
                    <a:pt x="1444" y="1552"/>
                    <a:pt x="1726" y="1376"/>
                  </a:cubicBezTo>
                  <a:cubicBezTo>
                    <a:pt x="2008" y="1200"/>
                    <a:pt x="2325" y="919"/>
                    <a:pt x="2289" y="602"/>
                  </a:cubicBezTo>
                  <a:cubicBezTo>
                    <a:pt x="2256" y="301"/>
                    <a:pt x="1842" y="1"/>
                    <a:pt x="1439" y="1"/>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 name="Google Shape;587;p48">
              <a:extLst>
                <a:ext uri="{FF2B5EF4-FFF2-40B4-BE49-F238E27FC236}">
                  <a16:creationId xmlns:a16="http://schemas.microsoft.com/office/drawing/2014/main" id="{4CBF7AF1-7C99-4E19-95A1-F236DB4C9AC1}"/>
                </a:ext>
              </a:extLst>
            </p:cNvPr>
            <p:cNvSpPr/>
            <p:nvPr/>
          </p:nvSpPr>
          <p:spPr>
            <a:xfrm flipH="1">
              <a:off x="3625065" y="3742393"/>
              <a:ext cx="32867" cy="23868"/>
            </a:xfrm>
            <a:custGeom>
              <a:avLst/>
              <a:gdLst/>
              <a:ahLst/>
              <a:cxnLst/>
              <a:rect l="l" t="t" r="r" b="b"/>
              <a:pathLst>
                <a:path w="2290" h="1663" extrusionOk="0">
                  <a:moveTo>
                    <a:pt x="1404" y="0"/>
                  </a:moveTo>
                  <a:cubicBezTo>
                    <a:pt x="1382" y="0"/>
                    <a:pt x="1360" y="1"/>
                    <a:pt x="1338" y="3"/>
                  </a:cubicBezTo>
                  <a:cubicBezTo>
                    <a:pt x="916" y="38"/>
                    <a:pt x="529" y="249"/>
                    <a:pt x="282" y="566"/>
                  </a:cubicBezTo>
                  <a:cubicBezTo>
                    <a:pt x="71" y="742"/>
                    <a:pt x="1" y="989"/>
                    <a:pt x="36" y="1270"/>
                  </a:cubicBezTo>
                  <a:cubicBezTo>
                    <a:pt x="194" y="1523"/>
                    <a:pt x="438" y="1663"/>
                    <a:pt x="715" y="1663"/>
                  </a:cubicBezTo>
                  <a:cubicBezTo>
                    <a:pt x="747" y="1663"/>
                    <a:pt x="778" y="1661"/>
                    <a:pt x="810" y="1658"/>
                  </a:cubicBezTo>
                  <a:cubicBezTo>
                    <a:pt x="1127" y="1658"/>
                    <a:pt x="1444" y="1552"/>
                    <a:pt x="1691" y="1376"/>
                  </a:cubicBezTo>
                  <a:cubicBezTo>
                    <a:pt x="2007" y="1200"/>
                    <a:pt x="2289" y="953"/>
                    <a:pt x="2254" y="601"/>
                  </a:cubicBezTo>
                  <a:cubicBezTo>
                    <a:pt x="2254" y="301"/>
                    <a:pt x="1810" y="0"/>
                    <a:pt x="1404" y="0"/>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 name="Google Shape;588;p48">
              <a:extLst>
                <a:ext uri="{FF2B5EF4-FFF2-40B4-BE49-F238E27FC236}">
                  <a16:creationId xmlns:a16="http://schemas.microsoft.com/office/drawing/2014/main" id="{BDF2E5AF-7AA3-43D3-AED4-0D366228525F}"/>
                </a:ext>
              </a:extLst>
            </p:cNvPr>
            <p:cNvSpPr/>
            <p:nvPr/>
          </p:nvSpPr>
          <p:spPr>
            <a:xfrm flipH="1">
              <a:off x="3570992" y="3731269"/>
              <a:ext cx="32867" cy="23885"/>
            </a:xfrm>
            <a:custGeom>
              <a:avLst/>
              <a:gdLst/>
              <a:ahLst/>
              <a:cxnLst/>
              <a:rect l="l" t="t" r="r" b="b"/>
              <a:pathLst>
                <a:path w="2290" h="1664" extrusionOk="0">
                  <a:moveTo>
                    <a:pt x="1409" y="1"/>
                  </a:moveTo>
                  <a:cubicBezTo>
                    <a:pt x="1386" y="1"/>
                    <a:pt x="1362" y="1"/>
                    <a:pt x="1339" y="3"/>
                  </a:cubicBezTo>
                  <a:cubicBezTo>
                    <a:pt x="951" y="38"/>
                    <a:pt x="564" y="250"/>
                    <a:pt x="282" y="567"/>
                  </a:cubicBezTo>
                  <a:cubicBezTo>
                    <a:pt x="71" y="743"/>
                    <a:pt x="1" y="989"/>
                    <a:pt x="71" y="1271"/>
                  </a:cubicBezTo>
                  <a:cubicBezTo>
                    <a:pt x="198" y="1524"/>
                    <a:pt x="438" y="1663"/>
                    <a:pt x="716" y="1663"/>
                  </a:cubicBezTo>
                  <a:cubicBezTo>
                    <a:pt x="747" y="1663"/>
                    <a:pt x="778" y="1662"/>
                    <a:pt x="810" y="1658"/>
                  </a:cubicBezTo>
                  <a:cubicBezTo>
                    <a:pt x="1127" y="1658"/>
                    <a:pt x="1444" y="1552"/>
                    <a:pt x="1691" y="1376"/>
                  </a:cubicBezTo>
                  <a:cubicBezTo>
                    <a:pt x="2007" y="1200"/>
                    <a:pt x="2289" y="954"/>
                    <a:pt x="2289" y="602"/>
                  </a:cubicBezTo>
                  <a:cubicBezTo>
                    <a:pt x="2256" y="301"/>
                    <a:pt x="1842" y="1"/>
                    <a:pt x="1409" y="1"/>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 name="Google Shape;589;p48">
              <a:extLst>
                <a:ext uri="{FF2B5EF4-FFF2-40B4-BE49-F238E27FC236}">
                  <a16:creationId xmlns:a16="http://schemas.microsoft.com/office/drawing/2014/main" id="{6EDEA54C-0FDE-45EE-9455-12F5FA30511F}"/>
                </a:ext>
              </a:extLst>
            </p:cNvPr>
            <p:cNvSpPr/>
            <p:nvPr/>
          </p:nvSpPr>
          <p:spPr>
            <a:xfrm flipH="1">
              <a:off x="3605873" y="3765677"/>
              <a:ext cx="32853" cy="24327"/>
            </a:xfrm>
            <a:custGeom>
              <a:avLst/>
              <a:gdLst/>
              <a:ahLst/>
              <a:cxnLst/>
              <a:rect l="l" t="t" r="r" b="b"/>
              <a:pathLst>
                <a:path w="2289" h="1695" extrusionOk="0">
                  <a:moveTo>
                    <a:pt x="1338" y="0"/>
                  </a:moveTo>
                  <a:cubicBezTo>
                    <a:pt x="951" y="71"/>
                    <a:pt x="564" y="247"/>
                    <a:pt x="282" y="564"/>
                  </a:cubicBezTo>
                  <a:cubicBezTo>
                    <a:pt x="71" y="740"/>
                    <a:pt x="0" y="1021"/>
                    <a:pt x="71" y="1268"/>
                  </a:cubicBezTo>
                  <a:cubicBezTo>
                    <a:pt x="200" y="1525"/>
                    <a:pt x="446" y="1695"/>
                    <a:pt x="730" y="1695"/>
                  </a:cubicBezTo>
                  <a:cubicBezTo>
                    <a:pt x="757" y="1695"/>
                    <a:pt x="783" y="1693"/>
                    <a:pt x="810" y="1690"/>
                  </a:cubicBezTo>
                  <a:cubicBezTo>
                    <a:pt x="1127" y="1655"/>
                    <a:pt x="1444" y="1585"/>
                    <a:pt x="1690" y="1409"/>
                  </a:cubicBezTo>
                  <a:cubicBezTo>
                    <a:pt x="2007" y="1197"/>
                    <a:pt x="2289" y="951"/>
                    <a:pt x="2289" y="634"/>
                  </a:cubicBezTo>
                  <a:cubicBezTo>
                    <a:pt x="2254" y="317"/>
                    <a:pt x="1796" y="0"/>
                    <a:pt x="1338" y="0"/>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 name="Google Shape;590;p48">
              <a:extLst>
                <a:ext uri="{FF2B5EF4-FFF2-40B4-BE49-F238E27FC236}">
                  <a16:creationId xmlns:a16="http://schemas.microsoft.com/office/drawing/2014/main" id="{45510C7C-4D1B-4F8F-8A9E-9BA367A2D7A0}"/>
                </a:ext>
              </a:extLst>
            </p:cNvPr>
            <p:cNvSpPr/>
            <p:nvPr/>
          </p:nvSpPr>
          <p:spPr>
            <a:xfrm flipH="1">
              <a:off x="3646319" y="3823283"/>
              <a:ext cx="207193" cy="78853"/>
            </a:xfrm>
            <a:custGeom>
              <a:avLst/>
              <a:gdLst/>
              <a:ahLst/>
              <a:cxnLst/>
              <a:rect l="l" t="t" r="r" b="b"/>
              <a:pathLst>
                <a:path w="14436" h="5494" extrusionOk="0">
                  <a:moveTo>
                    <a:pt x="9969" y="1"/>
                  </a:moveTo>
                  <a:cubicBezTo>
                    <a:pt x="9616" y="1"/>
                    <a:pt x="9260" y="48"/>
                    <a:pt x="8908" y="142"/>
                  </a:cubicBezTo>
                  <a:cubicBezTo>
                    <a:pt x="8028" y="494"/>
                    <a:pt x="7253" y="1022"/>
                    <a:pt x="6655" y="1761"/>
                  </a:cubicBezTo>
                  <a:cubicBezTo>
                    <a:pt x="6514" y="1902"/>
                    <a:pt x="6338" y="2078"/>
                    <a:pt x="6162" y="2219"/>
                  </a:cubicBezTo>
                  <a:cubicBezTo>
                    <a:pt x="4472" y="3803"/>
                    <a:pt x="2324" y="4789"/>
                    <a:pt x="1" y="5071"/>
                  </a:cubicBezTo>
                  <a:lnTo>
                    <a:pt x="71" y="5493"/>
                  </a:lnTo>
                  <a:cubicBezTo>
                    <a:pt x="2465" y="5247"/>
                    <a:pt x="4718" y="4190"/>
                    <a:pt x="6514" y="2536"/>
                  </a:cubicBezTo>
                  <a:cubicBezTo>
                    <a:pt x="6690" y="2395"/>
                    <a:pt x="6831" y="2219"/>
                    <a:pt x="7007" y="2078"/>
                  </a:cubicBezTo>
                  <a:cubicBezTo>
                    <a:pt x="7535" y="1409"/>
                    <a:pt x="8239" y="881"/>
                    <a:pt x="9014" y="564"/>
                  </a:cubicBezTo>
                  <a:cubicBezTo>
                    <a:pt x="9321" y="485"/>
                    <a:pt x="9631" y="445"/>
                    <a:pt x="9940" y="445"/>
                  </a:cubicBezTo>
                  <a:cubicBezTo>
                    <a:pt x="10586" y="445"/>
                    <a:pt x="11223" y="618"/>
                    <a:pt x="11795" y="951"/>
                  </a:cubicBezTo>
                  <a:cubicBezTo>
                    <a:pt x="12640" y="1480"/>
                    <a:pt x="13414" y="2113"/>
                    <a:pt x="14118" y="2853"/>
                  </a:cubicBezTo>
                  <a:lnTo>
                    <a:pt x="14435" y="2536"/>
                  </a:lnTo>
                  <a:cubicBezTo>
                    <a:pt x="13696" y="1761"/>
                    <a:pt x="12886" y="1092"/>
                    <a:pt x="12006" y="564"/>
                  </a:cubicBezTo>
                  <a:cubicBezTo>
                    <a:pt x="11372" y="189"/>
                    <a:pt x="10676" y="1"/>
                    <a:pt x="996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 name="Google Shape;591;p48">
              <a:extLst>
                <a:ext uri="{FF2B5EF4-FFF2-40B4-BE49-F238E27FC236}">
                  <a16:creationId xmlns:a16="http://schemas.microsoft.com/office/drawing/2014/main" id="{6B270DC8-1C70-4C9F-9728-3AD1DDC46304}"/>
                </a:ext>
              </a:extLst>
            </p:cNvPr>
            <p:cNvSpPr/>
            <p:nvPr/>
          </p:nvSpPr>
          <p:spPr>
            <a:xfrm flipH="1">
              <a:off x="3525517" y="3691894"/>
              <a:ext cx="37403" cy="226383"/>
            </a:xfrm>
            <a:custGeom>
              <a:avLst/>
              <a:gdLst/>
              <a:ahLst/>
              <a:cxnLst/>
              <a:rect l="l" t="t" r="r" b="b"/>
              <a:pathLst>
                <a:path w="2606" h="15773" extrusionOk="0">
                  <a:moveTo>
                    <a:pt x="423" y="0"/>
                  </a:moveTo>
                  <a:lnTo>
                    <a:pt x="0" y="141"/>
                  </a:lnTo>
                  <a:cubicBezTo>
                    <a:pt x="1796" y="5140"/>
                    <a:pt x="2148" y="10527"/>
                    <a:pt x="1021" y="15702"/>
                  </a:cubicBezTo>
                  <a:lnTo>
                    <a:pt x="1479" y="15773"/>
                  </a:lnTo>
                  <a:cubicBezTo>
                    <a:pt x="2606" y="10527"/>
                    <a:pt x="2254" y="5070"/>
                    <a:pt x="42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 name="Google Shape;592;p48">
              <a:extLst>
                <a:ext uri="{FF2B5EF4-FFF2-40B4-BE49-F238E27FC236}">
                  <a16:creationId xmlns:a16="http://schemas.microsoft.com/office/drawing/2014/main" id="{1DBC0A58-B4B4-43A1-9D9E-72E1547C3EAD}"/>
                </a:ext>
              </a:extLst>
            </p:cNvPr>
            <p:cNvSpPr/>
            <p:nvPr/>
          </p:nvSpPr>
          <p:spPr>
            <a:xfrm flipH="1">
              <a:off x="3546249" y="3555437"/>
              <a:ext cx="164236" cy="364844"/>
            </a:xfrm>
            <a:custGeom>
              <a:avLst/>
              <a:gdLst/>
              <a:ahLst/>
              <a:cxnLst/>
              <a:rect l="l" t="t" r="r" b="b"/>
              <a:pathLst>
                <a:path w="11443" h="25420" extrusionOk="0">
                  <a:moveTo>
                    <a:pt x="10421" y="0"/>
                  </a:moveTo>
                  <a:lnTo>
                    <a:pt x="1162" y="4260"/>
                  </a:lnTo>
                  <a:lnTo>
                    <a:pt x="845" y="7499"/>
                  </a:lnTo>
                  <a:cubicBezTo>
                    <a:pt x="704" y="13484"/>
                    <a:pt x="423" y="19434"/>
                    <a:pt x="0" y="25420"/>
                  </a:cubicBezTo>
                  <a:lnTo>
                    <a:pt x="11196" y="25420"/>
                  </a:lnTo>
                  <a:lnTo>
                    <a:pt x="11125" y="16160"/>
                  </a:lnTo>
                  <a:lnTo>
                    <a:pt x="11442"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 name="Google Shape;593;p48">
              <a:extLst>
                <a:ext uri="{FF2B5EF4-FFF2-40B4-BE49-F238E27FC236}">
                  <a16:creationId xmlns:a16="http://schemas.microsoft.com/office/drawing/2014/main" id="{8184FC81-4FDA-4DB4-AFF4-E7CB58096DD3}"/>
                </a:ext>
              </a:extLst>
            </p:cNvPr>
            <p:cNvSpPr/>
            <p:nvPr/>
          </p:nvSpPr>
          <p:spPr>
            <a:xfrm flipH="1">
              <a:off x="3558881" y="3555437"/>
              <a:ext cx="164752" cy="364844"/>
            </a:xfrm>
            <a:custGeom>
              <a:avLst/>
              <a:gdLst/>
              <a:ahLst/>
              <a:cxnLst/>
              <a:rect l="l" t="t" r="r" b="b"/>
              <a:pathLst>
                <a:path w="11479" h="25420" extrusionOk="0">
                  <a:moveTo>
                    <a:pt x="10457" y="0"/>
                  </a:moveTo>
                  <a:lnTo>
                    <a:pt x="1198" y="4260"/>
                  </a:lnTo>
                  <a:lnTo>
                    <a:pt x="881" y="7499"/>
                  </a:lnTo>
                  <a:cubicBezTo>
                    <a:pt x="740" y="13484"/>
                    <a:pt x="458" y="19434"/>
                    <a:pt x="1" y="25420"/>
                  </a:cubicBezTo>
                  <a:lnTo>
                    <a:pt x="11232" y="25420"/>
                  </a:lnTo>
                  <a:lnTo>
                    <a:pt x="11161" y="16160"/>
                  </a:lnTo>
                  <a:lnTo>
                    <a:pt x="1147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 name="Google Shape;594;p48">
              <a:extLst>
                <a:ext uri="{FF2B5EF4-FFF2-40B4-BE49-F238E27FC236}">
                  <a16:creationId xmlns:a16="http://schemas.microsoft.com/office/drawing/2014/main" id="{22AE5457-7AC0-4C76-83A4-48F69D31D4BF}"/>
                </a:ext>
              </a:extLst>
            </p:cNvPr>
            <p:cNvSpPr/>
            <p:nvPr/>
          </p:nvSpPr>
          <p:spPr>
            <a:xfrm flipH="1">
              <a:off x="3575561" y="3555437"/>
              <a:ext cx="164752" cy="364844"/>
            </a:xfrm>
            <a:custGeom>
              <a:avLst/>
              <a:gdLst/>
              <a:ahLst/>
              <a:cxnLst/>
              <a:rect l="l" t="t" r="r" b="b"/>
              <a:pathLst>
                <a:path w="11479" h="25420" extrusionOk="0">
                  <a:moveTo>
                    <a:pt x="10457" y="0"/>
                  </a:moveTo>
                  <a:lnTo>
                    <a:pt x="1163" y="4260"/>
                  </a:lnTo>
                  <a:lnTo>
                    <a:pt x="846" y="7499"/>
                  </a:lnTo>
                  <a:cubicBezTo>
                    <a:pt x="740" y="13484"/>
                    <a:pt x="423" y="19434"/>
                    <a:pt x="1" y="25420"/>
                  </a:cubicBezTo>
                  <a:lnTo>
                    <a:pt x="11197" y="25420"/>
                  </a:lnTo>
                  <a:lnTo>
                    <a:pt x="11126" y="16160"/>
                  </a:lnTo>
                  <a:lnTo>
                    <a:pt x="1147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 name="Google Shape;595;p48">
              <a:extLst>
                <a:ext uri="{FF2B5EF4-FFF2-40B4-BE49-F238E27FC236}">
                  <a16:creationId xmlns:a16="http://schemas.microsoft.com/office/drawing/2014/main" id="{64510AF7-00BE-4446-9B8D-BD35EA8FA8B4}"/>
                </a:ext>
              </a:extLst>
            </p:cNvPr>
            <p:cNvSpPr/>
            <p:nvPr/>
          </p:nvSpPr>
          <p:spPr>
            <a:xfrm flipH="1">
              <a:off x="3589212" y="3553915"/>
              <a:ext cx="164738" cy="366365"/>
            </a:xfrm>
            <a:custGeom>
              <a:avLst/>
              <a:gdLst/>
              <a:ahLst/>
              <a:cxnLst/>
              <a:rect l="l" t="t" r="r" b="b"/>
              <a:pathLst>
                <a:path w="11478" h="25526" extrusionOk="0">
                  <a:moveTo>
                    <a:pt x="11478" y="1"/>
                  </a:moveTo>
                  <a:lnTo>
                    <a:pt x="1162" y="4754"/>
                  </a:lnTo>
                  <a:lnTo>
                    <a:pt x="845" y="7993"/>
                  </a:lnTo>
                  <a:cubicBezTo>
                    <a:pt x="704" y="13837"/>
                    <a:pt x="458" y="19681"/>
                    <a:pt x="0" y="25526"/>
                  </a:cubicBezTo>
                  <a:lnTo>
                    <a:pt x="11196" y="25526"/>
                  </a:lnTo>
                  <a:lnTo>
                    <a:pt x="11126" y="16653"/>
                  </a:lnTo>
                  <a:lnTo>
                    <a:pt x="1147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 name="Google Shape;596;p48">
              <a:extLst>
                <a:ext uri="{FF2B5EF4-FFF2-40B4-BE49-F238E27FC236}">
                  <a16:creationId xmlns:a16="http://schemas.microsoft.com/office/drawing/2014/main" id="{31DE1B1E-57C5-4067-A20E-B9512DDAF434}"/>
                </a:ext>
              </a:extLst>
            </p:cNvPr>
            <p:cNvSpPr/>
            <p:nvPr/>
          </p:nvSpPr>
          <p:spPr>
            <a:xfrm flipH="1">
              <a:off x="3621539" y="2516795"/>
              <a:ext cx="74805" cy="55172"/>
            </a:xfrm>
            <a:custGeom>
              <a:avLst/>
              <a:gdLst/>
              <a:ahLst/>
              <a:cxnLst/>
              <a:rect l="l" t="t" r="r" b="b"/>
              <a:pathLst>
                <a:path w="5212" h="3844" extrusionOk="0">
                  <a:moveTo>
                    <a:pt x="2008" y="428"/>
                  </a:moveTo>
                  <a:cubicBezTo>
                    <a:pt x="2325" y="428"/>
                    <a:pt x="2641" y="463"/>
                    <a:pt x="2958" y="534"/>
                  </a:cubicBezTo>
                  <a:cubicBezTo>
                    <a:pt x="3522" y="675"/>
                    <a:pt x="4050" y="991"/>
                    <a:pt x="4402" y="1449"/>
                  </a:cubicBezTo>
                  <a:cubicBezTo>
                    <a:pt x="4719" y="1907"/>
                    <a:pt x="4754" y="2541"/>
                    <a:pt x="4507" y="3033"/>
                  </a:cubicBezTo>
                  <a:cubicBezTo>
                    <a:pt x="4402" y="3209"/>
                    <a:pt x="4190" y="3350"/>
                    <a:pt x="3979" y="3385"/>
                  </a:cubicBezTo>
                  <a:lnTo>
                    <a:pt x="3944" y="3632"/>
                  </a:lnTo>
                  <a:lnTo>
                    <a:pt x="3944" y="3385"/>
                  </a:lnTo>
                  <a:cubicBezTo>
                    <a:pt x="3803" y="3385"/>
                    <a:pt x="3627" y="3315"/>
                    <a:pt x="3486" y="3245"/>
                  </a:cubicBezTo>
                  <a:cubicBezTo>
                    <a:pt x="2501" y="2752"/>
                    <a:pt x="1620" y="2118"/>
                    <a:pt x="846" y="1379"/>
                  </a:cubicBezTo>
                  <a:cubicBezTo>
                    <a:pt x="670" y="1203"/>
                    <a:pt x="494" y="921"/>
                    <a:pt x="529" y="780"/>
                  </a:cubicBezTo>
                  <a:cubicBezTo>
                    <a:pt x="599" y="639"/>
                    <a:pt x="775" y="534"/>
                    <a:pt x="1128" y="499"/>
                  </a:cubicBezTo>
                  <a:cubicBezTo>
                    <a:pt x="1409" y="463"/>
                    <a:pt x="1726" y="428"/>
                    <a:pt x="2008" y="428"/>
                  </a:cubicBezTo>
                  <a:close/>
                  <a:moveTo>
                    <a:pt x="1985" y="1"/>
                  </a:moveTo>
                  <a:cubicBezTo>
                    <a:pt x="1678" y="1"/>
                    <a:pt x="1368" y="27"/>
                    <a:pt x="1057" y="76"/>
                  </a:cubicBezTo>
                  <a:cubicBezTo>
                    <a:pt x="881" y="111"/>
                    <a:pt x="283" y="182"/>
                    <a:pt x="107" y="639"/>
                  </a:cubicBezTo>
                  <a:cubicBezTo>
                    <a:pt x="1" y="956"/>
                    <a:pt x="142" y="1308"/>
                    <a:pt x="529" y="1696"/>
                  </a:cubicBezTo>
                  <a:cubicBezTo>
                    <a:pt x="1339" y="2470"/>
                    <a:pt x="2254" y="3139"/>
                    <a:pt x="3275" y="3632"/>
                  </a:cubicBezTo>
                  <a:cubicBezTo>
                    <a:pt x="3486" y="3773"/>
                    <a:pt x="3698" y="3843"/>
                    <a:pt x="3944" y="3843"/>
                  </a:cubicBezTo>
                  <a:lnTo>
                    <a:pt x="3979" y="3843"/>
                  </a:lnTo>
                  <a:cubicBezTo>
                    <a:pt x="4331" y="3808"/>
                    <a:pt x="4683" y="3597"/>
                    <a:pt x="4859" y="3280"/>
                  </a:cubicBezTo>
                  <a:cubicBezTo>
                    <a:pt x="5211" y="2611"/>
                    <a:pt x="5141" y="1836"/>
                    <a:pt x="4754" y="1238"/>
                  </a:cubicBezTo>
                  <a:cubicBezTo>
                    <a:pt x="4331" y="639"/>
                    <a:pt x="3733" y="252"/>
                    <a:pt x="3029" y="111"/>
                  </a:cubicBezTo>
                  <a:cubicBezTo>
                    <a:pt x="2689" y="36"/>
                    <a:pt x="2339" y="1"/>
                    <a:pt x="198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 name="Google Shape;597;p48">
              <a:extLst>
                <a:ext uri="{FF2B5EF4-FFF2-40B4-BE49-F238E27FC236}">
                  <a16:creationId xmlns:a16="http://schemas.microsoft.com/office/drawing/2014/main" id="{925881F1-B70A-4E2D-8E84-5593AF072AB1}"/>
                </a:ext>
              </a:extLst>
            </p:cNvPr>
            <p:cNvSpPr/>
            <p:nvPr/>
          </p:nvSpPr>
          <p:spPr>
            <a:xfrm flipH="1">
              <a:off x="3775313" y="2608336"/>
              <a:ext cx="31202" cy="26438"/>
            </a:xfrm>
            <a:custGeom>
              <a:avLst/>
              <a:gdLst/>
              <a:ahLst/>
              <a:cxnLst/>
              <a:rect l="l" t="t" r="r" b="b"/>
              <a:pathLst>
                <a:path w="2174" h="1842" extrusionOk="0">
                  <a:moveTo>
                    <a:pt x="959" y="0"/>
                  </a:moveTo>
                  <a:cubicBezTo>
                    <a:pt x="945" y="0"/>
                    <a:pt x="931" y="0"/>
                    <a:pt x="916" y="1"/>
                  </a:cubicBezTo>
                  <a:cubicBezTo>
                    <a:pt x="423" y="1"/>
                    <a:pt x="36" y="388"/>
                    <a:pt x="1" y="881"/>
                  </a:cubicBezTo>
                  <a:cubicBezTo>
                    <a:pt x="1" y="1461"/>
                    <a:pt x="465" y="1842"/>
                    <a:pt x="950" y="1842"/>
                  </a:cubicBezTo>
                  <a:cubicBezTo>
                    <a:pt x="1171" y="1842"/>
                    <a:pt x="1397" y="1762"/>
                    <a:pt x="1585" y="1585"/>
                  </a:cubicBezTo>
                  <a:cubicBezTo>
                    <a:pt x="2174" y="997"/>
                    <a:pt x="1775" y="0"/>
                    <a:pt x="959"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 name="Google Shape;598;p48">
              <a:extLst>
                <a:ext uri="{FF2B5EF4-FFF2-40B4-BE49-F238E27FC236}">
                  <a16:creationId xmlns:a16="http://schemas.microsoft.com/office/drawing/2014/main" id="{2F0F387E-925D-4FBA-AEAF-C98A39B5E45F}"/>
                </a:ext>
              </a:extLst>
            </p:cNvPr>
            <p:cNvSpPr/>
            <p:nvPr/>
          </p:nvSpPr>
          <p:spPr>
            <a:xfrm flipH="1">
              <a:off x="3515913" y="2601703"/>
              <a:ext cx="27801" cy="28676"/>
            </a:xfrm>
            <a:custGeom>
              <a:avLst/>
              <a:gdLst/>
              <a:ahLst/>
              <a:cxnLst/>
              <a:rect l="l" t="t" r="r" b="b"/>
              <a:pathLst>
                <a:path w="1937" h="1998" extrusionOk="0">
                  <a:moveTo>
                    <a:pt x="1108" y="1"/>
                  </a:moveTo>
                  <a:cubicBezTo>
                    <a:pt x="792" y="1"/>
                    <a:pt x="510" y="170"/>
                    <a:pt x="317" y="428"/>
                  </a:cubicBezTo>
                  <a:cubicBezTo>
                    <a:pt x="106" y="639"/>
                    <a:pt x="0" y="956"/>
                    <a:pt x="35" y="1273"/>
                  </a:cubicBezTo>
                  <a:cubicBezTo>
                    <a:pt x="127" y="1702"/>
                    <a:pt x="512" y="1997"/>
                    <a:pt x="936" y="1997"/>
                  </a:cubicBezTo>
                  <a:cubicBezTo>
                    <a:pt x="999" y="1997"/>
                    <a:pt x="1063" y="1991"/>
                    <a:pt x="1127" y="1977"/>
                  </a:cubicBezTo>
                  <a:cubicBezTo>
                    <a:pt x="1620" y="1836"/>
                    <a:pt x="1937" y="1378"/>
                    <a:pt x="1901" y="886"/>
                  </a:cubicBezTo>
                  <a:cubicBezTo>
                    <a:pt x="1901" y="463"/>
                    <a:pt x="1585" y="76"/>
                    <a:pt x="1197" y="5"/>
                  </a:cubicBezTo>
                  <a:cubicBezTo>
                    <a:pt x="1167" y="2"/>
                    <a:pt x="1138" y="1"/>
                    <a:pt x="1108"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 name="Google Shape;599;p48">
              <a:extLst>
                <a:ext uri="{FF2B5EF4-FFF2-40B4-BE49-F238E27FC236}">
                  <a16:creationId xmlns:a16="http://schemas.microsoft.com/office/drawing/2014/main" id="{7F69AFFE-075A-47EF-9C4B-394BD46F1F1D}"/>
                </a:ext>
              </a:extLst>
            </p:cNvPr>
            <p:cNvSpPr/>
            <p:nvPr/>
          </p:nvSpPr>
          <p:spPr>
            <a:xfrm flipH="1">
              <a:off x="2021035" y="4531333"/>
              <a:ext cx="140998" cy="133278"/>
            </a:xfrm>
            <a:custGeom>
              <a:avLst/>
              <a:gdLst/>
              <a:ahLst/>
              <a:cxnLst/>
              <a:rect l="l" t="t" r="r" b="b"/>
              <a:pathLst>
                <a:path w="9824" h="9286" extrusionOk="0">
                  <a:moveTo>
                    <a:pt x="1620" y="0"/>
                  </a:moveTo>
                  <a:cubicBezTo>
                    <a:pt x="1233" y="2641"/>
                    <a:pt x="670" y="5281"/>
                    <a:pt x="1" y="7851"/>
                  </a:cubicBezTo>
                  <a:cubicBezTo>
                    <a:pt x="1815" y="8808"/>
                    <a:pt x="3835" y="9286"/>
                    <a:pt x="5857" y="9286"/>
                  </a:cubicBezTo>
                  <a:cubicBezTo>
                    <a:pt x="6738" y="9286"/>
                    <a:pt x="7620" y="9195"/>
                    <a:pt x="8486" y="9013"/>
                  </a:cubicBezTo>
                  <a:cubicBezTo>
                    <a:pt x="8169" y="6408"/>
                    <a:pt x="8627" y="3767"/>
                    <a:pt x="9824" y="1444"/>
                  </a:cubicBezTo>
                  <a:lnTo>
                    <a:pt x="9824" y="1444"/>
                  </a:lnTo>
                  <a:cubicBezTo>
                    <a:pt x="9647" y="1448"/>
                    <a:pt x="9471" y="1450"/>
                    <a:pt x="9295" y="1450"/>
                  </a:cubicBezTo>
                  <a:cubicBezTo>
                    <a:pt x="6659" y="1450"/>
                    <a:pt x="4063" y="957"/>
                    <a:pt x="1620"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 name="Google Shape;600;p48">
              <a:extLst>
                <a:ext uri="{FF2B5EF4-FFF2-40B4-BE49-F238E27FC236}">
                  <a16:creationId xmlns:a16="http://schemas.microsoft.com/office/drawing/2014/main" id="{93DD5549-AB10-4CF1-8DC5-D899CDC87976}"/>
                </a:ext>
              </a:extLst>
            </p:cNvPr>
            <p:cNvSpPr/>
            <p:nvPr/>
          </p:nvSpPr>
          <p:spPr>
            <a:xfrm flipH="1">
              <a:off x="2016004" y="4614332"/>
              <a:ext cx="286017" cy="115610"/>
            </a:xfrm>
            <a:custGeom>
              <a:avLst/>
              <a:gdLst/>
              <a:ahLst/>
              <a:cxnLst/>
              <a:rect l="l" t="t" r="r" b="b"/>
              <a:pathLst>
                <a:path w="19928" h="8055" extrusionOk="0">
                  <a:moveTo>
                    <a:pt x="8242" y="1"/>
                  </a:moveTo>
                  <a:cubicBezTo>
                    <a:pt x="7940" y="1"/>
                    <a:pt x="7641" y="112"/>
                    <a:pt x="7394" y="309"/>
                  </a:cubicBezTo>
                  <a:cubicBezTo>
                    <a:pt x="7112" y="591"/>
                    <a:pt x="6831" y="943"/>
                    <a:pt x="6584" y="1295"/>
                  </a:cubicBezTo>
                  <a:cubicBezTo>
                    <a:pt x="5775" y="2386"/>
                    <a:pt x="4754" y="2879"/>
                    <a:pt x="3451" y="3266"/>
                  </a:cubicBezTo>
                  <a:cubicBezTo>
                    <a:pt x="2571" y="3513"/>
                    <a:pt x="1409" y="3900"/>
                    <a:pt x="775" y="4534"/>
                  </a:cubicBezTo>
                  <a:cubicBezTo>
                    <a:pt x="1" y="5308"/>
                    <a:pt x="1" y="6717"/>
                    <a:pt x="282" y="7949"/>
                  </a:cubicBezTo>
                  <a:lnTo>
                    <a:pt x="2008" y="8055"/>
                  </a:lnTo>
                  <a:lnTo>
                    <a:pt x="19611" y="8019"/>
                  </a:lnTo>
                  <a:cubicBezTo>
                    <a:pt x="19928" y="6294"/>
                    <a:pt x="19752" y="4499"/>
                    <a:pt x="19188" y="2844"/>
                  </a:cubicBezTo>
                  <a:cubicBezTo>
                    <a:pt x="19012" y="2351"/>
                    <a:pt x="18801" y="1330"/>
                    <a:pt x="18414" y="1048"/>
                  </a:cubicBezTo>
                  <a:cubicBezTo>
                    <a:pt x="18151" y="546"/>
                    <a:pt x="17617" y="328"/>
                    <a:pt x="17082" y="328"/>
                  </a:cubicBezTo>
                  <a:cubicBezTo>
                    <a:pt x="16755" y="328"/>
                    <a:pt x="16427" y="409"/>
                    <a:pt x="16161" y="556"/>
                  </a:cubicBezTo>
                  <a:cubicBezTo>
                    <a:pt x="15492" y="943"/>
                    <a:pt x="15034" y="1647"/>
                    <a:pt x="14365" y="2069"/>
                  </a:cubicBezTo>
                  <a:cubicBezTo>
                    <a:pt x="13913" y="2383"/>
                    <a:pt x="13362" y="2532"/>
                    <a:pt x="12786" y="2532"/>
                  </a:cubicBezTo>
                  <a:cubicBezTo>
                    <a:pt x="11748" y="2532"/>
                    <a:pt x="10629" y="2050"/>
                    <a:pt x="9859" y="1189"/>
                  </a:cubicBezTo>
                  <a:cubicBezTo>
                    <a:pt x="9471" y="767"/>
                    <a:pt x="9154" y="274"/>
                    <a:pt x="8626" y="63"/>
                  </a:cubicBezTo>
                  <a:cubicBezTo>
                    <a:pt x="8500" y="21"/>
                    <a:pt x="8371" y="1"/>
                    <a:pt x="824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 name="Google Shape;601;p48">
              <a:extLst>
                <a:ext uri="{FF2B5EF4-FFF2-40B4-BE49-F238E27FC236}">
                  <a16:creationId xmlns:a16="http://schemas.microsoft.com/office/drawing/2014/main" id="{081E5678-5A2B-42B0-9ABB-8EA1F225DC91}"/>
                </a:ext>
              </a:extLst>
            </p:cNvPr>
            <p:cNvSpPr/>
            <p:nvPr/>
          </p:nvSpPr>
          <p:spPr>
            <a:xfrm flipH="1">
              <a:off x="1442977" y="3752528"/>
              <a:ext cx="723091" cy="855072"/>
            </a:xfrm>
            <a:custGeom>
              <a:avLst/>
              <a:gdLst/>
              <a:ahLst/>
              <a:cxnLst/>
              <a:rect l="l" t="t" r="r" b="b"/>
              <a:pathLst>
                <a:path w="50381" h="59576" extrusionOk="0">
                  <a:moveTo>
                    <a:pt x="31545" y="1"/>
                  </a:moveTo>
                  <a:cubicBezTo>
                    <a:pt x="31405" y="952"/>
                    <a:pt x="31299" y="1937"/>
                    <a:pt x="31158" y="2923"/>
                  </a:cubicBezTo>
                  <a:lnTo>
                    <a:pt x="34855" y="3310"/>
                  </a:lnTo>
                  <a:cubicBezTo>
                    <a:pt x="25314" y="4155"/>
                    <a:pt x="16090" y="6937"/>
                    <a:pt x="7711" y="11478"/>
                  </a:cubicBezTo>
                  <a:cubicBezTo>
                    <a:pt x="6126" y="12358"/>
                    <a:pt x="4472" y="13379"/>
                    <a:pt x="3662" y="15105"/>
                  </a:cubicBezTo>
                  <a:cubicBezTo>
                    <a:pt x="2993" y="16407"/>
                    <a:pt x="2887" y="18027"/>
                    <a:pt x="2782" y="19576"/>
                  </a:cubicBezTo>
                  <a:cubicBezTo>
                    <a:pt x="1831" y="32497"/>
                    <a:pt x="916" y="45382"/>
                    <a:pt x="0" y="58303"/>
                  </a:cubicBezTo>
                  <a:cubicBezTo>
                    <a:pt x="3465" y="58875"/>
                    <a:pt x="3909" y="59575"/>
                    <a:pt x="7072" y="59575"/>
                  </a:cubicBezTo>
                  <a:cubicBezTo>
                    <a:pt x="7220" y="59575"/>
                    <a:pt x="7374" y="59574"/>
                    <a:pt x="7534" y="59571"/>
                  </a:cubicBezTo>
                  <a:cubicBezTo>
                    <a:pt x="8450" y="59571"/>
                    <a:pt x="10950" y="59395"/>
                    <a:pt x="11583" y="58796"/>
                  </a:cubicBezTo>
                  <a:cubicBezTo>
                    <a:pt x="12393" y="58021"/>
                    <a:pt x="12323" y="56367"/>
                    <a:pt x="12323" y="55099"/>
                  </a:cubicBezTo>
                  <a:cubicBezTo>
                    <a:pt x="12393" y="50699"/>
                    <a:pt x="13132" y="47600"/>
                    <a:pt x="14153" y="43481"/>
                  </a:cubicBezTo>
                  <a:cubicBezTo>
                    <a:pt x="14857" y="40665"/>
                    <a:pt x="15632" y="38200"/>
                    <a:pt x="16054" y="35278"/>
                  </a:cubicBezTo>
                  <a:cubicBezTo>
                    <a:pt x="16477" y="32356"/>
                    <a:pt x="16301" y="28976"/>
                    <a:pt x="15315" y="23836"/>
                  </a:cubicBezTo>
                  <a:cubicBezTo>
                    <a:pt x="17500" y="22703"/>
                    <a:pt x="20273" y="22381"/>
                    <a:pt x="23179" y="22381"/>
                  </a:cubicBezTo>
                  <a:cubicBezTo>
                    <a:pt x="26594" y="22381"/>
                    <a:pt x="30192" y="22825"/>
                    <a:pt x="33235" y="22920"/>
                  </a:cubicBezTo>
                  <a:cubicBezTo>
                    <a:pt x="33626" y="22930"/>
                    <a:pt x="34019" y="22936"/>
                    <a:pt x="34412" y="22936"/>
                  </a:cubicBezTo>
                  <a:cubicBezTo>
                    <a:pt x="39698" y="22936"/>
                    <a:pt x="45169" y="21969"/>
                    <a:pt x="47987" y="17710"/>
                  </a:cubicBezTo>
                  <a:cubicBezTo>
                    <a:pt x="50346" y="14189"/>
                    <a:pt x="50381" y="9225"/>
                    <a:pt x="50310" y="4507"/>
                  </a:cubicBezTo>
                  <a:lnTo>
                    <a:pt x="31545"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 name="Google Shape;602;p48">
              <a:extLst>
                <a:ext uri="{FF2B5EF4-FFF2-40B4-BE49-F238E27FC236}">
                  <a16:creationId xmlns:a16="http://schemas.microsoft.com/office/drawing/2014/main" id="{29BEFA4E-4D9A-4E0E-8FF6-5A64C89F4DC7}"/>
                </a:ext>
              </a:extLst>
            </p:cNvPr>
            <p:cNvSpPr/>
            <p:nvPr/>
          </p:nvSpPr>
          <p:spPr>
            <a:xfrm flipH="1">
              <a:off x="2090253" y="4100244"/>
              <a:ext cx="42971" cy="495710"/>
            </a:xfrm>
            <a:custGeom>
              <a:avLst/>
              <a:gdLst/>
              <a:ahLst/>
              <a:cxnLst/>
              <a:rect l="l" t="t" r="r" b="b"/>
              <a:pathLst>
                <a:path w="2994" h="34538" extrusionOk="0">
                  <a:moveTo>
                    <a:pt x="2571" y="0"/>
                  </a:moveTo>
                  <a:cubicBezTo>
                    <a:pt x="2747" y="11548"/>
                    <a:pt x="1867" y="23096"/>
                    <a:pt x="1" y="34467"/>
                  </a:cubicBezTo>
                  <a:lnTo>
                    <a:pt x="247" y="34538"/>
                  </a:lnTo>
                  <a:cubicBezTo>
                    <a:pt x="2113" y="23131"/>
                    <a:pt x="2993" y="11548"/>
                    <a:pt x="285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 name="Google Shape;603;p48">
              <a:extLst>
                <a:ext uri="{FF2B5EF4-FFF2-40B4-BE49-F238E27FC236}">
                  <a16:creationId xmlns:a16="http://schemas.microsoft.com/office/drawing/2014/main" id="{355B4CE4-A479-4E0D-BE7C-26B56F88F89F}"/>
                </a:ext>
              </a:extLst>
            </p:cNvPr>
            <p:cNvSpPr/>
            <p:nvPr/>
          </p:nvSpPr>
          <p:spPr>
            <a:xfrm flipH="1">
              <a:off x="1442971" y="3753045"/>
              <a:ext cx="690254" cy="852458"/>
            </a:xfrm>
            <a:custGeom>
              <a:avLst/>
              <a:gdLst/>
              <a:ahLst/>
              <a:cxnLst/>
              <a:rect l="l" t="t" r="r" b="b"/>
              <a:pathLst>
                <a:path w="48093" h="59394" extrusionOk="0">
                  <a:moveTo>
                    <a:pt x="29293" y="0"/>
                  </a:moveTo>
                  <a:cubicBezTo>
                    <a:pt x="29152" y="951"/>
                    <a:pt x="29011" y="1937"/>
                    <a:pt x="28870" y="2922"/>
                  </a:cubicBezTo>
                  <a:lnTo>
                    <a:pt x="32567" y="3274"/>
                  </a:lnTo>
                  <a:cubicBezTo>
                    <a:pt x="23061" y="4119"/>
                    <a:pt x="13802" y="6901"/>
                    <a:pt x="5423" y="11442"/>
                  </a:cubicBezTo>
                  <a:cubicBezTo>
                    <a:pt x="3838" y="12322"/>
                    <a:pt x="2219" y="13343"/>
                    <a:pt x="1374" y="15069"/>
                  </a:cubicBezTo>
                  <a:cubicBezTo>
                    <a:pt x="705" y="16371"/>
                    <a:pt x="599" y="17991"/>
                    <a:pt x="494" y="19540"/>
                  </a:cubicBezTo>
                  <a:lnTo>
                    <a:pt x="1" y="26194"/>
                  </a:lnTo>
                  <a:cubicBezTo>
                    <a:pt x="15456" y="28306"/>
                    <a:pt x="9683" y="44748"/>
                    <a:pt x="7394" y="59394"/>
                  </a:cubicBezTo>
                  <a:cubicBezTo>
                    <a:pt x="8204" y="59253"/>
                    <a:pt x="8978" y="59077"/>
                    <a:pt x="9295" y="58760"/>
                  </a:cubicBezTo>
                  <a:cubicBezTo>
                    <a:pt x="10105" y="57985"/>
                    <a:pt x="10035" y="56366"/>
                    <a:pt x="10035" y="55099"/>
                  </a:cubicBezTo>
                  <a:cubicBezTo>
                    <a:pt x="10105" y="50663"/>
                    <a:pt x="10844" y="47564"/>
                    <a:pt x="11865" y="43480"/>
                  </a:cubicBezTo>
                  <a:cubicBezTo>
                    <a:pt x="12569" y="40629"/>
                    <a:pt x="13379" y="38235"/>
                    <a:pt x="13802" y="35277"/>
                  </a:cubicBezTo>
                  <a:cubicBezTo>
                    <a:pt x="14224" y="32320"/>
                    <a:pt x="14048" y="28975"/>
                    <a:pt x="13027" y="23835"/>
                  </a:cubicBezTo>
                  <a:cubicBezTo>
                    <a:pt x="15212" y="22702"/>
                    <a:pt x="17985" y="22380"/>
                    <a:pt x="20891" y="22380"/>
                  </a:cubicBezTo>
                  <a:cubicBezTo>
                    <a:pt x="24306" y="22380"/>
                    <a:pt x="27904" y="22825"/>
                    <a:pt x="30947" y="22920"/>
                  </a:cubicBezTo>
                  <a:cubicBezTo>
                    <a:pt x="31338" y="22929"/>
                    <a:pt x="31731" y="22935"/>
                    <a:pt x="32125" y="22935"/>
                  </a:cubicBezTo>
                  <a:cubicBezTo>
                    <a:pt x="37410" y="22935"/>
                    <a:pt x="42883" y="21969"/>
                    <a:pt x="45734" y="17709"/>
                  </a:cubicBezTo>
                  <a:cubicBezTo>
                    <a:pt x="48058" y="14188"/>
                    <a:pt x="48093" y="9224"/>
                    <a:pt x="48058" y="4507"/>
                  </a:cubicBezTo>
                  <a:lnTo>
                    <a:pt x="2929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 name="Google Shape;604;p48">
              <a:extLst>
                <a:ext uri="{FF2B5EF4-FFF2-40B4-BE49-F238E27FC236}">
                  <a16:creationId xmlns:a16="http://schemas.microsoft.com/office/drawing/2014/main" id="{71C88878-6C78-4756-95CF-D514EE5F9CD8}"/>
                </a:ext>
              </a:extLst>
            </p:cNvPr>
            <p:cNvSpPr/>
            <p:nvPr/>
          </p:nvSpPr>
          <p:spPr>
            <a:xfrm flipH="1">
              <a:off x="2593125" y="4576307"/>
              <a:ext cx="175861" cy="151004"/>
            </a:xfrm>
            <a:custGeom>
              <a:avLst/>
              <a:gdLst/>
              <a:ahLst/>
              <a:cxnLst/>
              <a:rect l="l" t="t" r="r" b="b"/>
              <a:pathLst>
                <a:path w="12253" h="10521" extrusionOk="0">
                  <a:moveTo>
                    <a:pt x="3205" y="1"/>
                  </a:moveTo>
                  <a:cubicBezTo>
                    <a:pt x="2430" y="3064"/>
                    <a:pt x="1374" y="6056"/>
                    <a:pt x="1" y="8873"/>
                  </a:cubicBezTo>
                  <a:cubicBezTo>
                    <a:pt x="1964" y="9963"/>
                    <a:pt x="4160" y="10520"/>
                    <a:pt x="6384" y="10520"/>
                  </a:cubicBezTo>
                  <a:cubicBezTo>
                    <a:pt x="7390" y="10520"/>
                    <a:pt x="8402" y="10406"/>
                    <a:pt x="9401" y="10175"/>
                  </a:cubicBezTo>
                  <a:cubicBezTo>
                    <a:pt x="9507" y="7113"/>
                    <a:pt x="10492" y="4155"/>
                    <a:pt x="12253" y="1620"/>
                  </a:cubicBezTo>
                  <a:lnTo>
                    <a:pt x="12253" y="1620"/>
                  </a:lnTo>
                  <a:cubicBezTo>
                    <a:pt x="12080" y="1624"/>
                    <a:pt x="11908" y="1626"/>
                    <a:pt x="11735" y="1626"/>
                  </a:cubicBezTo>
                  <a:cubicBezTo>
                    <a:pt x="8814" y="1626"/>
                    <a:pt x="5931" y="1065"/>
                    <a:pt x="3205"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 name="Google Shape;605;p48">
              <a:extLst>
                <a:ext uri="{FF2B5EF4-FFF2-40B4-BE49-F238E27FC236}">
                  <a16:creationId xmlns:a16="http://schemas.microsoft.com/office/drawing/2014/main" id="{D01BC52E-2059-447D-BD04-8E00B25EE807}"/>
                </a:ext>
              </a:extLst>
            </p:cNvPr>
            <p:cNvSpPr/>
            <p:nvPr/>
          </p:nvSpPr>
          <p:spPr>
            <a:xfrm flipH="1">
              <a:off x="2596178" y="4669613"/>
              <a:ext cx="343612" cy="131082"/>
            </a:xfrm>
            <a:custGeom>
              <a:avLst/>
              <a:gdLst/>
              <a:ahLst/>
              <a:cxnLst/>
              <a:rect l="l" t="t" r="r" b="b"/>
              <a:pathLst>
                <a:path w="23941" h="9133" extrusionOk="0">
                  <a:moveTo>
                    <a:pt x="10967" y="1"/>
                  </a:moveTo>
                  <a:cubicBezTo>
                    <a:pt x="10604" y="1"/>
                    <a:pt x="10251" y="126"/>
                    <a:pt x="9964" y="366"/>
                  </a:cubicBezTo>
                  <a:cubicBezTo>
                    <a:pt x="9541" y="683"/>
                    <a:pt x="9154" y="1070"/>
                    <a:pt x="8802" y="1457"/>
                  </a:cubicBezTo>
                  <a:cubicBezTo>
                    <a:pt x="7605" y="2690"/>
                    <a:pt x="6126" y="3570"/>
                    <a:pt x="4471" y="4028"/>
                  </a:cubicBezTo>
                  <a:cubicBezTo>
                    <a:pt x="3380" y="4309"/>
                    <a:pt x="2183" y="4415"/>
                    <a:pt x="1303" y="5154"/>
                  </a:cubicBezTo>
                  <a:cubicBezTo>
                    <a:pt x="247" y="6034"/>
                    <a:pt x="0" y="7619"/>
                    <a:pt x="106" y="8992"/>
                  </a:cubicBezTo>
                  <a:lnTo>
                    <a:pt x="2148" y="9133"/>
                  </a:lnTo>
                  <a:lnTo>
                    <a:pt x="23166" y="9097"/>
                  </a:lnTo>
                  <a:cubicBezTo>
                    <a:pt x="23800" y="7196"/>
                    <a:pt x="23941" y="5189"/>
                    <a:pt x="23553" y="3218"/>
                  </a:cubicBezTo>
                  <a:cubicBezTo>
                    <a:pt x="23448" y="2690"/>
                    <a:pt x="23377" y="1528"/>
                    <a:pt x="22920" y="1211"/>
                  </a:cubicBezTo>
                  <a:cubicBezTo>
                    <a:pt x="22678" y="639"/>
                    <a:pt x="22079" y="383"/>
                    <a:pt x="21449" y="383"/>
                  </a:cubicBezTo>
                  <a:cubicBezTo>
                    <a:pt x="21070" y="383"/>
                    <a:pt x="20680" y="476"/>
                    <a:pt x="20349" y="648"/>
                  </a:cubicBezTo>
                  <a:cubicBezTo>
                    <a:pt x="19469" y="1070"/>
                    <a:pt x="18800" y="1880"/>
                    <a:pt x="17955" y="2373"/>
                  </a:cubicBezTo>
                  <a:cubicBezTo>
                    <a:pt x="17313" y="2713"/>
                    <a:pt x="16622" y="2877"/>
                    <a:pt x="15940" y="2877"/>
                  </a:cubicBezTo>
                  <a:cubicBezTo>
                    <a:pt x="14716" y="2877"/>
                    <a:pt x="13524" y="2347"/>
                    <a:pt x="12710" y="1352"/>
                  </a:cubicBezTo>
                  <a:cubicBezTo>
                    <a:pt x="12322" y="894"/>
                    <a:pt x="12041" y="296"/>
                    <a:pt x="11477" y="84"/>
                  </a:cubicBezTo>
                  <a:cubicBezTo>
                    <a:pt x="11309" y="28"/>
                    <a:pt x="11137" y="1"/>
                    <a:pt x="10967"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 name="Google Shape;606;p48">
              <a:extLst>
                <a:ext uri="{FF2B5EF4-FFF2-40B4-BE49-F238E27FC236}">
                  <a16:creationId xmlns:a16="http://schemas.microsoft.com/office/drawing/2014/main" id="{FE4CF0C4-9505-4BFF-AE98-55827F64B525}"/>
                </a:ext>
              </a:extLst>
            </p:cNvPr>
            <p:cNvSpPr/>
            <p:nvPr/>
          </p:nvSpPr>
          <p:spPr>
            <a:xfrm flipH="1">
              <a:off x="1726022" y="3683294"/>
              <a:ext cx="1051046" cy="961122"/>
            </a:xfrm>
            <a:custGeom>
              <a:avLst/>
              <a:gdLst/>
              <a:ahLst/>
              <a:cxnLst/>
              <a:rect l="l" t="t" r="r" b="b"/>
              <a:pathLst>
                <a:path w="73231" h="66965" extrusionOk="0">
                  <a:moveTo>
                    <a:pt x="50874" y="1"/>
                  </a:moveTo>
                  <a:lnTo>
                    <a:pt x="49783" y="3310"/>
                  </a:lnTo>
                  <a:lnTo>
                    <a:pt x="48902" y="3909"/>
                  </a:lnTo>
                  <a:cubicBezTo>
                    <a:pt x="36756" y="4894"/>
                    <a:pt x="30102" y="7816"/>
                    <a:pt x="19012" y="12886"/>
                  </a:cubicBezTo>
                  <a:cubicBezTo>
                    <a:pt x="16829" y="13872"/>
                    <a:pt x="14611" y="14999"/>
                    <a:pt x="13238" y="16935"/>
                  </a:cubicBezTo>
                  <a:cubicBezTo>
                    <a:pt x="12182" y="18414"/>
                    <a:pt x="11689" y="20209"/>
                    <a:pt x="11267" y="21970"/>
                  </a:cubicBezTo>
                  <a:cubicBezTo>
                    <a:pt x="7500" y="36510"/>
                    <a:pt x="3768" y="51015"/>
                    <a:pt x="1" y="65555"/>
                  </a:cubicBezTo>
                  <a:cubicBezTo>
                    <a:pt x="4309" y="66176"/>
                    <a:pt x="4636" y="66965"/>
                    <a:pt x="8809" y="66965"/>
                  </a:cubicBezTo>
                  <a:cubicBezTo>
                    <a:pt x="8899" y="66965"/>
                    <a:pt x="8990" y="66964"/>
                    <a:pt x="9084" y="66964"/>
                  </a:cubicBezTo>
                  <a:cubicBezTo>
                    <a:pt x="10246" y="66964"/>
                    <a:pt x="13344" y="66788"/>
                    <a:pt x="14259" y="66084"/>
                  </a:cubicBezTo>
                  <a:cubicBezTo>
                    <a:pt x="15421" y="65203"/>
                    <a:pt x="15667" y="63373"/>
                    <a:pt x="15949" y="61964"/>
                  </a:cubicBezTo>
                  <a:cubicBezTo>
                    <a:pt x="16900" y="56965"/>
                    <a:pt x="18449" y="53515"/>
                    <a:pt x="20561" y="48903"/>
                  </a:cubicBezTo>
                  <a:cubicBezTo>
                    <a:pt x="22005" y="45699"/>
                    <a:pt x="23448" y="42988"/>
                    <a:pt x="24575" y="39643"/>
                  </a:cubicBezTo>
                  <a:cubicBezTo>
                    <a:pt x="25701" y="36334"/>
                    <a:pt x="26124" y="32567"/>
                    <a:pt x="25948" y="26793"/>
                  </a:cubicBezTo>
                  <a:cubicBezTo>
                    <a:pt x="28873" y="25516"/>
                    <a:pt x="32362" y="25152"/>
                    <a:pt x="35955" y="25152"/>
                  </a:cubicBezTo>
                  <a:cubicBezTo>
                    <a:pt x="40190" y="25152"/>
                    <a:pt x="44568" y="25658"/>
                    <a:pt x="48339" y="25772"/>
                  </a:cubicBezTo>
                  <a:cubicBezTo>
                    <a:pt x="48846" y="25785"/>
                    <a:pt x="49357" y="25792"/>
                    <a:pt x="49870" y="25792"/>
                  </a:cubicBezTo>
                  <a:cubicBezTo>
                    <a:pt x="56386" y="25792"/>
                    <a:pt x="63330" y="24660"/>
                    <a:pt x="67703" y="19928"/>
                  </a:cubicBezTo>
                  <a:cubicBezTo>
                    <a:pt x="71294" y="15949"/>
                    <a:pt x="72350" y="10387"/>
                    <a:pt x="73230" y="5106"/>
                  </a:cubicBezTo>
                  <a:lnTo>
                    <a:pt x="50874"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 name="Google Shape;607;p48">
              <a:extLst>
                <a:ext uri="{FF2B5EF4-FFF2-40B4-BE49-F238E27FC236}">
                  <a16:creationId xmlns:a16="http://schemas.microsoft.com/office/drawing/2014/main" id="{4014C0FA-B1F7-451B-A346-279A9A48FDB3}"/>
                </a:ext>
              </a:extLst>
            </p:cNvPr>
            <p:cNvSpPr/>
            <p:nvPr/>
          </p:nvSpPr>
          <p:spPr>
            <a:xfrm flipH="1">
              <a:off x="1726000" y="3735344"/>
              <a:ext cx="906029" cy="908563"/>
            </a:xfrm>
            <a:custGeom>
              <a:avLst/>
              <a:gdLst/>
              <a:ahLst/>
              <a:cxnLst/>
              <a:rect l="l" t="t" r="r" b="b"/>
              <a:pathLst>
                <a:path w="63127" h="63303" extrusionOk="0">
                  <a:moveTo>
                    <a:pt x="56683" y="1"/>
                  </a:moveTo>
                  <a:cubicBezTo>
                    <a:pt x="46473" y="14541"/>
                    <a:pt x="25737" y="14788"/>
                    <a:pt x="10070" y="18872"/>
                  </a:cubicBezTo>
                  <a:cubicBezTo>
                    <a:pt x="12957" y="24681"/>
                    <a:pt x="10809" y="30455"/>
                    <a:pt x="9331" y="36229"/>
                  </a:cubicBezTo>
                  <a:cubicBezTo>
                    <a:pt x="6937" y="45382"/>
                    <a:pt x="1339" y="54184"/>
                    <a:pt x="1" y="63302"/>
                  </a:cubicBezTo>
                  <a:cubicBezTo>
                    <a:pt x="1409" y="63232"/>
                    <a:pt x="3451" y="62986"/>
                    <a:pt x="4155" y="62458"/>
                  </a:cubicBezTo>
                  <a:cubicBezTo>
                    <a:pt x="5317" y="61613"/>
                    <a:pt x="5563" y="59747"/>
                    <a:pt x="5810" y="58338"/>
                  </a:cubicBezTo>
                  <a:cubicBezTo>
                    <a:pt x="6761" y="53339"/>
                    <a:pt x="8345" y="49889"/>
                    <a:pt x="10422" y="45277"/>
                  </a:cubicBezTo>
                  <a:cubicBezTo>
                    <a:pt x="11865" y="42073"/>
                    <a:pt x="13344" y="39362"/>
                    <a:pt x="14436" y="36017"/>
                  </a:cubicBezTo>
                  <a:cubicBezTo>
                    <a:pt x="15562" y="32708"/>
                    <a:pt x="16020" y="28941"/>
                    <a:pt x="15809" y="23167"/>
                  </a:cubicBezTo>
                  <a:cubicBezTo>
                    <a:pt x="18750" y="21890"/>
                    <a:pt x="22241" y="21526"/>
                    <a:pt x="25830" y="21526"/>
                  </a:cubicBezTo>
                  <a:cubicBezTo>
                    <a:pt x="30061" y="21526"/>
                    <a:pt x="34429" y="22032"/>
                    <a:pt x="38200" y="22146"/>
                  </a:cubicBezTo>
                  <a:cubicBezTo>
                    <a:pt x="38722" y="22159"/>
                    <a:pt x="39247" y="22166"/>
                    <a:pt x="39775" y="22166"/>
                  </a:cubicBezTo>
                  <a:cubicBezTo>
                    <a:pt x="46303" y="22166"/>
                    <a:pt x="53199" y="21057"/>
                    <a:pt x="57564" y="16302"/>
                  </a:cubicBezTo>
                  <a:cubicBezTo>
                    <a:pt x="61190" y="12358"/>
                    <a:pt x="62246" y="6761"/>
                    <a:pt x="63126" y="1480"/>
                  </a:cubicBezTo>
                  <a:lnTo>
                    <a:pt x="56683"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 name="Google Shape;608;p48">
              <a:extLst>
                <a:ext uri="{FF2B5EF4-FFF2-40B4-BE49-F238E27FC236}">
                  <a16:creationId xmlns:a16="http://schemas.microsoft.com/office/drawing/2014/main" id="{7B0EACCD-5D9D-4A30-ADBB-3F991CE01E17}"/>
                </a:ext>
              </a:extLst>
            </p:cNvPr>
            <p:cNvSpPr/>
            <p:nvPr/>
          </p:nvSpPr>
          <p:spPr>
            <a:xfrm flipH="1">
              <a:off x="2058997" y="3859671"/>
              <a:ext cx="606378" cy="782232"/>
            </a:xfrm>
            <a:custGeom>
              <a:avLst/>
              <a:gdLst/>
              <a:ahLst/>
              <a:cxnLst/>
              <a:rect l="l" t="t" r="r" b="b"/>
              <a:pathLst>
                <a:path w="42249" h="54501" extrusionOk="0">
                  <a:moveTo>
                    <a:pt x="42142" y="1"/>
                  </a:moveTo>
                  <a:cubicBezTo>
                    <a:pt x="33306" y="3873"/>
                    <a:pt x="23905" y="6408"/>
                    <a:pt x="14329" y="7465"/>
                  </a:cubicBezTo>
                  <a:cubicBezTo>
                    <a:pt x="13308" y="7570"/>
                    <a:pt x="12076" y="7711"/>
                    <a:pt x="11302" y="8556"/>
                  </a:cubicBezTo>
                  <a:cubicBezTo>
                    <a:pt x="10809" y="9154"/>
                    <a:pt x="10703" y="9999"/>
                    <a:pt x="11090" y="10704"/>
                  </a:cubicBezTo>
                  <a:cubicBezTo>
                    <a:pt x="11126" y="10774"/>
                    <a:pt x="11126" y="10844"/>
                    <a:pt x="11055" y="10880"/>
                  </a:cubicBezTo>
                  <a:cubicBezTo>
                    <a:pt x="11034" y="10921"/>
                    <a:pt x="10990" y="10938"/>
                    <a:pt x="10949" y="10938"/>
                  </a:cubicBezTo>
                  <a:cubicBezTo>
                    <a:pt x="10920" y="10938"/>
                    <a:pt x="10894" y="10929"/>
                    <a:pt x="10879" y="10915"/>
                  </a:cubicBezTo>
                  <a:lnTo>
                    <a:pt x="10703" y="10809"/>
                  </a:lnTo>
                  <a:cubicBezTo>
                    <a:pt x="10492" y="10704"/>
                    <a:pt x="10281" y="10598"/>
                    <a:pt x="10034" y="10528"/>
                  </a:cubicBezTo>
                  <a:cubicBezTo>
                    <a:pt x="10002" y="10523"/>
                    <a:pt x="9971" y="10521"/>
                    <a:pt x="9940" y="10521"/>
                  </a:cubicBezTo>
                  <a:cubicBezTo>
                    <a:pt x="9734" y="10521"/>
                    <a:pt x="9558" y="10621"/>
                    <a:pt x="9436" y="10774"/>
                  </a:cubicBezTo>
                  <a:cubicBezTo>
                    <a:pt x="9295" y="10985"/>
                    <a:pt x="9295" y="11267"/>
                    <a:pt x="9436" y="11443"/>
                  </a:cubicBezTo>
                  <a:lnTo>
                    <a:pt x="10140" y="12464"/>
                  </a:lnTo>
                  <a:cubicBezTo>
                    <a:pt x="10210" y="12605"/>
                    <a:pt x="10245" y="12781"/>
                    <a:pt x="10175" y="12957"/>
                  </a:cubicBezTo>
                  <a:cubicBezTo>
                    <a:pt x="10105" y="13062"/>
                    <a:pt x="9999" y="13168"/>
                    <a:pt x="9858" y="13203"/>
                  </a:cubicBezTo>
                  <a:cubicBezTo>
                    <a:pt x="9612" y="13238"/>
                    <a:pt x="9400" y="13450"/>
                    <a:pt x="9365" y="13696"/>
                  </a:cubicBezTo>
                  <a:cubicBezTo>
                    <a:pt x="9295" y="14189"/>
                    <a:pt x="9365" y="14717"/>
                    <a:pt x="9612" y="15140"/>
                  </a:cubicBezTo>
                  <a:cubicBezTo>
                    <a:pt x="10809" y="17674"/>
                    <a:pt x="10421" y="20491"/>
                    <a:pt x="9893" y="22427"/>
                  </a:cubicBezTo>
                  <a:cubicBezTo>
                    <a:pt x="9330" y="24293"/>
                    <a:pt x="8626" y="26124"/>
                    <a:pt x="7746" y="27884"/>
                  </a:cubicBezTo>
                  <a:lnTo>
                    <a:pt x="7253" y="28905"/>
                  </a:lnTo>
                  <a:cubicBezTo>
                    <a:pt x="3591" y="37003"/>
                    <a:pt x="1127" y="45629"/>
                    <a:pt x="0" y="54430"/>
                  </a:cubicBezTo>
                  <a:lnTo>
                    <a:pt x="282" y="54501"/>
                  </a:lnTo>
                  <a:cubicBezTo>
                    <a:pt x="1408" y="45699"/>
                    <a:pt x="3838" y="37109"/>
                    <a:pt x="7534" y="29046"/>
                  </a:cubicBezTo>
                  <a:lnTo>
                    <a:pt x="7992" y="27990"/>
                  </a:lnTo>
                  <a:cubicBezTo>
                    <a:pt x="8872" y="26230"/>
                    <a:pt x="9612" y="24399"/>
                    <a:pt x="10175" y="22498"/>
                  </a:cubicBezTo>
                  <a:cubicBezTo>
                    <a:pt x="10703" y="20526"/>
                    <a:pt x="11090" y="17639"/>
                    <a:pt x="9858" y="15034"/>
                  </a:cubicBezTo>
                  <a:cubicBezTo>
                    <a:pt x="9647" y="14647"/>
                    <a:pt x="9576" y="14189"/>
                    <a:pt x="9682" y="13767"/>
                  </a:cubicBezTo>
                  <a:cubicBezTo>
                    <a:pt x="9752" y="13485"/>
                    <a:pt x="9823" y="13485"/>
                    <a:pt x="9893" y="13485"/>
                  </a:cubicBezTo>
                  <a:cubicBezTo>
                    <a:pt x="10140" y="13450"/>
                    <a:pt x="10351" y="13309"/>
                    <a:pt x="10457" y="13062"/>
                  </a:cubicBezTo>
                  <a:cubicBezTo>
                    <a:pt x="10562" y="12816"/>
                    <a:pt x="10527" y="12534"/>
                    <a:pt x="10386" y="12288"/>
                  </a:cubicBezTo>
                  <a:lnTo>
                    <a:pt x="9682" y="11302"/>
                  </a:lnTo>
                  <a:cubicBezTo>
                    <a:pt x="9612" y="11196"/>
                    <a:pt x="9612" y="11056"/>
                    <a:pt x="9682" y="10950"/>
                  </a:cubicBezTo>
                  <a:cubicBezTo>
                    <a:pt x="9752" y="10844"/>
                    <a:pt x="9858" y="10809"/>
                    <a:pt x="9964" y="10809"/>
                  </a:cubicBezTo>
                  <a:cubicBezTo>
                    <a:pt x="10175" y="10880"/>
                    <a:pt x="10386" y="10950"/>
                    <a:pt x="10562" y="11091"/>
                  </a:cubicBezTo>
                  <a:lnTo>
                    <a:pt x="10738" y="11196"/>
                  </a:lnTo>
                  <a:cubicBezTo>
                    <a:pt x="10797" y="11220"/>
                    <a:pt x="10859" y="11232"/>
                    <a:pt x="10922" y="11232"/>
                  </a:cubicBezTo>
                  <a:cubicBezTo>
                    <a:pt x="11047" y="11232"/>
                    <a:pt x="11172" y="11185"/>
                    <a:pt x="11266" y="11091"/>
                  </a:cubicBezTo>
                  <a:cubicBezTo>
                    <a:pt x="11407" y="10950"/>
                    <a:pt x="11442" y="10739"/>
                    <a:pt x="11337" y="10563"/>
                  </a:cubicBezTo>
                  <a:cubicBezTo>
                    <a:pt x="11020" y="9964"/>
                    <a:pt x="11090" y="9260"/>
                    <a:pt x="11513" y="8732"/>
                  </a:cubicBezTo>
                  <a:cubicBezTo>
                    <a:pt x="12217" y="7993"/>
                    <a:pt x="13414" y="7852"/>
                    <a:pt x="14329" y="7746"/>
                  </a:cubicBezTo>
                  <a:cubicBezTo>
                    <a:pt x="23976" y="6690"/>
                    <a:pt x="33376" y="4155"/>
                    <a:pt x="42248" y="282"/>
                  </a:cubicBezTo>
                  <a:lnTo>
                    <a:pt x="4214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 name="Google Shape;609;p48">
              <a:extLst>
                <a:ext uri="{FF2B5EF4-FFF2-40B4-BE49-F238E27FC236}">
                  <a16:creationId xmlns:a16="http://schemas.microsoft.com/office/drawing/2014/main" id="{E5C2C5DC-85F9-4694-8558-F92F8C35C696}"/>
                </a:ext>
              </a:extLst>
            </p:cNvPr>
            <p:cNvSpPr/>
            <p:nvPr/>
          </p:nvSpPr>
          <p:spPr>
            <a:xfrm flipH="1">
              <a:off x="1426722" y="2864568"/>
              <a:ext cx="194046" cy="206692"/>
            </a:xfrm>
            <a:custGeom>
              <a:avLst/>
              <a:gdLst/>
              <a:ahLst/>
              <a:cxnLst/>
              <a:rect l="l" t="t" r="r" b="b"/>
              <a:pathLst>
                <a:path w="13520" h="14401" extrusionOk="0">
                  <a:moveTo>
                    <a:pt x="458" y="1"/>
                  </a:moveTo>
                  <a:cubicBezTo>
                    <a:pt x="282" y="4789"/>
                    <a:pt x="141" y="9577"/>
                    <a:pt x="0" y="14400"/>
                  </a:cubicBezTo>
                  <a:cubicBezTo>
                    <a:pt x="4331" y="13274"/>
                    <a:pt x="9083" y="12957"/>
                    <a:pt x="13519" y="12464"/>
                  </a:cubicBezTo>
                  <a:cubicBezTo>
                    <a:pt x="11477" y="8943"/>
                    <a:pt x="10034" y="4402"/>
                    <a:pt x="9964" y="282"/>
                  </a:cubicBezTo>
                  <a:cubicBezTo>
                    <a:pt x="8780" y="375"/>
                    <a:pt x="7592" y="422"/>
                    <a:pt x="6405" y="422"/>
                  </a:cubicBezTo>
                  <a:cubicBezTo>
                    <a:pt x="4412" y="422"/>
                    <a:pt x="2421" y="288"/>
                    <a:pt x="458" y="1"/>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 name="Google Shape;610;p48">
              <a:extLst>
                <a:ext uri="{FF2B5EF4-FFF2-40B4-BE49-F238E27FC236}">
                  <a16:creationId xmlns:a16="http://schemas.microsoft.com/office/drawing/2014/main" id="{56E18483-7E54-45CC-BBF7-640C0F973824}"/>
                </a:ext>
              </a:extLst>
            </p:cNvPr>
            <p:cNvSpPr/>
            <p:nvPr/>
          </p:nvSpPr>
          <p:spPr>
            <a:xfrm flipH="1">
              <a:off x="1484350" y="2689009"/>
              <a:ext cx="243560" cy="311624"/>
            </a:xfrm>
            <a:custGeom>
              <a:avLst/>
              <a:gdLst/>
              <a:ahLst/>
              <a:cxnLst/>
              <a:rect l="l" t="t" r="r" b="b"/>
              <a:pathLst>
                <a:path w="16970" h="21712" extrusionOk="0">
                  <a:moveTo>
                    <a:pt x="8860" y="1"/>
                  </a:moveTo>
                  <a:cubicBezTo>
                    <a:pt x="8019" y="1"/>
                    <a:pt x="7165" y="105"/>
                    <a:pt x="6338" y="225"/>
                  </a:cubicBezTo>
                  <a:cubicBezTo>
                    <a:pt x="5352" y="331"/>
                    <a:pt x="4366" y="542"/>
                    <a:pt x="3451" y="894"/>
                  </a:cubicBezTo>
                  <a:cubicBezTo>
                    <a:pt x="2500" y="1246"/>
                    <a:pt x="1725" y="1915"/>
                    <a:pt x="1197" y="2760"/>
                  </a:cubicBezTo>
                  <a:lnTo>
                    <a:pt x="352" y="3746"/>
                  </a:lnTo>
                  <a:cubicBezTo>
                    <a:pt x="176" y="5260"/>
                    <a:pt x="0" y="6809"/>
                    <a:pt x="599" y="8217"/>
                  </a:cubicBezTo>
                  <a:cubicBezTo>
                    <a:pt x="845" y="8675"/>
                    <a:pt x="1057" y="9133"/>
                    <a:pt x="1162" y="9626"/>
                  </a:cubicBezTo>
                  <a:cubicBezTo>
                    <a:pt x="1268" y="10259"/>
                    <a:pt x="1021" y="10893"/>
                    <a:pt x="916" y="11527"/>
                  </a:cubicBezTo>
                  <a:cubicBezTo>
                    <a:pt x="704" y="12829"/>
                    <a:pt x="1197" y="14202"/>
                    <a:pt x="1690" y="15470"/>
                  </a:cubicBezTo>
                  <a:lnTo>
                    <a:pt x="3451" y="20188"/>
                  </a:lnTo>
                  <a:cubicBezTo>
                    <a:pt x="3556" y="20645"/>
                    <a:pt x="3803" y="21032"/>
                    <a:pt x="4155" y="21385"/>
                  </a:cubicBezTo>
                  <a:cubicBezTo>
                    <a:pt x="4467" y="21634"/>
                    <a:pt x="4864" y="21712"/>
                    <a:pt x="5275" y="21712"/>
                  </a:cubicBezTo>
                  <a:cubicBezTo>
                    <a:pt x="5561" y="21712"/>
                    <a:pt x="5852" y="21674"/>
                    <a:pt x="6126" y="21631"/>
                  </a:cubicBezTo>
                  <a:cubicBezTo>
                    <a:pt x="7605" y="21420"/>
                    <a:pt x="9048" y="21138"/>
                    <a:pt x="10492" y="20786"/>
                  </a:cubicBezTo>
                  <a:cubicBezTo>
                    <a:pt x="12428" y="20293"/>
                    <a:pt x="14435" y="19624"/>
                    <a:pt x="15667" y="18040"/>
                  </a:cubicBezTo>
                  <a:cubicBezTo>
                    <a:pt x="16794" y="16596"/>
                    <a:pt x="16970" y="14660"/>
                    <a:pt x="16935" y="12794"/>
                  </a:cubicBezTo>
                  <a:cubicBezTo>
                    <a:pt x="16864" y="10576"/>
                    <a:pt x="16477" y="8358"/>
                    <a:pt x="15808" y="6210"/>
                  </a:cubicBezTo>
                  <a:cubicBezTo>
                    <a:pt x="15456" y="5013"/>
                    <a:pt x="14928" y="3852"/>
                    <a:pt x="14224" y="2831"/>
                  </a:cubicBezTo>
                  <a:cubicBezTo>
                    <a:pt x="13555" y="1774"/>
                    <a:pt x="12569" y="965"/>
                    <a:pt x="11407" y="437"/>
                  </a:cubicBezTo>
                  <a:cubicBezTo>
                    <a:pt x="10599" y="113"/>
                    <a:pt x="9736" y="1"/>
                    <a:pt x="8860" y="1"/>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 name="Google Shape;611;p48">
              <a:extLst>
                <a:ext uri="{FF2B5EF4-FFF2-40B4-BE49-F238E27FC236}">
                  <a16:creationId xmlns:a16="http://schemas.microsoft.com/office/drawing/2014/main" id="{B6D8BC68-6467-4BF1-BCCB-9DECEC856805}"/>
                </a:ext>
              </a:extLst>
            </p:cNvPr>
            <p:cNvSpPr/>
            <p:nvPr/>
          </p:nvSpPr>
          <p:spPr>
            <a:xfrm flipH="1">
              <a:off x="1427249" y="2627542"/>
              <a:ext cx="354735" cy="335032"/>
            </a:xfrm>
            <a:custGeom>
              <a:avLst/>
              <a:gdLst/>
              <a:ahLst/>
              <a:cxnLst/>
              <a:rect l="l" t="t" r="r" b="b"/>
              <a:pathLst>
                <a:path w="24716" h="23343" extrusionOk="0">
                  <a:moveTo>
                    <a:pt x="5211" y="1"/>
                  </a:moveTo>
                  <a:cubicBezTo>
                    <a:pt x="5105" y="987"/>
                    <a:pt x="5457" y="1937"/>
                    <a:pt x="6126" y="2641"/>
                  </a:cubicBezTo>
                  <a:lnTo>
                    <a:pt x="3943" y="2712"/>
                  </a:lnTo>
                  <a:cubicBezTo>
                    <a:pt x="3239" y="2712"/>
                    <a:pt x="2324" y="2571"/>
                    <a:pt x="1831" y="1902"/>
                  </a:cubicBezTo>
                  <a:lnTo>
                    <a:pt x="1831" y="1902"/>
                  </a:lnTo>
                  <a:cubicBezTo>
                    <a:pt x="1690" y="2536"/>
                    <a:pt x="2042" y="3170"/>
                    <a:pt x="2676" y="3381"/>
                  </a:cubicBezTo>
                  <a:cubicBezTo>
                    <a:pt x="1655" y="3381"/>
                    <a:pt x="810" y="2641"/>
                    <a:pt x="634" y="1691"/>
                  </a:cubicBezTo>
                  <a:lnTo>
                    <a:pt x="634" y="1691"/>
                  </a:lnTo>
                  <a:cubicBezTo>
                    <a:pt x="71" y="3134"/>
                    <a:pt x="564" y="4824"/>
                    <a:pt x="1831" y="5740"/>
                  </a:cubicBezTo>
                  <a:cubicBezTo>
                    <a:pt x="1056" y="5493"/>
                    <a:pt x="423" y="5000"/>
                    <a:pt x="0" y="4296"/>
                  </a:cubicBezTo>
                  <a:lnTo>
                    <a:pt x="0" y="4296"/>
                  </a:lnTo>
                  <a:cubicBezTo>
                    <a:pt x="317" y="6232"/>
                    <a:pt x="1761" y="7852"/>
                    <a:pt x="3556" y="8767"/>
                  </a:cubicBezTo>
                  <a:lnTo>
                    <a:pt x="3556" y="8803"/>
                  </a:lnTo>
                  <a:cubicBezTo>
                    <a:pt x="4155" y="9507"/>
                    <a:pt x="4964" y="9964"/>
                    <a:pt x="5880" y="10140"/>
                  </a:cubicBezTo>
                  <a:cubicBezTo>
                    <a:pt x="7042" y="10352"/>
                    <a:pt x="7992" y="11232"/>
                    <a:pt x="8309" y="12394"/>
                  </a:cubicBezTo>
                  <a:cubicBezTo>
                    <a:pt x="8908" y="14753"/>
                    <a:pt x="9752" y="17076"/>
                    <a:pt x="11478" y="18625"/>
                  </a:cubicBezTo>
                  <a:cubicBezTo>
                    <a:pt x="13942" y="20914"/>
                    <a:pt x="18625" y="20808"/>
                    <a:pt x="21511" y="23343"/>
                  </a:cubicBezTo>
                  <a:cubicBezTo>
                    <a:pt x="22180" y="20280"/>
                    <a:pt x="22955" y="18168"/>
                    <a:pt x="23729" y="15105"/>
                  </a:cubicBezTo>
                  <a:cubicBezTo>
                    <a:pt x="24046" y="13767"/>
                    <a:pt x="24715" y="12112"/>
                    <a:pt x="24469" y="10739"/>
                  </a:cubicBezTo>
                  <a:cubicBezTo>
                    <a:pt x="24082" y="8345"/>
                    <a:pt x="23272" y="5986"/>
                    <a:pt x="22040" y="3874"/>
                  </a:cubicBezTo>
                  <a:cubicBezTo>
                    <a:pt x="21723" y="3205"/>
                    <a:pt x="21230" y="2641"/>
                    <a:pt x="20666" y="2184"/>
                  </a:cubicBezTo>
                  <a:cubicBezTo>
                    <a:pt x="19822" y="1550"/>
                    <a:pt x="18730" y="1480"/>
                    <a:pt x="17709" y="1409"/>
                  </a:cubicBezTo>
                  <a:cubicBezTo>
                    <a:pt x="16696" y="1369"/>
                    <a:pt x="15683" y="1274"/>
                    <a:pt x="14676" y="1274"/>
                  </a:cubicBezTo>
                  <a:cubicBezTo>
                    <a:pt x="13898" y="1274"/>
                    <a:pt x="13125" y="1331"/>
                    <a:pt x="12358" y="1515"/>
                  </a:cubicBezTo>
                  <a:cubicBezTo>
                    <a:pt x="11442" y="1374"/>
                    <a:pt x="10562" y="1092"/>
                    <a:pt x="9717" y="635"/>
                  </a:cubicBezTo>
                  <a:lnTo>
                    <a:pt x="9717" y="635"/>
                  </a:lnTo>
                  <a:cubicBezTo>
                    <a:pt x="9823" y="1022"/>
                    <a:pt x="10034" y="1409"/>
                    <a:pt x="10386" y="1656"/>
                  </a:cubicBezTo>
                  <a:cubicBezTo>
                    <a:pt x="9612" y="1656"/>
                    <a:pt x="8872" y="1374"/>
                    <a:pt x="8344" y="846"/>
                  </a:cubicBezTo>
                  <a:lnTo>
                    <a:pt x="8344" y="846"/>
                  </a:lnTo>
                  <a:cubicBezTo>
                    <a:pt x="8344" y="1409"/>
                    <a:pt x="8555" y="1937"/>
                    <a:pt x="8978" y="2360"/>
                  </a:cubicBezTo>
                  <a:cubicBezTo>
                    <a:pt x="8872" y="2360"/>
                    <a:pt x="8767" y="2395"/>
                    <a:pt x="8661" y="2395"/>
                  </a:cubicBezTo>
                  <a:lnTo>
                    <a:pt x="8520" y="2395"/>
                  </a:lnTo>
                  <a:cubicBezTo>
                    <a:pt x="7112" y="2184"/>
                    <a:pt x="5880" y="1268"/>
                    <a:pt x="5211"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 name="Google Shape;612;p48">
              <a:extLst>
                <a:ext uri="{FF2B5EF4-FFF2-40B4-BE49-F238E27FC236}">
                  <a16:creationId xmlns:a16="http://schemas.microsoft.com/office/drawing/2014/main" id="{62956DB3-C9D9-430C-AFCA-27BE43F6FC38}"/>
                </a:ext>
              </a:extLst>
            </p:cNvPr>
            <p:cNvSpPr/>
            <p:nvPr/>
          </p:nvSpPr>
          <p:spPr>
            <a:xfrm flipH="1">
              <a:off x="1597022" y="2805011"/>
              <a:ext cx="65706" cy="112625"/>
            </a:xfrm>
            <a:custGeom>
              <a:avLst/>
              <a:gdLst/>
              <a:ahLst/>
              <a:cxnLst/>
              <a:rect l="l" t="t" r="r" b="b"/>
              <a:pathLst>
                <a:path w="4578" h="7847" extrusionOk="0">
                  <a:moveTo>
                    <a:pt x="2343" y="1"/>
                  </a:moveTo>
                  <a:cubicBezTo>
                    <a:pt x="2133" y="1"/>
                    <a:pt x="1920" y="55"/>
                    <a:pt x="1726" y="171"/>
                  </a:cubicBezTo>
                  <a:cubicBezTo>
                    <a:pt x="1233" y="524"/>
                    <a:pt x="1163" y="1157"/>
                    <a:pt x="1057" y="1721"/>
                  </a:cubicBezTo>
                  <a:cubicBezTo>
                    <a:pt x="954" y="2303"/>
                    <a:pt x="585" y="2919"/>
                    <a:pt x="46" y="2919"/>
                  </a:cubicBezTo>
                  <a:cubicBezTo>
                    <a:pt x="31" y="2919"/>
                    <a:pt x="16" y="2919"/>
                    <a:pt x="1" y="2918"/>
                  </a:cubicBezTo>
                  <a:lnTo>
                    <a:pt x="1" y="2918"/>
                  </a:lnTo>
                  <a:lnTo>
                    <a:pt x="1620" y="7776"/>
                  </a:lnTo>
                  <a:cubicBezTo>
                    <a:pt x="1773" y="7823"/>
                    <a:pt x="1937" y="7847"/>
                    <a:pt x="2104" y="7847"/>
                  </a:cubicBezTo>
                  <a:cubicBezTo>
                    <a:pt x="2438" y="7847"/>
                    <a:pt x="2782" y="7753"/>
                    <a:pt x="3064" y="7565"/>
                  </a:cubicBezTo>
                  <a:cubicBezTo>
                    <a:pt x="3486" y="7248"/>
                    <a:pt x="3803" y="6861"/>
                    <a:pt x="3979" y="6403"/>
                  </a:cubicBezTo>
                  <a:cubicBezTo>
                    <a:pt x="4578" y="5030"/>
                    <a:pt x="4367" y="3481"/>
                    <a:pt x="4050" y="2073"/>
                  </a:cubicBezTo>
                  <a:cubicBezTo>
                    <a:pt x="3944" y="1474"/>
                    <a:pt x="3698" y="911"/>
                    <a:pt x="3310" y="453"/>
                  </a:cubicBezTo>
                  <a:cubicBezTo>
                    <a:pt x="3065" y="163"/>
                    <a:pt x="2707" y="1"/>
                    <a:pt x="2343" y="1"/>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 name="Google Shape;613;p48">
              <a:extLst>
                <a:ext uri="{FF2B5EF4-FFF2-40B4-BE49-F238E27FC236}">
                  <a16:creationId xmlns:a16="http://schemas.microsoft.com/office/drawing/2014/main" id="{924A8A68-27DF-4D2C-826D-5752CFCA07EB}"/>
                </a:ext>
              </a:extLst>
            </p:cNvPr>
            <p:cNvSpPr/>
            <p:nvPr/>
          </p:nvSpPr>
          <p:spPr>
            <a:xfrm flipH="1">
              <a:off x="1381247" y="2999072"/>
              <a:ext cx="291069" cy="91914"/>
            </a:xfrm>
            <a:custGeom>
              <a:avLst/>
              <a:gdLst/>
              <a:ahLst/>
              <a:cxnLst/>
              <a:rect l="l" t="t" r="r" b="b"/>
              <a:pathLst>
                <a:path w="20280" h="6404" extrusionOk="0">
                  <a:moveTo>
                    <a:pt x="11535" y="1"/>
                  </a:moveTo>
                  <a:cubicBezTo>
                    <a:pt x="7538" y="1"/>
                    <a:pt x="3762" y="1846"/>
                    <a:pt x="0" y="4397"/>
                  </a:cubicBezTo>
                  <a:cubicBezTo>
                    <a:pt x="282" y="5664"/>
                    <a:pt x="599" y="5136"/>
                    <a:pt x="915" y="6403"/>
                  </a:cubicBezTo>
                  <a:cubicBezTo>
                    <a:pt x="5912" y="5745"/>
                    <a:pt x="10951" y="5407"/>
                    <a:pt x="15999" y="5407"/>
                  </a:cubicBezTo>
                  <a:cubicBezTo>
                    <a:pt x="17425" y="5407"/>
                    <a:pt x="18852" y="5434"/>
                    <a:pt x="20279" y="5488"/>
                  </a:cubicBezTo>
                  <a:cubicBezTo>
                    <a:pt x="19962" y="3446"/>
                    <a:pt x="19504" y="4749"/>
                    <a:pt x="19751" y="2707"/>
                  </a:cubicBezTo>
                  <a:cubicBezTo>
                    <a:pt x="16877" y="796"/>
                    <a:pt x="14158" y="1"/>
                    <a:pt x="1153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 name="Google Shape;614;p48">
              <a:extLst>
                <a:ext uri="{FF2B5EF4-FFF2-40B4-BE49-F238E27FC236}">
                  <a16:creationId xmlns:a16="http://schemas.microsoft.com/office/drawing/2014/main" id="{DAF40221-3C0A-4ED9-9D8D-4E15DC8E9B52}"/>
                </a:ext>
              </a:extLst>
            </p:cNvPr>
            <p:cNvSpPr/>
            <p:nvPr/>
          </p:nvSpPr>
          <p:spPr>
            <a:xfrm flipH="1">
              <a:off x="1413077" y="3030050"/>
              <a:ext cx="225894" cy="38192"/>
            </a:xfrm>
            <a:custGeom>
              <a:avLst/>
              <a:gdLst/>
              <a:ahLst/>
              <a:cxnLst/>
              <a:rect l="l" t="t" r="r" b="b"/>
              <a:pathLst>
                <a:path w="15739" h="2661" extrusionOk="0">
                  <a:moveTo>
                    <a:pt x="9731" y="1"/>
                  </a:moveTo>
                  <a:cubicBezTo>
                    <a:pt x="9088" y="1"/>
                    <a:pt x="8447" y="44"/>
                    <a:pt x="7817" y="126"/>
                  </a:cubicBezTo>
                  <a:cubicBezTo>
                    <a:pt x="5106" y="514"/>
                    <a:pt x="2536" y="1535"/>
                    <a:pt x="1" y="2555"/>
                  </a:cubicBezTo>
                  <a:cubicBezTo>
                    <a:pt x="1292" y="2625"/>
                    <a:pt x="2586" y="2660"/>
                    <a:pt x="3880" y="2660"/>
                  </a:cubicBezTo>
                  <a:cubicBezTo>
                    <a:pt x="7843" y="2660"/>
                    <a:pt x="11810" y="2330"/>
                    <a:pt x="15738" y="1640"/>
                  </a:cubicBezTo>
                  <a:cubicBezTo>
                    <a:pt x="13982" y="478"/>
                    <a:pt x="11852" y="1"/>
                    <a:pt x="973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 name="Google Shape;615;p48">
              <a:extLst>
                <a:ext uri="{FF2B5EF4-FFF2-40B4-BE49-F238E27FC236}">
                  <a16:creationId xmlns:a16="http://schemas.microsoft.com/office/drawing/2014/main" id="{6F4A2D93-5468-4176-9E3B-A668943AAF9F}"/>
                </a:ext>
              </a:extLst>
            </p:cNvPr>
            <p:cNvSpPr/>
            <p:nvPr/>
          </p:nvSpPr>
          <p:spPr>
            <a:xfrm flipH="1">
              <a:off x="1263076" y="3050864"/>
              <a:ext cx="861550" cy="966276"/>
            </a:xfrm>
            <a:custGeom>
              <a:avLst/>
              <a:gdLst/>
              <a:ahLst/>
              <a:cxnLst/>
              <a:rect l="l" t="t" r="r" b="b"/>
              <a:pathLst>
                <a:path w="60028" h="67324" extrusionOk="0">
                  <a:moveTo>
                    <a:pt x="45461" y="0"/>
                  </a:moveTo>
                  <a:cubicBezTo>
                    <a:pt x="44987" y="0"/>
                    <a:pt x="44513" y="7"/>
                    <a:pt x="44044" y="14"/>
                  </a:cubicBezTo>
                  <a:cubicBezTo>
                    <a:pt x="40417" y="85"/>
                    <a:pt x="36756" y="120"/>
                    <a:pt x="33200" y="894"/>
                  </a:cubicBezTo>
                  <a:cubicBezTo>
                    <a:pt x="29644" y="1634"/>
                    <a:pt x="26159" y="3077"/>
                    <a:pt x="23518" y="5612"/>
                  </a:cubicBezTo>
                  <a:cubicBezTo>
                    <a:pt x="20314" y="8675"/>
                    <a:pt x="18695" y="13005"/>
                    <a:pt x="17639" y="17301"/>
                  </a:cubicBezTo>
                  <a:cubicBezTo>
                    <a:pt x="16583" y="21596"/>
                    <a:pt x="15984" y="26032"/>
                    <a:pt x="14435" y="30151"/>
                  </a:cubicBezTo>
                  <a:cubicBezTo>
                    <a:pt x="12815" y="34411"/>
                    <a:pt x="10245" y="38249"/>
                    <a:pt x="6901" y="41311"/>
                  </a:cubicBezTo>
                  <a:cubicBezTo>
                    <a:pt x="6126" y="42016"/>
                    <a:pt x="5316" y="42720"/>
                    <a:pt x="4612" y="43494"/>
                  </a:cubicBezTo>
                  <a:lnTo>
                    <a:pt x="0" y="47332"/>
                  </a:lnTo>
                  <a:cubicBezTo>
                    <a:pt x="1268" y="50712"/>
                    <a:pt x="2535" y="54056"/>
                    <a:pt x="4331" y="57154"/>
                  </a:cubicBezTo>
                  <a:cubicBezTo>
                    <a:pt x="6161" y="60253"/>
                    <a:pt x="8555" y="63104"/>
                    <a:pt x="11689" y="64900"/>
                  </a:cubicBezTo>
                  <a:cubicBezTo>
                    <a:pt x="14636" y="66619"/>
                    <a:pt x="18091" y="67323"/>
                    <a:pt x="21546" y="67323"/>
                  </a:cubicBezTo>
                  <a:cubicBezTo>
                    <a:pt x="22548" y="67323"/>
                    <a:pt x="23550" y="67264"/>
                    <a:pt x="24539" y="67153"/>
                  </a:cubicBezTo>
                  <a:cubicBezTo>
                    <a:pt x="28975" y="66660"/>
                    <a:pt x="33200" y="65252"/>
                    <a:pt x="37425" y="63844"/>
                  </a:cubicBezTo>
                  <a:cubicBezTo>
                    <a:pt x="38727" y="63421"/>
                    <a:pt x="40171" y="62893"/>
                    <a:pt x="41016" y="61767"/>
                  </a:cubicBezTo>
                  <a:cubicBezTo>
                    <a:pt x="41368" y="61238"/>
                    <a:pt x="41650" y="60675"/>
                    <a:pt x="41861" y="60041"/>
                  </a:cubicBezTo>
                  <a:lnTo>
                    <a:pt x="43903" y="54725"/>
                  </a:lnTo>
                  <a:cubicBezTo>
                    <a:pt x="45100" y="52965"/>
                    <a:pt x="46156" y="51099"/>
                    <a:pt x="47107" y="49198"/>
                  </a:cubicBezTo>
                  <a:cubicBezTo>
                    <a:pt x="52071" y="39481"/>
                    <a:pt x="54817" y="34446"/>
                    <a:pt x="57950" y="23990"/>
                  </a:cubicBezTo>
                  <a:cubicBezTo>
                    <a:pt x="59006" y="20469"/>
                    <a:pt x="60027" y="11245"/>
                    <a:pt x="58373" y="7971"/>
                  </a:cubicBezTo>
                  <a:cubicBezTo>
                    <a:pt x="57281" y="5929"/>
                    <a:pt x="57422" y="4521"/>
                    <a:pt x="55591" y="3147"/>
                  </a:cubicBezTo>
                  <a:cubicBezTo>
                    <a:pt x="54253" y="2162"/>
                    <a:pt x="52740" y="1352"/>
                    <a:pt x="51155" y="824"/>
                  </a:cubicBezTo>
                  <a:cubicBezTo>
                    <a:pt x="49372" y="116"/>
                    <a:pt x="47407" y="0"/>
                    <a:pt x="45461"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 name="Google Shape;616;p48">
              <a:extLst>
                <a:ext uri="{FF2B5EF4-FFF2-40B4-BE49-F238E27FC236}">
                  <a16:creationId xmlns:a16="http://schemas.microsoft.com/office/drawing/2014/main" id="{5EFCE2F3-9185-4767-83E7-99BDAE785839}"/>
                </a:ext>
              </a:extLst>
            </p:cNvPr>
            <p:cNvSpPr/>
            <p:nvPr/>
          </p:nvSpPr>
          <p:spPr>
            <a:xfrm flipH="1">
              <a:off x="1779991" y="3335089"/>
              <a:ext cx="317849" cy="498752"/>
            </a:xfrm>
            <a:custGeom>
              <a:avLst/>
              <a:gdLst/>
              <a:ahLst/>
              <a:cxnLst/>
              <a:rect l="l" t="t" r="r" b="b"/>
              <a:pathLst>
                <a:path w="22146" h="34750" extrusionOk="0">
                  <a:moveTo>
                    <a:pt x="21863" y="0"/>
                  </a:moveTo>
                  <a:cubicBezTo>
                    <a:pt x="20103" y="5528"/>
                    <a:pt x="17568" y="12675"/>
                    <a:pt x="13801" y="19188"/>
                  </a:cubicBezTo>
                  <a:cubicBezTo>
                    <a:pt x="9964" y="25772"/>
                    <a:pt x="5316" y="30912"/>
                    <a:pt x="0" y="34503"/>
                  </a:cubicBezTo>
                  <a:lnTo>
                    <a:pt x="176" y="34749"/>
                  </a:lnTo>
                  <a:cubicBezTo>
                    <a:pt x="5528" y="31158"/>
                    <a:pt x="10175" y="25983"/>
                    <a:pt x="14048" y="19329"/>
                  </a:cubicBezTo>
                  <a:cubicBezTo>
                    <a:pt x="17850" y="12780"/>
                    <a:pt x="20350" y="5633"/>
                    <a:pt x="22145" y="106"/>
                  </a:cubicBezTo>
                  <a:lnTo>
                    <a:pt x="21863"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 name="Google Shape;617;p48">
              <a:extLst>
                <a:ext uri="{FF2B5EF4-FFF2-40B4-BE49-F238E27FC236}">
                  <a16:creationId xmlns:a16="http://schemas.microsoft.com/office/drawing/2014/main" id="{765A6820-039A-431E-B342-0949F987FBF8}"/>
                </a:ext>
              </a:extLst>
            </p:cNvPr>
            <p:cNvSpPr/>
            <p:nvPr/>
          </p:nvSpPr>
          <p:spPr>
            <a:xfrm flipH="1">
              <a:off x="1271649" y="3211208"/>
              <a:ext cx="685202" cy="814396"/>
            </a:xfrm>
            <a:custGeom>
              <a:avLst/>
              <a:gdLst/>
              <a:ahLst/>
              <a:cxnLst/>
              <a:rect l="l" t="t" r="r" b="b"/>
              <a:pathLst>
                <a:path w="47741" h="56742" extrusionOk="0">
                  <a:moveTo>
                    <a:pt x="31385" y="1"/>
                  </a:moveTo>
                  <a:cubicBezTo>
                    <a:pt x="31110" y="1"/>
                    <a:pt x="30835" y="2"/>
                    <a:pt x="30560" y="5"/>
                  </a:cubicBezTo>
                  <a:cubicBezTo>
                    <a:pt x="27145" y="40"/>
                    <a:pt x="23484" y="392"/>
                    <a:pt x="20773" y="2539"/>
                  </a:cubicBezTo>
                  <a:cubicBezTo>
                    <a:pt x="17534" y="5039"/>
                    <a:pt x="16513" y="9405"/>
                    <a:pt x="15492" y="13383"/>
                  </a:cubicBezTo>
                  <a:cubicBezTo>
                    <a:pt x="12217" y="26374"/>
                    <a:pt x="7218" y="38908"/>
                    <a:pt x="635" y="50597"/>
                  </a:cubicBezTo>
                  <a:cubicBezTo>
                    <a:pt x="318" y="51160"/>
                    <a:pt x="1" y="51758"/>
                    <a:pt x="142" y="52392"/>
                  </a:cubicBezTo>
                  <a:cubicBezTo>
                    <a:pt x="282" y="53026"/>
                    <a:pt x="881" y="53484"/>
                    <a:pt x="1409" y="53836"/>
                  </a:cubicBezTo>
                  <a:cubicBezTo>
                    <a:pt x="4657" y="55820"/>
                    <a:pt x="8423" y="56742"/>
                    <a:pt x="12223" y="56742"/>
                  </a:cubicBezTo>
                  <a:cubicBezTo>
                    <a:pt x="15838" y="56742"/>
                    <a:pt x="19483" y="55908"/>
                    <a:pt x="22744" y="54364"/>
                  </a:cubicBezTo>
                  <a:cubicBezTo>
                    <a:pt x="29469" y="51230"/>
                    <a:pt x="34644" y="45386"/>
                    <a:pt x="38165" y="38873"/>
                  </a:cubicBezTo>
                  <a:cubicBezTo>
                    <a:pt x="41685" y="32324"/>
                    <a:pt x="43657" y="25072"/>
                    <a:pt x="45206" y="17819"/>
                  </a:cubicBezTo>
                  <a:cubicBezTo>
                    <a:pt x="45945" y="14475"/>
                    <a:pt x="46579" y="11095"/>
                    <a:pt x="47178" y="7750"/>
                  </a:cubicBezTo>
                  <a:cubicBezTo>
                    <a:pt x="47494" y="6060"/>
                    <a:pt x="47741" y="4159"/>
                    <a:pt x="46790" y="2751"/>
                  </a:cubicBezTo>
                  <a:cubicBezTo>
                    <a:pt x="45804" y="1342"/>
                    <a:pt x="43868" y="920"/>
                    <a:pt x="42108" y="674"/>
                  </a:cubicBezTo>
                  <a:cubicBezTo>
                    <a:pt x="38543" y="216"/>
                    <a:pt x="34978" y="1"/>
                    <a:pt x="3138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 name="Google Shape;618;p48">
              <a:extLst>
                <a:ext uri="{FF2B5EF4-FFF2-40B4-BE49-F238E27FC236}">
                  <a16:creationId xmlns:a16="http://schemas.microsoft.com/office/drawing/2014/main" id="{AAF90FE4-7A28-4798-B9AA-CA86E418E9D2}"/>
                </a:ext>
              </a:extLst>
            </p:cNvPr>
            <p:cNvSpPr/>
            <p:nvPr/>
          </p:nvSpPr>
          <p:spPr>
            <a:xfrm flipH="1">
              <a:off x="1756758" y="3107164"/>
              <a:ext cx="367868" cy="658426"/>
            </a:xfrm>
            <a:custGeom>
              <a:avLst/>
              <a:gdLst/>
              <a:ahLst/>
              <a:cxnLst/>
              <a:rect l="l" t="t" r="r" b="b"/>
              <a:pathLst>
                <a:path w="25631" h="45875" extrusionOk="0">
                  <a:moveTo>
                    <a:pt x="25631" y="0"/>
                  </a:moveTo>
                  <a:lnTo>
                    <a:pt x="25631" y="0"/>
                  </a:lnTo>
                  <a:cubicBezTo>
                    <a:pt x="24856" y="493"/>
                    <a:pt x="24152" y="1056"/>
                    <a:pt x="23518" y="1690"/>
                  </a:cubicBezTo>
                  <a:cubicBezTo>
                    <a:pt x="20314" y="4753"/>
                    <a:pt x="18695" y="9083"/>
                    <a:pt x="17639" y="13379"/>
                  </a:cubicBezTo>
                  <a:cubicBezTo>
                    <a:pt x="16583" y="17674"/>
                    <a:pt x="15984" y="22110"/>
                    <a:pt x="14435" y="26229"/>
                  </a:cubicBezTo>
                  <a:cubicBezTo>
                    <a:pt x="12815" y="30489"/>
                    <a:pt x="10245" y="34327"/>
                    <a:pt x="6901" y="37389"/>
                  </a:cubicBezTo>
                  <a:cubicBezTo>
                    <a:pt x="6126" y="38094"/>
                    <a:pt x="5316" y="38798"/>
                    <a:pt x="4612" y="39572"/>
                  </a:cubicBezTo>
                  <a:lnTo>
                    <a:pt x="0" y="43410"/>
                  </a:lnTo>
                  <a:cubicBezTo>
                    <a:pt x="282" y="44255"/>
                    <a:pt x="599" y="45065"/>
                    <a:pt x="916" y="45874"/>
                  </a:cubicBezTo>
                  <a:cubicBezTo>
                    <a:pt x="17111" y="37636"/>
                    <a:pt x="15949" y="14540"/>
                    <a:pt x="25631" y="0"/>
                  </a:cubicBezTo>
                  <a:close/>
                </a:path>
              </a:pathLst>
            </a:custGeom>
            <a:solidFill>
              <a:srgbClr val="85C3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 name="Google Shape;619;p48">
              <a:extLst>
                <a:ext uri="{FF2B5EF4-FFF2-40B4-BE49-F238E27FC236}">
                  <a16:creationId xmlns:a16="http://schemas.microsoft.com/office/drawing/2014/main" id="{242A064E-860E-4502-BF62-F21C68E02DF7}"/>
                </a:ext>
              </a:extLst>
            </p:cNvPr>
            <p:cNvSpPr/>
            <p:nvPr/>
          </p:nvSpPr>
          <p:spPr>
            <a:xfrm flipH="1">
              <a:off x="1753768" y="3222892"/>
              <a:ext cx="645273" cy="428009"/>
            </a:xfrm>
            <a:custGeom>
              <a:avLst/>
              <a:gdLst/>
              <a:ahLst/>
              <a:cxnLst/>
              <a:rect l="l" t="t" r="r" b="b"/>
              <a:pathLst>
                <a:path w="44959" h="29821" extrusionOk="0">
                  <a:moveTo>
                    <a:pt x="34397" y="0"/>
                  </a:moveTo>
                  <a:cubicBezTo>
                    <a:pt x="30595" y="3556"/>
                    <a:pt x="24609" y="16583"/>
                    <a:pt x="19434" y="17709"/>
                  </a:cubicBezTo>
                  <a:cubicBezTo>
                    <a:pt x="17744" y="18061"/>
                    <a:pt x="16512" y="18836"/>
                    <a:pt x="14787" y="18942"/>
                  </a:cubicBezTo>
                  <a:cubicBezTo>
                    <a:pt x="7253" y="19364"/>
                    <a:pt x="8274" y="19786"/>
                    <a:pt x="704" y="20209"/>
                  </a:cubicBezTo>
                  <a:lnTo>
                    <a:pt x="0" y="26124"/>
                  </a:lnTo>
                  <a:cubicBezTo>
                    <a:pt x="12111" y="26863"/>
                    <a:pt x="12111" y="29116"/>
                    <a:pt x="24222" y="29820"/>
                  </a:cubicBezTo>
                  <a:cubicBezTo>
                    <a:pt x="29151" y="25596"/>
                    <a:pt x="40488" y="14153"/>
                    <a:pt x="44959" y="6267"/>
                  </a:cubicBezTo>
                  <a:lnTo>
                    <a:pt x="34397" y="0"/>
                  </a:ln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 name="Google Shape;620;p48">
              <a:extLst>
                <a:ext uri="{FF2B5EF4-FFF2-40B4-BE49-F238E27FC236}">
                  <a16:creationId xmlns:a16="http://schemas.microsoft.com/office/drawing/2014/main" id="{14AF8AF0-F6D6-4346-9F2B-BB69974FBBCA}"/>
                </a:ext>
              </a:extLst>
            </p:cNvPr>
            <p:cNvSpPr/>
            <p:nvPr/>
          </p:nvSpPr>
          <p:spPr>
            <a:xfrm flipH="1">
              <a:off x="2338432" y="3494643"/>
              <a:ext cx="276917" cy="113729"/>
            </a:xfrm>
            <a:custGeom>
              <a:avLst/>
              <a:gdLst/>
              <a:ahLst/>
              <a:cxnLst/>
              <a:rect l="l" t="t" r="r" b="b"/>
              <a:pathLst>
                <a:path w="19294" h="7924" extrusionOk="0">
                  <a:moveTo>
                    <a:pt x="11690" y="0"/>
                  </a:moveTo>
                  <a:cubicBezTo>
                    <a:pt x="11585" y="0"/>
                    <a:pt x="11479" y="4"/>
                    <a:pt x="11372" y="11"/>
                  </a:cubicBezTo>
                  <a:cubicBezTo>
                    <a:pt x="10598" y="81"/>
                    <a:pt x="9859" y="257"/>
                    <a:pt x="9154" y="503"/>
                  </a:cubicBezTo>
                  <a:cubicBezTo>
                    <a:pt x="7817" y="855"/>
                    <a:pt x="6514" y="1419"/>
                    <a:pt x="5317" y="2158"/>
                  </a:cubicBezTo>
                  <a:cubicBezTo>
                    <a:pt x="3381" y="3531"/>
                    <a:pt x="2148" y="5890"/>
                    <a:pt x="1" y="6876"/>
                  </a:cubicBezTo>
                  <a:cubicBezTo>
                    <a:pt x="381" y="7170"/>
                    <a:pt x="846" y="7285"/>
                    <a:pt x="1329" y="7285"/>
                  </a:cubicBezTo>
                  <a:cubicBezTo>
                    <a:pt x="1830" y="7285"/>
                    <a:pt x="2351" y="7161"/>
                    <a:pt x="2817" y="6981"/>
                  </a:cubicBezTo>
                  <a:cubicBezTo>
                    <a:pt x="3768" y="6594"/>
                    <a:pt x="4648" y="6101"/>
                    <a:pt x="5634" y="6031"/>
                  </a:cubicBezTo>
                  <a:cubicBezTo>
                    <a:pt x="5688" y="6028"/>
                    <a:pt x="5742" y="6026"/>
                    <a:pt x="5796" y="6026"/>
                  </a:cubicBezTo>
                  <a:cubicBezTo>
                    <a:pt x="7001" y="6026"/>
                    <a:pt x="8114" y="6756"/>
                    <a:pt x="9260" y="7228"/>
                  </a:cubicBezTo>
                  <a:cubicBezTo>
                    <a:pt x="10301" y="7695"/>
                    <a:pt x="11416" y="7923"/>
                    <a:pt x="12529" y="7923"/>
                  </a:cubicBezTo>
                  <a:cubicBezTo>
                    <a:pt x="13599" y="7923"/>
                    <a:pt x="14667" y="7712"/>
                    <a:pt x="15668" y="7298"/>
                  </a:cubicBezTo>
                  <a:cubicBezTo>
                    <a:pt x="17710" y="6348"/>
                    <a:pt x="19118" y="4411"/>
                    <a:pt x="19294" y="2158"/>
                  </a:cubicBezTo>
                  <a:cubicBezTo>
                    <a:pt x="16654" y="2023"/>
                    <a:pt x="14307" y="0"/>
                    <a:pt x="11690" y="0"/>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 name="Google Shape;621;p48">
              <a:extLst>
                <a:ext uri="{FF2B5EF4-FFF2-40B4-BE49-F238E27FC236}">
                  <a16:creationId xmlns:a16="http://schemas.microsoft.com/office/drawing/2014/main" id="{4A0A4F52-CC4B-494B-A84D-7C97B7F8B219}"/>
                </a:ext>
              </a:extLst>
            </p:cNvPr>
            <p:cNvSpPr/>
            <p:nvPr/>
          </p:nvSpPr>
          <p:spPr>
            <a:xfrm flipH="1">
              <a:off x="1741139" y="3268369"/>
              <a:ext cx="657902" cy="383043"/>
            </a:xfrm>
            <a:custGeom>
              <a:avLst/>
              <a:gdLst/>
              <a:ahLst/>
              <a:cxnLst/>
              <a:rect l="l" t="t" r="r" b="b"/>
              <a:pathLst>
                <a:path w="45839" h="26688" extrusionOk="0">
                  <a:moveTo>
                    <a:pt x="39607" y="1"/>
                  </a:moveTo>
                  <a:cubicBezTo>
                    <a:pt x="30170" y="9861"/>
                    <a:pt x="29822" y="22044"/>
                    <a:pt x="14392" y="22044"/>
                  </a:cubicBezTo>
                  <a:cubicBezTo>
                    <a:pt x="11805" y="22044"/>
                    <a:pt x="8794" y="21702"/>
                    <a:pt x="5246" y="20949"/>
                  </a:cubicBezTo>
                  <a:cubicBezTo>
                    <a:pt x="4771" y="20851"/>
                    <a:pt x="4246" y="20796"/>
                    <a:pt x="3718" y="20796"/>
                  </a:cubicBezTo>
                  <a:cubicBezTo>
                    <a:pt x="1975" y="20796"/>
                    <a:pt x="189" y="21389"/>
                    <a:pt x="0" y="22956"/>
                  </a:cubicBezTo>
                  <a:lnTo>
                    <a:pt x="0" y="22991"/>
                  </a:lnTo>
                  <a:cubicBezTo>
                    <a:pt x="12111" y="23695"/>
                    <a:pt x="12076" y="25983"/>
                    <a:pt x="24222" y="26688"/>
                  </a:cubicBezTo>
                  <a:cubicBezTo>
                    <a:pt x="31193" y="22920"/>
                    <a:pt x="41403" y="11232"/>
                    <a:pt x="45839" y="3346"/>
                  </a:cubicBezTo>
                  <a:lnTo>
                    <a:pt x="39607" y="1"/>
                  </a:lnTo>
                  <a:close/>
                </a:path>
              </a:pathLst>
            </a:custGeom>
            <a:solidFill>
              <a:srgbClr val="D885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 name="Google Shape;622;p48">
              <a:extLst>
                <a:ext uri="{FF2B5EF4-FFF2-40B4-BE49-F238E27FC236}">
                  <a16:creationId xmlns:a16="http://schemas.microsoft.com/office/drawing/2014/main" id="{13CC101B-4127-4A45-B175-E70E8265735F}"/>
                </a:ext>
              </a:extLst>
            </p:cNvPr>
            <p:cNvSpPr/>
            <p:nvPr/>
          </p:nvSpPr>
          <p:spPr>
            <a:xfrm flipH="1">
              <a:off x="1632929" y="3087957"/>
              <a:ext cx="313817" cy="300157"/>
            </a:xfrm>
            <a:custGeom>
              <a:avLst/>
              <a:gdLst/>
              <a:ahLst/>
              <a:cxnLst/>
              <a:rect l="l" t="t" r="r" b="b"/>
              <a:pathLst>
                <a:path w="21865" h="20913" extrusionOk="0">
                  <a:moveTo>
                    <a:pt x="16442" y="0"/>
                  </a:moveTo>
                  <a:cubicBezTo>
                    <a:pt x="11866" y="247"/>
                    <a:pt x="10880" y="1232"/>
                    <a:pt x="8521" y="2641"/>
                  </a:cubicBezTo>
                  <a:cubicBezTo>
                    <a:pt x="5388" y="4542"/>
                    <a:pt x="3662" y="7218"/>
                    <a:pt x="1022" y="10069"/>
                  </a:cubicBezTo>
                  <a:cubicBezTo>
                    <a:pt x="635" y="10492"/>
                    <a:pt x="283" y="10949"/>
                    <a:pt x="1" y="11478"/>
                  </a:cubicBezTo>
                  <a:cubicBezTo>
                    <a:pt x="4014" y="14294"/>
                    <a:pt x="7817" y="17463"/>
                    <a:pt x="11373" y="20913"/>
                  </a:cubicBezTo>
                  <a:cubicBezTo>
                    <a:pt x="12781" y="19399"/>
                    <a:pt x="14224" y="17885"/>
                    <a:pt x="15668" y="16512"/>
                  </a:cubicBezTo>
                  <a:cubicBezTo>
                    <a:pt x="17393" y="14752"/>
                    <a:pt x="18872" y="12815"/>
                    <a:pt x="20104" y="10703"/>
                  </a:cubicBezTo>
                  <a:cubicBezTo>
                    <a:pt x="21266" y="8731"/>
                    <a:pt x="21864" y="6337"/>
                    <a:pt x="21230" y="4155"/>
                  </a:cubicBezTo>
                  <a:cubicBezTo>
                    <a:pt x="20596" y="2085"/>
                    <a:pt x="19582" y="301"/>
                    <a:pt x="17529" y="301"/>
                  </a:cubicBezTo>
                  <a:cubicBezTo>
                    <a:pt x="17416" y="301"/>
                    <a:pt x="17301" y="306"/>
                    <a:pt x="17182" y="317"/>
                  </a:cubicBezTo>
                  <a:lnTo>
                    <a:pt x="1644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 name="Google Shape;623;p48">
              <a:extLst>
                <a:ext uri="{FF2B5EF4-FFF2-40B4-BE49-F238E27FC236}">
                  <a16:creationId xmlns:a16="http://schemas.microsoft.com/office/drawing/2014/main" id="{B7DDE0E8-3022-4BF2-90D5-54B1DB7F3FE5}"/>
                </a:ext>
              </a:extLst>
            </p:cNvPr>
            <p:cNvSpPr/>
            <p:nvPr/>
          </p:nvSpPr>
          <p:spPr>
            <a:xfrm flipH="1">
              <a:off x="2263615" y="4634930"/>
              <a:ext cx="162212" cy="139321"/>
            </a:xfrm>
            <a:custGeom>
              <a:avLst/>
              <a:gdLst/>
              <a:ahLst/>
              <a:cxnLst/>
              <a:rect l="l" t="t" r="r" b="b"/>
              <a:pathLst>
                <a:path w="11302" h="9707" extrusionOk="0">
                  <a:moveTo>
                    <a:pt x="6443" y="1"/>
                  </a:moveTo>
                  <a:cubicBezTo>
                    <a:pt x="2148" y="1"/>
                    <a:pt x="0" y="5211"/>
                    <a:pt x="3028" y="8274"/>
                  </a:cubicBezTo>
                  <a:cubicBezTo>
                    <a:pt x="4018" y="9264"/>
                    <a:pt x="5232" y="9706"/>
                    <a:pt x="6422" y="9706"/>
                  </a:cubicBezTo>
                  <a:cubicBezTo>
                    <a:pt x="8914" y="9706"/>
                    <a:pt x="11301" y="7767"/>
                    <a:pt x="11301" y="4859"/>
                  </a:cubicBezTo>
                  <a:cubicBezTo>
                    <a:pt x="11301" y="2184"/>
                    <a:pt x="9119" y="1"/>
                    <a:pt x="6443"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 name="Google Shape;624;p48">
              <a:extLst>
                <a:ext uri="{FF2B5EF4-FFF2-40B4-BE49-F238E27FC236}">
                  <a16:creationId xmlns:a16="http://schemas.microsoft.com/office/drawing/2014/main" id="{733DC776-ED79-4110-96C1-3BE22353DA18}"/>
                </a:ext>
              </a:extLst>
            </p:cNvPr>
            <p:cNvSpPr/>
            <p:nvPr/>
          </p:nvSpPr>
          <p:spPr>
            <a:xfrm flipH="1">
              <a:off x="998668" y="4636954"/>
              <a:ext cx="162728" cy="139306"/>
            </a:xfrm>
            <a:custGeom>
              <a:avLst/>
              <a:gdLst/>
              <a:ahLst/>
              <a:cxnLst/>
              <a:rect l="l" t="t" r="r" b="b"/>
              <a:pathLst>
                <a:path w="11338" h="9706" extrusionOk="0">
                  <a:moveTo>
                    <a:pt x="6479" y="1"/>
                  </a:moveTo>
                  <a:cubicBezTo>
                    <a:pt x="2184" y="1"/>
                    <a:pt x="1" y="5211"/>
                    <a:pt x="3064" y="8274"/>
                  </a:cubicBezTo>
                  <a:cubicBezTo>
                    <a:pt x="4054" y="9264"/>
                    <a:pt x="5268" y="9706"/>
                    <a:pt x="6458" y="9706"/>
                  </a:cubicBezTo>
                  <a:cubicBezTo>
                    <a:pt x="8950" y="9706"/>
                    <a:pt x="11337" y="7766"/>
                    <a:pt x="11337" y="4859"/>
                  </a:cubicBezTo>
                  <a:cubicBezTo>
                    <a:pt x="11337" y="2183"/>
                    <a:pt x="9155" y="1"/>
                    <a:pt x="64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 name="Google Shape;625;p48">
              <a:extLst>
                <a:ext uri="{FF2B5EF4-FFF2-40B4-BE49-F238E27FC236}">
                  <a16:creationId xmlns:a16="http://schemas.microsoft.com/office/drawing/2014/main" id="{9A9C32D7-D2C6-4DFA-87EF-B19DC928E901}"/>
                </a:ext>
              </a:extLst>
            </p:cNvPr>
            <p:cNvSpPr/>
            <p:nvPr/>
          </p:nvSpPr>
          <p:spPr>
            <a:xfrm flipH="1">
              <a:off x="1030496" y="4668794"/>
              <a:ext cx="88440" cy="75839"/>
            </a:xfrm>
            <a:custGeom>
              <a:avLst/>
              <a:gdLst/>
              <a:ahLst/>
              <a:cxnLst/>
              <a:rect l="l" t="t" r="r" b="b"/>
              <a:pathLst>
                <a:path w="6162" h="5284" extrusionOk="0">
                  <a:moveTo>
                    <a:pt x="3521" y="1"/>
                  </a:moveTo>
                  <a:cubicBezTo>
                    <a:pt x="1162" y="1"/>
                    <a:pt x="0" y="2852"/>
                    <a:pt x="1655" y="4507"/>
                  </a:cubicBezTo>
                  <a:cubicBezTo>
                    <a:pt x="2191" y="5043"/>
                    <a:pt x="2852" y="5284"/>
                    <a:pt x="3502" y="5284"/>
                  </a:cubicBezTo>
                  <a:cubicBezTo>
                    <a:pt x="4858" y="5284"/>
                    <a:pt x="6161" y="4236"/>
                    <a:pt x="6161" y="2641"/>
                  </a:cubicBezTo>
                  <a:cubicBezTo>
                    <a:pt x="6161" y="1162"/>
                    <a:pt x="5000" y="1"/>
                    <a:pt x="352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 name="Google Shape;626;p48">
              <a:extLst>
                <a:ext uri="{FF2B5EF4-FFF2-40B4-BE49-F238E27FC236}">
                  <a16:creationId xmlns:a16="http://schemas.microsoft.com/office/drawing/2014/main" id="{4B4A83BC-3FF5-4839-8A21-C508E045D629}"/>
                </a:ext>
              </a:extLst>
            </p:cNvPr>
            <p:cNvSpPr/>
            <p:nvPr/>
          </p:nvSpPr>
          <p:spPr>
            <a:xfrm flipH="1">
              <a:off x="2328797" y="4668794"/>
              <a:ext cx="44981" cy="75810"/>
            </a:xfrm>
            <a:custGeom>
              <a:avLst/>
              <a:gdLst/>
              <a:ahLst/>
              <a:cxnLst/>
              <a:rect l="l" t="t" r="r" b="b"/>
              <a:pathLst>
                <a:path w="3134" h="5282" extrusionOk="0">
                  <a:moveTo>
                    <a:pt x="1549" y="1"/>
                  </a:moveTo>
                  <a:cubicBezTo>
                    <a:pt x="669" y="1"/>
                    <a:pt x="0" y="1198"/>
                    <a:pt x="0" y="2641"/>
                  </a:cubicBezTo>
                  <a:cubicBezTo>
                    <a:pt x="0" y="4085"/>
                    <a:pt x="705" y="5282"/>
                    <a:pt x="1549" y="5282"/>
                  </a:cubicBezTo>
                  <a:cubicBezTo>
                    <a:pt x="2430" y="5282"/>
                    <a:pt x="3134" y="4120"/>
                    <a:pt x="3134" y="2641"/>
                  </a:cubicBezTo>
                  <a:cubicBezTo>
                    <a:pt x="3134" y="1162"/>
                    <a:pt x="2430" y="1"/>
                    <a:pt x="154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 name="Google Shape;627;p48">
              <a:extLst>
                <a:ext uri="{FF2B5EF4-FFF2-40B4-BE49-F238E27FC236}">
                  <a16:creationId xmlns:a16="http://schemas.microsoft.com/office/drawing/2014/main" id="{44383EE8-5008-4EF6-9026-E3EBB5D0CD8A}"/>
                </a:ext>
              </a:extLst>
            </p:cNvPr>
            <p:cNvSpPr/>
            <p:nvPr/>
          </p:nvSpPr>
          <p:spPr>
            <a:xfrm flipH="1">
              <a:off x="1045325" y="3883930"/>
              <a:ext cx="1313797" cy="909567"/>
            </a:xfrm>
            <a:custGeom>
              <a:avLst/>
              <a:gdLst/>
              <a:ahLst/>
              <a:cxnLst/>
              <a:rect l="l" t="t" r="r" b="b"/>
              <a:pathLst>
                <a:path w="91538" h="63373" extrusionOk="0">
                  <a:moveTo>
                    <a:pt x="43833" y="1"/>
                  </a:moveTo>
                  <a:lnTo>
                    <a:pt x="43833" y="15456"/>
                  </a:lnTo>
                  <a:lnTo>
                    <a:pt x="42812" y="15456"/>
                  </a:lnTo>
                  <a:lnTo>
                    <a:pt x="42812" y="42319"/>
                  </a:lnTo>
                  <a:lnTo>
                    <a:pt x="41791" y="42319"/>
                  </a:lnTo>
                  <a:cubicBezTo>
                    <a:pt x="41791" y="42319"/>
                    <a:pt x="38587" y="46509"/>
                    <a:pt x="30806" y="47424"/>
                  </a:cubicBezTo>
                  <a:cubicBezTo>
                    <a:pt x="24363" y="48199"/>
                    <a:pt x="7640" y="49572"/>
                    <a:pt x="1937" y="50029"/>
                  </a:cubicBezTo>
                  <a:cubicBezTo>
                    <a:pt x="845" y="50135"/>
                    <a:pt x="0" y="51050"/>
                    <a:pt x="0" y="52142"/>
                  </a:cubicBezTo>
                  <a:lnTo>
                    <a:pt x="0" y="53304"/>
                  </a:lnTo>
                  <a:lnTo>
                    <a:pt x="40136" y="50029"/>
                  </a:lnTo>
                  <a:lnTo>
                    <a:pt x="40136" y="50029"/>
                  </a:lnTo>
                  <a:cubicBezTo>
                    <a:pt x="39397" y="50663"/>
                    <a:pt x="38622" y="51226"/>
                    <a:pt x="37847" y="51790"/>
                  </a:cubicBezTo>
                  <a:cubicBezTo>
                    <a:pt x="37143" y="52177"/>
                    <a:pt x="36545" y="52705"/>
                    <a:pt x="36017" y="53304"/>
                  </a:cubicBezTo>
                  <a:cubicBezTo>
                    <a:pt x="35770" y="53620"/>
                    <a:pt x="35594" y="53972"/>
                    <a:pt x="35489" y="54325"/>
                  </a:cubicBezTo>
                  <a:lnTo>
                    <a:pt x="33130" y="54325"/>
                  </a:lnTo>
                  <a:lnTo>
                    <a:pt x="33130" y="63373"/>
                  </a:lnTo>
                  <a:lnTo>
                    <a:pt x="41051" y="63373"/>
                  </a:lnTo>
                  <a:lnTo>
                    <a:pt x="41051" y="54325"/>
                  </a:lnTo>
                  <a:lnTo>
                    <a:pt x="38552" y="54325"/>
                  </a:lnTo>
                  <a:cubicBezTo>
                    <a:pt x="38587" y="54078"/>
                    <a:pt x="38622" y="53867"/>
                    <a:pt x="38657" y="53620"/>
                  </a:cubicBezTo>
                  <a:cubicBezTo>
                    <a:pt x="41791" y="53127"/>
                    <a:pt x="44748" y="51754"/>
                    <a:pt x="47107" y="49642"/>
                  </a:cubicBezTo>
                  <a:lnTo>
                    <a:pt x="91537" y="53268"/>
                  </a:lnTo>
                  <a:lnTo>
                    <a:pt x="91537" y="52142"/>
                  </a:lnTo>
                  <a:cubicBezTo>
                    <a:pt x="91537" y="51050"/>
                    <a:pt x="90692" y="50100"/>
                    <a:pt x="89566" y="50029"/>
                  </a:cubicBezTo>
                  <a:cubicBezTo>
                    <a:pt x="83898" y="49572"/>
                    <a:pt x="67139" y="48199"/>
                    <a:pt x="60732" y="47424"/>
                  </a:cubicBezTo>
                  <a:cubicBezTo>
                    <a:pt x="52916" y="46509"/>
                    <a:pt x="49677" y="42319"/>
                    <a:pt x="49677" y="42319"/>
                  </a:cubicBezTo>
                  <a:lnTo>
                    <a:pt x="48691" y="42319"/>
                  </a:lnTo>
                  <a:lnTo>
                    <a:pt x="48691" y="15456"/>
                  </a:lnTo>
                  <a:lnTo>
                    <a:pt x="47670" y="15456"/>
                  </a:lnTo>
                  <a:lnTo>
                    <a:pt x="4767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 name="Google Shape;628;p48">
              <a:extLst>
                <a:ext uri="{FF2B5EF4-FFF2-40B4-BE49-F238E27FC236}">
                  <a16:creationId xmlns:a16="http://schemas.microsoft.com/office/drawing/2014/main" id="{BEAD5975-4577-4B60-A574-C096F67E9269}"/>
                </a:ext>
              </a:extLst>
            </p:cNvPr>
            <p:cNvSpPr/>
            <p:nvPr/>
          </p:nvSpPr>
          <p:spPr>
            <a:xfrm flipH="1">
              <a:off x="1660184" y="3883930"/>
              <a:ext cx="84909" cy="513407"/>
            </a:xfrm>
            <a:custGeom>
              <a:avLst/>
              <a:gdLst/>
              <a:ahLst/>
              <a:cxnLst/>
              <a:rect l="l" t="t" r="r" b="b"/>
              <a:pathLst>
                <a:path w="5916" h="35771" extrusionOk="0">
                  <a:moveTo>
                    <a:pt x="1021" y="1"/>
                  </a:moveTo>
                  <a:lnTo>
                    <a:pt x="1021" y="15456"/>
                  </a:lnTo>
                  <a:lnTo>
                    <a:pt x="0" y="15456"/>
                  </a:lnTo>
                  <a:lnTo>
                    <a:pt x="0" y="35771"/>
                  </a:lnTo>
                  <a:lnTo>
                    <a:pt x="5915" y="35771"/>
                  </a:lnTo>
                  <a:lnTo>
                    <a:pt x="5915" y="15456"/>
                  </a:lnTo>
                  <a:lnTo>
                    <a:pt x="4894" y="15456"/>
                  </a:lnTo>
                  <a:lnTo>
                    <a:pt x="4894"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 name="Google Shape;629;p48">
              <a:extLst>
                <a:ext uri="{FF2B5EF4-FFF2-40B4-BE49-F238E27FC236}">
                  <a16:creationId xmlns:a16="http://schemas.microsoft.com/office/drawing/2014/main" id="{BA4F4623-CEFA-4EFD-A20A-D31FD39EA0C3}"/>
                </a:ext>
              </a:extLst>
            </p:cNvPr>
            <p:cNvSpPr/>
            <p:nvPr/>
          </p:nvSpPr>
          <p:spPr>
            <a:xfrm flipH="1">
              <a:off x="1056468" y="3935104"/>
              <a:ext cx="1445681" cy="344318"/>
            </a:xfrm>
            <a:custGeom>
              <a:avLst/>
              <a:gdLst/>
              <a:ahLst/>
              <a:cxnLst/>
              <a:rect l="l" t="t" r="r" b="b"/>
              <a:pathLst>
                <a:path w="100727" h="23990" extrusionOk="0">
                  <a:moveTo>
                    <a:pt x="19423" y="1"/>
                  </a:moveTo>
                  <a:cubicBezTo>
                    <a:pt x="16703" y="1"/>
                    <a:pt x="13637" y="474"/>
                    <a:pt x="9612" y="1717"/>
                  </a:cubicBezTo>
                  <a:cubicBezTo>
                    <a:pt x="8274" y="2139"/>
                    <a:pt x="6866" y="2632"/>
                    <a:pt x="5810" y="3583"/>
                  </a:cubicBezTo>
                  <a:cubicBezTo>
                    <a:pt x="4719" y="4533"/>
                    <a:pt x="4050" y="6047"/>
                    <a:pt x="4472" y="7420"/>
                  </a:cubicBezTo>
                  <a:lnTo>
                    <a:pt x="494" y="8089"/>
                  </a:lnTo>
                  <a:cubicBezTo>
                    <a:pt x="1" y="8969"/>
                    <a:pt x="388" y="10131"/>
                    <a:pt x="1092" y="10870"/>
                  </a:cubicBezTo>
                  <a:cubicBezTo>
                    <a:pt x="1867" y="11539"/>
                    <a:pt x="2782" y="12032"/>
                    <a:pt x="3733" y="12349"/>
                  </a:cubicBezTo>
                  <a:cubicBezTo>
                    <a:pt x="15386" y="16820"/>
                    <a:pt x="27145" y="21362"/>
                    <a:pt x="39503" y="23052"/>
                  </a:cubicBezTo>
                  <a:cubicBezTo>
                    <a:pt x="44820" y="23792"/>
                    <a:pt x="50194" y="23989"/>
                    <a:pt x="55571" y="23989"/>
                  </a:cubicBezTo>
                  <a:cubicBezTo>
                    <a:pt x="58632" y="23989"/>
                    <a:pt x="61694" y="23925"/>
                    <a:pt x="64746" y="23862"/>
                  </a:cubicBezTo>
                  <a:lnTo>
                    <a:pt x="88897" y="23369"/>
                  </a:lnTo>
                  <a:cubicBezTo>
                    <a:pt x="91221" y="23334"/>
                    <a:pt x="93615" y="23263"/>
                    <a:pt x="95798" y="22453"/>
                  </a:cubicBezTo>
                  <a:cubicBezTo>
                    <a:pt x="97981" y="21608"/>
                    <a:pt x="99917" y="19813"/>
                    <a:pt x="100304" y="17524"/>
                  </a:cubicBezTo>
                  <a:cubicBezTo>
                    <a:pt x="100727" y="14954"/>
                    <a:pt x="99002" y="12384"/>
                    <a:pt x="96784" y="11011"/>
                  </a:cubicBezTo>
                  <a:cubicBezTo>
                    <a:pt x="94530" y="9603"/>
                    <a:pt x="91890" y="9110"/>
                    <a:pt x="89285" y="8617"/>
                  </a:cubicBezTo>
                  <a:cubicBezTo>
                    <a:pt x="76047" y="6012"/>
                    <a:pt x="52212" y="5836"/>
                    <a:pt x="38869" y="3723"/>
                  </a:cubicBezTo>
                  <a:cubicBezTo>
                    <a:pt x="29717" y="2295"/>
                    <a:pt x="25411" y="1"/>
                    <a:pt x="19423" y="1"/>
                  </a:cubicBez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 name="Google Shape;630;p48">
              <a:extLst>
                <a:ext uri="{FF2B5EF4-FFF2-40B4-BE49-F238E27FC236}">
                  <a16:creationId xmlns:a16="http://schemas.microsoft.com/office/drawing/2014/main" id="{ED73F965-EF5D-4271-B848-9B167956050F}"/>
                </a:ext>
              </a:extLst>
            </p:cNvPr>
            <p:cNvSpPr/>
            <p:nvPr/>
          </p:nvSpPr>
          <p:spPr>
            <a:xfrm flipH="1">
              <a:off x="1148826" y="2730465"/>
              <a:ext cx="638727" cy="821313"/>
            </a:xfrm>
            <a:custGeom>
              <a:avLst/>
              <a:gdLst/>
              <a:ahLst/>
              <a:cxnLst/>
              <a:rect l="l" t="t" r="r" b="b"/>
              <a:pathLst>
                <a:path w="44503" h="57224" extrusionOk="0">
                  <a:moveTo>
                    <a:pt x="39612" y="1"/>
                  </a:moveTo>
                  <a:cubicBezTo>
                    <a:pt x="36582" y="1"/>
                    <a:pt x="33604" y="1401"/>
                    <a:pt x="31440" y="3534"/>
                  </a:cubicBezTo>
                  <a:cubicBezTo>
                    <a:pt x="29011" y="5963"/>
                    <a:pt x="27497" y="9202"/>
                    <a:pt x="26688" y="12547"/>
                  </a:cubicBezTo>
                  <a:cubicBezTo>
                    <a:pt x="25878" y="15821"/>
                    <a:pt x="25596" y="19377"/>
                    <a:pt x="23730" y="22158"/>
                  </a:cubicBezTo>
                  <a:cubicBezTo>
                    <a:pt x="21231" y="25890"/>
                    <a:pt x="16583" y="27369"/>
                    <a:pt x="12323" y="28777"/>
                  </a:cubicBezTo>
                  <a:cubicBezTo>
                    <a:pt x="8063" y="30185"/>
                    <a:pt x="3451" y="32157"/>
                    <a:pt x="1620" y="36241"/>
                  </a:cubicBezTo>
                  <a:cubicBezTo>
                    <a:pt x="1" y="39867"/>
                    <a:pt x="1128" y="44162"/>
                    <a:pt x="3134" y="47612"/>
                  </a:cubicBezTo>
                  <a:cubicBezTo>
                    <a:pt x="5141" y="51028"/>
                    <a:pt x="7993" y="53914"/>
                    <a:pt x="10140" y="57224"/>
                  </a:cubicBezTo>
                  <a:cubicBezTo>
                    <a:pt x="16055" y="50887"/>
                    <a:pt x="27216" y="51556"/>
                    <a:pt x="32673" y="44831"/>
                  </a:cubicBezTo>
                  <a:cubicBezTo>
                    <a:pt x="34891" y="42120"/>
                    <a:pt x="35771" y="38564"/>
                    <a:pt x="36088" y="35079"/>
                  </a:cubicBezTo>
                  <a:cubicBezTo>
                    <a:pt x="36369" y="31593"/>
                    <a:pt x="36088" y="28108"/>
                    <a:pt x="36299" y="24623"/>
                  </a:cubicBezTo>
                  <a:cubicBezTo>
                    <a:pt x="36721" y="16384"/>
                    <a:pt x="39573" y="8498"/>
                    <a:pt x="44502" y="1879"/>
                  </a:cubicBezTo>
                  <a:lnTo>
                    <a:pt x="40876" y="83"/>
                  </a:lnTo>
                  <a:cubicBezTo>
                    <a:pt x="40455" y="28"/>
                    <a:pt x="40033" y="1"/>
                    <a:pt x="39612"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 name="Google Shape;631;p48">
              <a:extLst>
                <a:ext uri="{FF2B5EF4-FFF2-40B4-BE49-F238E27FC236}">
                  <a16:creationId xmlns:a16="http://schemas.microsoft.com/office/drawing/2014/main" id="{34218641-2F41-4524-B94F-8C0311AF65CB}"/>
                </a:ext>
              </a:extLst>
            </p:cNvPr>
            <p:cNvSpPr/>
            <p:nvPr/>
          </p:nvSpPr>
          <p:spPr>
            <a:xfrm flipH="1">
              <a:off x="1140242" y="2738920"/>
              <a:ext cx="638714" cy="821457"/>
            </a:xfrm>
            <a:custGeom>
              <a:avLst/>
              <a:gdLst/>
              <a:ahLst/>
              <a:cxnLst/>
              <a:rect l="l" t="t" r="r" b="b"/>
              <a:pathLst>
                <a:path w="44502" h="57234" extrusionOk="0">
                  <a:moveTo>
                    <a:pt x="39533" y="0"/>
                  </a:moveTo>
                  <a:cubicBezTo>
                    <a:pt x="36545" y="0"/>
                    <a:pt x="33591" y="1419"/>
                    <a:pt x="31440" y="3508"/>
                  </a:cubicBezTo>
                  <a:cubicBezTo>
                    <a:pt x="28975" y="5937"/>
                    <a:pt x="27497" y="9212"/>
                    <a:pt x="26652" y="12556"/>
                  </a:cubicBezTo>
                  <a:cubicBezTo>
                    <a:pt x="25842" y="15830"/>
                    <a:pt x="25596" y="19351"/>
                    <a:pt x="23730" y="22168"/>
                  </a:cubicBezTo>
                  <a:cubicBezTo>
                    <a:pt x="21230" y="25864"/>
                    <a:pt x="16548" y="27343"/>
                    <a:pt x="12288" y="28751"/>
                  </a:cubicBezTo>
                  <a:cubicBezTo>
                    <a:pt x="8028" y="30159"/>
                    <a:pt x="3416" y="32166"/>
                    <a:pt x="1620" y="36250"/>
                  </a:cubicBezTo>
                  <a:cubicBezTo>
                    <a:pt x="0" y="39877"/>
                    <a:pt x="1127" y="44172"/>
                    <a:pt x="3134" y="47587"/>
                  </a:cubicBezTo>
                  <a:cubicBezTo>
                    <a:pt x="5141" y="51037"/>
                    <a:pt x="7957" y="53889"/>
                    <a:pt x="10105" y="57233"/>
                  </a:cubicBezTo>
                  <a:cubicBezTo>
                    <a:pt x="16019" y="50896"/>
                    <a:pt x="27215" y="51565"/>
                    <a:pt x="32672" y="44841"/>
                  </a:cubicBezTo>
                  <a:cubicBezTo>
                    <a:pt x="34855" y="42130"/>
                    <a:pt x="35735" y="38574"/>
                    <a:pt x="36052" y="35088"/>
                  </a:cubicBezTo>
                  <a:cubicBezTo>
                    <a:pt x="36369" y="31603"/>
                    <a:pt x="36087" y="28082"/>
                    <a:pt x="36263" y="24597"/>
                  </a:cubicBezTo>
                  <a:cubicBezTo>
                    <a:pt x="36721" y="16394"/>
                    <a:pt x="39573" y="8472"/>
                    <a:pt x="44502" y="1889"/>
                  </a:cubicBezTo>
                  <a:lnTo>
                    <a:pt x="40840" y="93"/>
                  </a:lnTo>
                  <a:cubicBezTo>
                    <a:pt x="40405" y="30"/>
                    <a:pt x="39968" y="0"/>
                    <a:pt x="39533"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 name="Google Shape;632;p48">
              <a:extLst>
                <a:ext uri="{FF2B5EF4-FFF2-40B4-BE49-F238E27FC236}">
                  <a16:creationId xmlns:a16="http://schemas.microsoft.com/office/drawing/2014/main" id="{9CB0779F-FB1E-4EB1-BF4D-84688DF056FB}"/>
                </a:ext>
              </a:extLst>
            </p:cNvPr>
            <p:cNvSpPr/>
            <p:nvPr/>
          </p:nvSpPr>
          <p:spPr>
            <a:xfrm flipH="1">
              <a:off x="946248" y="3118588"/>
              <a:ext cx="1082866" cy="1212837"/>
            </a:xfrm>
            <a:custGeom>
              <a:avLst/>
              <a:gdLst/>
              <a:ahLst/>
              <a:cxnLst/>
              <a:rect l="l" t="t" r="r" b="b"/>
              <a:pathLst>
                <a:path w="75448" h="84503" extrusionOk="0">
                  <a:moveTo>
                    <a:pt x="64212" y="1"/>
                  </a:moveTo>
                  <a:cubicBezTo>
                    <a:pt x="60441" y="1"/>
                    <a:pt x="56678" y="111"/>
                    <a:pt x="52916" y="331"/>
                  </a:cubicBezTo>
                  <a:cubicBezTo>
                    <a:pt x="48937" y="577"/>
                    <a:pt x="44818" y="1000"/>
                    <a:pt x="41262" y="3077"/>
                  </a:cubicBezTo>
                  <a:cubicBezTo>
                    <a:pt x="37214" y="5471"/>
                    <a:pt x="34327" y="9801"/>
                    <a:pt x="31792" y="14167"/>
                  </a:cubicBezTo>
                  <a:cubicBezTo>
                    <a:pt x="21335" y="32228"/>
                    <a:pt x="15069" y="53422"/>
                    <a:pt x="3134" y="70216"/>
                  </a:cubicBezTo>
                  <a:cubicBezTo>
                    <a:pt x="1655" y="72293"/>
                    <a:pt x="0" y="74722"/>
                    <a:pt x="388" y="77363"/>
                  </a:cubicBezTo>
                  <a:cubicBezTo>
                    <a:pt x="880" y="80391"/>
                    <a:pt x="3803" y="81940"/>
                    <a:pt x="6373" y="82679"/>
                  </a:cubicBezTo>
                  <a:cubicBezTo>
                    <a:pt x="11257" y="84107"/>
                    <a:pt x="16298" y="84502"/>
                    <a:pt x="21359" y="84502"/>
                  </a:cubicBezTo>
                  <a:cubicBezTo>
                    <a:pt x="24287" y="84502"/>
                    <a:pt x="27221" y="84370"/>
                    <a:pt x="30137" y="84228"/>
                  </a:cubicBezTo>
                  <a:cubicBezTo>
                    <a:pt x="39396" y="83735"/>
                    <a:pt x="48691" y="83172"/>
                    <a:pt x="57950" y="82468"/>
                  </a:cubicBezTo>
                  <a:cubicBezTo>
                    <a:pt x="60309" y="82292"/>
                    <a:pt x="62809" y="82080"/>
                    <a:pt x="64675" y="80391"/>
                  </a:cubicBezTo>
                  <a:cubicBezTo>
                    <a:pt x="66541" y="78736"/>
                    <a:pt x="67350" y="76131"/>
                    <a:pt x="68054" y="73596"/>
                  </a:cubicBezTo>
                  <a:cubicBezTo>
                    <a:pt x="74110" y="51768"/>
                    <a:pt x="74779" y="28496"/>
                    <a:pt x="75413" y="5576"/>
                  </a:cubicBezTo>
                  <a:cubicBezTo>
                    <a:pt x="75448" y="4098"/>
                    <a:pt x="75413" y="2443"/>
                    <a:pt x="74568" y="1387"/>
                  </a:cubicBezTo>
                  <a:cubicBezTo>
                    <a:pt x="73688" y="295"/>
                    <a:pt x="72279" y="155"/>
                    <a:pt x="71012" y="119"/>
                  </a:cubicBezTo>
                  <a:cubicBezTo>
                    <a:pt x="68741" y="40"/>
                    <a:pt x="66475" y="1"/>
                    <a:pt x="64212"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 name="Google Shape;633;p48">
              <a:extLst>
                <a:ext uri="{FF2B5EF4-FFF2-40B4-BE49-F238E27FC236}">
                  <a16:creationId xmlns:a16="http://schemas.microsoft.com/office/drawing/2014/main" id="{FB2C3BF0-E56B-4A43-A0A9-25A60B92E370}"/>
                </a:ext>
              </a:extLst>
            </p:cNvPr>
            <p:cNvSpPr/>
            <p:nvPr/>
          </p:nvSpPr>
          <p:spPr>
            <a:xfrm flipH="1">
              <a:off x="953742" y="2692180"/>
              <a:ext cx="481569" cy="647991"/>
            </a:xfrm>
            <a:custGeom>
              <a:avLst/>
              <a:gdLst/>
              <a:ahLst/>
              <a:cxnLst/>
              <a:rect l="l" t="t" r="r" b="b"/>
              <a:pathLst>
                <a:path w="33553" h="45148" extrusionOk="0">
                  <a:moveTo>
                    <a:pt x="22487" y="1"/>
                  </a:moveTo>
                  <a:cubicBezTo>
                    <a:pt x="20810" y="1"/>
                    <a:pt x="19142" y="108"/>
                    <a:pt x="17499" y="462"/>
                  </a:cubicBezTo>
                  <a:cubicBezTo>
                    <a:pt x="14752" y="1061"/>
                    <a:pt x="12042" y="2469"/>
                    <a:pt x="10387" y="4863"/>
                  </a:cubicBezTo>
                  <a:cubicBezTo>
                    <a:pt x="8697" y="7327"/>
                    <a:pt x="8380" y="10461"/>
                    <a:pt x="7958" y="13453"/>
                  </a:cubicBezTo>
                  <a:cubicBezTo>
                    <a:pt x="6796" y="21586"/>
                    <a:pt x="4613" y="29508"/>
                    <a:pt x="1444" y="37042"/>
                  </a:cubicBezTo>
                  <a:cubicBezTo>
                    <a:pt x="740" y="38696"/>
                    <a:pt x="1" y="40527"/>
                    <a:pt x="635" y="42182"/>
                  </a:cubicBezTo>
                  <a:cubicBezTo>
                    <a:pt x="1480" y="44330"/>
                    <a:pt x="4191" y="44893"/>
                    <a:pt x="6479" y="45034"/>
                  </a:cubicBezTo>
                  <a:cubicBezTo>
                    <a:pt x="7779" y="45110"/>
                    <a:pt x="9079" y="45148"/>
                    <a:pt x="10378" y="45148"/>
                  </a:cubicBezTo>
                  <a:cubicBezTo>
                    <a:pt x="15691" y="45148"/>
                    <a:pt x="20982" y="44511"/>
                    <a:pt x="26159" y="43238"/>
                  </a:cubicBezTo>
                  <a:cubicBezTo>
                    <a:pt x="27673" y="42851"/>
                    <a:pt x="29222" y="42393"/>
                    <a:pt x="30208" y="41161"/>
                  </a:cubicBezTo>
                  <a:cubicBezTo>
                    <a:pt x="31053" y="40140"/>
                    <a:pt x="31300" y="38732"/>
                    <a:pt x="31511" y="37394"/>
                  </a:cubicBezTo>
                  <a:cubicBezTo>
                    <a:pt x="33060" y="27290"/>
                    <a:pt x="33553" y="17044"/>
                    <a:pt x="32954" y="6870"/>
                  </a:cubicBezTo>
                  <a:cubicBezTo>
                    <a:pt x="32849" y="5039"/>
                    <a:pt x="32637" y="3103"/>
                    <a:pt x="31405" y="1800"/>
                  </a:cubicBezTo>
                  <a:cubicBezTo>
                    <a:pt x="30067" y="356"/>
                    <a:pt x="27920" y="180"/>
                    <a:pt x="25983" y="110"/>
                  </a:cubicBezTo>
                  <a:cubicBezTo>
                    <a:pt x="24816" y="52"/>
                    <a:pt x="23649" y="1"/>
                    <a:pt x="2248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 name="Google Shape;634;p48">
              <a:extLst>
                <a:ext uri="{FF2B5EF4-FFF2-40B4-BE49-F238E27FC236}">
                  <a16:creationId xmlns:a16="http://schemas.microsoft.com/office/drawing/2014/main" id="{169FECCA-FB90-4C05-BCA3-4FC18F72E7C7}"/>
                </a:ext>
              </a:extLst>
            </p:cNvPr>
            <p:cNvSpPr/>
            <p:nvPr/>
          </p:nvSpPr>
          <p:spPr>
            <a:xfrm flipH="1">
              <a:off x="1337316" y="3149609"/>
              <a:ext cx="437592" cy="805468"/>
            </a:xfrm>
            <a:custGeom>
              <a:avLst/>
              <a:gdLst/>
              <a:ahLst/>
              <a:cxnLst/>
              <a:rect l="l" t="t" r="r" b="b"/>
              <a:pathLst>
                <a:path w="30489" h="56120" extrusionOk="0">
                  <a:moveTo>
                    <a:pt x="30489" y="0"/>
                  </a:moveTo>
                  <a:lnTo>
                    <a:pt x="30489" y="0"/>
                  </a:lnTo>
                  <a:cubicBezTo>
                    <a:pt x="24081" y="705"/>
                    <a:pt x="17779" y="2078"/>
                    <a:pt x="11654" y="4084"/>
                  </a:cubicBezTo>
                  <a:cubicBezTo>
                    <a:pt x="6971" y="5598"/>
                    <a:pt x="1796" y="8168"/>
                    <a:pt x="775" y="12992"/>
                  </a:cubicBezTo>
                  <a:cubicBezTo>
                    <a:pt x="0" y="16618"/>
                    <a:pt x="1937" y="20209"/>
                    <a:pt x="3486" y="23554"/>
                  </a:cubicBezTo>
                  <a:cubicBezTo>
                    <a:pt x="8168" y="33728"/>
                    <a:pt x="9964" y="44994"/>
                    <a:pt x="8696" y="56120"/>
                  </a:cubicBezTo>
                  <a:lnTo>
                    <a:pt x="28201" y="21476"/>
                  </a:lnTo>
                  <a:lnTo>
                    <a:pt x="3048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 name="Google Shape;635;p48">
              <a:extLst>
                <a:ext uri="{FF2B5EF4-FFF2-40B4-BE49-F238E27FC236}">
                  <a16:creationId xmlns:a16="http://schemas.microsoft.com/office/drawing/2014/main" id="{9014081C-5FEC-47B4-BF99-E9880A8238AC}"/>
                </a:ext>
              </a:extLst>
            </p:cNvPr>
            <p:cNvSpPr/>
            <p:nvPr/>
          </p:nvSpPr>
          <p:spPr>
            <a:xfrm flipH="1">
              <a:off x="1226643" y="3159715"/>
              <a:ext cx="542710" cy="1138979"/>
            </a:xfrm>
            <a:custGeom>
              <a:avLst/>
              <a:gdLst/>
              <a:ahLst/>
              <a:cxnLst/>
              <a:rect l="l" t="t" r="r" b="b"/>
              <a:pathLst>
                <a:path w="37813" h="79357" extrusionOk="0">
                  <a:moveTo>
                    <a:pt x="29292" y="1"/>
                  </a:moveTo>
                  <a:cubicBezTo>
                    <a:pt x="29222" y="212"/>
                    <a:pt x="23025" y="18378"/>
                    <a:pt x="18449" y="27955"/>
                  </a:cubicBezTo>
                  <a:lnTo>
                    <a:pt x="18378" y="28131"/>
                  </a:lnTo>
                  <a:lnTo>
                    <a:pt x="24117" y="32074"/>
                  </a:lnTo>
                  <a:lnTo>
                    <a:pt x="17392" y="48128"/>
                  </a:lnTo>
                  <a:lnTo>
                    <a:pt x="12921" y="49431"/>
                  </a:lnTo>
                  <a:lnTo>
                    <a:pt x="12886" y="49571"/>
                  </a:lnTo>
                  <a:cubicBezTo>
                    <a:pt x="12851" y="49748"/>
                    <a:pt x="8626" y="69111"/>
                    <a:pt x="352" y="78969"/>
                  </a:cubicBezTo>
                  <a:lnTo>
                    <a:pt x="0" y="79356"/>
                  </a:lnTo>
                  <a:lnTo>
                    <a:pt x="37812" y="77631"/>
                  </a:lnTo>
                  <a:lnTo>
                    <a:pt x="37812" y="77209"/>
                  </a:lnTo>
                  <a:lnTo>
                    <a:pt x="986" y="78863"/>
                  </a:lnTo>
                  <a:cubicBezTo>
                    <a:pt x="8767" y="69252"/>
                    <a:pt x="12921" y="51473"/>
                    <a:pt x="13308" y="49818"/>
                  </a:cubicBezTo>
                  <a:lnTo>
                    <a:pt x="17709" y="48480"/>
                  </a:lnTo>
                  <a:lnTo>
                    <a:pt x="24610" y="32109"/>
                  </a:lnTo>
                  <a:lnTo>
                    <a:pt x="24680" y="31933"/>
                  </a:lnTo>
                  <a:lnTo>
                    <a:pt x="18906" y="27990"/>
                  </a:lnTo>
                  <a:cubicBezTo>
                    <a:pt x="23518" y="18343"/>
                    <a:pt x="29644" y="353"/>
                    <a:pt x="29715" y="141"/>
                  </a:cubicBezTo>
                  <a:lnTo>
                    <a:pt x="2929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 name="Google Shape;636;p48">
              <a:extLst>
                <a:ext uri="{FF2B5EF4-FFF2-40B4-BE49-F238E27FC236}">
                  <a16:creationId xmlns:a16="http://schemas.microsoft.com/office/drawing/2014/main" id="{B2963987-E8F0-4C16-9CA1-E223C4AECEC3}"/>
                </a:ext>
              </a:extLst>
            </p:cNvPr>
            <p:cNvSpPr/>
            <p:nvPr/>
          </p:nvSpPr>
          <p:spPr>
            <a:xfrm flipH="1">
              <a:off x="1105794" y="4242755"/>
              <a:ext cx="32853" cy="25777"/>
            </a:xfrm>
            <a:custGeom>
              <a:avLst/>
              <a:gdLst/>
              <a:ahLst/>
              <a:cxnLst/>
              <a:rect l="l" t="t" r="r" b="b"/>
              <a:pathLst>
                <a:path w="2289" h="1796" extrusionOk="0">
                  <a:moveTo>
                    <a:pt x="2042" y="0"/>
                  </a:moveTo>
                  <a:lnTo>
                    <a:pt x="0" y="1444"/>
                  </a:lnTo>
                  <a:lnTo>
                    <a:pt x="247" y="1796"/>
                  </a:lnTo>
                  <a:lnTo>
                    <a:pt x="2289" y="352"/>
                  </a:lnTo>
                  <a:lnTo>
                    <a:pt x="2042"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 name="Google Shape;637;p48">
              <a:extLst>
                <a:ext uri="{FF2B5EF4-FFF2-40B4-BE49-F238E27FC236}">
                  <a16:creationId xmlns:a16="http://schemas.microsoft.com/office/drawing/2014/main" id="{34E51154-A15A-48AA-B82E-F1E4E9032801}"/>
                </a:ext>
              </a:extLst>
            </p:cNvPr>
            <p:cNvSpPr/>
            <p:nvPr/>
          </p:nvSpPr>
          <p:spPr>
            <a:xfrm flipH="1">
              <a:off x="977982" y="3113638"/>
              <a:ext cx="360291" cy="39010"/>
            </a:xfrm>
            <a:custGeom>
              <a:avLst/>
              <a:gdLst/>
              <a:ahLst/>
              <a:cxnLst/>
              <a:rect l="l" t="t" r="r" b="b"/>
              <a:pathLst>
                <a:path w="25103" h="2718" extrusionOk="0">
                  <a:moveTo>
                    <a:pt x="20965" y="0"/>
                  </a:moveTo>
                  <a:cubicBezTo>
                    <a:pt x="20782" y="0"/>
                    <a:pt x="20600" y="3"/>
                    <a:pt x="20420" y="7"/>
                  </a:cubicBezTo>
                  <a:lnTo>
                    <a:pt x="5035" y="359"/>
                  </a:lnTo>
                  <a:cubicBezTo>
                    <a:pt x="3240" y="429"/>
                    <a:pt x="775" y="676"/>
                    <a:pt x="1" y="2577"/>
                  </a:cubicBezTo>
                  <a:lnTo>
                    <a:pt x="388" y="2718"/>
                  </a:lnTo>
                  <a:cubicBezTo>
                    <a:pt x="1092" y="1098"/>
                    <a:pt x="3380" y="852"/>
                    <a:pt x="5035" y="816"/>
                  </a:cubicBezTo>
                  <a:lnTo>
                    <a:pt x="20420" y="429"/>
                  </a:lnTo>
                  <a:cubicBezTo>
                    <a:pt x="20599" y="425"/>
                    <a:pt x="20779" y="423"/>
                    <a:pt x="20959" y="423"/>
                  </a:cubicBezTo>
                  <a:cubicBezTo>
                    <a:pt x="22418" y="423"/>
                    <a:pt x="23909" y="592"/>
                    <a:pt x="24786" y="1626"/>
                  </a:cubicBezTo>
                  <a:lnTo>
                    <a:pt x="25103" y="1345"/>
                  </a:lnTo>
                  <a:cubicBezTo>
                    <a:pt x="24128" y="180"/>
                    <a:pt x="22506" y="0"/>
                    <a:pt x="2096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 name="Google Shape;638;p48">
              <a:extLst>
                <a:ext uri="{FF2B5EF4-FFF2-40B4-BE49-F238E27FC236}">
                  <a16:creationId xmlns:a16="http://schemas.microsoft.com/office/drawing/2014/main" id="{301F4B85-63BB-4372-BAFF-30C8F6211B0D}"/>
                </a:ext>
              </a:extLst>
            </p:cNvPr>
            <p:cNvSpPr/>
            <p:nvPr/>
          </p:nvSpPr>
          <p:spPr>
            <a:xfrm flipH="1">
              <a:off x="1647082" y="3757075"/>
              <a:ext cx="302694" cy="496959"/>
            </a:xfrm>
            <a:custGeom>
              <a:avLst/>
              <a:gdLst/>
              <a:ahLst/>
              <a:cxnLst/>
              <a:rect l="l" t="t" r="r" b="b"/>
              <a:pathLst>
                <a:path w="21090" h="34625" extrusionOk="0">
                  <a:moveTo>
                    <a:pt x="20984" y="1"/>
                  </a:moveTo>
                  <a:lnTo>
                    <a:pt x="20984" y="1"/>
                  </a:lnTo>
                  <a:cubicBezTo>
                    <a:pt x="19787" y="423"/>
                    <a:pt x="18695" y="1127"/>
                    <a:pt x="17780" y="2043"/>
                  </a:cubicBezTo>
                  <a:lnTo>
                    <a:pt x="15069" y="5071"/>
                  </a:lnTo>
                  <a:cubicBezTo>
                    <a:pt x="10211" y="11689"/>
                    <a:pt x="5739" y="18555"/>
                    <a:pt x="1691" y="25702"/>
                  </a:cubicBezTo>
                  <a:cubicBezTo>
                    <a:pt x="846" y="27180"/>
                    <a:pt x="1" y="28905"/>
                    <a:pt x="634" y="30490"/>
                  </a:cubicBezTo>
                  <a:cubicBezTo>
                    <a:pt x="1163" y="31863"/>
                    <a:pt x="2641" y="32602"/>
                    <a:pt x="3979" y="33201"/>
                  </a:cubicBezTo>
                  <a:cubicBezTo>
                    <a:pt x="5569" y="33913"/>
                    <a:pt x="7352" y="34625"/>
                    <a:pt x="9035" y="34625"/>
                  </a:cubicBezTo>
                  <a:cubicBezTo>
                    <a:pt x="9848" y="34625"/>
                    <a:pt x="10638" y="34459"/>
                    <a:pt x="11372" y="34046"/>
                  </a:cubicBezTo>
                  <a:cubicBezTo>
                    <a:pt x="12710" y="33271"/>
                    <a:pt x="13520" y="31828"/>
                    <a:pt x="14189" y="30419"/>
                  </a:cubicBezTo>
                  <a:cubicBezTo>
                    <a:pt x="18766" y="20949"/>
                    <a:pt x="21089" y="10528"/>
                    <a:pt x="20984"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 name="Google Shape;639;p48">
              <a:extLst>
                <a:ext uri="{FF2B5EF4-FFF2-40B4-BE49-F238E27FC236}">
                  <a16:creationId xmlns:a16="http://schemas.microsoft.com/office/drawing/2014/main" id="{B864A48C-1B9F-4218-8AA9-B10244FA7DF7}"/>
                </a:ext>
              </a:extLst>
            </p:cNvPr>
            <p:cNvSpPr/>
            <p:nvPr/>
          </p:nvSpPr>
          <p:spPr>
            <a:xfrm flipH="1">
              <a:off x="1647073" y="3757075"/>
              <a:ext cx="245586" cy="496959"/>
            </a:xfrm>
            <a:custGeom>
              <a:avLst/>
              <a:gdLst/>
              <a:ahLst/>
              <a:cxnLst/>
              <a:rect l="l" t="t" r="r" b="b"/>
              <a:pathLst>
                <a:path w="17111" h="34625" extrusionOk="0">
                  <a:moveTo>
                    <a:pt x="16970" y="1"/>
                  </a:moveTo>
                  <a:cubicBezTo>
                    <a:pt x="15773" y="423"/>
                    <a:pt x="14681" y="1127"/>
                    <a:pt x="13801" y="2043"/>
                  </a:cubicBezTo>
                  <a:lnTo>
                    <a:pt x="13062" y="2923"/>
                  </a:lnTo>
                  <a:cubicBezTo>
                    <a:pt x="10914" y="10844"/>
                    <a:pt x="8238" y="22498"/>
                    <a:pt x="3450" y="30877"/>
                  </a:cubicBezTo>
                  <a:cubicBezTo>
                    <a:pt x="2641" y="32497"/>
                    <a:pt x="1831" y="33165"/>
                    <a:pt x="0" y="33201"/>
                  </a:cubicBezTo>
                  <a:cubicBezTo>
                    <a:pt x="1567" y="33913"/>
                    <a:pt x="3357" y="34625"/>
                    <a:pt x="5037" y="34625"/>
                  </a:cubicBezTo>
                  <a:cubicBezTo>
                    <a:pt x="5849" y="34625"/>
                    <a:pt x="6636" y="34459"/>
                    <a:pt x="7358" y="34046"/>
                  </a:cubicBezTo>
                  <a:cubicBezTo>
                    <a:pt x="8731" y="33271"/>
                    <a:pt x="9541" y="31828"/>
                    <a:pt x="10210" y="30419"/>
                  </a:cubicBezTo>
                  <a:cubicBezTo>
                    <a:pt x="14787" y="20949"/>
                    <a:pt x="17110" y="10528"/>
                    <a:pt x="1697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 name="Google Shape;640;p48">
              <a:extLst>
                <a:ext uri="{FF2B5EF4-FFF2-40B4-BE49-F238E27FC236}">
                  <a16:creationId xmlns:a16="http://schemas.microsoft.com/office/drawing/2014/main" id="{5B00AA2F-E83F-46F9-98D5-B82A4C43CEBD}"/>
                </a:ext>
              </a:extLst>
            </p:cNvPr>
            <p:cNvSpPr/>
            <p:nvPr/>
          </p:nvSpPr>
          <p:spPr>
            <a:xfrm flipH="1">
              <a:off x="1680424" y="3776282"/>
              <a:ext cx="174842" cy="472991"/>
            </a:xfrm>
            <a:custGeom>
              <a:avLst/>
              <a:gdLst/>
              <a:ahLst/>
              <a:cxnLst/>
              <a:rect l="l" t="t" r="r" b="b"/>
              <a:pathLst>
                <a:path w="12182" h="32955" extrusionOk="0">
                  <a:moveTo>
                    <a:pt x="11724" y="1"/>
                  </a:moveTo>
                  <a:cubicBezTo>
                    <a:pt x="10245" y="5563"/>
                    <a:pt x="8696" y="11196"/>
                    <a:pt x="7112" y="16724"/>
                  </a:cubicBezTo>
                  <a:cubicBezTo>
                    <a:pt x="6232" y="20068"/>
                    <a:pt x="5140" y="23343"/>
                    <a:pt x="3873" y="26582"/>
                  </a:cubicBezTo>
                  <a:cubicBezTo>
                    <a:pt x="3028" y="28624"/>
                    <a:pt x="1901" y="30947"/>
                    <a:pt x="0" y="32602"/>
                  </a:cubicBezTo>
                  <a:lnTo>
                    <a:pt x="282" y="32954"/>
                  </a:lnTo>
                  <a:cubicBezTo>
                    <a:pt x="2254" y="31194"/>
                    <a:pt x="3451" y="28694"/>
                    <a:pt x="4260" y="26722"/>
                  </a:cubicBezTo>
                  <a:cubicBezTo>
                    <a:pt x="5563" y="23519"/>
                    <a:pt x="6654" y="20209"/>
                    <a:pt x="7535" y="16865"/>
                  </a:cubicBezTo>
                  <a:cubicBezTo>
                    <a:pt x="9119" y="11302"/>
                    <a:pt x="10703" y="5669"/>
                    <a:pt x="12182" y="141"/>
                  </a:cubicBezTo>
                  <a:lnTo>
                    <a:pt x="11724"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 name="Google Shape;641;p48">
              <a:extLst>
                <a:ext uri="{FF2B5EF4-FFF2-40B4-BE49-F238E27FC236}">
                  <a16:creationId xmlns:a16="http://schemas.microsoft.com/office/drawing/2014/main" id="{E3ABA056-2DEE-4CC3-9B62-10EA47801DD3}"/>
                </a:ext>
              </a:extLst>
            </p:cNvPr>
            <p:cNvSpPr/>
            <p:nvPr/>
          </p:nvSpPr>
          <p:spPr>
            <a:xfrm flipH="1">
              <a:off x="1422680" y="3197354"/>
              <a:ext cx="214771" cy="303141"/>
            </a:xfrm>
            <a:custGeom>
              <a:avLst/>
              <a:gdLst/>
              <a:ahLst/>
              <a:cxnLst/>
              <a:rect l="l" t="t" r="r" b="b"/>
              <a:pathLst>
                <a:path w="14964" h="21121" extrusionOk="0">
                  <a:moveTo>
                    <a:pt x="12698" y="1"/>
                  </a:moveTo>
                  <a:cubicBezTo>
                    <a:pt x="12246" y="1"/>
                    <a:pt x="11775" y="94"/>
                    <a:pt x="11337" y="195"/>
                  </a:cubicBezTo>
                  <a:cubicBezTo>
                    <a:pt x="9224" y="688"/>
                    <a:pt x="7182" y="1322"/>
                    <a:pt x="5211" y="2167"/>
                  </a:cubicBezTo>
                  <a:cubicBezTo>
                    <a:pt x="3521" y="2871"/>
                    <a:pt x="1796" y="3751"/>
                    <a:pt x="951" y="5370"/>
                  </a:cubicBezTo>
                  <a:cubicBezTo>
                    <a:pt x="0" y="7201"/>
                    <a:pt x="493" y="9454"/>
                    <a:pt x="1233" y="11356"/>
                  </a:cubicBezTo>
                  <a:cubicBezTo>
                    <a:pt x="1972" y="13292"/>
                    <a:pt x="2993" y="15193"/>
                    <a:pt x="3028" y="17235"/>
                  </a:cubicBezTo>
                  <a:cubicBezTo>
                    <a:pt x="2993" y="18010"/>
                    <a:pt x="3028" y="18784"/>
                    <a:pt x="3099" y="19524"/>
                  </a:cubicBezTo>
                  <a:cubicBezTo>
                    <a:pt x="3275" y="20263"/>
                    <a:pt x="3803" y="21037"/>
                    <a:pt x="4577" y="21108"/>
                  </a:cubicBezTo>
                  <a:cubicBezTo>
                    <a:pt x="4641" y="21117"/>
                    <a:pt x="4704" y="21121"/>
                    <a:pt x="4767" y="21121"/>
                  </a:cubicBezTo>
                  <a:cubicBezTo>
                    <a:pt x="5695" y="21121"/>
                    <a:pt x="6406" y="20172"/>
                    <a:pt x="6901" y="19347"/>
                  </a:cubicBezTo>
                  <a:cubicBezTo>
                    <a:pt x="9823" y="14383"/>
                    <a:pt x="12745" y="9314"/>
                    <a:pt x="14435" y="3786"/>
                  </a:cubicBezTo>
                  <a:cubicBezTo>
                    <a:pt x="14752" y="2624"/>
                    <a:pt x="14963" y="1181"/>
                    <a:pt x="14048" y="441"/>
                  </a:cubicBezTo>
                  <a:cubicBezTo>
                    <a:pt x="13662" y="111"/>
                    <a:pt x="13191" y="1"/>
                    <a:pt x="12698"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 name="Google Shape;642;p48">
              <a:extLst>
                <a:ext uri="{FF2B5EF4-FFF2-40B4-BE49-F238E27FC236}">
                  <a16:creationId xmlns:a16="http://schemas.microsoft.com/office/drawing/2014/main" id="{41F0561A-9EB6-4918-B2F2-EAE43A5B1561}"/>
                </a:ext>
              </a:extLst>
            </p:cNvPr>
            <p:cNvSpPr/>
            <p:nvPr/>
          </p:nvSpPr>
          <p:spPr>
            <a:xfrm flipH="1">
              <a:off x="1422673" y="3197296"/>
              <a:ext cx="169804" cy="303199"/>
            </a:xfrm>
            <a:custGeom>
              <a:avLst/>
              <a:gdLst/>
              <a:ahLst/>
              <a:cxnLst/>
              <a:rect l="l" t="t" r="r" b="b"/>
              <a:pathLst>
                <a:path w="11831" h="21125" extrusionOk="0">
                  <a:moveTo>
                    <a:pt x="9594" y="1"/>
                  </a:moveTo>
                  <a:cubicBezTo>
                    <a:pt x="9133" y="1"/>
                    <a:pt x="8651" y="96"/>
                    <a:pt x="8204" y="199"/>
                  </a:cubicBezTo>
                  <a:cubicBezTo>
                    <a:pt x="7711" y="305"/>
                    <a:pt x="7218" y="445"/>
                    <a:pt x="6725" y="586"/>
                  </a:cubicBezTo>
                  <a:cubicBezTo>
                    <a:pt x="9788" y="1290"/>
                    <a:pt x="986" y="17873"/>
                    <a:pt x="1" y="19492"/>
                  </a:cubicBezTo>
                  <a:cubicBezTo>
                    <a:pt x="1" y="19492"/>
                    <a:pt x="1" y="19528"/>
                    <a:pt x="1" y="19528"/>
                  </a:cubicBezTo>
                  <a:cubicBezTo>
                    <a:pt x="142" y="20267"/>
                    <a:pt x="670" y="21006"/>
                    <a:pt x="1444" y="21112"/>
                  </a:cubicBezTo>
                  <a:cubicBezTo>
                    <a:pt x="1508" y="21121"/>
                    <a:pt x="1571" y="21125"/>
                    <a:pt x="1634" y="21125"/>
                  </a:cubicBezTo>
                  <a:cubicBezTo>
                    <a:pt x="2562" y="21125"/>
                    <a:pt x="3273" y="20176"/>
                    <a:pt x="3768" y="19351"/>
                  </a:cubicBezTo>
                  <a:cubicBezTo>
                    <a:pt x="6690" y="14352"/>
                    <a:pt x="9647" y="9318"/>
                    <a:pt x="11302" y="3790"/>
                  </a:cubicBezTo>
                  <a:cubicBezTo>
                    <a:pt x="11619" y="2628"/>
                    <a:pt x="11830" y="1185"/>
                    <a:pt x="10915" y="410"/>
                  </a:cubicBezTo>
                  <a:cubicBezTo>
                    <a:pt x="10537" y="104"/>
                    <a:pt x="10076" y="1"/>
                    <a:pt x="9594"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 name="Google Shape;643;p48">
              <a:extLst>
                <a:ext uri="{FF2B5EF4-FFF2-40B4-BE49-F238E27FC236}">
                  <a16:creationId xmlns:a16="http://schemas.microsoft.com/office/drawing/2014/main" id="{E2F59D6A-B9C0-42C2-8BAF-F95E4368CB49}"/>
                </a:ext>
              </a:extLst>
            </p:cNvPr>
            <p:cNvSpPr/>
            <p:nvPr/>
          </p:nvSpPr>
          <p:spPr>
            <a:xfrm flipH="1">
              <a:off x="1460076" y="3198631"/>
              <a:ext cx="133908" cy="295620"/>
            </a:xfrm>
            <a:custGeom>
              <a:avLst/>
              <a:gdLst/>
              <a:ahLst/>
              <a:cxnLst/>
              <a:rect l="l" t="t" r="r" b="b"/>
              <a:pathLst>
                <a:path w="9330" h="20597" extrusionOk="0">
                  <a:moveTo>
                    <a:pt x="8555" y="0"/>
                  </a:moveTo>
                  <a:lnTo>
                    <a:pt x="8168" y="212"/>
                  </a:lnTo>
                  <a:cubicBezTo>
                    <a:pt x="8907" y="1655"/>
                    <a:pt x="8309" y="3380"/>
                    <a:pt x="7675" y="4894"/>
                  </a:cubicBezTo>
                  <a:cubicBezTo>
                    <a:pt x="6267" y="8415"/>
                    <a:pt x="4683" y="11935"/>
                    <a:pt x="3169" y="15351"/>
                  </a:cubicBezTo>
                  <a:cubicBezTo>
                    <a:pt x="2429" y="17040"/>
                    <a:pt x="1549" y="19012"/>
                    <a:pt x="0" y="20279"/>
                  </a:cubicBezTo>
                  <a:lnTo>
                    <a:pt x="282" y="20596"/>
                  </a:lnTo>
                  <a:cubicBezTo>
                    <a:pt x="1901" y="19258"/>
                    <a:pt x="2817" y="17287"/>
                    <a:pt x="3591" y="15527"/>
                  </a:cubicBezTo>
                  <a:cubicBezTo>
                    <a:pt x="5105" y="12112"/>
                    <a:pt x="6689" y="8591"/>
                    <a:pt x="8098" y="5070"/>
                  </a:cubicBezTo>
                  <a:cubicBezTo>
                    <a:pt x="8802" y="3345"/>
                    <a:pt x="9330" y="1514"/>
                    <a:pt x="855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 name="Google Shape;644;p48">
              <a:extLst>
                <a:ext uri="{FF2B5EF4-FFF2-40B4-BE49-F238E27FC236}">
                  <a16:creationId xmlns:a16="http://schemas.microsoft.com/office/drawing/2014/main" id="{A7A7EF86-C1D6-481F-9537-B1661CFC5C6B}"/>
                </a:ext>
              </a:extLst>
            </p:cNvPr>
            <p:cNvSpPr/>
            <p:nvPr/>
          </p:nvSpPr>
          <p:spPr>
            <a:xfrm flipH="1">
              <a:off x="970381" y="2767543"/>
              <a:ext cx="197577" cy="328961"/>
            </a:xfrm>
            <a:custGeom>
              <a:avLst/>
              <a:gdLst/>
              <a:ahLst/>
              <a:cxnLst/>
              <a:rect l="l" t="t" r="r" b="b"/>
              <a:pathLst>
                <a:path w="13766" h="22920" extrusionOk="0">
                  <a:moveTo>
                    <a:pt x="3310" y="0"/>
                  </a:moveTo>
                  <a:cubicBezTo>
                    <a:pt x="1796" y="0"/>
                    <a:pt x="528" y="1127"/>
                    <a:pt x="352" y="2605"/>
                  </a:cubicBezTo>
                  <a:lnTo>
                    <a:pt x="35" y="5809"/>
                  </a:lnTo>
                  <a:cubicBezTo>
                    <a:pt x="0" y="6126"/>
                    <a:pt x="0" y="6478"/>
                    <a:pt x="71" y="6795"/>
                  </a:cubicBezTo>
                  <a:lnTo>
                    <a:pt x="3732" y="22920"/>
                  </a:lnTo>
                  <a:lnTo>
                    <a:pt x="8168" y="22356"/>
                  </a:lnTo>
                  <a:lnTo>
                    <a:pt x="13555" y="5598"/>
                  </a:lnTo>
                  <a:cubicBezTo>
                    <a:pt x="13766" y="4929"/>
                    <a:pt x="13731" y="4190"/>
                    <a:pt x="13414" y="3521"/>
                  </a:cubicBezTo>
                  <a:lnTo>
                    <a:pt x="12428" y="1620"/>
                  </a:lnTo>
                  <a:cubicBezTo>
                    <a:pt x="11970" y="704"/>
                    <a:pt x="11055" y="106"/>
                    <a:pt x="10034" y="106"/>
                  </a:cubicBezTo>
                  <a:cubicBezTo>
                    <a:pt x="8239" y="71"/>
                    <a:pt x="5387" y="0"/>
                    <a:pt x="331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 name="Google Shape;645;p48">
              <a:extLst>
                <a:ext uri="{FF2B5EF4-FFF2-40B4-BE49-F238E27FC236}">
                  <a16:creationId xmlns:a16="http://schemas.microsoft.com/office/drawing/2014/main" id="{BD50794F-44C0-4F81-AF30-77798B04F71E}"/>
                </a:ext>
              </a:extLst>
            </p:cNvPr>
            <p:cNvSpPr/>
            <p:nvPr/>
          </p:nvSpPr>
          <p:spPr>
            <a:xfrm flipH="1">
              <a:off x="1092661" y="2760967"/>
              <a:ext cx="55587" cy="339080"/>
            </a:xfrm>
            <a:custGeom>
              <a:avLst/>
              <a:gdLst/>
              <a:ahLst/>
              <a:cxnLst/>
              <a:rect l="l" t="t" r="r" b="b"/>
              <a:pathLst>
                <a:path w="3873" h="23625" extrusionOk="0">
                  <a:moveTo>
                    <a:pt x="1866" y="0"/>
                  </a:moveTo>
                  <a:cubicBezTo>
                    <a:pt x="775" y="1655"/>
                    <a:pt x="176" y="3592"/>
                    <a:pt x="106" y="5563"/>
                  </a:cubicBezTo>
                  <a:cubicBezTo>
                    <a:pt x="0" y="7464"/>
                    <a:pt x="423" y="9330"/>
                    <a:pt x="810" y="11161"/>
                  </a:cubicBezTo>
                  <a:lnTo>
                    <a:pt x="3450" y="23624"/>
                  </a:lnTo>
                  <a:lnTo>
                    <a:pt x="3873" y="23519"/>
                  </a:lnTo>
                  <a:lnTo>
                    <a:pt x="1197" y="11055"/>
                  </a:lnTo>
                  <a:cubicBezTo>
                    <a:pt x="810" y="9260"/>
                    <a:pt x="423" y="7429"/>
                    <a:pt x="528" y="5563"/>
                  </a:cubicBezTo>
                  <a:cubicBezTo>
                    <a:pt x="599" y="3662"/>
                    <a:pt x="1197" y="1831"/>
                    <a:pt x="2218" y="247"/>
                  </a:cubicBezTo>
                  <a:lnTo>
                    <a:pt x="186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 name="Google Shape;646;p48">
              <a:extLst>
                <a:ext uri="{FF2B5EF4-FFF2-40B4-BE49-F238E27FC236}">
                  <a16:creationId xmlns:a16="http://schemas.microsoft.com/office/drawing/2014/main" id="{CB02F4C3-DFF4-455C-AF8F-573881DA78C7}"/>
                </a:ext>
              </a:extLst>
            </p:cNvPr>
            <p:cNvSpPr/>
            <p:nvPr/>
          </p:nvSpPr>
          <p:spPr>
            <a:xfrm flipH="1">
              <a:off x="2014513" y="4015261"/>
              <a:ext cx="504303" cy="250754"/>
            </a:xfrm>
            <a:custGeom>
              <a:avLst/>
              <a:gdLst/>
              <a:ahLst/>
              <a:cxnLst/>
              <a:rect l="l" t="t" r="r" b="b"/>
              <a:pathLst>
                <a:path w="35137" h="17471" extrusionOk="0">
                  <a:moveTo>
                    <a:pt x="28672" y="1"/>
                  </a:moveTo>
                  <a:cubicBezTo>
                    <a:pt x="26297" y="1"/>
                    <a:pt x="23952" y="2240"/>
                    <a:pt x="24433" y="4546"/>
                  </a:cubicBezTo>
                  <a:lnTo>
                    <a:pt x="7253" y="1448"/>
                  </a:lnTo>
                  <a:cubicBezTo>
                    <a:pt x="6315" y="1280"/>
                    <a:pt x="5360" y="1111"/>
                    <a:pt x="4423" y="1111"/>
                  </a:cubicBezTo>
                  <a:cubicBezTo>
                    <a:pt x="3988" y="1111"/>
                    <a:pt x="3557" y="1147"/>
                    <a:pt x="3134" y="1237"/>
                  </a:cubicBezTo>
                  <a:cubicBezTo>
                    <a:pt x="1760" y="1553"/>
                    <a:pt x="493" y="2504"/>
                    <a:pt x="211" y="3877"/>
                  </a:cubicBezTo>
                  <a:cubicBezTo>
                    <a:pt x="0" y="5109"/>
                    <a:pt x="704" y="6342"/>
                    <a:pt x="1655" y="7116"/>
                  </a:cubicBezTo>
                  <a:cubicBezTo>
                    <a:pt x="2676" y="7855"/>
                    <a:pt x="3802" y="8384"/>
                    <a:pt x="4999" y="8736"/>
                  </a:cubicBezTo>
                  <a:lnTo>
                    <a:pt x="29996" y="17291"/>
                  </a:lnTo>
                  <a:cubicBezTo>
                    <a:pt x="30363" y="17413"/>
                    <a:pt x="30733" y="17471"/>
                    <a:pt x="31095" y="17471"/>
                  </a:cubicBezTo>
                  <a:cubicBezTo>
                    <a:pt x="32818" y="17471"/>
                    <a:pt x="34363" y="16167"/>
                    <a:pt x="34538" y="14333"/>
                  </a:cubicBezTo>
                  <a:cubicBezTo>
                    <a:pt x="34643" y="13418"/>
                    <a:pt x="34749" y="12468"/>
                    <a:pt x="34855" y="11517"/>
                  </a:cubicBezTo>
                  <a:cubicBezTo>
                    <a:pt x="35066" y="9123"/>
                    <a:pt x="35136" y="6588"/>
                    <a:pt x="34221" y="4335"/>
                  </a:cubicBezTo>
                  <a:cubicBezTo>
                    <a:pt x="33341" y="2082"/>
                    <a:pt x="31264" y="110"/>
                    <a:pt x="28834" y="4"/>
                  </a:cubicBezTo>
                  <a:cubicBezTo>
                    <a:pt x="28780" y="2"/>
                    <a:pt x="28726" y="1"/>
                    <a:pt x="28672"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 name="Google Shape;647;p48">
              <a:extLst>
                <a:ext uri="{FF2B5EF4-FFF2-40B4-BE49-F238E27FC236}">
                  <a16:creationId xmlns:a16="http://schemas.microsoft.com/office/drawing/2014/main" id="{AEAC77F1-5C53-4FBA-8B01-EFBF60FD6B40}"/>
                </a:ext>
              </a:extLst>
            </p:cNvPr>
            <p:cNvSpPr/>
            <p:nvPr/>
          </p:nvSpPr>
          <p:spPr>
            <a:xfrm flipH="1">
              <a:off x="2152468" y="4049081"/>
              <a:ext cx="367367" cy="90062"/>
            </a:xfrm>
            <a:custGeom>
              <a:avLst/>
              <a:gdLst/>
              <a:ahLst/>
              <a:cxnLst/>
              <a:rect l="l" t="t" r="r" b="b"/>
              <a:pathLst>
                <a:path w="25596" h="6275" extrusionOk="0">
                  <a:moveTo>
                    <a:pt x="2064" y="1"/>
                  </a:moveTo>
                  <a:cubicBezTo>
                    <a:pt x="1975" y="1"/>
                    <a:pt x="1886" y="3"/>
                    <a:pt x="1796" y="7"/>
                  </a:cubicBezTo>
                  <a:cubicBezTo>
                    <a:pt x="1057" y="42"/>
                    <a:pt x="388" y="500"/>
                    <a:pt x="1" y="1134"/>
                  </a:cubicBezTo>
                  <a:lnTo>
                    <a:pt x="423" y="1345"/>
                  </a:lnTo>
                  <a:cubicBezTo>
                    <a:pt x="705" y="817"/>
                    <a:pt x="1233" y="465"/>
                    <a:pt x="1867" y="465"/>
                  </a:cubicBezTo>
                  <a:cubicBezTo>
                    <a:pt x="1949" y="460"/>
                    <a:pt x="2030" y="458"/>
                    <a:pt x="2112" y="458"/>
                  </a:cubicBezTo>
                  <a:cubicBezTo>
                    <a:pt x="2664" y="458"/>
                    <a:pt x="3216" y="558"/>
                    <a:pt x="3768" y="711"/>
                  </a:cubicBezTo>
                  <a:lnTo>
                    <a:pt x="25490" y="6274"/>
                  </a:lnTo>
                  <a:lnTo>
                    <a:pt x="25596" y="5816"/>
                  </a:lnTo>
                  <a:lnTo>
                    <a:pt x="3873" y="289"/>
                  </a:lnTo>
                  <a:cubicBezTo>
                    <a:pt x="3289" y="104"/>
                    <a:pt x="2679" y="1"/>
                    <a:pt x="2064"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 name="Google Shape;648;p48">
              <a:extLst>
                <a:ext uri="{FF2B5EF4-FFF2-40B4-BE49-F238E27FC236}">
                  <a16:creationId xmlns:a16="http://schemas.microsoft.com/office/drawing/2014/main" id="{83EED62A-FAD9-42BC-8DAE-344F88A7FAD4}"/>
                </a:ext>
              </a:extLst>
            </p:cNvPr>
            <p:cNvSpPr/>
            <p:nvPr/>
          </p:nvSpPr>
          <p:spPr>
            <a:xfrm flipH="1">
              <a:off x="2048826" y="4029615"/>
              <a:ext cx="107141" cy="233802"/>
            </a:xfrm>
            <a:custGeom>
              <a:avLst/>
              <a:gdLst/>
              <a:ahLst/>
              <a:cxnLst/>
              <a:rect l="l" t="t" r="r" b="b"/>
              <a:pathLst>
                <a:path w="7465" h="16290" extrusionOk="0">
                  <a:moveTo>
                    <a:pt x="2756" y="0"/>
                  </a:moveTo>
                  <a:cubicBezTo>
                    <a:pt x="1641" y="0"/>
                    <a:pt x="560" y="497"/>
                    <a:pt x="0" y="1397"/>
                  </a:cubicBezTo>
                  <a:lnTo>
                    <a:pt x="388" y="1609"/>
                  </a:lnTo>
                  <a:cubicBezTo>
                    <a:pt x="849" y="855"/>
                    <a:pt x="1798" y="421"/>
                    <a:pt x="2770" y="421"/>
                  </a:cubicBezTo>
                  <a:cubicBezTo>
                    <a:pt x="3205" y="421"/>
                    <a:pt x="3646" y="508"/>
                    <a:pt x="4049" y="693"/>
                  </a:cubicBezTo>
                  <a:cubicBezTo>
                    <a:pt x="5352" y="1362"/>
                    <a:pt x="6267" y="2559"/>
                    <a:pt x="6584" y="3968"/>
                  </a:cubicBezTo>
                  <a:cubicBezTo>
                    <a:pt x="6901" y="5376"/>
                    <a:pt x="7007" y="6819"/>
                    <a:pt x="6901" y="8298"/>
                  </a:cubicBezTo>
                  <a:cubicBezTo>
                    <a:pt x="6830" y="9988"/>
                    <a:pt x="6760" y="11678"/>
                    <a:pt x="6654" y="13368"/>
                  </a:cubicBezTo>
                  <a:cubicBezTo>
                    <a:pt x="6584" y="14353"/>
                    <a:pt x="6478" y="15374"/>
                    <a:pt x="5810" y="15973"/>
                  </a:cubicBezTo>
                  <a:lnTo>
                    <a:pt x="6091" y="16290"/>
                  </a:lnTo>
                  <a:cubicBezTo>
                    <a:pt x="6901" y="15586"/>
                    <a:pt x="7042" y="14424"/>
                    <a:pt x="7112" y="13403"/>
                  </a:cubicBezTo>
                  <a:cubicBezTo>
                    <a:pt x="7218" y="11713"/>
                    <a:pt x="7288" y="9988"/>
                    <a:pt x="7323" y="8298"/>
                  </a:cubicBezTo>
                  <a:cubicBezTo>
                    <a:pt x="7464" y="6784"/>
                    <a:pt x="7359" y="5305"/>
                    <a:pt x="7007" y="3827"/>
                  </a:cubicBezTo>
                  <a:cubicBezTo>
                    <a:pt x="6654" y="2313"/>
                    <a:pt x="5633" y="1010"/>
                    <a:pt x="4225" y="306"/>
                  </a:cubicBezTo>
                  <a:cubicBezTo>
                    <a:pt x="3758" y="99"/>
                    <a:pt x="3253" y="0"/>
                    <a:pt x="2756"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60" name="Google Shape;652;p48">
            <a:extLst>
              <a:ext uri="{FF2B5EF4-FFF2-40B4-BE49-F238E27FC236}">
                <a16:creationId xmlns:a16="http://schemas.microsoft.com/office/drawing/2014/main" id="{F6F1975B-BB7C-4219-82C2-973DB6CE5E92}"/>
              </a:ext>
            </a:extLst>
          </p:cNvPr>
          <p:cNvSpPr/>
          <p:nvPr/>
        </p:nvSpPr>
        <p:spPr>
          <a:xfrm>
            <a:off x="2653125" y="113843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 name="Rectangle 261">
            <a:extLst>
              <a:ext uri="{FF2B5EF4-FFF2-40B4-BE49-F238E27FC236}">
                <a16:creationId xmlns:a16="http://schemas.microsoft.com/office/drawing/2014/main" id="{23E6B774-4DCD-48BA-A198-691D661FA49E}"/>
              </a:ext>
            </a:extLst>
          </p:cNvPr>
          <p:cNvSpPr/>
          <p:nvPr/>
        </p:nvSpPr>
        <p:spPr>
          <a:xfrm>
            <a:off x="6147892" y="2037726"/>
            <a:ext cx="5110694" cy="923330"/>
          </a:xfrm>
          <a:prstGeom prst="rect">
            <a:avLst/>
          </a:prstGeom>
          <a:noFill/>
          <a:effectLst/>
        </p:spPr>
        <p:txBody>
          <a:bodyPr wrap="none" lIns="91440" tIns="45720" rIns="91440" bIns="45720">
            <a:spAutoFit/>
          </a:bodyPr>
          <a:lstStyle/>
          <a:p>
            <a:pPr algn="ctr"/>
            <a:r>
              <a:rPr lang="en-US" sz="5400" b="1" cap="none" spc="0" dirty="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rPr>
              <a:t>First-third/person</a:t>
            </a:r>
          </a:p>
        </p:txBody>
      </p:sp>
      <p:grpSp>
        <p:nvGrpSpPr>
          <p:cNvPr id="290" name="Group 289">
            <a:extLst>
              <a:ext uri="{FF2B5EF4-FFF2-40B4-BE49-F238E27FC236}">
                <a16:creationId xmlns:a16="http://schemas.microsoft.com/office/drawing/2014/main" id="{39584522-DB7C-4E7D-B3D7-9031C5D3D7CC}"/>
              </a:ext>
            </a:extLst>
          </p:cNvPr>
          <p:cNvGrpSpPr/>
          <p:nvPr/>
        </p:nvGrpSpPr>
        <p:grpSpPr>
          <a:xfrm>
            <a:off x="9015135" y="571740"/>
            <a:ext cx="1739676" cy="1743263"/>
            <a:chOff x="2815153" y="4374688"/>
            <a:chExt cx="1739676" cy="1743263"/>
          </a:xfrm>
        </p:grpSpPr>
        <p:grpSp>
          <p:nvGrpSpPr>
            <p:cNvPr id="286" name="Target3" descr="{&quot;Key&quot;:&quot;POWER_USER_SHAPE_ICON&quot;,&quot;Value&quot;:&quot;POWER_USER_SHAPE_ICON_STYLE_1&quot;}">
              <a:extLst>
                <a:ext uri="{FF2B5EF4-FFF2-40B4-BE49-F238E27FC236}">
                  <a16:creationId xmlns:a16="http://schemas.microsoft.com/office/drawing/2014/main" id="{87F19960-A03F-4DA8-B2DE-FD96F83800C3}"/>
                </a:ext>
              </a:extLst>
            </p:cNvPr>
            <p:cNvGrpSpPr>
              <a:grpSpLocks noChangeAspect="1"/>
            </p:cNvGrpSpPr>
            <p:nvPr>
              <p:custDataLst>
                <p:tags r:id="rId1"/>
              </p:custDataLst>
            </p:nvPr>
          </p:nvGrpSpPr>
          <p:grpSpPr bwMode="auto">
            <a:xfrm>
              <a:off x="2815153" y="4374688"/>
              <a:ext cx="1739676" cy="1743263"/>
              <a:chOff x="2347" y="664"/>
              <a:chExt cx="2910" cy="2916"/>
            </a:xfrm>
            <a:solidFill>
              <a:srgbClr val="C9F149">
                <a:alpha val="30000"/>
              </a:srgbClr>
            </a:solidFill>
          </p:grpSpPr>
          <p:sp>
            <p:nvSpPr>
              <p:cNvPr id="287" name="Freeform 124">
                <a:extLst>
                  <a:ext uri="{FF2B5EF4-FFF2-40B4-BE49-F238E27FC236}">
                    <a16:creationId xmlns:a16="http://schemas.microsoft.com/office/drawing/2014/main" id="{5BDCF784-9D91-425C-A636-930018BAA4C6}"/>
                  </a:ext>
                </a:extLst>
              </p:cNvPr>
              <p:cNvSpPr>
                <a:spLocks noEditPoints="1"/>
              </p:cNvSpPr>
              <p:nvPr/>
            </p:nvSpPr>
            <p:spPr bwMode="auto">
              <a:xfrm>
                <a:off x="2875" y="1193"/>
                <a:ext cx="1854" cy="1858"/>
              </a:xfrm>
              <a:custGeom>
                <a:avLst/>
                <a:gdLst>
                  <a:gd name="T0" fmla="*/ 233 w 467"/>
                  <a:gd name="T1" fmla="*/ 400 h 467"/>
                  <a:gd name="T2" fmla="*/ 67 w 467"/>
                  <a:gd name="T3" fmla="*/ 233 h 467"/>
                  <a:gd name="T4" fmla="*/ 233 w 467"/>
                  <a:gd name="T5" fmla="*/ 67 h 467"/>
                  <a:gd name="T6" fmla="*/ 400 w 467"/>
                  <a:gd name="T7" fmla="*/ 233 h 467"/>
                  <a:gd name="T8" fmla="*/ 233 w 467"/>
                  <a:gd name="T9" fmla="*/ 400 h 467"/>
                  <a:gd name="T10" fmla="*/ 233 w 467"/>
                  <a:gd name="T11" fmla="*/ 0 h 467"/>
                  <a:gd name="T12" fmla="*/ 0 w 467"/>
                  <a:gd name="T13" fmla="*/ 233 h 467"/>
                  <a:gd name="T14" fmla="*/ 233 w 467"/>
                  <a:gd name="T15" fmla="*/ 467 h 467"/>
                  <a:gd name="T16" fmla="*/ 467 w 467"/>
                  <a:gd name="T17" fmla="*/ 233 h 467"/>
                  <a:gd name="T18" fmla="*/ 233 w 467"/>
                  <a:gd name="T19" fmla="*/ 0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7" h="467">
                    <a:moveTo>
                      <a:pt x="233" y="400"/>
                    </a:moveTo>
                    <a:cubicBezTo>
                      <a:pt x="141" y="400"/>
                      <a:pt x="67" y="325"/>
                      <a:pt x="67" y="233"/>
                    </a:cubicBezTo>
                    <a:cubicBezTo>
                      <a:pt x="67" y="141"/>
                      <a:pt x="141" y="67"/>
                      <a:pt x="233" y="67"/>
                    </a:cubicBezTo>
                    <a:cubicBezTo>
                      <a:pt x="325" y="67"/>
                      <a:pt x="400" y="141"/>
                      <a:pt x="400" y="233"/>
                    </a:cubicBezTo>
                    <a:cubicBezTo>
                      <a:pt x="400" y="325"/>
                      <a:pt x="325" y="400"/>
                      <a:pt x="233" y="400"/>
                    </a:cubicBezTo>
                    <a:close/>
                    <a:moveTo>
                      <a:pt x="233" y="0"/>
                    </a:moveTo>
                    <a:cubicBezTo>
                      <a:pt x="104" y="0"/>
                      <a:pt x="0" y="104"/>
                      <a:pt x="0" y="233"/>
                    </a:cubicBezTo>
                    <a:cubicBezTo>
                      <a:pt x="0" y="362"/>
                      <a:pt x="104" y="467"/>
                      <a:pt x="233" y="467"/>
                    </a:cubicBezTo>
                    <a:cubicBezTo>
                      <a:pt x="362" y="467"/>
                      <a:pt x="467" y="362"/>
                      <a:pt x="467" y="233"/>
                    </a:cubicBezTo>
                    <a:cubicBezTo>
                      <a:pt x="467" y="104"/>
                      <a:pt x="362" y="0"/>
                      <a:pt x="233"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8" name="Freeform 125">
                <a:extLst>
                  <a:ext uri="{FF2B5EF4-FFF2-40B4-BE49-F238E27FC236}">
                    <a16:creationId xmlns:a16="http://schemas.microsoft.com/office/drawing/2014/main" id="{80E0ABB6-AE38-4036-8908-5864EB7E3296}"/>
                  </a:ext>
                </a:extLst>
              </p:cNvPr>
              <p:cNvSpPr>
                <a:spLocks noEditPoints="1"/>
              </p:cNvSpPr>
              <p:nvPr/>
            </p:nvSpPr>
            <p:spPr bwMode="auto">
              <a:xfrm>
                <a:off x="2347" y="664"/>
                <a:ext cx="2910" cy="2916"/>
              </a:xfrm>
              <a:custGeom>
                <a:avLst/>
                <a:gdLst>
                  <a:gd name="T0" fmla="*/ 366 w 733"/>
                  <a:gd name="T1" fmla="*/ 666 h 733"/>
                  <a:gd name="T2" fmla="*/ 66 w 733"/>
                  <a:gd name="T3" fmla="*/ 366 h 733"/>
                  <a:gd name="T4" fmla="*/ 366 w 733"/>
                  <a:gd name="T5" fmla="*/ 66 h 733"/>
                  <a:gd name="T6" fmla="*/ 666 w 733"/>
                  <a:gd name="T7" fmla="*/ 366 h 733"/>
                  <a:gd name="T8" fmla="*/ 366 w 733"/>
                  <a:gd name="T9" fmla="*/ 666 h 733"/>
                  <a:gd name="T10" fmla="*/ 366 w 733"/>
                  <a:gd name="T11" fmla="*/ 0 h 733"/>
                  <a:gd name="T12" fmla="*/ 0 w 733"/>
                  <a:gd name="T13" fmla="*/ 366 h 733"/>
                  <a:gd name="T14" fmla="*/ 366 w 733"/>
                  <a:gd name="T15" fmla="*/ 733 h 733"/>
                  <a:gd name="T16" fmla="*/ 733 w 733"/>
                  <a:gd name="T17" fmla="*/ 366 h 733"/>
                  <a:gd name="T18" fmla="*/ 366 w 733"/>
                  <a:gd name="T19" fmla="*/ 0 h 7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3" h="733">
                    <a:moveTo>
                      <a:pt x="366" y="666"/>
                    </a:moveTo>
                    <a:cubicBezTo>
                      <a:pt x="201" y="666"/>
                      <a:pt x="66" y="532"/>
                      <a:pt x="66" y="366"/>
                    </a:cubicBezTo>
                    <a:cubicBezTo>
                      <a:pt x="66" y="201"/>
                      <a:pt x="201" y="66"/>
                      <a:pt x="366" y="66"/>
                    </a:cubicBezTo>
                    <a:cubicBezTo>
                      <a:pt x="532" y="66"/>
                      <a:pt x="666" y="201"/>
                      <a:pt x="666" y="366"/>
                    </a:cubicBezTo>
                    <a:cubicBezTo>
                      <a:pt x="666" y="532"/>
                      <a:pt x="532" y="666"/>
                      <a:pt x="366" y="666"/>
                    </a:cubicBezTo>
                    <a:close/>
                    <a:moveTo>
                      <a:pt x="366" y="0"/>
                    </a:moveTo>
                    <a:cubicBezTo>
                      <a:pt x="164" y="0"/>
                      <a:pt x="0" y="164"/>
                      <a:pt x="0" y="366"/>
                    </a:cubicBezTo>
                    <a:cubicBezTo>
                      <a:pt x="0" y="569"/>
                      <a:pt x="164" y="733"/>
                      <a:pt x="366" y="733"/>
                    </a:cubicBezTo>
                    <a:cubicBezTo>
                      <a:pt x="569" y="733"/>
                      <a:pt x="733" y="569"/>
                      <a:pt x="733" y="366"/>
                    </a:cubicBezTo>
                    <a:cubicBezTo>
                      <a:pt x="733" y="164"/>
                      <a:pt x="569" y="0"/>
                      <a:pt x="366"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9" name="Oval 126">
                <a:extLst>
                  <a:ext uri="{FF2B5EF4-FFF2-40B4-BE49-F238E27FC236}">
                    <a16:creationId xmlns:a16="http://schemas.microsoft.com/office/drawing/2014/main" id="{3E8D42D7-C051-4715-ADB1-E64A34C5DCC0}"/>
                  </a:ext>
                </a:extLst>
              </p:cNvPr>
              <p:cNvSpPr>
                <a:spLocks noChangeArrowheads="1"/>
              </p:cNvSpPr>
              <p:nvPr/>
            </p:nvSpPr>
            <p:spPr bwMode="auto">
              <a:xfrm>
                <a:off x="3470" y="1790"/>
                <a:ext cx="663" cy="664"/>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64" name="User_centric" descr="{&quot;Key&quot;:&quot;POWER_USER_SHAPE_ICON&quot;,&quot;Value&quot;:&quot;POWER_USER_SHAPE_ICON_STYLE_1&quot;}">
              <a:extLst>
                <a:ext uri="{FF2B5EF4-FFF2-40B4-BE49-F238E27FC236}">
                  <a16:creationId xmlns:a16="http://schemas.microsoft.com/office/drawing/2014/main" id="{97E78491-E765-4067-BB04-84D937D204D4}"/>
                </a:ext>
              </a:extLst>
            </p:cNvPr>
            <p:cNvGrpSpPr>
              <a:grpSpLocks noChangeAspect="1"/>
            </p:cNvGrpSpPr>
            <p:nvPr>
              <p:custDataLst>
                <p:tags r:id="rId2"/>
              </p:custDataLst>
            </p:nvPr>
          </p:nvGrpSpPr>
          <p:grpSpPr>
            <a:xfrm rot="19210547">
              <a:off x="3114155" y="4772312"/>
              <a:ext cx="1166257" cy="954044"/>
              <a:chOff x="4791075" y="5243513"/>
              <a:chExt cx="1003300" cy="820738"/>
            </a:xfrm>
            <a:solidFill>
              <a:schemeClr val="accent1">
                <a:alpha val="55000"/>
              </a:schemeClr>
            </a:solidFill>
          </p:grpSpPr>
          <p:sp>
            <p:nvSpPr>
              <p:cNvPr id="265" name="Freeform 229">
                <a:extLst>
                  <a:ext uri="{FF2B5EF4-FFF2-40B4-BE49-F238E27FC236}">
                    <a16:creationId xmlns:a16="http://schemas.microsoft.com/office/drawing/2014/main" id="{03F9F248-BFC1-4182-A592-FFFF230BB858}"/>
                  </a:ext>
                </a:extLst>
              </p:cNvPr>
              <p:cNvSpPr>
                <a:spLocks/>
              </p:cNvSpPr>
              <p:nvPr/>
            </p:nvSpPr>
            <p:spPr bwMode="auto">
              <a:xfrm>
                <a:off x="5165725" y="5508625"/>
                <a:ext cx="255588" cy="314325"/>
              </a:xfrm>
              <a:custGeom>
                <a:avLst/>
                <a:gdLst>
                  <a:gd name="T0" fmla="*/ 367 w 423"/>
                  <a:gd name="T1" fmla="*/ 274 h 521"/>
                  <a:gd name="T2" fmla="*/ 283 w 423"/>
                  <a:gd name="T3" fmla="*/ 245 h 521"/>
                  <a:gd name="T4" fmla="*/ 267 w 423"/>
                  <a:gd name="T5" fmla="*/ 241 h 521"/>
                  <a:gd name="T6" fmla="*/ 267 w 423"/>
                  <a:gd name="T7" fmla="*/ 227 h 521"/>
                  <a:gd name="T8" fmla="*/ 302 w 423"/>
                  <a:gd name="T9" fmla="*/ 164 h 521"/>
                  <a:gd name="T10" fmla="*/ 303 w 423"/>
                  <a:gd name="T11" fmla="*/ 165 h 521"/>
                  <a:gd name="T12" fmla="*/ 336 w 423"/>
                  <a:gd name="T13" fmla="*/ 127 h 521"/>
                  <a:gd name="T14" fmla="*/ 311 w 423"/>
                  <a:gd name="T15" fmla="*/ 84 h 521"/>
                  <a:gd name="T16" fmla="*/ 310 w 423"/>
                  <a:gd name="T17" fmla="*/ 84 h 521"/>
                  <a:gd name="T18" fmla="*/ 212 w 423"/>
                  <a:gd name="T19" fmla="*/ 0 h 521"/>
                  <a:gd name="T20" fmla="*/ 114 w 423"/>
                  <a:gd name="T21" fmla="*/ 84 h 521"/>
                  <a:gd name="T22" fmla="*/ 109 w 423"/>
                  <a:gd name="T23" fmla="*/ 84 h 521"/>
                  <a:gd name="T24" fmla="*/ 85 w 423"/>
                  <a:gd name="T25" fmla="*/ 127 h 521"/>
                  <a:gd name="T26" fmla="*/ 119 w 423"/>
                  <a:gd name="T27" fmla="*/ 165 h 521"/>
                  <a:gd name="T28" fmla="*/ 122 w 423"/>
                  <a:gd name="T29" fmla="*/ 164 h 521"/>
                  <a:gd name="T30" fmla="*/ 154 w 423"/>
                  <a:gd name="T31" fmla="*/ 224 h 521"/>
                  <a:gd name="T32" fmla="*/ 154 w 423"/>
                  <a:gd name="T33" fmla="*/ 243 h 521"/>
                  <a:gd name="T34" fmla="*/ 140 w 423"/>
                  <a:gd name="T35" fmla="*/ 247 h 521"/>
                  <a:gd name="T36" fmla="*/ 54 w 423"/>
                  <a:gd name="T37" fmla="*/ 275 h 521"/>
                  <a:gd name="T38" fmla="*/ 20 w 423"/>
                  <a:gd name="T39" fmla="*/ 322 h 521"/>
                  <a:gd name="T40" fmla="*/ 20 w 423"/>
                  <a:gd name="T41" fmla="*/ 447 h 521"/>
                  <a:gd name="T42" fmla="*/ 401 w 423"/>
                  <a:gd name="T43" fmla="*/ 447 h 521"/>
                  <a:gd name="T44" fmla="*/ 401 w 423"/>
                  <a:gd name="T45" fmla="*/ 322 h 521"/>
                  <a:gd name="T46" fmla="*/ 367 w 423"/>
                  <a:gd name="T47" fmla="*/ 2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3" h="521">
                    <a:moveTo>
                      <a:pt x="367" y="274"/>
                    </a:moveTo>
                    <a:lnTo>
                      <a:pt x="283" y="245"/>
                    </a:lnTo>
                    <a:lnTo>
                      <a:pt x="267" y="241"/>
                    </a:lnTo>
                    <a:lnTo>
                      <a:pt x="267" y="227"/>
                    </a:lnTo>
                    <a:cubicBezTo>
                      <a:pt x="282" y="211"/>
                      <a:pt x="294" y="189"/>
                      <a:pt x="302" y="164"/>
                    </a:cubicBezTo>
                    <a:cubicBezTo>
                      <a:pt x="302" y="164"/>
                      <a:pt x="303" y="165"/>
                      <a:pt x="303" y="165"/>
                    </a:cubicBezTo>
                    <a:cubicBezTo>
                      <a:pt x="319" y="166"/>
                      <a:pt x="334" y="149"/>
                      <a:pt x="336" y="127"/>
                    </a:cubicBezTo>
                    <a:cubicBezTo>
                      <a:pt x="339" y="105"/>
                      <a:pt x="327" y="85"/>
                      <a:pt x="311" y="84"/>
                    </a:cubicBezTo>
                    <a:cubicBezTo>
                      <a:pt x="311" y="84"/>
                      <a:pt x="310" y="84"/>
                      <a:pt x="310" y="84"/>
                    </a:cubicBezTo>
                    <a:cubicBezTo>
                      <a:pt x="303" y="22"/>
                      <a:pt x="262" y="0"/>
                      <a:pt x="212" y="0"/>
                    </a:cubicBezTo>
                    <a:cubicBezTo>
                      <a:pt x="162" y="0"/>
                      <a:pt x="121" y="22"/>
                      <a:pt x="114" y="84"/>
                    </a:cubicBezTo>
                    <a:cubicBezTo>
                      <a:pt x="112" y="84"/>
                      <a:pt x="111" y="83"/>
                      <a:pt x="109" y="84"/>
                    </a:cubicBezTo>
                    <a:cubicBezTo>
                      <a:pt x="93" y="86"/>
                      <a:pt x="82" y="105"/>
                      <a:pt x="85" y="127"/>
                    </a:cubicBezTo>
                    <a:cubicBezTo>
                      <a:pt x="87" y="150"/>
                      <a:pt x="102" y="166"/>
                      <a:pt x="119" y="165"/>
                    </a:cubicBezTo>
                    <a:cubicBezTo>
                      <a:pt x="120" y="164"/>
                      <a:pt x="121" y="164"/>
                      <a:pt x="122" y="164"/>
                    </a:cubicBezTo>
                    <a:cubicBezTo>
                      <a:pt x="129" y="187"/>
                      <a:pt x="140" y="208"/>
                      <a:pt x="154" y="224"/>
                    </a:cubicBezTo>
                    <a:lnTo>
                      <a:pt x="154" y="243"/>
                    </a:lnTo>
                    <a:lnTo>
                      <a:pt x="140" y="247"/>
                    </a:lnTo>
                    <a:lnTo>
                      <a:pt x="54" y="275"/>
                    </a:lnTo>
                    <a:cubicBezTo>
                      <a:pt x="35" y="281"/>
                      <a:pt x="20" y="302"/>
                      <a:pt x="20" y="322"/>
                    </a:cubicBezTo>
                    <a:cubicBezTo>
                      <a:pt x="20" y="322"/>
                      <a:pt x="0" y="423"/>
                      <a:pt x="20" y="447"/>
                    </a:cubicBezTo>
                    <a:cubicBezTo>
                      <a:pt x="80" y="521"/>
                      <a:pt x="334" y="515"/>
                      <a:pt x="401" y="447"/>
                    </a:cubicBezTo>
                    <a:cubicBezTo>
                      <a:pt x="423" y="425"/>
                      <a:pt x="401" y="322"/>
                      <a:pt x="401" y="322"/>
                    </a:cubicBezTo>
                    <a:cubicBezTo>
                      <a:pt x="401" y="302"/>
                      <a:pt x="386" y="281"/>
                      <a:pt x="367"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6" name="Freeform 230">
                <a:extLst>
                  <a:ext uri="{FF2B5EF4-FFF2-40B4-BE49-F238E27FC236}">
                    <a16:creationId xmlns:a16="http://schemas.microsoft.com/office/drawing/2014/main" id="{607E9C43-7946-47D1-B847-D384A59287CD}"/>
                  </a:ext>
                </a:extLst>
              </p:cNvPr>
              <p:cNvSpPr>
                <a:spLocks/>
              </p:cNvSpPr>
              <p:nvPr/>
            </p:nvSpPr>
            <p:spPr bwMode="auto">
              <a:xfrm>
                <a:off x="5546725" y="5243513"/>
                <a:ext cx="247650" cy="190500"/>
              </a:xfrm>
              <a:custGeom>
                <a:avLst/>
                <a:gdLst>
                  <a:gd name="T0" fmla="*/ 0 w 156"/>
                  <a:gd name="T1" fmla="*/ 0 h 120"/>
                  <a:gd name="T2" fmla="*/ 0 w 156"/>
                  <a:gd name="T3" fmla="*/ 48 h 120"/>
                  <a:gd name="T4" fmla="*/ 109 w 156"/>
                  <a:gd name="T5" fmla="*/ 48 h 120"/>
                  <a:gd name="T6" fmla="*/ 109 w 156"/>
                  <a:gd name="T7" fmla="*/ 120 h 120"/>
                  <a:gd name="T8" fmla="*/ 156 w 156"/>
                  <a:gd name="T9" fmla="*/ 120 h 120"/>
                  <a:gd name="T10" fmla="*/ 156 w 156"/>
                  <a:gd name="T11" fmla="*/ 0 h 120"/>
                  <a:gd name="T12" fmla="*/ 0 w 156"/>
                  <a:gd name="T13" fmla="*/ 0 h 120"/>
                </a:gdLst>
                <a:ahLst/>
                <a:cxnLst>
                  <a:cxn ang="0">
                    <a:pos x="T0" y="T1"/>
                  </a:cxn>
                  <a:cxn ang="0">
                    <a:pos x="T2" y="T3"/>
                  </a:cxn>
                  <a:cxn ang="0">
                    <a:pos x="T4" y="T5"/>
                  </a:cxn>
                  <a:cxn ang="0">
                    <a:pos x="T6" y="T7"/>
                  </a:cxn>
                  <a:cxn ang="0">
                    <a:pos x="T8" y="T9"/>
                  </a:cxn>
                  <a:cxn ang="0">
                    <a:pos x="T10" y="T11"/>
                  </a:cxn>
                  <a:cxn ang="0">
                    <a:pos x="T12" y="T13"/>
                  </a:cxn>
                </a:cxnLst>
                <a:rect l="0" t="0" r="r" b="b"/>
                <a:pathLst>
                  <a:path w="156" h="120">
                    <a:moveTo>
                      <a:pt x="0" y="0"/>
                    </a:moveTo>
                    <a:lnTo>
                      <a:pt x="0" y="48"/>
                    </a:lnTo>
                    <a:lnTo>
                      <a:pt x="109" y="48"/>
                    </a:lnTo>
                    <a:lnTo>
                      <a:pt x="109" y="120"/>
                    </a:lnTo>
                    <a:lnTo>
                      <a:pt x="156" y="120"/>
                    </a:lnTo>
                    <a:lnTo>
                      <a:pt x="156"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7" name="Freeform 231">
                <a:extLst>
                  <a:ext uri="{FF2B5EF4-FFF2-40B4-BE49-F238E27FC236}">
                    <a16:creationId xmlns:a16="http://schemas.microsoft.com/office/drawing/2014/main" id="{BDD27EF6-65B0-4679-ACA7-E3F622B45DC4}"/>
                  </a:ext>
                </a:extLst>
              </p:cNvPr>
              <p:cNvSpPr>
                <a:spLocks/>
              </p:cNvSpPr>
              <p:nvPr/>
            </p:nvSpPr>
            <p:spPr bwMode="auto">
              <a:xfrm>
                <a:off x="4791075" y="5243513"/>
                <a:ext cx="247650" cy="190500"/>
              </a:xfrm>
              <a:custGeom>
                <a:avLst/>
                <a:gdLst>
                  <a:gd name="T0" fmla="*/ 48 w 156"/>
                  <a:gd name="T1" fmla="*/ 48 h 120"/>
                  <a:gd name="T2" fmla="*/ 156 w 156"/>
                  <a:gd name="T3" fmla="*/ 48 h 120"/>
                  <a:gd name="T4" fmla="*/ 156 w 156"/>
                  <a:gd name="T5" fmla="*/ 0 h 120"/>
                  <a:gd name="T6" fmla="*/ 0 w 156"/>
                  <a:gd name="T7" fmla="*/ 0 h 120"/>
                  <a:gd name="T8" fmla="*/ 0 w 156"/>
                  <a:gd name="T9" fmla="*/ 120 h 120"/>
                  <a:gd name="T10" fmla="*/ 48 w 156"/>
                  <a:gd name="T11" fmla="*/ 120 h 120"/>
                  <a:gd name="T12" fmla="*/ 48 w 156"/>
                  <a:gd name="T13" fmla="*/ 48 h 120"/>
                </a:gdLst>
                <a:ahLst/>
                <a:cxnLst>
                  <a:cxn ang="0">
                    <a:pos x="T0" y="T1"/>
                  </a:cxn>
                  <a:cxn ang="0">
                    <a:pos x="T2" y="T3"/>
                  </a:cxn>
                  <a:cxn ang="0">
                    <a:pos x="T4" y="T5"/>
                  </a:cxn>
                  <a:cxn ang="0">
                    <a:pos x="T6" y="T7"/>
                  </a:cxn>
                  <a:cxn ang="0">
                    <a:pos x="T8" y="T9"/>
                  </a:cxn>
                  <a:cxn ang="0">
                    <a:pos x="T10" y="T11"/>
                  </a:cxn>
                  <a:cxn ang="0">
                    <a:pos x="T12" y="T13"/>
                  </a:cxn>
                </a:cxnLst>
                <a:rect l="0" t="0" r="r" b="b"/>
                <a:pathLst>
                  <a:path w="156" h="120">
                    <a:moveTo>
                      <a:pt x="48" y="48"/>
                    </a:moveTo>
                    <a:lnTo>
                      <a:pt x="156" y="48"/>
                    </a:lnTo>
                    <a:lnTo>
                      <a:pt x="156" y="0"/>
                    </a:lnTo>
                    <a:lnTo>
                      <a:pt x="0" y="0"/>
                    </a:lnTo>
                    <a:lnTo>
                      <a:pt x="0" y="120"/>
                    </a:lnTo>
                    <a:lnTo>
                      <a:pt x="48" y="120"/>
                    </a:lnTo>
                    <a:lnTo>
                      <a:pt x="48"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8" name="Freeform 232">
                <a:extLst>
                  <a:ext uri="{FF2B5EF4-FFF2-40B4-BE49-F238E27FC236}">
                    <a16:creationId xmlns:a16="http://schemas.microsoft.com/office/drawing/2014/main" id="{93538B2B-1620-49AC-B713-8BB169B1F1E3}"/>
                  </a:ext>
                </a:extLst>
              </p:cNvPr>
              <p:cNvSpPr>
                <a:spLocks/>
              </p:cNvSpPr>
              <p:nvPr/>
            </p:nvSpPr>
            <p:spPr bwMode="auto">
              <a:xfrm>
                <a:off x="4791075" y="5875338"/>
                <a:ext cx="247650" cy="188913"/>
              </a:xfrm>
              <a:custGeom>
                <a:avLst/>
                <a:gdLst>
                  <a:gd name="T0" fmla="*/ 48 w 156"/>
                  <a:gd name="T1" fmla="*/ 0 h 119"/>
                  <a:gd name="T2" fmla="*/ 0 w 156"/>
                  <a:gd name="T3" fmla="*/ 0 h 119"/>
                  <a:gd name="T4" fmla="*/ 0 w 156"/>
                  <a:gd name="T5" fmla="*/ 119 h 119"/>
                  <a:gd name="T6" fmla="*/ 156 w 156"/>
                  <a:gd name="T7" fmla="*/ 119 h 119"/>
                  <a:gd name="T8" fmla="*/ 156 w 156"/>
                  <a:gd name="T9" fmla="*/ 72 h 119"/>
                  <a:gd name="T10" fmla="*/ 48 w 156"/>
                  <a:gd name="T11" fmla="*/ 72 h 119"/>
                  <a:gd name="T12" fmla="*/ 48 w 156"/>
                  <a:gd name="T13" fmla="*/ 0 h 119"/>
                </a:gdLst>
                <a:ahLst/>
                <a:cxnLst>
                  <a:cxn ang="0">
                    <a:pos x="T0" y="T1"/>
                  </a:cxn>
                  <a:cxn ang="0">
                    <a:pos x="T2" y="T3"/>
                  </a:cxn>
                  <a:cxn ang="0">
                    <a:pos x="T4" y="T5"/>
                  </a:cxn>
                  <a:cxn ang="0">
                    <a:pos x="T6" y="T7"/>
                  </a:cxn>
                  <a:cxn ang="0">
                    <a:pos x="T8" y="T9"/>
                  </a:cxn>
                  <a:cxn ang="0">
                    <a:pos x="T10" y="T11"/>
                  </a:cxn>
                  <a:cxn ang="0">
                    <a:pos x="T12" y="T13"/>
                  </a:cxn>
                </a:cxnLst>
                <a:rect l="0" t="0" r="r" b="b"/>
                <a:pathLst>
                  <a:path w="156" h="119">
                    <a:moveTo>
                      <a:pt x="48" y="0"/>
                    </a:moveTo>
                    <a:lnTo>
                      <a:pt x="0" y="0"/>
                    </a:lnTo>
                    <a:lnTo>
                      <a:pt x="0" y="119"/>
                    </a:lnTo>
                    <a:lnTo>
                      <a:pt x="156" y="119"/>
                    </a:lnTo>
                    <a:lnTo>
                      <a:pt x="156" y="72"/>
                    </a:lnTo>
                    <a:lnTo>
                      <a:pt x="48" y="72"/>
                    </a:lnTo>
                    <a:lnTo>
                      <a:pt x="4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9" name="Freeform 233">
                <a:extLst>
                  <a:ext uri="{FF2B5EF4-FFF2-40B4-BE49-F238E27FC236}">
                    <a16:creationId xmlns:a16="http://schemas.microsoft.com/office/drawing/2014/main" id="{3225C5F1-85AD-4750-A230-417F5B231C78}"/>
                  </a:ext>
                </a:extLst>
              </p:cNvPr>
              <p:cNvSpPr>
                <a:spLocks/>
              </p:cNvSpPr>
              <p:nvPr/>
            </p:nvSpPr>
            <p:spPr bwMode="auto">
              <a:xfrm>
                <a:off x="5546725" y="5875338"/>
                <a:ext cx="247650" cy="188913"/>
              </a:xfrm>
              <a:custGeom>
                <a:avLst/>
                <a:gdLst>
                  <a:gd name="T0" fmla="*/ 109 w 156"/>
                  <a:gd name="T1" fmla="*/ 72 h 119"/>
                  <a:gd name="T2" fmla="*/ 0 w 156"/>
                  <a:gd name="T3" fmla="*/ 72 h 119"/>
                  <a:gd name="T4" fmla="*/ 0 w 156"/>
                  <a:gd name="T5" fmla="*/ 119 h 119"/>
                  <a:gd name="T6" fmla="*/ 156 w 156"/>
                  <a:gd name="T7" fmla="*/ 119 h 119"/>
                  <a:gd name="T8" fmla="*/ 156 w 156"/>
                  <a:gd name="T9" fmla="*/ 0 h 119"/>
                  <a:gd name="T10" fmla="*/ 109 w 156"/>
                  <a:gd name="T11" fmla="*/ 0 h 119"/>
                  <a:gd name="T12" fmla="*/ 109 w 156"/>
                  <a:gd name="T13" fmla="*/ 72 h 119"/>
                </a:gdLst>
                <a:ahLst/>
                <a:cxnLst>
                  <a:cxn ang="0">
                    <a:pos x="T0" y="T1"/>
                  </a:cxn>
                  <a:cxn ang="0">
                    <a:pos x="T2" y="T3"/>
                  </a:cxn>
                  <a:cxn ang="0">
                    <a:pos x="T4" y="T5"/>
                  </a:cxn>
                  <a:cxn ang="0">
                    <a:pos x="T6" y="T7"/>
                  </a:cxn>
                  <a:cxn ang="0">
                    <a:pos x="T8" y="T9"/>
                  </a:cxn>
                  <a:cxn ang="0">
                    <a:pos x="T10" y="T11"/>
                  </a:cxn>
                  <a:cxn ang="0">
                    <a:pos x="T12" y="T13"/>
                  </a:cxn>
                </a:cxnLst>
                <a:rect l="0" t="0" r="r" b="b"/>
                <a:pathLst>
                  <a:path w="156" h="119">
                    <a:moveTo>
                      <a:pt x="109" y="72"/>
                    </a:moveTo>
                    <a:lnTo>
                      <a:pt x="0" y="72"/>
                    </a:lnTo>
                    <a:lnTo>
                      <a:pt x="0" y="119"/>
                    </a:lnTo>
                    <a:lnTo>
                      <a:pt x="156" y="119"/>
                    </a:lnTo>
                    <a:lnTo>
                      <a:pt x="156" y="0"/>
                    </a:lnTo>
                    <a:lnTo>
                      <a:pt x="109" y="0"/>
                    </a:lnTo>
                    <a:lnTo>
                      <a:pt x="109"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0" name="Freeform 234">
                <a:extLst>
                  <a:ext uri="{FF2B5EF4-FFF2-40B4-BE49-F238E27FC236}">
                    <a16:creationId xmlns:a16="http://schemas.microsoft.com/office/drawing/2014/main" id="{830C8C4B-266A-42EB-88BE-11F54BEA8A02}"/>
                  </a:ext>
                </a:extLst>
              </p:cNvPr>
              <p:cNvSpPr>
                <a:spLocks noEditPoints="1"/>
              </p:cNvSpPr>
              <p:nvPr/>
            </p:nvSpPr>
            <p:spPr bwMode="auto">
              <a:xfrm>
                <a:off x="4900613" y="5262563"/>
                <a:ext cx="784225" cy="782638"/>
              </a:xfrm>
              <a:custGeom>
                <a:avLst/>
                <a:gdLst>
                  <a:gd name="T0" fmla="*/ 938 w 1300"/>
                  <a:gd name="T1" fmla="*/ 704 h 1300"/>
                  <a:gd name="T2" fmla="*/ 1032 w 1300"/>
                  <a:gd name="T3" fmla="*/ 704 h 1300"/>
                  <a:gd name="T4" fmla="*/ 704 w 1300"/>
                  <a:gd name="T5" fmla="*/ 1032 h 1300"/>
                  <a:gd name="T6" fmla="*/ 704 w 1300"/>
                  <a:gd name="T7" fmla="*/ 970 h 1300"/>
                  <a:gd name="T8" fmla="*/ 596 w 1300"/>
                  <a:gd name="T9" fmla="*/ 970 h 1300"/>
                  <a:gd name="T10" fmla="*/ 596 w 1300"/>
                  <a:gd name="T11" fmla="*/ 1032 h 1300"/>
                  <a:gd name="T12" fmla="*/ 269 w 1300"/>
                  <a:gd name="T13" fmla="*/ 704 h 1300"/>
                  <a:gd name="T14" fmla="*/ 363 w 1300"/>
                  <a:gd name="T15" fmla="*/ 704 h 1300"/>
                  <a:gd name="T16" fmla="*/ 363 w 1300"/>
                  <a:gd name="T17" fmla="*/ 596 h 1300"/>
                  <a:gd name="T18" fmla="*/ 269 w 1300"/>
                  <a:gd name="T19" fmla="*/ 596 h 1300"/>
                  <a:gd name="T20" fmla="*/ 596 w 1300"/>
                  <a:gd name="T21" fmla="*/ 268 h 1300"/>
                  <a:gd name="T22" fmla="*/ 596 w 1300"/>
                  <a:gd name="T23" fmla="*/ 329 h 1300"/>
                  <a:gd name="T24" fmla="*/ 704 w 1300"/>
                  <a:gd name="T25" fmla="*/ 329 h 1300"/>
                  <a:gd name="T26" fmla="*/ 704 w 1300"/>
                  <a:gd name="T27" fmla="*/ 268 h 1300"/>
                  <a:gd name="T28" fmla="*/ 1032 w 1300"/>
                  <a:gd name="T29" fmla="*/ 596 h 1300"/>
                  <a:gd name="T30" fmla="*/ 938 w 1300"/>
                  <a:gd name="T31" fmla="*/ 596 h 1300"/>
                  <a:gd name="T32" fmla="*/ 938 w 1300"/>
                  <a:gd name="T33" fmla="*/ 704 h 1300"/>
                  <a:gd name="T34" fmla="*/ 1141 w 1300"/>
                  <a:gd name="T35" fmla="*/ 704 h 1300"/>
                  <a:gd name="T36" fmla="*/ 1300 w 1300"/>
                  <a:gd name="T37" fmla="*/ 704 h 1300"/>
                  <a:gd name="T38" fmla="*/ 1300 w 1300"/>
                  <a:gd name="T39" fmla="*/ 596 h 1300"/>
                  <a:gd name="T40" fmla="*/ 1141 w 1300"/>
                  <a:gd name="T41" fmla="*/ 596 h 1300"/>
                  <a:gd name="T42" fmla="*/ 1134 w 1300"/>
                  <a:gd name="T43" fmla="*/ 547 h 1300"/>
                  <a:gd name="T44" fmla="*/ 911 w 1300"/>
                  <a:gd name="T45" fmla="*/ 230 h 1300"/>
                  <a:gd name="T46" fmla="*/ 704 w 1300"/>
                  <a:gd name="T47" fmla="*/ 159 h 1300"/>
                  <a:gd name="T48" fmla="*/ 704 w 1300"/>
                  <a:gd name="T49" fmla="*/ 13 h 1300"/>
                  <a:gd name="T50" fmla="*/ 704 w 1300"/>
                  <a:gd name="T51" fmla="*/ 0 h 1300"/>
                  <a:gd name="T52" fmla="*/ 596 w 1300"/>
                  <a:gd name="T53" fmla="*/ 0 h 1300"/>
                  <a:gd name="T54" fmla="*/ 596 w 1300"/>
                  <a:gd name="T55" fmla="*/ 13 h 1300"/>
                  <a:gd name="T56" fmla="*/ 596 w 1300"/>
                  <a:gd name="T57" fmla="*/ 159 h 1300"/>
                  <a:gd name="T58" fmla="*/ 390 w 1300"/>
                  <a:gd name="T59" fmla="*/ 230 h 1300"/>
                  <a:gd name="T60" fmla="*/ 167 w 1300"/>
                  <a:gd name="T61" fmla="*/ 547 h 1300"/>
                  <a:gd name="T62" fmla="*/ 159 w 1300"/>
                  <a:gd name="T63" fmla="*/ 596 h 1300"/>
                  <a:gd name="T64" fmla="*/ 0 w 1300"/>
                  <a:gd name="T65" fmla="*/ 596 h 1300"/>
                  <a:gd name="T66" fmla="*/ 0 w 1300"/>
                  <a:gd name="T67" fmla="*/ 704 h 1300"/>
                  <a:gd name="T68" fmla="*/ 159 w 1300"/>
                  <a:gd name="T69" fmla="*/ 704 h 1300"/>
                  <a:gd name="T70" fmla="*/ 167 w 1300"/>
                  <a:gd name="T71" fmla="*/ 752 h 1300"/>
                  <a:gd name="T72" fmla="*/ 390 w 1300"/>
                  <a:gd name="T73" fmla="*/ 1069 h 1300"/>
                  <a:gd name="T74" fmla="*/ 596 w 1300"/>
                  <a:gd name="T75" fmla="*/ 1141 h 1300"/>
                  <a:gd name="T76" fmla="*/ 596 w 1300"/>
                  <a:gd name="T77" fmla="*/ 1286 h 1300"/>
                  <a:gd name="T78" fmla="*/ 596 w 1300"/>
                  <a:gd name="T79" fmla="*/ 1300 h 1300"/>
                  <a:gd name="T80" fmla="*/ 704 w 1300"/>
                  <a:gd name="T81" fmla="*/ 1300 h 1300"/>
                  <a:gd name="T82" fmla="*/ 704 w 1300"/>
                  <a:gd name="T83" fmla="*/ 1286 h 1300"/>
                  <a:gd name="T84" fmla="*/ 704 w 1300"/>
                  <a:gd name="T85" fmla="*/ 1141 h 1300"/>
                  <a:gd name="T86" fmla="*/ 911 w 1300"/>
                  <a:gd name="T87" fmla="*/ 1069 h 1300"/>
                  <a:gd name="T88" fmla="*/ 1134 w 1300"/>
                  <a:gd name="T89" fmla="*/ 752 h 1300"/>
                  <a:gd name="T90" fmla="*/ 1141 w 1300"/>
                  <a:gd name="T91" fmla="*/ 704 h 1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00" h="1300">
                    <a:moveTo>
                      <a:pt x="938" y="704"/>
                    </a:moveTo>
                    <a:lnTo>
                      <a:pt x="1032" y="704"/>
                    </a:lnTo>
                    <a:cubicBezTo>
                      <a:pt x="1008" y="873"/>
                      <a:pt x="874" y="1008"/>
                      <a:pt x="704" y="1032"/>
                    </a:cubicBezTo>
                    <a:lnTo>
                      <a:pt x="704" y="970"/>
                    </a:lnTo>
                    <a:cubicBezTo>
                      <a:pt x="687" y="974"/>
                      <a:pt x="614" y="974"/>
                      <a:pt x="596" y="970"/>
                    </a:cubicBezTo>
                    <a:lnTo>
                      <a:pt x="596" y="1032"/>
                    </a:lnTo>
                    <a:cubicBezTo>
                      <a:pt x="427" y="1008"/>
                      <a:pt x="293" y="873"/>
                      <a:pt x="269" y="704"/>
                    </a:cubicBezTo>
                    <a:lnTo>
                      <a:pt x="363" y="704"/>
                    </a:lnTo>
                    <a:cubicBezTo>
                      <a:pt x="360" y="686"/>
                      <a:pt x="360" y="613"/>
                      <a:pt x="363" y="596"/>
                    </a:cubicBezTo>
                    <a:lnTo>
                      <a:pt x="269" y="596"/>
                    </a:lnTo>
                    <a:cubicBezTo>
                      <a:pt x="293" y="426"/>
                      <a:pt x="427" y="292"/>
                      <a:pt x="596" y="268"/>
                    </a:cubicBezTo>
                    <a:lnTo>
                      <a:pt x="596" y="329"/>
                    </a:lnTo>
                    <a:cubicBezTo>
                      <a:pt x="614" y="326"/>
                      <a:pt x="687" y="326"/>
                      <a:pt x="704" y="329"/>
                    </a:cubicBezTo>
                    <a:lnTo>
                      <a:pt x="704" y="268"/>
                    </a:lnTo>
                    <a:cubicBezTo>
                      <a:pt x="874" y="292"/>
                      <a:pt x="1008" y="426"/>
                      <a:pt x="1032" y="596"/>
                    </a:cubicBezTo>
                    <a:lnTo>
                      <a:pt x="938" y="596"/>
                    </a:lnTo>
                    <a:cubicBezTo>
                      <a:pt x="941" y="613"/>
                      <a:pt x="941" y="686"/>
                      <a:pt x="938" y="704"/>
                    </a:cubicBezTo>
                    <a:close/>
                    <a:moveTo>
                      <a:pt x="1141" y="704"/>
                    </a:moveTo>
                    <a:lnTo>
                      <a:pt x="1300" y="704"/>
                    </a:lnTo>
                    <a:lnTo>
                      <a:pt x="1300" y="596"/>
                    </a:lnTo>
                    <a:lnTo>
                      <a:pt x="1141" y="596"/>
                    </a:lnTo>
                    <a:cubicBezTo>
                      <a:pt x="1140" y="579"/>
                      <a:pt x="1137" y="563"/>
                      <a:pt x="1134" y="547"/>
                    </a:cubicBezTo>
                    <a:cubicBezTo>
                      <a:pt x="1105" y="414"/>
                      <a:pt x="1023" y="300"/>
                      <a:pt x="911" y="230"/>
                    </a:cubicBezTo>
                    <a:cubicBezTo>
                      <a:pt x="850" y="192"/>
                      <a:pt x="780" y="167"/>
                      <a:pt x="704" y="159"/>
                    </a:cubicBezTo>
                    <a:lnTo>
                      <a:pt x="704" y="13"/>
                    </a:lnTo>
                    <a:lnTo>
                      <a:pt x="704" y="0"/>
                    </a:lnTo>
                    <a:lnTo>
                      <a:pt x="596" y="0"/>
                    </a:lnTo>
                    <a:lnTo>
                      <a:pt x="596" y="13"/>
                    </a:lnTo>
                    <a:lnTo>
                      <a:pt x="596" y="159"/>
                    </a:lnTo>
                    <a:cubicBezTo>
                      <a:pt x="521" y="167"/>
                      <a:pt x="451" y="192"/>
                      <a:pt x="390" y="230"/>
                    </a:cubicBezTo>
                    <a:cubicBezTo>
                      <a:pt x="278" y="300"/>
                      <a:pt x="195" y="414"/>
                      <a:pt x="167" y="547"/>
                    </a:cubicBezTo>
                    <a:cubicBezTo>
                      <a:pt x="164" y="563"/>
                      <a:pt x="161" y="579"/>
                      <a:pt x="159" y="596"/>
                    </a:cubicBezTo>
                    <a:lnTo>
                      <a:pt x="0" y="596"/>
                    </a:lnTo>
                    <a:lnTo>
                      <a:pt x="0" y="704"/>
                    </a:lnTo>
                    <a:lnTo>
                      <a:pt x="159" y="704"/>
                    </a:lnTo>
                    <a:cubicBezTo>
                      <a:pt x="161" y="720"/>
                      <a:pt x="164" y="736"/>
                      <a:pt x="167" y="752"/>
                    </a:cubicBezTo>
                    <a:cubicBezTo>
                      <a:pt x="195" y="886"/>
                      <a:pt x="278" y="999"/>
                      <a:pt x="390" y="1069"/>
                    </a:cubicBezTo>
                    <a:cubicBezTo>
                      <a:pt x="451" y="1107"/>
                      <a:pt x="521" y="1133"/>
                      <a:pt x="596" y="1141"/>
                    </a:cubicBezTo>
                    <a:lnTo>
                      <a:pt x="596" y="1286"/>
                    </a:lnTo>
                    <a:lnTo>
                      <a:pt x="596" y="1300"/>
                    </a:lnTo>
                    <a:lnTo>
                      <a:pt x="704" y="1300"/>
                    </a:lnTo>
                    <a:lnTo>
                      <a:pt x="704" y="1286"/>
                    </a:lnTo>
                    <a:lnTo>
                      <a:pt x="704" y="1141"/>
                    </a:lnTo>
                    <a:cubicBezTo>
                      <a:pt x="780" y="1133"/>
                      <a:pt x="850" y="1107"/>
                      <a:pt x="911" y="1069"/>
                    </a:cubicBezTo>
                    <a:cubicBezTo>
                      <a:pt x="1023" y="999"/>
                      <a:pt x="1105" y="886"/>
                      <a:pt x="1134" y="752"/>
                    </a:cubicBezTo>
                    <a:cubicBezTo>
                      <a:pt x="1137" y="736"/>
                      <a:pt x="1140" y="720"/>
                      <a:pt x="1141" y="7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72" name="Title 1">
            <a:extLst>
              <a:ext uri="{FF2B5EF4-FFF2-40B4-BE49-F238E27FC236}">
                <a16:creationId xmlns:a16="http://schemas.microsoft.com/office/drawing/2014/main" id="{4254A938-BC58-49A1-BB09-1A4FC7FF2443}"/>
              </a:ext>
            </a:extLst>
          </p:cNvPr>
          <p:cNvSpPr txBox="1">
            <a:spLocks/>
          </p:cNvSpPr>
          <p:nvPr/>
        </p:nvSpPr>
        <p:spPr>
          <a:xfrm>
            <a:off x="7647057" y="6085419"/>
            <a:ext cx="3611529" cy="835096"/>
          </a:xfrm>
          <a:prstGeom prst="rect">
            <a:avLst/>
          </a:prstGeom>
        </p:spPr>
        <p:txBody>
          <a:bodyPr vert="horz" lIns="91440" tIns="45720" rIns="91440" bIns="45720" rtlCol="0" anchor="b">
            <a:normAutofit fontScale="92500"/>
          </a:bodyPr>
          <a:lstStyle>
            <a:lvl1pPr algn="l" defTabSz="914400" rtl="0" eaLnBrk="1" latinLnBrk="0" hangingPunct="1">
              <a:lnSpc>
                <a:spcPct val="90000"/>
              </a:lnSpc>
              <a:spcBef>
                <a:spcPct val="0"/>
              </a:spcBef>
              <a:buNone/>
              <a:defRPr sz="48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sz="3200" b="1" dirty="0">
                <a:effectLst>
                  <a:outerShdw blurRad="38100" dist="38100" dir="2700000" algn="tl">
                    <a:srgbClr val="000000">
                      <a:alpha val="43137"/>
                    </a:srgbClr>
                  </a:outerShdw>
                </a:effectLst>
              </a:rPr>
              <a:t>By </a:t>
            </a:r>
            <a:r>
              <a:rPr lang="el-GR" sz="3200" b="1" dirty="0">
                <a:effectLst>
                  <a:outerShdw blurRad="38100" dist="38100" dir="2700000" algn="tl">
                    <a:srgbClr val="000000">
                      <a:alpha val="43137"/>
                    </a:srgbClr>
                  </a:outerShdw>
                </a:effectLst>
              </a:rPr>
              <a:t>ΜΙΧΑΗΛ ΜΑΡΚΟΥ</a:t>
            </a:r>
            <a:endParaRPr lang="en-US" sz="3200" b="1" dirty="0">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267689238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9" name="Google Shape;890;p53">
            <a:extLst>
              <a:ext uri="{FF2B5EF4-FFF2-40B4-BE49-F238E27FC236}">
                <a16:creationId xmlns:a16="http://schemas.microsoft.com/office/drawing/2014/main" id="{C6C3116B-1BD9-49C4-A1DB-5E4D44D76067}"/>
              </a:ext>
            </a:extLst>
          </p:cNvPr>
          <p:cNvSpPr txBox="1">
            <a:spLocks/>
          </p:cNvSpPr>
          <p:nvPr/>
        </p:nvSpPr>
        <p:spPr>
          <a:xfrm>
            <a:off x="1927300" y="1485575"/>
            <a:ext cx="2218200"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a:ln>
                  <a:noFill/>
                </a:ln>
                <a:solidFill>
                  <a:srgbClr val="FFFFFF"/>
                </a:solidFill>
                <a:effectLst/>
                <a:uLnTx/>
                <a:uFillTx/>
                <a:latin typeface="Saira SemiCondensed ExtraBold"/>
                <a:sym typeface="Saira SemiCondensed ExtraBold"/>
              </a:rPr>
              <a:t>01</a:t>
            </a:r>
            <a:endPar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endParaRPr>
          </a:p>
        </p:txBody>
      </p:sp>
      <p:sp>
        <p:nvSpPr>
          <p:cNvPr id="340" name="Google Shape;888;p53">
            <a:extLst>
              <a:ext uri="{FF2B5EF4-FFF2-40B4-BE49-F238E27FC236}">
                <a16:creationId xmlns:a16="http://schemas.microsoft.com/office/drawing/2014/main" id="{EE62F21A-F9B4-4747-AFED-814B0A84EDED}"/>
              </a:ext>
            </a:extLst>
          </p:cNvPr>
          <p:cNvSpPr txBox="1">
            <a:spLocks/>
          </p:cNvSpPr>
          <p:nvPr/>
        </p:nvSpPr>
        <p:spPr>
          <a:xfrm>
            <a:off x="1846849" y="2714262"/>
            <a:ext cx="4830164" cy="88628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36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Σχετικά με το </a:t>
            </a:r>
            <a:r>
              <a:rPr kumimoji="0" lang="en-US" sz="36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project </a:t>
            </a:r>
            <a:r>
              <a:rPr kumimoji="0" lang="en-US" sz="3600" b="1"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aira SemiCondensed ExtraBold"/>
              </a:rPr>
              <a:t>-</a:t>
            </a:r>
            <a:r>
              <a:rPr kumimoji="0" lang="en-US" sz="36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 </a:t>
            </a:r>
            <a:r>
              <a:rPr kumimoji="0" lang="el-GR" sz="3600" b="1"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rPr>
              <a:t>Εισαγωγή</a:t>
            </a:r>
            <a:endParaRPr kumimoji="0" lang="en-US" sz="3600" b="1"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endParaRPr>
          </a:p>
        </p:txBody>
      </p:sp>
      <p:cxnSp>
        <p:nvCxnSpPr>
          <p:cNvPr id="341" name="Google Shape;1186;p53">
            <a:extLst>
              <a:ext uri="{FF2B5EF4-FFF2-40B4-BE49-F238E27FC236}">
                <a16:creationId xmlns:a16="http://schemas.microsoft.com/office/drawing/2014/main" id="{0770EA63-AAD2-477B-80EB-C38F920C5A58}"/>
              </a:ext>
            </a:extLst>
          </p:cNvPr>
          <p:cNvCxnSpPr>
            <a:cxnSpLocks/>
          </p:cNvCxnSpPr>
          <p:nvPr/>
        </p:nvCxnSpPr>
        <p:spPr>
          <a:xfrm flipH="1">
            <a:off x="-218750" y="3716625"/>
            <a:ext cx="6098850" cy="0"/>
          </a:xfrm>
          <a:prstGeom prst="straightConnector1">
            <a:avLst/>
          </a:prstGeom>
          <a:noFill/>
          <a:ln w="19050" cap="flat" cmpd="sng">
            <a:solidFill>
              <a:schemeClr val="accent1"/>
            </a:solidFill>
            <a:prstDash val="solid"/>
            <a:round/>
            <a:headEnd type="none" w="med" len="med"/>
            <a:tailEnd type="none" w="med" len="med"/>
          </a:ln>
        </p:spPr>
      </p:cxnSp>
      <p:sp>
        <p:nvSpPr>
          <p:cNvPr id="342" name="Google Shape;1187;p53">
            <a:extLst>
              <a:ext uri="{FF2B5EF4-FFF2-40B4-BE49-F238E27FC236}">
                <a16:creationId xmlns:a16="http://schemas.microsoft.com/office/drawing/2014/main" id="{1656FF20-9139-4779-BEB5-36050D6B8729}"/>
              </a:ext>
            </a:extLst>
          </p:cNvPr>
          <p:cNvSpPr/>
          <p:nvPr/>
        </p:nvSpPr>
        <p:spPr>
          <a:xfrm rot="10800000" flipH="1">
            <a:off x="863183" y="1778807"/>
            <a:ext cx="186268" cy="18626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44" name="Google Shape;1189;p53">
            <a:extLst>
              <a:ext uri="{FF2B5EF4-FFF2-40B4-BE49-F238E27FC236}">
                <a16:creationId xmlns:a16="http://schemas.microsoft.com/office/drawing/2014/main" id="{C19E0291-9DD7-4CE3-8E10-EAAA674C6AF8}"/>
              </a:ext>
            </a:extLst>
          </p:cNvPr>
          <p:cNvGrpSpPr/>
          <p:nvPr/>
        </p:nvGrpSpPr>
        <p:grpSpPr>
          <a:xfrm>
            <a:off x="858359" y="3973299"/>
            <a:ext cx="1111238" cy="1033276"/>
            <a:chOff x="4818730" y="3307263"/>
            <a:chExt cx="1827512" cy="1699300"/>
          </a:xfrm>
        </p:grpSpPr>
        <p:sp>
          <p:nvSpPr>
            <p:cNvPr id="355" name="Google Shape;1190;p53">
              <a:extLst>
                <a:ext uri="{FF2B5EF4-FFF2-40B4-BE49-F238E27FC236}">
                  <a16:creationId xmlns:a16="http://schemas.microsoft.com/office/drawing/2014/main" id="{E0DFD8B2-61DF-4876-B8AC-8AAC0973C2F8}"/>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 name="Google Shape;1191;p53">
              <a:extLst>
                <a:ext uri="{FF2B5EF4-FFF2-40B4-BE49-F238E27FC236}">
                  <a16:creationId xmlns:a16="http://schemas.microsoft.com/office/drawing/2014/main" id="{30E2F605-DA2A-470F-BA63-59BB2DEF16CC}"/>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 name="Google Shape;1192;p53">
              <a:extLst>
                <a:ext uri="{FF2B5EF4-FFF2-40B4-BE49-F238E27FC236}">
                  <a16:creationId xmlns:a16="http://schemas.microsoft.com/office/drawing/2014/main" id="{1C9AABE9-EE61-4E03-AD4B-4976AF3698D4}"/>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 name="Google Shape;1193;p53">
              <a:extLst>
                <a:ext uri="{FF2B5EF4-FFF2-40B4-BE49-F238E27FC236}">
                  <a16:creationId xmlns:a16="http://schemas.microsoft.com/office/drawing/2014/main" id="{A38D675C-E4BF-4AAB-BE69-6125A0C42039}"/>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 name="Google Shape;1194;p53">
              <a:extLst>
                <a:ext uri="{FF2B5EF4-FFF2-40B4-BE49-F238E27FC236}">
                  <a16:creationId xmlns:a16="http://schemas.microsoft.com/office/drawing/2014/main" id="{62A28D83-0485-4292-A63B-C998FCB54EC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 name="Google Shape;1195;p53">
              <a:extLst>
                <a:ext uri="{FF2B5EF4-FFF2-40B4-BE49-F238E27FC236}">
                  <a16:creationId xmlns:a16="http://schemas.microsoft.com/office/drawing/2014/main" id="{FDA1DD02-FBEA-4FC0-BF43-BDE3C143D898}"/>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 name="Google Shape;1196;p53">
              <a:extLst>
                <a:ext uri="{FF2B5EF4-FFF2-40B4-BE49-F238E27FC236}">
                  <a16:creationId xmlns:a16="http://schemas.microsoft.com/office/drawing/2014/main" id="{61EF76B4-C402-4391-9662-001703F2DF47}"/>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 name="Google Shape;1197;p53">
              <a:extLst>
                <a:ext uri="{FF2B5EF4-FFF2-40B4-BE49-F238E27FC236}">
                  <a16:creationId xmlns:a16="http://schemas.microsoft.com/office/drawing/2014/main" id="{BA0CAD99-EE62-423A-A2D1-08BC6B072F81}"/>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 name="Google Shape;1198;p53">
              <a:extLst>
                <a:ext uri="{FF2B5EF4-FFF2-40B4-BE49-F238E27FC236}">
                  <a16:creationId xmlns:a16="http://schemas.microsoft.com/office/drawing/2014/main" id="{9968258D-C06E-46B7-B080-430C7C8DE0CE}"/>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 name="Google Shape;1199;p53">
              <a:extLst>
                <a:ext uri="{FF2B5EF4-FFF2-40B4-BE49-F238E27FC236}">
                  <a16:creationId xmlns:a16="http://schemas.microsoft.com/office/drawing/2014/main" id="{8C713E86-C035-4F85-BE3C-908177CEBD6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 name="Google Shape;1200;p53">
              <a:extLst>
                <a:ext uri="{FF2B5EF4-FFF2-40B4-BE49-F238E27FC236}">
                  <a16:creationId xmlns:a16="http://schemas.microsoft.com/office/drawing/2014/main" id="{18C41CDE-0B9E-4A62-9C9E-D54CC9A69C58}"/>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 name="Google Shape;1201;p53">
              <a:extLst>
                <a:ext uri="{FF2B5EF4-FFF2-40B4-BE49-F238E27FC236}">
                  <a16:creationId xmlns:a16="http://schemas.microsoft.com/office/drawing/2014/main" id="{BCFE7FDF-1E73-418C-9D5C-6A0164FD80F6}"/>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 name="Google Shape;1202;p53">
              <a:extLst>
                <a:ext uri="{FF2B5EF4-FFF2-40B4-BE49-F238E27FC236}">
                  <a16:creationId xmlns:a16="http://schemas.microsoft.com/office/drawing/2014/main" id="{4A2B6FAE-18C6-4BCE-B93C-5610CDD9532E}"/>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 name="Google Shape;1203;p53">
              <a:extLst>
                <a:ext uri="{FF2B5EF4-FFF2-40B4-BE49-F238E27FC236}">
                  <a16:creationId xmlns:a16="http://schemas.microsoft.com/office/drawing/2014/main" id="{2178714D-2E52-473F-BCCF-FA3013E30611}"/>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 name="Google Shape;1204;p53">
              <a:extLst>
                <a:ext uri="{FF2B5EF4-FFF2-40B4-BE49-F238E27FC236}">
                  <a16:creationId xmlns:a16="http://schemas.microsoft.com/office/drawing/2014/main" id="{3CE530B5-F233-412E-A80B-4289635B548E}"/>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 name="Google Shape;1205;p53">
              <a:extLst>
                <a:ext uri="{FF2B5EF4-FFF2-40B4-BE49-F238E27FC236}">
                  <a16:creationId xmlns:a16="http://schemas.microsoft.com/office/drawing/2014/main" id="{08A51620-85B4-41AA-B2CF-F88097D461DE}"/>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 name="Google Shape;1206;p53">
              <a:extLst>
                <a:ext uri="{FF2B5EF4-FFF2-40B4-BE49-F238E27FC236}">
                  <a16:creationId xmlns:a16="http://schemas.microsoft.com/office/drawing/2014/main" id="{20A89574-FBDF-4DEB-8F9C-EF8DC0FD8F2F}"/>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 name="Google Shape;1207;p53">
              <a:extLst>
                <a:ext uri="{FF2B5EF4-FFF2-40B4-BE49-F238E27FC236}">
                  <a16:creationId xmlns:a16="http://schemas.microsoft.com/office/drawing/2014/main" id="{60E84C9C-9CF5-4BE5-B770-74C47069E673}"/>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 name="Google Shape;1208;p53">
              <a:extLst>
                <a:ext uri="{FF2B5EF4-FFF2-40B4-BE49-F238E27FC236}">
                  <a16:creationId xmlns:a16="http://schemas.microsoft.com/office/drawing/2014/main" id="{818CDA1C-B53A-45C6-BA87-B41E4448E8E3}"/>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 name="Google Shape;1209;p53">
              <a:extLst>
                <a:ext uri="{FF2B5EF4-FFF2-40B4-BE49-F238E27FC236}">
                  <a16:creationId xmlns:a16="http://schemas.microsoft.com/office/drawing/2014/main" id="{38A6FC7D-E89E-4614-813A-D74D92A44E70}"/>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 name="Google Shape;1210;p53">
              <a:extLst>
                <a:ext uri="{FF2B5EF4-FFF2-40B4-BE49-F238E27FC236}">
                  <a16:creationId xmlns:a16="http://schemas.microsoft.com/office/drawing/2014/main" id="{F9495E9F-FDE8-4871-A046-A3CE8D4B60B8}"/>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 name="Google Shape;1211;p53">
              <a:extLst>
                <a:ext uri="{FF2B5EF4-FFF2-40B4-BE49-F238E27FC236}">
                  <a16:creationId xmlns:a16="http://schemas.microsoft.com/office/drawing/2014/main" id="{C8E9D92A-2DE3-43E1-80AC-F01CF3110B73}"/>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 name="Google Shape;1212;p53">
              <a:extLst>
                <a:ext uri="{FF2B5EF4-FFF2-40B4-BE49-F238E27FC236}">
                  <a16:creationId xmlns:a16="http://schemas.microsoft.com/office/drawing/2014/main" id="{F7E71B1F-2C13-45E2-B117-3BE3BFC1B856}"/>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 name="Google Shape;1213;p53">
              <a:extLst>
                <a:ext uri="{FF2B5EF4-FFF2-40B4-BE49-F238E27FC236}">
                  <a16:creationId xmlns:a16="http://schemas.microsoft.com/office/drawing/2014/main" id="{FF570CED-460C-4060-8C36-83ED2E98A625}"/>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 name="Google Shape;1214;p53">
              <a:extLst>
                <a:ext uri="{FF2B5EF4-FFF2-40B4-BE49-F238E27FC236}">
                  <a16:creationId xmlns:a16="http://schemas.microsoft.com/office/drawing/2014/main" id="{EDCC82C9-1DDE-419E-A0FC-E4A16A684759}"/>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45" name="Google Shape;1215;p53">
            <a:extLst>
              <a:ext uri="{FF2B5EF4-FFF2-40B4-BE49-F238E27FC236}">
                <a16:creationId xmlns:a16="http://schemas.microsoft.com/office/drawing/2014/main" id="{CB05E098-EA0B-4491-8982-1BA4CFA2B9C4}"/>
              </a:ext>
            </a:extLst>
          </p:cNvPr>
          <p:cNvSpPr/>
          <p:nvPr/>
        </p:nvSpPr>
        <p:spPr>
          <a:xfrm>
            <a:off x="3102501" y="5273743"/>
            <a:ext cx="186268" cy="18626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 name="Google Shape;1216;p53">
            <a:extLst>
              <a:ext uri="{FF2B5EF4-FFF2-40B4-BE49-F238E27FC236}">
                <a16:creationId xmlns:a16="http://schemas.microsoft.com/office/drawing/2014/main" id="{2A8D3E67-7FAE-4F46-9FC8-636C779F77F5}"/>
              </a:ext>
            </a:extLst>
          </p:cNvPr>
          <p:cNvSpPr/>
          <p:nvPr/>
        </p:nvSpPr>
        <p:spPr>
          <a:xfrm>
            <a:off x="3163009" y="818263"/>
            <a:ext cx="249940" cy="24994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 name="Google Shape;1217;p53">
            <a:extLst>
              <a:ext uri="{FF2B5EF4-FFF2-40B4-BE49-F238E27FC236}">
                <a16:creationId xmlns:a16="http://schemas.microsoft.com/office/drawing/2014/main" id="{53541A03-0CE6-429C-BA8F-24B334A371A7}"/>
              </a:ext>
            </a:extLst>
          </p:cNvPr>
          <p:cNvSpPr/>
          <p:nvPr/>
        </p:nvSpPr>
        <p:spPr>
          <a:xfrm>
            <a:off x="10595191" y="905070"/>
            <a:ext cx="249940" cy="24994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48" name="Google Shape;1218;p53">
            <a:extLst>
              <a:ext uri="{FF2B5EF4-FFF2-40B4-BE49-F238E27FC236}">
                <a16:creationId xmlns:a16="http://schemas.microsoft.com/office/drawing/2014/main" id="{D061E24B-5EF6-4734-B357-F571FEBCB7F6}"/>
              </a:ext>
            </a:extLst>
          </p:cNvPr>
          <p:cNvGrpSpPr/>
          <p:nvPr/>
        </p:nvGrpSpPr>
        <p:grpSpPr>
          <a:xfrm rot="14053952">
            <a:off x="5251637" y="5282781"/>
            <a:ext cx="213162" cy="846295"/>
            <a:chOff x="7004550" y="3676293"/>
            <a:chExt cx="161700" cy="641982"/>
          </a:xfrm>
        </p:grpSpPr>
        <p:sp>
          <p:nvSpPr>
            <p:cNvPr id="351" name="Google Shape;1219;p53">
              <a:extLst>
                <a:ext uri="{FF2B5EF4-FFF2-40B4-BE49-F238E27FC236}">
                  <a16:creationId xmlns:a16="http://schemas.microsoft.com/office/drawing/2014/main" id="{A79ECB03-3A78-4E45-808F-6A6968A21A22}"/>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 name="Google Shape;1220;p53">
              <a:extLst>
                <a:ext uri="{FF2B5EF4-FFF2-40B4-BE49-F238E27FC236}">
                  <a16:creationId xmlns:a16="http://schemas.microsoft.com/office/drawing/2014/main" id="{E47CA958-5857-4BAF-954E-22C25E059FDF}"/>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 name="Google Shape;1221;p53">
              <a:extLst>
                <a:ext uri="{FF2B5EF4-FFF2-40B4-BE49-F238E27FC236}">
                  <a16:creationId xmlns:a16="http://schemas.microsoft.com/office/drawing/2014/main" id="{14C76F69-90F6-495B-A6BF-772BAE2ECC14}"/>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 name="Google Shape;1222;p53">
              <a:extLst>
                <a:ext uri="{FF2B5EF4-FFF2-40B4-BE49-F238E27FC236}">
                  <a16:creationId xmlns:a16="http://schemas.microsoft.com/office/drawing/2014/main" id="{1061D21C-376A-4E3A-95C2-4680DF165F06}"/>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49" name="Google Shape;1223;p53">
            <a:extLst>
              <a:ext uri="{FF2B5EF4-FFF2-40B4-BE49-F238E27FC236}">
                <a16:creationId xmlns:a16="http://schemas.microsoft.com/office/drawing/2014/main" id="{3CDB2536-7DA6-4E38-901B-5448B4EFA12E}"/>
              </a:ext>
            </a:extLst>
          </p:cNvPr>
          <p:cNvSpPr/>
          <p:nvPr/>
        </p:nvSpPr>
        <p:spPr>
          <a:xfrm>
            <a:off x="6166604" y="2134665"/>
            <a:ext cx="186268" cy="18626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 name="Google Shape;1224;p53">
            <a:extLst>
              <a:ext uri="{FF2B5EF4-FFF2-40B4-BE49-F238E27FC236}">
                <a16:creationId xmlns:a16="http://schemas.microsoft.com/office/drawing/2014/main" id="{2C97D3E4-F559-4679-B2B5-0FF82D46625C}"/>
              </a:ext>
            </a:extLst>
          </p:cNvPr>
          <p:cNvSpPr/>
          <p:nvPr/>
        </p:nvSpPr>
        <p:spPr>
          <a:xfrm>
            <a:off x="11083701" y="4935612"/>
            <a:ext cx="249940" cy="24994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 name="Google Shape;1187;p53">
            <a:extLst>
              <a:ext uri="{FF2B5EF4-FFF2-40B4-BE49-F238E27FC236}">
                <a16:creationId xmlns:a16="http://schemas.microsoft.com/office/drawing/2014/main" id="{3BC9A20B-A25E-4CDD-BA20-7EA31FFA33D9}"/>
              </a:ext>
            </a:extLst>
          </p:cNvPr>
          <p:cNvSpPr/>
          <p:nvPr/>
        </p:nvSpPr>
        <p:spPr>
          <a:xfrm rot="10800000" flipH="1">
            <a:off x="5862627" y="36459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 name="Google Shape;11;p2">
            <a:extLst>
              <a:ext uri="{FF2B5EF4-FFF2-40B4-BE49-F238E27FC236}">
                <a16:creationId xmlns:a16="http://schemas.microsoft.com/office/drawing/2014/main" id="{73209BDA-FF76-446D-AEAF-3CD16457E14A}"/>
              </a:ext>
            </a:extLst>
          </p:cNvPr>
          <p:cNvSpPr/>
          <p:nvPr/>
        </p:nvSpPr>
        <p:spPr>
          <a:xfrm rot="1074665" flipH="1">
            <a:off x="5104928" y="-993910"/>
            <a:ext cx="3493975" cy="4013859"/>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 name="TextBox 388">
            <a:extLst>
              <a:ext uri="{FF2B5EF4-FFF2-40B4-BE49-F238E27FC236}">
                <a16:creationId xmlns:a16="http://schemas.microsoft.com/office/drawing/2014/main" id="{E4C207C3-1AAB-4401-A6E5-A4EE27960F46}"/>
              </a:ext>
            </a:extLst>
          </p:cNvPr>
          <p:cNvSpPr txBox="1"/>
          <p:nvPr/>
        </p:nvSpPr>
        <p:spPr>
          <a:xfrm>
            <a:off x="846342" y="-34732"/>
            <a:ext cx="7061200" cy="435184"/>
          </a:xfrm>
          <a:prstGeom prst="rect">
            <a:avLst/>
          </a:prstGeom>
          <a:noFill/>
        </p:spPr>
        <p:txBody>
          <a:bodyPr wrap="square">
            <a:spAutoFit/>
          </a:bodyPr>
          <a:lstStyle/>
          <a:p>
            <a:pPr marL="0" marR="0" lvl="0" indent="0" algn="l" defTabSz="914400" rtl="0" eaLnBrk="1" fontAlgn="auto" latinLnBrk="0" hangingPunct="1">
              <a:lnSpc>
                <a:spcPct val="120000"/>
              </a:lnSpc>
              <a:spcBef>
                <a:spcPts val="1000"/>
              </a:spcBef>
              <a:spcAft>
                <a:spcPts val="0"/>
              </a:spcAft>
              <a:buClrTx/>
              <a:buSzPct val="125000"/>
              <a:buFont typeface="Arial" panose="020B0604020202020204" pitchFamily="34" charset="0"/>
              <a:buNone/>
              <a:tabLst/>
              <a:defRPr/>
            </a:pPr>
            <a:r>
              <a:rPr kumimoji="0" lang="en-US" sz="2000" b="0" i="0" u="none" strike="noStrike" kern="1200" cap="all" spc="0" normalizeH="0" baseline="0" noProof="0" dirty="0">
                <a:ln>
                  <a:noFill/>
                </a:ln>
                <a:solidFill>
                  <a:srgbClr val="D8FC68"/>
                </a:solidFill>
                <a:effectLst>
                  <a:outerShdw blurRad="152400" dist="38100" dir="2700000" algn="tl">
                    <a:srgbClr val="000000">
                      <a:alpha val="36000"/>
                    </a:srgbClr>
                  </a:outerShdw>
                </a:effectLst>
                <a:uLnTx/>
                <a:uFillTx/>
                <a:latin typeface="Tw Cen MT" panose="020B0602020104020603"/>
                <a:ea typeface="+mn-ea"/>
                <a:cs typeface="+mn-cs"/>
              </a:rPr>
              <a:t>Gameplay Mechanics</a:t>
            </a:r>
          </a:p>
        </p:txBody>
      </p:sp>
      <p:grpSp>
        <p:nvGrpSpPr>
          <p:cNvPr id="390" name="Google Shape;891;p53">
            <a:extLst>
              <a:ext uri="{FF2B5EF4-FFF2-40B4-BE49-F238E27FC236}">
                <a16:creationId xmlns:a16="http://schemas.microsoft.com/office/drawing/2014/main" id="{FD9B3223-12B2-4154-B708-69A07053B1B2}"/>
              </a:ext>
            </a:extLst>
          </p:cNvPr>
          <p:cNvGrpSpPr/>
          <p:nvPr/>
        </p:nvGrpSpPr>
        <p:grpSpPr>
          <a:xfrm>
            <a:off x="7321846" y="2021770"/>
            <a:ext cx="3923167" cy="4082711"/>
            <a:chOff x="5032847" y="888966"/>
            <a:chExt cx="3537900" cy="3681776"/>
          </a:xfrm>
        </p:grpSpPr>
        <p:sp>
          <p:nvSpPr>
            <p:cNvPr id="391" name="Google Shape;892;p53">
              <a:extLst>
                <a:ext uri="{FF2B5EF4-FFF2-40B4-BE49-F238E27FC236}">
                  <a16:creationId xmlns:a16="http://schemas.microsoft.com/office/drawing/2014/main" id="{D7500257-4037-4E85-8AD1-73D4B449B503}"/>
                </a:ext>
              </a:extLst>
            </p:cNvPr>
            <p:cNvSpPr/>
            <p:nvPr/>
          </p:nvSpPr>
          <p:spPr>
            <a:xfrm>
              <a:off x="5032847" y="4047000"/>
              <a:ext cx="3537900" cy="523742"/>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rgbClr val="241454">
                <a:alpha val="4588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92" name="Google Shape;893;p53">
              <a:extLst>
                <a:ext uri="{FF2B5EF4-FFF2-40B4-BE49-F238E27FC236}">
                  <a16:creationId xmlns:a16="http://schemas.microsoft.com/office/drawing/2014/main" id="{F1321B16-1D80-4FE7-B815-B59555EBCD17}"/>
                </a:ext>
              </a:extLst>
            </p:cNvPr>
            <p:cNvGrpSpPr/>
            <p:nvPr/>
          </p:nvGrpSpPr>
          <p:grpSpPr>
            <a:xfrm>
              <a:off x="5117540" y="888966"/>
              <a:ext cx="3368830" cy="3591052"/>
              <a:chOff x="5126869" y="785625"/>
              <a:chExt cx="3583481" cy="3819862"/>
            </a:xfrm>
          </p:grpSpPr>
          <p:sp>
            <p:nvSpPr>
              <p:cNvPr id="393" name="Google Shape;894;p53">
                <a:extLst>
                  <a:ext uri="{FF2B5EF4-FFF2-40B4-BE49-F238E27FC236}">
                    <a16:creationId xmlns:a16="http://schemas.microsoft.com/office/drawing/2014/main" id="{40B0D4ED-7C3F-4B61-8566-3BBA376AA570}"/>
                  </a:ext>
                </a:extLst>
              </p:cNvPr>
              <p:cNvSpPr/>
              <p:nvPr/>
            </p:nvSpPr>
            <p:spPr>
              <a:xfrm>
                <a:off x="6132477" y="3262844"/>
                <a:ext cx="824631" cy="198568"/>
              </a:xfrm>
              <a:custGeom>
                <a:avLst/>
                <a:gdLst/>
                <a:ahLst/>
                <a:cxnLst/>
                <a:rect l="l" t="t" r="r" b="b"/>
                <a:pathLst>
                  <a:path w="45142" h="10870" extrusionOk="0">
                    <a:moveTo>
                      <a:pt x="18375" y="1"/>
                    </a:moveTo>
                    <a:lnTo>
                      <a:pt x="0" y="2330"/>
                    </a:lnTo>
                    <a:lnTo>
                      <a:pt x="22552" y="10870"/>
                    </a:lnTo>
                    <a:lnTo>
                      <a:pt x="45141" y="7690"/>
                    </a:lnTo>
                    <a:lnTo>
                      <a:pt x="1837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 name="Google Shape;895;p53">
                <a:extLst>
                  <a:ext uri="{FF2B5EF4-FFF2-40B4-BE49-F238E27FC236}">
                    <a16:creationId xmlns:a16="http://schemas.microsoft.com/office/drawing/2014/main" id="{D1C4C272-C5B3-4D18-BEC1-8CFDD618A5F8}"/>
                  </a:ext>
                </a:extLst>
              </p:cNvPr>
              <p:cNvSpPr/>
              <p:nvPr/>
            </p:nvSpPr>
            <p:spPr>
              <a:xfrm>
                <a:off x="6544446" y="3403321"/>
                <a:ext cx="414015" cy="882722"/>
              </a:xfrm>
              <a:custGeom>
                <a:avLst/>
                <a:gdLst/>
                <a:ahLst/>
                <a:cxnLst/>
                <a:rect l="l" t="t" r="r" b="b"/>
                <a:pathLst>
                  <a:path w="22664" h="48322" extrusionOk="0">
                    <a:moveTo>
                      <a:pt x="22589" y="0"/>
                    </a:moveTo>
                    <a:lnTo>
                      <a:pt x="0" y="3180"/>
                    </a:lnTo>
                    <a:lnTo>
                      <a:pt x="74" y="48321"/>
                    </a:lnTo>
                    <a:lnTo>
                      <a:pt x="22663" y="43404"/>
                    </a:lnTo>
                    <a:lnTo>
                      <a:pt x="2258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 name="Google Shape;896;p53">
                <a:extLst>
                  <a:ext uri="{FF2B5EF4-FFF2-40B4-BE49-F238E27FC236}">
                    <a16:creationId xmlns:a16="http://schemas.microsoft.com/office/drawing/2014/main" id="{A38A79D9-E1FE-4391-8CA4-1B730ED37BDD}"/>
                  </a:ext>
                </a:extLst>
              </p:cNvPr>
              <p:cNvSpPr/>
              <p:nvPr/>
            </p:nvSpPr>
            <p:spPr>
              <a:xfrm>
                <a:off x="6132477" y="3305389"/>
                <a:ext cx="413339" cy="980654"/>
              </a:xfrm>
              <a:custGeom>
                <a:avLst/>
                <a:gdLst/>
                <a:ahLst/>
                <a:cxnLst/>
                <a:rect l="l" t="t" r="r" b="b"/>
                <a:pathLst>
                  <a:path w="22627" h="53683" extrusionOk="0">
                    <a:moveTo>
                      <a:pt x="0" y="1"/>
                    </a:moveTo>
                    <a:lnTo>
                      <a:pt x="74" y="42036"/>
                    </a:lnTo>
                    <a:lnTo>
                      <a:pt x="22626" y="53682"/>
                    </a:lnTo>
                    <a:lnTo>
                      <a:pt x="22552" y="8541"/>
                    </a:lnTo>
                    <a:lnTo>
                      <a:pt x="0" y="1"/>
                    </a:lnTo>
                    <a:close/>
                  </a:path>
                </a:pathLst>
              </a:custGeom>
              <a:solidFill>
                <a:srgbClr val="2C004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 name="Google Shape;897;p53">
                <a:extLst>
                  <a:ext uri="{FF2B5EF4-FFF2-40B4-BE49-F238E27FC236}">
                    <a16:creationId xmlns:a16="http://schemas.microsoft.com/office/drawing/2014/main" id="{21B890EF-3657-4F41-A7A7-3D22549D2F5A}"/>
                  </a:ext>
                </a:extLst>
              </p:cNvPr>
              <p:cNvSpPr/>
              <p:nvPr/>
            </p:nvSpPr>
            <p:spPr>
              <a:xfrm>
                <a:off x="6132477" y="3305389"/>
                <a:ext cx="413339" cy="980654"/>
              </a:xfrm>
              <a:custGeom>
                <a:avLst/>
                <a:gdLst/>
                <a:ahLst/>
                <a:cxnLst/>
                <a:rect l="l" t="t" r="r" b="b"/>
                <a:pathLst>
                  <a:path w="22627" h="53683" extrusionOk="0">
                    <a:moveTo>
                      <a:pt x="0" y="1"/>
                    </a:moveTo>
                    <a:lnTo>
                      <a:pt x="74" y="42036"/>
                    </a:lnTo>
                    <a:lnTo>
                      <a:pt x="22626" y="53682"/>
                    </a:lnTo>
                    <a:lnTo>
                      <a:pt x="22552" y="8541"/>
                    </a:lnTo>
                    <a:lnTo>
                      <a:pt x="0"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 name="Google Shape;898;p53">
                <a:extLst>
                  <a:ext uri="{FF2B5EF4-FFF2-40B4-BE49-F238E27FC236}">
                    <a16:creationId xmlns:a16="http://schemas.microsoft.com/office/drawing/2014/main" id="{F905DC22-03C7-4AAC-802C-85A243AEF4DB}"/>
                  </a:ext>
                </a:extLst>
              </p:cNvPr>
              <p:cNvSpPr/>
              <p:nvPr/>
            </p:nvSpPr>
            <p:spPr>
              <a:xfrm>
                <a:off x="6552556" y="3464773"/>
                <a:ext cx="391710" cy="191827"/>
              </a:xfrm>
              <a:custGeom>
                <a:avLst/>
                <a:gdLst/>
                <a:ahLst/>
                <a:cxnLst/>
                <a:rect l="l" t="t" r="r" b="b"/>
                <a:pathLst>
                  <a:path w="21443" h="10501" extrusionOk="0">
                    <a:moveTo>
                      <a:pt x="21443" y="1"/>
                    </a:moveTo>
                    <a:lnTo>
                      <a:pt x="11720" y="4179"/>
                    </a:lnTo>
                    <a:lnTo>
                      <a:pt x="0" y="1591"/>
                    </a:lnTo>
                    <a:lnTo>
                      <a:pt x="0" y="7580"/>
                    </a:lnTo>
                    <a:lnTo>
                      <a:pt x="12385" y="10501"/>
                    </a:lnTo>
                    <a:lnTo>
                      <a:pt x="21443" y="6027"/>
                    </a:lnTo>
                    <a:lnTo>
                      <a:pt x="2144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 name="Google Shape;899;p53">
                <a:extLst>
                  <a:ext uri="{FF2B5EF4-FFF2-40B4-BE49-F238E27FC236}">
                    <a16:creationId xmlns:a16="http://schemas.microsoft.com/office/drawing/2014/main" id="{8E9E2E66-65FC-4C96-9041-A73504997E8B}"/>
                  </a:ext>
                </a:extLst>
              </p:cNvPr>
              <p:cNvSpPr/>
              <p:nvPr/>
            </p:nvSpPr>
            <p:spPr>
              <a:xfrm>
                <a:off x="6552556" y="3622147"/>
                <a:ext cx="392386" cy="191133"/>
              </a:xfrm>
              <a:custGeom>
                <a:avLst/>
                <a:gdLst/>
                <a:ahLst/>
                <a:cxnLst/>
                <a:rect l="l" t="t" r="r" b="b"/>
                <a:pathLst>
                  <a:path w="21480" h="10463" extrusionOk="0">
                    <a:moveTo>
                      <a:pt x="21480" y="0"/>
                    </a:moveTo>
                    <a:lnTo>
                      <a:pt x="11757" y="4141"/>
                    </a:lnTo>
                    <a:lnTo>
                      <a:pt x="0" y="1590"/>
                    </a:lnTo>
                    <a:lnTo>
                      <a:pt x="0" y="7542"/>
                    </a:lnTo>
                    <a:lnTo>
                      <a:pt x="12385" y="10463"/>
                    </a:lnTo>
                    <a:lnTo>
                      <a:pt x="21480" y="5989"/>
                    </a:lnTo>
                    <a:lnTo>
                      <a:pt x="21480"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 name="Google Shape;900;p53">
                <a:extLst>
                  <a:ext uri="{FF2B5EF4-FFF2-40B4-BE49-F238E27FC236}">
                    <a16:creationId xmlns:a16="http://schemas.microsoft.com/office/drawing/2014/main" id="{24501861-7C7D-4496-9232-709A92DF0C8D}"/>
                  </a:ext>
                </a:extLst>
              </p:cNvPr>
              <p:cNvSpPr/>
              <p:nvPr/>
            </p:nvSpPr>
            <p:spPr>
              <a:xfrm>
                <a:off x="6552556" y="3793679"/>
                <a:ext cx="392386" cy="191827"/>
              </a:xfrm>
              <a:custGeom>
                <a:avLst/>
                <a:gdLst/>
                <a:ahLst/>
                <a:cxnLst/>
                <a:rect l="l" t="t" r="r" b="b"/>
                <a:pathLst>
                  <a:path w="21480" h="10501" extrusionOk="0">
                    <a:moveTo>
                      <a:pt x="21480" y="1"/>
                    </a:moveTo>
                    <a:lnTo>
                      <a:pt x="11757" y="4141"/>
                    </a:lnTo>
                    <a:lnTo>
                      <a:pt x="0" y="1590"/>
                    </a:lnTo>
                    <a:lnTo>
                      <a:pt x="0" y="1590"/>
                    </a:lnTo>
                    <a:lnTo>
                      <a:pt x="37" y="7580"/>
                    </a:lnTo>
                    <a:lnTo>
                      <a:pt x="12422" y="10500"/>
                    </a:lnTo>
                    <a:lnTo>
                      <a:pt x="21480" y="5990"/>
                    </a:lnTo>
                    <a:lnTo>
                      <a:pt x="2148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 name="Google Shape;901;p53">
                <a:extLst>
                  <a:ext uri="{FF2B5EF4-FFF2-40B4-BE49-F238E27FC236}">
                    <a16:creationId xmlns:a16="http://schemas.microsoft.com/office/drawing/2014/main" id="{13A5A2DE-0E2B-4FE0-A0D0-16601F2D0718}"/>
                  </a:ext>
                </a:extLst>
              </p:cNvPr>
              <p:cNvSpPr/>
              <p:nvPr/>
            </p:nvSpPr>
            <p:spPr>
              <a:xfrm>
                <a:off x="6553232" y="3969266"/>
                <a:ext cx="392386" cy="191827"/>
              </a:xfrm>
              <a:custGeom>
                <a:avLst/>
                <a:gdLst/>
                <a:ahLst/>
                <a:cxnLst/>
                <a:rect l="l" t="t" r="r" b="b"/>
                <a:pathLst>
                  <a:path w="21480" h="10501" extrusionOk="0">
                    <a:moveTo>
                      <a:pt x="21480" y="1"/>
                    </a:moveTo>
                    <a:lnTo>
                      <a:pt x="11720" y="4142"/>
                    </a:lnTo>
                    <a:lnTo>
                      <a:pt x="0" y="1591"/>
                    </a:lnTo>
                    <a:lnTo>
                      <a:pt x="0" y="7580"/>
                    </a:lnTo>
                    <a:lnTo>
                      <a:pt x="12385" y="10501"/>
                    </a:lnTo>
                    <a:lnTo>
                      <a:pt x="21480" y="6027"/>
                    </a:lnTo>
                    <a:lnTo>
                      <a:pt x="2148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 name="Google Shape;902;p53">
                <a:extLst>
                  <a:ext uri="{FF2B5EF4-FFF2-40B4-BE49-F238E27FC236}">
                    <a16:creationId xmlns:a16="http://schemas.microsoft.com/office/drawing/2014/main" id="{E77ABC46-1EFC-4166-954B-891354CD8EF8}"/>
                  </a:ext>
                </a:extLst>
              </p:cNvPr>
              <p:cNvSpPr/>
              <p:nvPr/>
            </p:nvSpPr>
            <p:spPr>
              <a:xfrm>
                <a:off x="6577528" y="3603222"/>
                <a:ext cx="359322" cy="78368"/>
              </a:xfrm>
              <a:custGeom>
                <a:avLst/>
                <a:gdLst/>
                <a:ahLst/>
                <a:cxnLst/>
                <a:rect l="l" t="t" r="r" b="b"/>
                <a:pathLst>
                  <a:path w="19670" h="4290" fill="none" extrusionOk="0">
                    <a:moveTo>
                      <a:pt x="1" y="1849"/>
                    </a:moveTo>
                    <a:lnTo>
                      <a:pt x="10612" y="4289"/>
                    </a:lnTo>
                    <a:lnTo>
                      <a:pt x="19669" y="1"/>
                    </a:lnTo>
                  </a:path>
                </a:pathLst>
              </a:custGeom>
              <a:noFill/>
              <a:ln w="277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 name="Google Shape;903;p53">
                <a:extLst>
                  <a:ext uri="{FF2B5EF4-FFF2-40B4-BE49-F238E27FC236}">
                    <a16:creationId xmlns:a16="http://schemas.microsoft.com/office/drawing/2014/main" id="{4D5A48C4-2BEB-4159-A105-A97B7EC13B19}"/>
                  </a:ext>
                </a:extLst>
              </p:cNvPr>
              <p:cNvSpPr/>
              <p:nvPr/>
            </p:nvSpPr>
            <p:spPr>
              <a:xfrm>
                <a:off x="6584287" y="3768013"/>
                <a:ext cx="358646" cy="78368"/>
              </a:xfrm>
              <a:custGeom>
                <a:avLst/>
                <a:gdLst/>
                <a:ahLst/>
                <a:cxnLst/>
                <a:rect l="l" t="t" r="r" b="b"/>
                <a:pathLst>
                  <a:path w="19633" h="4290" fill="none" extrusionOk="0">
                    <a:moveTo>
                      <a:pt x="1" y="1849"/>
                    </a:moveTo>
                    <a:lnTo>
                      <a:pt x="10574" y="4289"/>
                    </a:lnTo>
                    <a:lnTo>
                      <a:pt x="19632" y="1"/>
                    </a:lnTo>
                  </a:path>
                </a:pathLst>
              </a:custGeom>
              <a:noFill/>
              <a:ln w="277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 name="Google Shape;904;p53">
                <a:extLst>
                  <a:ext uri="{FF2B5EF4-FFF2-40B4-BE49-F238E27FC236}">
                    <a16:creationId xmlns:a16="http://schemas.microsoft.com/office/drawing/2014/main" id="{98CCC099-8395-4EA4-95E2-CF2688AB4BC2}"/>
                  </a:ext>
                </a:extLst>
              </p:cNvPr>
              <p:cNvSpPr/>
              <p:nvPr/>
            </p:nvSpPr>
            <p:spPr>
              <a:xfrm>
                <a:off x="6578204" y="3939563"/>
                <a:ext cx="359322" cy="78349"/>
              </a:xfrm>
              <a:custGeom>
                <a:avLst/>
                <a:gdLst/>
                <a:ahLst/>
                <a:cxnLst/>
                <a:rect l="l" t="t" r="r" b="b"/>
                <a:pathLst>
                  <a:path w="19670" h="4289" fill="none" extrusionOk="0">
                    <a:moveTo>
                      <a:pt x="1" y="1886"/>
                    </a:moveTo>
                    <a:lnTo>
                      <a:pt x="10575" y="4289"/>
                    </a:lnTo>
                    <a:lnTo>
                      <a:pt x="19669" y="0"/>
                    </a:lnTo>
                  </a:path>
                </a:pathLst>
              </a:custGeom>
              <a:noFill/>
              <a:ln w="277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 name="Google Shape;905;p53">
                <a:extLst>
                  <a:ext uri="{FF2B5EF4-FFF2-40B4-BE49-F238E27FC236}">
                    <a16:creationId xmlns:a16="http://schemas.microsoft.com/office/drawing/2014/main" id="{333B364A-F209-44D4-B574-71A541531370}"/>
                  </a:ext>
                </a:extLst>
              </p:cNvPr>
              <p:cNvSpPr/>
              <p:nvPr/>
            </p:nvSpPr>
            <p:spPr>
              <a:xfrm>
                <a:off x="6740967" y="3464097"/>
                <a:ext cx="56757" cy="48117"/>
              </a:xfrm>
              <a:custGeom>
                <a:avLst/>
                <a:gdLst/>
                <a:ahLst/>
                <a:cxnLst/>
                <a:rect l="l" t="t" r="r" b="b"/>
                <a:pathLst>
                  <a:path w="3107" h="2634" extrusionOk="0">
                    <a:moveTo>
                      <a:pt x="1775" y="1"/>
                    </a:moveTo>
                    <a:cubicBezTo>
                      <a:pt x="592" y="1"/>
                      <a:pt x="1" y="1406"/>
                      <a:pt x="851" y="2256"/>
                    </a:cubicBezTo>
                    <a:cubicBezTo>
                      <a:pt x="1112" y="2517"/>
                      <a:pt x="1437" y="2633"/>
                      <a:pt x="1759" y="2633"/>
                    </a:cubicBezTo>
                    <a:cubicBezTo>
                      <a:pt x="2441" y="2633"/>
                      <a:pt x="3106" y="2110"/>
                      <a:pt x="3106" y="1332"/>
                    </a:cubicBezTo>
                    <a:cubicBezTo>
                      <a:pt x="3106" y="592"/>
                      <a:pt x="2515" y="1"/>
                      <a:pt x="1775"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 name="Google Shape;906;p53">
                <a:extLst>
                  <a:ext uri="{FF2B5EF4-FFF2-40B4-BE49-F238E27FC236}">
                    <a16:creationId xmlns:a16="http://schemas.microsoft.com/office/drawing/2014/main" id="{1520E8B4-A5F8-43B6-9E89-18B32DEF91F9}"/>
                  </a:ext>
                </a:extLst>
              </p:cNvPr>
              <p:cNvSpPr/>
              <p:nvPr/>
            </p:nvSpPr>
            <p:spPr>
              <a:xfrm>
                <a:off x="6696395" y="3472208"/>
                <a:ext cx="24332" cy="20752"/>
              </a:xfrm>
              <a:custGeom>
                <a:avLst/>
                <a:gdLst/>
                <a:ahLst/>
                <a:cxnLst/>
                <a:rect l="l" t="t" r="r" b="b"/>
                <a:pathLst>
                  <a:path w="1332" h="1136" extrusionOk="0">
                    <a:moveTo>
                      <a:pt x="740" y="1"/>
                    </a:moveTo>
                    <a:cubicBezTo>
                      <a:pt x="223" y="1"/>
                      <a:pt x="1" y="592"/>
                      <a:pt x="334" y="962"/>
                    </a:cubicBezTo>
                    <a:cubicBezTo>
                      <a:pt x="454" y="1082"/>
                      <a:pt x="601" y="1136"/>
                      <a:pt x="746" y="1136"/>
                    </a:cubicBezTo>
                    <a:cubicBezTo>
                      <a:pt x="1046" y="1136"/>
                      <a:pt x="1332" y="904"/>
                      <a:pt x="1332" y="555"/>
                    </a:cubicBezTo>
                    <a:cubicBezTo>
                      <a:pt x="1295" y="259"/>
                      <a:pt x="1073" y="1"/>
                      <a:pt x="740"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 name="Google Shape;907;p53">
                <a:extLst>
                  <a:ext uri="{FF2B5EF4-FFF2-40B4-BE49-F238E27FC236}">
                    <a16:creationId xmlns:a16="http://schemas.microsoft.com/office/drawing/2014/main" id="{06BDE631-E222-4315-8AFA-286E69ED9273}"/>
                  </a:ext>
                </a:extLst>
              </p:cNvPr>
              <p:cNvSpPr/>
              <p:nvPr/>
            </p:nvSpPr>
            <p:spPr>
              <a:xfrm>
                <a:off x="6813234" y="3462745"/>
                <a:ext cx="22305" cy="19163"/>
              </a:xfrm>
              <a:custGeom>
                <a:avLst/>
                <a:gdLst/>
                <a:ahLst/>
                <a:cxnLst/>
                <a:rect l="l" t="t" r="r" b="b"/>
                <a:pathLst>
                  <a:path w="1221" h="1049" extrusionOk="0">
                    <a:moveTo>
                      <a:pt x="703" y="1"/>
                    </a:moveTo>
                    <a:cubicBezTo>
                      <a:pt x="223" y="1"/>
                      <a:pt x="1" y="592"/>
                      <a:pt x="333" y="888"/>
                    </a:cubicBezTo>
                    <a:cubicBezTo>
                      <a:pt x="444" y="999"/>
                      <a:pt x="580" y="1048"/>
                      <a:pt x="711" y="1048"/>
                    </a:cubicBezTo>
                    <a:cubicBezTo>
                      <a:pt x="974" y="1048"/>
                      <a:pt x="1221" y="851"/>
                      <a:pt x="1221" y="555"/>
                    </a:cubicBezTo>
                    <a:cubicBezTo>
                      <a:pt x="1221" y="260"/>
                      <a:pt x="999" y="1"/>
                      <a:pt x="703"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 name="Google Shape;908;p53">
                <a:extLst>
                  <a:ext uri="{FF2B5EF4-FFF2-40B4-BE49-F238E27FC236}">
                    <a16:creationId xmlns:a16="http://schemas.microsoft.com/office/drawing/2014/main" id="{BAB1A6E2-C26C-43AB-96B2-A2F2AD88E08F}"/>
                  </a:ext>
                </a:extLst>
              </p:cNvPr>
              <p:cNvSpPr/>
              <p:nvPr/>
            </p:nvSpPr>
            <p:spPr>
              <a:xfrm>
                <a:off x="6046035" y="3027138"/>
                <a:ext cx="91191" cy="1172445"/>
              </a:xfrm>
              <a:custGeom>
                <a:avLst/>
                <a:gdLst/>
                <a:ahLst/>
                <a:cxnLst/>
                <a:rect l="l" t="t" r="r" b="b"/>
                <a:pathLst>
                  <a:path w="4992" h="64182" extrusionOk="0">
                    <a:moveTo>
                      <a:pt x="370" y="1"/>
                    </a:moveTo>
                    <a:lnTo>
                      <a:pt x="0" y="61631"/>
                    </a:lnTo>
                    <a:cubicBezTo>
                      <a:pt x="0" y="61631"/>
                      <a:pt x="0" y="64182"/>
                      <a:pt x="2329" y="64182"/>
                    </a:cubicBezTo>
                    <a:cubicBezTo>
                      <a:pt x="3845" y="64182"/>
                      <a:pt x="4621" y="62296"/>
                      <a:pt x="4621" y="62296"/>
                    </a:cubicBezTo>
                    <a:lnTo>
                      <a:pt x="4991" y="1701"/>
                    </a:lnTo>
                    <a:lnTo>
                      <a:pt x="370"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 name="Google Shape;909;p53">
                <a:extLst>
                  <a:ext uri="{FF2B5EF4-FFF2-40B4-BE49-F238E27FC236}">
                    <a16:creationId xmlns:a16="http://schemas.microsoft.com/office/drawing/2014/main" id="{23B2EACC-7973-4958-8874-69DEF6C0B2C5}"/>
                  </a:ext>
                </a:extLst>
              </p:cNvPr>
              <p:cNvSpPr/>
              <p:nvPr/>
            </p:nvSpPr>
            <p:spPr>
              <a:xfrm>
                <a:off x="6591722" y="3228409"/>
                <a:ext cx="91191" cy="1172445"/>
              </a:xfrm>
              <a:custGeom>
                <a:avLst/>
                <a:gdLst/>
                <a:ahLst/>
                <a:cxnLst/>
                <a:rect l="l" t="t" r="r" b="b"/>
                <a:pathLst>
                  <a:path w="4992" h="64182" extrusionOk="0">
                    <a:moveTo>
                      <a:pt x="370" y="0"/>
                    </a:moveTo>
                    <a:lnTo>
                      <a:pt x="0" y="61630"/>
                    </a:lnTo>
                    <a:cubicBezTo>
                      <a:pt x="0" y="61630"/>
                      <a:pt x="0" y="64181"/>
                      <a:pt x="2329" y="64181"/>
                    </a:cubicBezTo>
                    <a:cubicBezTo>
                      <a:pt x="3845" y="64181"/>
                      <a:pt x="4622" y="62296"/>
                      <a:pt x="4622" y="62296"/>
                    </a:cubicBezTo>
                    <a:lnTo>
                      <a:pt x="4991" y="1701"/>
                    </a:lnTo>
                    <a:lnTo>
                      <a:pt x="370"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 name="Google Shape;910;p53">
                <a:extLst>
                  <a:ext uri="{FF2B5EF4-FFF2-40B4-BE49-F238E27FC236}">
                    <a16:creationId xmlns:a16="http://schemas.microsoft.com/office/drawing/2014/main" id="{03972AB7-25AB-4B49-AFDF-85CE889637AA}"/>
                  </a:ext>
                </a:extLst>
              </p:cNvPr>
              <p:cNvSpPr/>
              <p:nvPr/>
            </p:nvSpPr>
            <p:spPr>
              <a:xfrm>
                <a:off x="7842479" y="2709722"/>
                <a:ext cx="85802" cy="1131270"/>
              </a:xfrm>
              <a:custGeom>
                <a:avLst/>
                <a:gdLst/>
                <a:ahLst/>
                <a:cxnLst/>
                <a:rect l="l" t="t" r="r" b="b"/>
                <a:pathLst>
                  <a:path w="4697" h="61928" extrusionOk="0">
                    <a:moveTo>
                      <a:pt x="371" y="1"/>
                    </a:moveTo>
                    <a:lnTo>
                      <a:pt x="38" y="59486"/>
                    </a:lnTo>
                    <a:cubicBezTo>
                      <a:pt x="38" y="59486"/>
                      <a:pt x="1" y="61927"/>
                      <a:pt x="2182" y="61927"/>
                    </a:cubicBezTo>
                    <a:cubicBezTo>
                      <a:pt x="2196" y="61927"/>
                      <a:pt x="2211" y="61927"/>
                      <a:pt x="2225" y="61927"/>
                    </a:cubicBezTo>
                    <a:cubicBezTo>
                      <a:pt x="3639" y="61927"/>
                      <a:pt x="4363" y="60115"/>
                      <a:pt x="4363" y="60115"/>
                    </a:cubicBezTo>
                    <a:lnTo>
                      <a:pt x="4696" y="1627"/>
                    </a:lnTo>
                    <a:lnTo>
                      <a:pt x="371"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 name="Google Shape;911;p53">
                <a:extLst>
                  <a:ext uri="{FF2B5EF4-FFF2-40B4-BE49-F238E27FC236}">
                    <a16:creationId xmlns:a16="http://schemas.microsoft.com/office/drawing/2014/main" id="{B17A3278-B091-4A44-A935-540C40E55857}"/>
                  </a:ext>
                </a:extLst>
              </p:cNvPr>
              <p:cNvSpPr/>
              <p:nvPr/>
            </p:nvSpPr>
            <p:spPr>
              <a:xfrm>
                <a:off x="6007527" y="2709722"/>
                <a:ext cx="2563022" cy="506540"/>
              </a:xfrm>
              <a:custGeom>
                <a:avLst/>
                <a:gdLst/>
                <a:ahLst/>
                <a:cxnLst/>
                <a:rect l="l" t="t" r="r" b="b"/>
                <a:pathLst>
                  <a:path w="140305" h="27729" extrusionOk="0">
                    <a:moveTo>
                      <a:pt x="102335" y="1"/>
                    </a:moveTo>
                    <a:lnTo>
                      <a:pt x="1" y="14937"/>
                    </a:lnTo>
                    <a:lnTo>
                      <a:pt x="34679" y="27729"/>
                    </a:lnTo>
                    <a:lnTo>
                      <a:pt x="140304" y="6101"/>
                    </a:lnTo>
                    <a:lnTo>
                      <a:pt x="102335" y="1"/>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 name="Google Shape;912;p53">
                <a:extLst>
                  <a:ext uri="{FF2B5EF4-FFF2-40B4-BE49-F238E27FC236}">
                    <a16:creationId xmlns:a16="http://schemas.microsoft.com/office/drawing/2014/main" id="{EBDDB5C5-441A-4CA8-A5FB-42C6D4E22554}"/>
                  </a:ext>
                </a:extLst>
              </p:cNvPr>
              <p:cNvSpPr/>
              <p:nvPr/>
            </p:nvSpPr>
            <p:spPr>
              <a:xfrm>
                <a:off x="6006176" y="2982565"/>
                <a:ext cx="634869" cy="330276"/>
              </a:xfrm>
              <a:custGeom>
                <a:avLst/>
                <a:gdLst/>
                <a:ahLst/>
                <a:cxnLst/>
                <a:rect l="l" t="t" r="r" b="b"/>
                <a:pathLst>
                  <a:path w="34754" h="18080" extrusionOk="0">
                    <a:moveTo>
                      <a:pt x="75" y="1"/>
                    </a:moveTo>
                    <a:lnTo>
                      <a:pt x="1" y="3328"/>
                    </a:lnTo>
                    <a:lnTo>
                      <a:pt x="34642" y="18079"/>
                    </a:lnTo>
                    <a:lnTo>
                      <a:pt x="34753" y="12793"/>
                    </a:lnTo>
                    <a:lnTo>
                      <a:pt x="75"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 name="Google Shape;913;p53">
                <a:extLst>
                  <a:ext uri="{FF2B5EF4-FFF2-40B4-BE49-F238E27FC236}">
                    <a16:creationId xmlns:a16="http://schemas.microsoft.com/office/drawing/2014/main" id="{29FEF31A-7F1B-461D-8FC2-B57720136B01}"/>
                  </a:ext>
                </a:extLst>
              </p:cNvPr>
              <p:cNvSpPr/>
              <p:nvPr/>
            </p:nvSpPr>
            <p:spPr>
              <a:xfrm>
                <a:off x="6638998" y="2821154"/>
                <a:ext cx="1931551" cy="491688"/>
              </a:xfrm>
              <a:custGeom>
                <a:avLst/>
                <a:gdLst/>
                <a:ahLst/>
                <a:cxnLst/>
                <a:rect l="l" t="t" r="r" b="b"/>
                <a:pathLst>
                  <a:path w="105737" h="26916" extrusionOk="0">
                    <a:moveTo>
                      <a:pt x="105736" y="1"/>
                    </a:moveTo>
                    <a:lnTo>
                      <a:pt x="111" y="21629"/>
                    </a:lnTo>
                    <a:lnTo>
                      <a:pt x="0" y="26915"/>
                    </a:lnTo>
                    <a:lnTo>
                      <a:pt x="105699" y="3883"/>
                    </a:lnTo>
                    <a:lnTo>
                      <a:pt x="105736"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 name="Google Shape;914;p53">
                <a:extLst>
                  <a:ext uri="{FF2B5EF4-FFF2-40B4-BE49-F238E27FC236}">
                    <a16:creationId xmlns:a16="http://schemas.microsoft.com/office/drawing/2014/main" id="{99C7DE3D-270D-4F7A-BCEC-04F09A57B55A}"/>
                  </a:ext>
                </a:extLst>
              </p:cNvPr>
              <p:cNvSpPr/>
              <p:nvPr/>
            </p:nvSpPr>
            <p:spPr>
              <a:xfrm>
                <a:off x="6007527" y="2982565"/>
                <a:ext cx="633517" cy="269500"/>
              </a:xfrm>
              <a:custGeom>
                <a:avLst/>
                <a:gdLst/>
                <a:ahLst/>
                <a:cxnLst/>
                <a:rect l="l" t="t" r="r" b="b"/>
                <a:pathLst>
                  <a:path w="34680" h="14753" extrusionOk="0">
                    <a:moveTo>
                      <a:pt x="1" y="1"/>
                    </a:moveTo>
                    <a:lnTo>
                      <a:pt x="1" y="851"/>
                    </a:lnTo>
                    <a:lnTo>
                      <a:pt x="34642" y="14752"/>
                    </a:lnTo>
                    <a:lnTo>
                      <a:pt x="34679" y="12793"/>
                    </a:lnTo>
                    <a:lnTo>
                      <a:pt x="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 name="Google Shape;915;p53">
                <a:extLst>
                  <a:ext uri="{FF2B5EF4-FFF2-40B4-BE49-F238E27FC236}">
                    <a16:creationId xmlns:a16="http://schemas.microsoft.com/office/drawing/2014/main" id="{3FBEB31C-6AA9-4379-9630-EC640385C881}"/>
                  </a:ext>
                </a:extLst>
              </p:cNvPr>
              <p:cNvSpPr/>
              <p:nvPr/>
            </p:nvSpPr>
            <p:spPr>
              <a:xfrm>
                <a:off x="6640350" y="2821154"/>
                <a:ext cx="1930199" cy="430912"/>
              </a:xfrm>
              <a:custGeom>
                <a:avLst/>
                <a:gdLst/>
                <a:ahLst/>
                <a:cxnLst/>
                <a:rect l="l" t="t" r="r" b="b"/>
                <a:pathLst>
                  <a:path w="105663" h="23589" extrusionOk="0">
                    <a:moveTo>
                      <a:pt x="105662" y="1"/>
                    </a:moveTo>
                    <a:lnTo>
                      <a:pt x="37" y="21629"/>
                    </a:lnTo>
                    <a:lnTo>
                      <a:pt x="0" y="23588"/>
                    </a:lnTo>
                    <a:lnTo>
                      <a:pt x="105662" y="925"/>
                    </a:lnTo>
                    <a:lnTo>
                      <a:pt x="10566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 name="Google Shape;916;p53">
                <a:extLst>
                  <a:ext uri="{FF2B5EF4-FFF2-40B4-BE49-F238E27FC236}">
                    <a16:creationId xmlns:a16="http://schemas.microsoft.com/office/drawing/2014/main" id="{71B8115E-EC76-46CD-88F5-C8781187A079}"/>
                  </a:ext>
                </a:extLst>
              </p:cNvPr>
              <p:cNvSpPr/>
              <p:nvPr/>
            </p:nvSpPr>
            <p:spPr>
              <a:xfrm>
                <a:off x="6007527" y="2709722"/>
                <a:ext cx="2563697" cy="428190"/>
              </a:xfrm>
              <a:custGeom>
                <a:avLst/>
                <a:gdLst/>
                <a:ahLst/>
                <a:cxnLst/>
                <a:rect l="l" t="t" r="r" b="b"/>
                <a:pathLst>
                  <a:path w="140342" h="23440" extrusionOk="0">
                    <a:moveTo>
                      <a:pt x="102335" y="1"/>
                    </a:moveTo>
                    <a:lnTo>
                      <a:pt x="1" y="14937"/>
                    </a:lnTo>
                    <a:lnTo>
                      <a:pt x="23107" y="23440"/>
                    </a:lnTo>
                    <a:cubicBezTo>
                      <a:pt x="22959" y="23329"/>
                      <a:pt x="22812" y="23144"/>
                      <a:pt x="22701" y="22996"/>
                    </a:cubicBezTo>
                    <a:cubicBezTo>
                      <a:pt x="20224" y="19743"/>
                      <a:pt x="24143" y="17303"/>
                      <a:pt x="26878" y="16416"/>
                    </a:cubicBezTo>
                    <a:cubicBezTo>
                      <a:pt x="28764" y="15824"/>
                      <a:pt x="30686" y="15491"/>
                      <a:pt x="32609" y="15085"/>
                    </a:cubicBezTo>
                    <a:cubicBezTo>
                      <a:pt x="35862" y="14382"/>
                      <a:pt x="39153" y="13791"/>
                      <a:pt x="42443" y="13310"/>
                    </a:cubicBezTo>
                    <a:cubicBezTo>
                      <a:pt x="49726" y="12238"/>
                      <a:pt x="57083" y="11572"/>
                      <a:pt x="64367" y="10463"/>
                    </a:cubicBezTo>
                    <a:cubicBezTo>
                      <a:pt x="78933" y="8319"/>
                      <a:pt x="93056" y="3328"/>
                      <a:pt x="107918" y="3291"/>
                    </a:cubicBezTo>
                    <a:cubicBezTo>
                      <a:pt x="113981" y="3291"/>
                      <a:pt x="120007" y="4585"/>
                      <a:pt x="125516" y="7099"/>
                    </a:cubicBezTo>
                    <a:cubicBezTo>
                      <a:pt x="126514" y="7543"/>
                      <a:pt x="127512" y="8023"/>
                      <a:pt x="128511" y="8541"/>
                    </a:cubicBezTo>
                    <a:lnTo>
                      <a:pt x="140341" y="6101"/>
                    </a:lnTo>
                    <a:lnTo>
                      <a:pt x="102335"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 name="Google Shape;917;p53">
                <a:extLst>
                  <a:ext uri="{FF2B5EF4-FFF2-40B4-BE49-F238E27FC236}">
                    <a16:creationId xmlns:a16="http://schemas.microsoft.com/office/drawing/2014/main" id="{73D1F861-E2CE-4AF9-AAFF-AF20190BE6ED}"/>
                  </a:ext>
                </a:extLst>
              </p:cNvPr>
              <p:cNvSpPr/>
              <p:nvPr/>
            </p:nvSpPr>
            <p:spPr>
              <a:xfrm>
                <a:off x="6582259" y="2738091"/>
                <a:ext cx="736838" cy="237076"/>
              </a:xfrm>
              <a:custGeom>
                <a:avLst/>
                <a:gdLst/>
                <a:ahLst/>
                <a:cxnLst/>
                <a:rect l="l" t="t" r="r" b="b"/>
                <a:pathLst>
                  <a:path w="40336" h="12978" extrusionOk="0">
                    <a:moveTo>
                      <a:pt x="31315" y="0"/>
                    </a:moveTo>
                    <a:lnTo>
                      <a:pt x="38" y="4363"/>
                    </a:lnTo>
                    <a:lnTo>
                      <a:pt x="1" y="12977"/>
                    </a:lnTo>
                    <a:lnTo>
                      <a:pt x="40336" y="6396"/>
                    </a:lnTo>
                    <a:lnTo>
                      <a:pt x="31315" y="0"/>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 name="Google Shape;918;p53">
                <a:extLst>
                  <a:ext uri="{FF2B5EF4-FFF2-40B4-BE49-F238E27FC236}">
                    <a16:creationId xmlns:a16="http://schemas.microsoft.com/office/drawing/2014/main" id="{DFD324C3-1A93-4649-8136-73CD5D00688C}"/>
                  </a:ext>
                </a:extLst>
              </p:cNvPr>
              <p:cNvSpPr/>
              <p:nvPr/>
            </p:nvSpPr>
            <p:spPr>
              <a:xfrm>
                <a:off x="6582259" y="2940020"/>
                <a:ext cx="532881" cy="210734"/>
              </a:xfrm>
              <a:custGeom>
                <a:avLst/>
                <a:gdLst/>
                <a:ahLst/>
                <a:cxnLst/>
                <a:rect l="l" t="t" r="r" b="b"/>
                <a:pathLst>
                  <a:path w="29171" h="11536" extrusionOk="0">
                    <a:moveTo>
                      <a:pt x="11757" y="1"/>
                    </a:moveTo>
                    <a:lnTo>
                      <a:pt x="1" y="1664"/>
                    </a:lnTo>
                    <a:lnTo>
                      <a:pt x="14308" y="11535"/>
                    </a:lnTo>
                    <a:lnTo>
                      <a:pt x="29171" y="8430"/>
                    </a:lnTo>
                    <a:lnTo>
                      <a:pt x="11757"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 name="Google Shape;919;p53">
                <a:extLst>
                  <a:ext uri="{FF2B5EF4-FFF2-40B4-BE49-F238E27FC236}">
                    <a16:creationId xmlns:a16="http://schemas.microsoft.com/office/drawing/2014/main" id="{EE016043-EF0F-4537-9BDE-64896ADBA6E8}"/>
                  </a:ext>
                </a:extLst>
              </p:cNvPr>
              <p:cNvSpPr/>
              <p:nvPr/>
            </p:nvSpPr>
            <p:spPr>
              <a:xfrm>
                <a:off x="6575519" y="2667853"/>
                <a:ext cx="1391253" cy="482901"/>
              </a:xfrm>
              <a:custGeom>
                <a:avLst/>
                <a:gdLst/>
                <a:ahLst/>
                <a:cxnLst/>
                <a:rect l="l" t="t" r="r" b="b"/>
                <a:pathLst>
                  <a:path w="76160" h="26435" extrusionOk="0">
                    <a:moveTo>
                      <a:pt x="59560" y="0"/>
                    </a:moveTo>
                    <a:lnTo>
                      <a:pt x="407" y="7727"/>
                    </a:lnTo>
                    <a:lnTo>
                      <a:pt x="0" y="9391"/>
                    </a:lnTo>
                    <a:lnTo>
                      <a:pt x="14677" y="26434"/>
                    </a:lnTo>
                    <a:lnTo>
                      <a:pt x="76123" y="13680"/>
                    </a:lnTo>
                    <a:lnTo>
                      <a:pt x="76160" y="12275"/>
                    </a:lnTo>
                    <a:lnTo>
                      <a:pt x="59560" y="0"/>
                    </a:lnTo>
                    <a:close/>
                  </a:path>
                </a:pathLst>
              </a:custGeom>
              <a:solidFill>
                <a:srgbClr val="3FC1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 name="Google Shape;920;p53">
                <a:extLst>
                  <a:ext uri="{FF2B5EF4-FFF2-40B4-BE49-F238E27FC236}">
                    <a16:creationId xmlns:a16="http://schemas.microsoft.com/office/drawing/2014/main" id="{AED91FA1-5735-4193-AA23-30DB69E079EE}"/>
                  </a:ext>
                </a:extLst>
              </p:cNvPr>
              <p:cNvSpPr/>
              <p:nvPr/>
            </p:nvSpPr>
            <p:spPr>
              <a:xfrm>
                <a:off x="6582935" y="2652326"/>
                <a:ext cx="1383836" cy="467356"/>
              </a:xfrm>
              <a:custGeom>
                <a:avLst/>
                <a:gdLst/>
                <a:ahLst/>
                <a:cxnLst/>
                <a:rect l="l" t="t" r="r" b="b"/>
                <a:pathLst>
                  <a:path w="75754" h="25584" extrusionOk="0">
                    <a:moveTo>
                      <a:pt x="59708" y="0"/>
                    </a:moveTo>
                    <a:lnTo>
                      <a:pt x="1" y="8577"/>
                    </a:lnTo>
                    <a:lnTo>
                      <a:pt x="14715" y="25584"/>
                    </a:lnTo>
                    <a:lnTo>
                      <a:pt x="75754" y="13125"/>
                    </a:lnTo>
                    <a:lnTo>
                      <a:pt x="5970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 name="Google Shape;921;p53">
                <a:extLst>
                  <a:ext uri="{FF2B5EF4-FFF2-40B4-BE49-F238E27FC236}">
                    <a16:creationId xmlns:a16="http://schemas.microsoft.com/office/drawing/2014/main" id="{9811ABCD-1E22-42A1-9462-156111C90E89}"/>
                  </a:ext>
                </a:extLst>
              </p:cNvPr>
              <p:cNvSpPr/>
              <p:nvPr/>
            </p:nvSpPr>
            <p:spPr>
              <a:xfrm>
                <a:off x="6646415" y="2816423"/>
                <a:ext cx="415366" cy="264093"/>
              </a:xfrm>
              <a:custGeom>
                <a:avLst/>
                <a:gdLst/>
                <a:ahLst/>
                <a:cxnLst/>
                <a:rect l="l" t="t" r="r" b="b"/>
                <a:pathLst>
                  <a:path w="22738" h="14457" fill="none" extrusionOk="0">
                    <a:moveTo>
                      <a:pt x="1" y="1"/>
                    </a:moveTo>
                    <a:lnTo>
                      <a:pt x="11758" y="13865"/>
                    </a:lnTo>
                    <a:lnTo>
                      <a:pt x="15455" y="14456"/>
                    </a:lnTo>
                    <a:lnTo>
                      <a:pt x="22738" y="1312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 name="Google Shape;922;p53">
                <a:extLst>
                  <a:ext uri="{FF2B5EF4-FFF2-40B4-BE49-F238E27FC236}">
                    <a16:creationId xmlns:a16="http://schemas.microsoft.com/office/drawing/2014/main" id="{427BF932-C164-468B-9311-3F5B5C544D89}"/>
                  </a:ext>
                </a:extLst>
              </p:cNvPr>
              <p:cNvSpPr/>
              <p:nvPr/>
            </p:nvSpPr>
            <p:spPr>
              <a:xfrm>
                <a:off x="6705181" y="2802247"/>
                <a:ext cx="15546" cy="49322"/>
              </a:xfrm>
              <a:custGeom>
                <a:avLst/>
                <a:gdLst/>
                <a:ahLst/>
                <a:cxnLst/>
                <a:rect l="l" t="t" r="r" b="b"/>
                <a:pathLst>
                  <a:path w="851" h="2700" fill="none" extrusionOk="0">
                    <a:moveTo>
                      <a:pt x="851" y="1"/>
                    </a:moveTo>
                    <a:lnTo>
                      <a:pt x="0" y="269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 name="Google Shape;923;p53">
                <a:extLst>
                  <a:ext uri="{FF2B5EF4-FFF2-40B4-BE49-F238E27FC236}">
                    <a16:creationId xmlns:a16="http://schemas.microsoft.com/office/drawing/2014/main" id="{8ED0B4EA-09A1-44B2-A2D0-84A2C11DA206}"/>
                  </a:ext>
                </a:extLst>
              </p:cNvPr>
              <p:cNvSpPr/>
              <p:nvPr/>
            </p:nvSpPr>
            <p:spPr>
              <a:xfrm>
                <a:off x="6722736" y="2807654"/>
                <a:ext cx="15546" cy="49322"/>
              </a:xfrm>
              <a:custGeom>
                <a:avLst/>
                <a:gdLst/>
                <a:ahLst/>
                <a:cxnLst/>
                <a:rect l="l" t="t" r="r" b="b"/>
                <a:pathLst>
                  <a:path w="851" h="2700" fill="none" extrusionOk="0">
                    <a:moveTo>
                      <a:pt x="851" y="0"/>
                    </a:moveTo>
                    <a:lnTo>
                      <a:pt x="1" y="269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 name="Google Shape;924;p53">
                <a:extLst>
                  <a:ext uri="{FF2B5EF4-FFF2-40B4-BE49-F238E27FC236}">
                    <a16:creationId xmlns:a16="http://schemas.microsoft.com/office/drawing/2014/main" id="{9D4216D3-6039-44BB-BCA0-F06FDC6BC032}"/>
                  </a:ext>
                </a:extLst>
              </p:cNvPr>
              <p:cNvSpPr/>
              <p:nvPr/>
            </p:nvSpPr>
            <p:spPr>
              <a:xfrm>
                <a:off x="7825600" y="2836024"/>
                <a:ext cx="16222" cy="49304"/>
              </a:xfrm>
              <a:custGeom>
                <a:avLst/>
                <a:gdLst/>
                <a:ahLst/>
                <a:cxnLst/>
                <a:rect l="l" t="t" r="r" b="b"/>
                <a:pathLst>
                  <a:path w="888" h="2699" fill="none" extrusionOk="0">
                    <a:moveTo>
                      <a:pt x="888" y="0"/>
                    </a:moveTo>
                    <a:lnTo>
                      <a:pt x="1" y="269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 name="Google Shape;925;p53">
                <a:extLst>
                  <a:ext uri="{FF2B5EF4-FFF2-40B4-BE49-F238E27FC236}">
                    <a16:creationId xmlns:a16="http://schemas.microsoft.com/office/drawing/2014/main" id="{1CA276DA-288B-4307-B271-CB5AE35C012F}"/>
                  </a:ext>
                </a:extLst>
              </p:cNvPr>
              <p:cNvSpPr/>
              <p:nvPr/>
            </p:nvSpPr>
            <p:spPr>
              <a:xfrm>
                <a:off x="7843155" y="2840737"/>
                <a:ext cx="16240" cy="49322"/>
              </a:xfrm>
              <a:custGeom>
                <a:avLst/>
                <a:gdLst/>
                <a:ahLst/>
                <a:cxnLst/>
                <a:rect l="l" t="t" r="r" b="b"/>
                <a:pathLst>
                  <a:path w="889" h="2700" fill="none" extrusionOk="0">
                    <a:moveTo>
                      <a:pt x="888" y="1"/>
                    </a:moveTo>
                    <a:lnTo>
                      <a:pt x="1" y="270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 name="Google Shape;926;p53">
                <a:extLst>
                  <a:ext uri="{FF2B5EF4-FFF2-40B4-BE49-F238E27FC236}">
                    <a16:creationId xmlns:a16="http://schemas.microsoft.com/office/drawing/2014/main" id="{1519071E-A9D3-408D-A4F8-5BF515F9A74C}"/>
                  </a:ext>
                </a:extLst>
              </p:cNvPr>
              <p:cNvSpPr/>
              <p:nvPr/>
            </p:nvSpPr>
            <p:spPr>
              <a:xfrm>
                <a:off x="7598681" y="2673260"/>
                <a:ext cx="295824" cy="184392"/>
              </a:xfrm>
              <a:custGeom>
                <a:avLst/>
                <a:gdLst/>
                <a:ahLst/>
                <a:cxnLst/>
                <a:rect l="l" t="t" r="r" b="b"/>
                <a:pathLst>
                  <a:path w="16194" h="10094" fill="none" extrusionOk="0">
                    <a:moveTo>
                      <a:pt x="1" y="444"/>
                    </a:moveTo>
                    <a:lnTo>
                      <a:pt x="2404" y="0"/>
                    </a:lnTo>
                    <a:lnTo>
                      <a:pt x="4511" y="592"/>
                    </a:lnTo>
                    <a:lnTo>
                      <a:pt x="16194" y="1009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 name="Google Shape;927;p53">
                <a:extLst>
                  <a:ext uri="{FF2B5EF4-FFF2-40B4-BE49-F238E27FC236}">
                    <a16:creationId xmlns:a16="http://schemas.microsoft.com/office/drawing/2014/main" id="{8690F51C-347A-405A-A945-9A19DC7AA133}"/>
                  </a:ext>
                </a:extLst>
              </p:cNvPr>
              <p:cNvSpPr/>
              <p:nvPr/>
            </p:nvSpPr>
            <p:spPr>
              <a:xfrm>
                <a:off x="7480491" y="2675288"/>
                <a:ext cx="148606" cy="76998"/>
              </a:xfrm>
              <a:custGeom>
                <a:avLst/>
                <a:gdLst/>
                <a:ahLst/>
                <a:cxnLst/>
                <a:rect l="l" t="t" r="r" b="b"/>
                <a:pathLst>
                  <a:path w="8135" h="4215" fill="none" extrusionOk="0">
                    <a:moveTo>
                      <a:pt x="925" y="0"/>
                    </a:moveTo>
                    <a:cubicBezTo>
                      <a:pt x="629" y="629"/>
                      <a:pt x="1" y="1220"/>
                      <a:pt x="1295" y="1553"/>
                    </a:cubicBezTo>
                    <a:cubicBezTo>
                      <a:pt x="2219" y="1775"/>
                      <a:pt x="3402" y="1553"/>
                      <a:pt x="4400" y="1553"/>
                    </a:cubicBezTo>
                    <a:cubicBezTo>
                      <a:pt x="5472" y="1516"/>
                      <a:pt x="5953" y="1812"/>
                      <a:pt x="6249" y="2477"/>
                    </a:cubicBezTo>
                    <a:cubicBezTo>
                      <a:pt x="6508" y="3032"/>
                      <a:pt x="6803" y="4215"/>
                      <a:pt x="8134" y="4030"/>
                    </a:cubicBez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 name="Google Shape;928;p53">
                <a:extLst>
                  <a:ext uri="{FF2B5EF4-FFF2-40B4-BE49-F238E27FC236}">
                    <a16:creationId xmlns:a16="http://schemas.microsoft.com/office/drawing/2014/main" id="{690E2BF6-951A-4133-B312-AEAF0F3AD210}"/>
                  </a:ext>
                </a:extLst>
              </p:cNvPr>
              <p:cNvSpPr/>
              <p:nvPr/>
            </p:nvSpPr>
            <p:spPr>
              <a:xfrm>
                <a:off x="7576395" y="2734237"/>
                <a:ext cx="197892" cy="131983"/>
              </a:xfrm>
              <a:custGeom>
                <a:avLst/>
                <a:gdLst/>
                <a:ahLst/>
                <a:cxnLst/>
                <a:rect l="l" t="t" r="r" b="b"/>
                <a:pathLst>
                  <a:path w="10833" h="7225" extrusionOk="0">
                    <a:moveTo>
                      <a:pt x="4689" y="1"/>
                    </a:moveTo>
                    <a:cubicBezTo>
                      <a:pt x="3957" y="1"/>
                      <a:pt x="3291" y="272"/>
                      <a:pt x="2108" y="803"/>
                    </a:cubicBezTo>
                    <a:cubicBezTo>
                      <a:pt x="1" y="1764"/>
                      <a:pt x="814" y="3724"/>
                      <a:pt x="1442" y="4352"/>
                    </a:cubicBezTo>
                    <a:cubicBezTo>
                      <a:pt x="1602" y="4497"/>
                      <a:pt x="1636" y="4528"/>
                      <a:pt x="1686" y="4528"/>
                    </a:cubicBezTo>
                    <a:cubicBezTo>
                      <a:pt x="1724" y="4528"/>
                      <a:pt x="1770" y="4511"/>
                      <a:pt x="1886" y="4511"/>
                    </a:cubicBezTo>
                    <a:cubicBezTo>
                      <a:pt x="2008" y="4511"/>
                      <a:pt x="2206" y="4530"/>
                      <a:pt x="2551" y="4611"/>
                    </a:cubicBezTo>
                    <a:cubicBezTo>
                      <a:pt x="3661" y="4833"/>
                      <a:pt x="3845" y="5239"/>
                      <a:pt x="4622" y="6275"/>
                    </a:cubicBezTo>
                    <a:cubicBezTo>
                      <a:pt x="5091" y="6878"/>
                      <a:pt x="6047" y="7225"/>
                      <a:pt x="7114" y="7225"/>
                    </a:cubicBezTo>
                    <a:cubicBezTo>
                      <a:pt x="7812" y="7225"/>
                      <a:pt x="8556" y="7077"/>
                      <a:pt x="9243" y="6755"/>
                    </a:cubicBezTo>
                    <a:cubicBezTo>
                      <a:pt x="10500" y="6164"/>
                      <a:pt x="10833" y="4944"/>
                      <a:pt x="10833" y="3945"/>
                    </a:cubicBezTo>
                    <a:cubicBezTo>
                      <a:pt x="10796" y="2910"/>
                      <a:pt x="9428" y="1505"/>
                      <a:pt x="6914" y="544"/>
                    </a:cubicBezTo>
                    <a:cubicBezTo>
                      <a:pt x="5920" y="180"/>
                      <a:pt x="5283" y="1"/>
                      <a:pt x="4689"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 name="Google Shape;929;p53">
                <a:extLst>
                  <a:ext uri="{FF2B5EF4-FFF2-40B4-BE49-F238E27FC236}">
                    <a16:creationId xmlns:a16="http://schemas.microsoft.com/office/drawing/2014/main" id="{1B344120-14E8-40CA-8A71-33EF60828B79}"/>
                  </a:ext>
                </a:extLst>
              </p:cNvPr>
              <p:cNvSpPr/>
              <p:nvPr/>
            </p:nvSpPr>
            <p:spPr>
              <a:xfrm>
                <a:off x="7614209" y="2736941"/>
                <a:ext cx="107413" cy="62694"/>
              </a:xfrm>
              <a:custGeom>
                <a:avLst/>
                <a:gdLst/>
                <a:ahLst/>
                <a:cxnLst/>
                <a:rect l="l" t="t" r="r" b="b"/>
                <a:pathLst>
                  <a:path w="5880" h="3432" extrusionOk="0">
                    <a:moveTo>
                      <a:pt x="1496" y="1"/>
                    </a:moveTo>
                    <a:cubicBezTo>
                      <a:pt x="1254" y="1"/>
                      <a:pt x="1008" y="59"/>
                      <a:pt x="777" y="174"/>
                    </a:cubicBezTo>
                    <a:cubicBezTo>
                      <a:pt x="629" y="211"/>
                      <a:pt x="1" y="544"/>
                      <a:pt x="38" y="618"/>
                    </a:cubicBezTo>
                    <a:cubicBezTo>
                      <a:pt x="518" y="1394"/>
                      <a:pt x="3254" y="3021"/>
                      <a:pt x="3254" y="3021"/>
                    </a:cubicBezTo>
                    <a:cubicBezTo>
                      <a:pt x="3654" y="3305"/>
                      <a:pt x="4095" y="3431"/>
                      <a:pt x="4499" y="3431"/>
                    </a:cubicBezTo>
                    <a:cubicBezTo>
                      <a:pt x="5253" y="3431"/>
                      <a:pt x="5879" y="2992"/>
                      <a:pt x="5879" y="2319"/>
                    </a:cubicBezTo>
                    <a:cubicBezTo>
                      <a:pt x="5879" y="1334"/>
                      <a:pt x="2429" y="63"/>
                      <a:pt x="1942" y="63"/>
                    </a:cubicBezTo>
                    <a:cubicBezTo>
                      <a:pt x="1935" y="63"/>
                      <a:pt x="1929" y="63"/>
                      <a:pt x="1923" y="63"/>
                    </a:cubicBezTo>
                    <a:cubicBezTo>
                      <a:pt x="1785" y="22"/>
                      <a:pt x="1641" y="1"/>
                      <a:pt x="149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 name="Google Shape;930;p53">
                <a:extLst>
                  <a:ext uri="{FF2B5EF4-FFF2-40B4-BE49-F238E27FC236}">
                    <a16:creationId xmlns:a16="http://schemas.microsoft.com/office/drawing/2014/main" id="{0C46B415-5839-41D2-9AC5-0E218089272B}"/>
                  </a:ext>
                </a:extLst>
              </p:cNvPr>
              <p:cNvSpPr/>
              <p:nvPr/>
            </p:nvSpPr>
            <p:spPr>
              <a:xfrm>
                <a:off x="7591922" y="2772197"/>
                <a:ext cx="181013" cy="97603"/>
              </a:xfrm>
              <a:custGeom>
                <a:avLst/>
                <a:gdLst/>
                <a:ahLst/>
                <a:cxnLst/>
                <a:rect l="l" t="t" r="r" b="b"/>
                <a:pathLst>
                  <a:path w="9909" h="5343" extrusionOk="0">
                    <a:moveTo>
                      <a:pt x="812" y="1"/>
                    </a:moveTo>
                    <a:cubicBezTo>
                      <a:pt x="641" y="1"/>
                      <a:pt x="488" y="69"/>
                      <a:pt x="371" y="241"/>
                    </a:cubicBezTo>
                    <a:cubicBezTo>
                      <a:pt x="1" y="943"/>
                      <a:pt x="112" y="1793"/>
                      <a:pt x="666" y="2385"/>
                    </a:cubicBezTo>
                    <a:cubicBezTo>
                      <a:pt x="999" y="2718"/>
                      <a:pt x="1997" y="3013"/>
                      <a:pt x="2441" y="3272"/>
                    </a:cubicBezTo>
                    <a:cubicBezTo>
                      <a:pt x="3069" y="3605"/>
                      <a:pt x="3402" y="4307"/>
                      <a:pt x="4031" y="4714"/>
                    </a:cubicBezTo>
                    <a:cubicBezTo>
                      <a:pt x="4696" y="5121"/>
                      <a:pt x="5436" y="5306"/>
                      <a:pt x="6212" y="5343"/>
                    </a:cubicBezTo>
                    <a:cubicBezTo>
                      <a:pt x="7136" y="5343"/>
                      <a:pt x="9613" y="4751"/>
                      <a:pt x="9909" y="2755"/>
                    </a:cubicBezTo>
                    <a:lnTo>
                      <a:pt x="9909" y="2755"/>
                    </a:lnTo>
                    <a:cubicBezTo>
                      <a:pt x="9027" y="3931"/>
                      <a:pt x="8116" y="4327"/>
                      <a:pt x="7253" y="4327"/>
                    </a:cubicBezTo>
                    <a:cubicBezTo>
                      <a:pt x="7139" y="4327"/>
                      <a:pt x="7026" y="4320"/>
                      <a:pt x="6914" y="4307"/>
                    </a:cubicBezTo>
                    <a:cubicBezTo>
                      <a:pt x="4881" y="4123"/>
                      <a:pt x="3772" y="1978"/>
                      <a:pt x="2330" y="869"/>
                    </a:cubicBezTo>
                    <a:cubicBezTo>
                      <a:pt x="2023" y="646"/>
                      <a:pt x="1336" y="1"/>
                      <a:pt x="81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 name="Google Shape;931;p53">
                <a:extLst>
                  <a:ext uri="{FF2B5EF4-FFF2-40B4-BE49-F238E27FC236}">
                    <a16:creationId xmlns:a16="http://schemas.microsoft.com/office/drawing/2014/main" id="{95B0F0DF-A137-4434-BBEE-084A431D61C0}"/>
                  </a:ext>
                </a:extLst>
              </p:cNvPr>
              <p:cNvSpPr/>
              <p:nvPr/>
            </p:nvSpPr>
            <p:spPr>
              <a:xfrm>
                <a:off x="7635143" y="2741380"/>
                <a:ext cx="39878" cy="20624"/>
              </a:xfrm>
              <a:custGeom>
                <a:avLst/>
                <a:gdLst/>
                <a:ahLst/>
                <a:cxnLst/>
                <a:rect l="l" t="t" r="r" b="b"/>
                <a:pathLst>
                  <a:path w="2183" h="1129" extrusionOk="0">
                    <a:moveTo>
                      <a:pt x="453" y="0"/>
                    </a:moveTo>
                    <a:cubicBezTo>
                      <a:pt x="229" y="0"/>
                      <a:pt x="68" y="172"/>
                      <a:pt x="1" y="375"/>
                    </a:cubicBezTo>
                    <a:cubicBezTo>
                      <a:pt x="519" y="671"/>
                      <a:pt x="999" y="929"/>
                      <a:pt x="1554" y="1114"/>
                    </a:cubicBezTo>
                    <a:cubicBezTo>
                      <a:pt x="1652" y="1114"/>
                      <a:pt x="1729" y="1129"/>
                      <a:pt x="1797" y="1129"/>
                    </a:cubicBezTo>
                    <a:cubicBezTo>
                      <a:pt x="1881" y="1129"/>
                      <a:pt x="1952" y="1106"/>
                      <a:pt x="2034" y="1003"/>
                    </a:cubicBezTo>
                    <a:cubicBezTo>
                      <a:pt x="2182" y="856"/>
                      <a:pt x="2034" y="671"/>
                      <a:pt x="1739" y="449"/>
                    </a:cubicBezTo>
                    <a:cubicBezTo>
                      <a:pt x="1406" y="190"/>
                      <a:pt x="962" y="5"/>
                      <a:pt x="519" y="5"/>
                    </a:cubicBezTo>
                    <a:cubicBezTo>
                      <a:pt x="496" y="2"/>
                      <a:pt x="474" y="0"/>
                      <a:pt x="45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 name="Google Shape;932;p53">
                <a:extLst>
                  <a:ext uri="{FF2B5EF4-FFF2-40B4-BE49-F238E27FC236}">
                    <a16:creationId xmlns:a16="http://schemas.microsoft.com/office/drawing/2014/main" id="{5455E6CF-42F8-4C13-8756-7E9357B96871}"/>
                  </a:ext>
                </a:extLst>
              </p:cNvPr>
              <p:cNvSpPr/>
              <p:nvPr/>
            </p:nvSpPr>
            <p:spPr>
              <a:xfrm>
                <a:off x="7385262" y="2794136"/>
                <a:ext cx="54729" cy="29739"/>
              </a:xfrm>
              <a:custGeom>
                <a:avLst/>
                <a:gdLst/>
                <a:ahLst/>
                <a:cxnLst/>
                <a:rect l="l" t="t" r="r" b="b"/>
                <a:pathLst>
                  <a:path w="2996" h="1628" extrusionOk="0">
                    <a:moveTo>
                      <a:pt x="1812" y="1"/>
                    </a:moveTo>
                    <a:lnTo>
                      <a:pt x="1" y="297"/>
                    </a:lnTo>
                    <a:lnTo>
                      <a:pt x="1221" y="1628"/>
                    </a:lnTo>
                    <a:lnTo>
                      <a:pt x="2995" y="1295"/>
                    </a:lnTo>
                    <a:lnTo>
                      <a:pt x="1812"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 name="Google Shape;933;p53">
                <a:extLst>
                  <a:ext uri="{FF2B5EF4-FFF2-40B4-BE49-F238E27FC236}">
                    <a16:creationId xmlns:a16="http://schemas.microsoft.com/office/drawing/2014/main" id="{8CE1C48E-19DD-42EE-AAB0-903B105CB2F8}"/>
                  </a:ext>
                </a:extLst>
              </p:cNvPr>
              <p:cNvSpPr/>
              <p:nvPr/>
            </p:nvSpPr>
            <p:spPr>
              <a:xfrm>
                <a:off x="7364328" y="2770498"/>
                <a:ext cx="48646" cy="22981"/>
              </a:xfrm>
              <a:custGeom>
                <a:avLst/>
                <a:gdLst/>
                <a:ahLst/>
                <a:cxnLst/>
                <a:rect l="l" t="t" r="r" b="b"/>
                <a:pathLst>
                  <a:path w="2663" h="1258" extrusionOk="0">
                    <a:moveTo>
                      <a:pt x="1812" y="1"/>
                    </a:moveTo>
                    <a:lnTo>
                      <a:pt x="1" y="297"/>
                    </a:lnTo>
                    <a:lnTo>
                      <a:pt x="851" y="1258"/>
                    </a:lnTo>
                    <a:lnTo>
                      <a:pt x="2663" y="962"/>
                    </a:lnTo>
                    <a:lnTo>
                      <a:pt x="1812"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 name="Google Shape;934;p53">
                <a:extLst>
                  <a:ext uri="{FF2B5EF4-FFF2-40B4-BE49-F238E27FC236}">
                    <a16:creationId xmlns:a16="http://schemas.microsoft.com/office/drawing/2014/main" id="{19C4A55F-92B5-458C-A8EC-E2670879957B}"/>
                  </a:ext>
                </a:extLst>
              </p:cNvPr>
              <p:cNvSpPr/>
              <p:nvPr/>
            </p:nvSpPr>
            <p:spPr>
              <a:xfrm>
                <a:off x="7118502" y="2811034"/>
                <a:ext cx="46619" cy="24332"/>
              </a:xfrm>
              <a:custGeom>
                <a:avLst/>
                <a:gdLst/>
                <a:ahLst/>
                <a:cxnLst/>
                <a:rect l="l" t="t" r="r" b="b"/>
                <a:pathLst>
                  <a:path w="2552" h="1332" extrusionOk="0">
                    <a:moveTo>
                      <a:pt x="1590" y="0"/>
                    </a:moveTo>
                    <a:lnTo>
                      <a:pt x="0" y="222"/>
                    </a:lnTo>
                    <a:lnTo>
                      <a:pt x="999" y="1331"/>
                    </a:lnTo>
                    <a:lnTo>
                      <a:pt x="2551" y="1072"/>
                    </a:lnTo>
                    <a:lnTo>
                      <a:pt x="1590"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 name="Google Shape;935;p53">
                <a:extLst>
                  <a:ext uri="{FF2B5EF4-FFF2-40B4-BE49-F238E27FC236}">
                    <a16:creationId xmlns:a16="http://schemas.microsoft.com/office/drawing/2014/main" id="{92D21055-DE97-4345-8D72-C5137FC2301D}"/>
                  </a:ext>
                </a:extLst>
              </p:cNvPr>
              <p:cNvSpPr/>
              <p:nvPr/>
            </p:nvSpPr>
            <p:spPr>
              <a:xfrm>
                <a:off x="7425122" y="2787395"/>
                <a:ext cx="52683" cy="29045"/>
              </a:xfrm>
              <a:custGeom>
                <a:avLst/>
                <a:gdLst/>
                <a:ahLst/>
                <a:cxnLst/>
                <a:rect l="l" t="t" r="r" b="b"/>
                <a:pathLst>
                  <a:path w="2884" h="1590" extrusionOk="0">
                    <a:moveTo>
                      <a:pt x="1738" y="0"/>
                    </a:moveTo>
                    <a:lnTo>
                      <a:pt x="0" y="296"/>
                    </a:lnTo>
                    <a:lnTo>
                      <a:pt x="1183" y="1590"/>
                    </a:lnTo>
                    <a:lnTo>
                      <a:pt x="2884" y="1257"/>
                    </a:lnTo>
                    <a:lnTo>
                      <a:pt x="173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 name="Google Shape;936;p53">
                <a:extLst>
                  <a:ext uri="{FF2B5EF4-FFF2-40B4-BE49-F238E27FC236}">
                    <a16:creationId xmlns:a16="http://schemas.microsoft.com/office/drawing/2014/main" id="{05A2F728-D0AD-464E-B8D8-1848620307F3}"/>
                  </a:ext>
                </a:extLst>
              </p:cNvPr>
              <p:cNvSpPr/>
              <p:nvPr/>
            </p:nvSpPr>
            <p:spPr>
              <a:xfrm>
                <a:off x="7404169" y="2764433"/>
                <a:ext cx="47295" cy="22305"/>
              </a:xfrm>
              <a:custGeom>
                <a:avLst/>
                <a:gdLst/>
                <a:ahLst/>
                <a:cxnLst/>
                <a:rect l="l" t="t" r="r" b="b"/>
                <a:pathLst>
                  <a:path w="2589" h="1221" extrusionOk="0">
                    <a:moveTo>
                      <a:pt x="1739" y="0"/>
                    </a:moveTo>
                    <a:lnTo>
                      <a:pt x="1" y="296"/>
                    </a:lnTo>
                    <a:lnTo>
                      <a:pt x="851" y="1220"/>
                    </a:lnTo>
                    <a:lnTo>
                      <a:pt x="2589" y="924"/>
                    </a:lnTo>
                    <a:lnTo>
                      <a:pt x="1739"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 name="Google Shape;937;p53">
                <a:extLst>
                  <a:ext uri="{FF2B5EF4-FFF2-40B4-BE49-F238E27FC236}">
                    <a16:creationId xmlns:a16="http://schemas.microsoft.com/office/drawing/2014/main" id="{AAEA607E-A600-4A4E-87E6-AA43B9514A02}"/>
                  </a:ext>
                </a:extLst>
              </p:cNvPr>
              <p:cNvSpPr/>
              <p:nvPr/>
            </p:nvSpPr>
            <p:spPr>
              <a:xfrm>
                <a:off x="7290710" y="2783340"/>
                <a:ext cx="45267" cy="22981"/>
              </a:xfrm>
              <a:custGeom>
                <a:avLst/>
                <a:gdLst/>
                <a:ahLst/>
                <a:cxnLst/>
                <a:rect l="l" t="t" r="r" b="b"/>
                <a:pathLst>
                  <a:path w="2478" h="1258" extrusionOk="0">
                    <a:moveTo>
                      <a:pt x="1591" y="0"/>
                    </a:moveTo>
                    <a:lnTo>
                      <a:pt x="1" y="222"/>
                    </a:lnTo>
                    <a:lnTo>
                      <a:pt x="925" y="1257"/>
                    </a:lnTo>
                    <a:lnTo>
                      <a:pt x="2478" y="962"/>
                    </a:lnTo>
                    <a:lnTo>
                      <a:pt x="1591"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 name="Google Shape;938;p53">
                <a:extLst>
                  <a:ext uri="{FF2B5EF4-FFF2-40B4-BE49-F238E27FC236}">
                    <a16:creationId xmlns:a16="http://schemas.microsoft.com/office/drawing/2014/main" id="{F2287F72-4A8D-4A2C-AC86-3111D4F6AC71}"/>
                  </a:ext>
                </a:extLst>
              </p:cNvPr>
              <p:cNvSpPr/>
              <p:nvPr/>
            </p:nvSpPr>
            <p:spPr>
              <a:xfrm>
                <a:off x="7153612" y="2803599"/>
                <a:ext cx="54729" cy="25684"/>
              </a:xfrm>
              <a:custGeom>
                <a:avLst/>
                <a:gdLst/>
                <a:ahLst/>
                <a:cxnLst/>
                <a:rect l="l" t="t" r="r" b="b"/>
                <a:pathLst>
                  <a:path w="2996" h="1406" extrusionOk="0">
                    <a:moveTo>
                      <a:pt x="2034" y="0"/>
                    </a:moveTo>
                    <a:lnTo>
                      <a:pt x="1" y="333"/>
                    </a:lnTo>
                    <a:lnTo>
                      <a:pt x="999" y="1405"/>
                    </a:lnTo>
                    <a:lnTo>
                      <a:pt x="2996" y="1073"/>
                    </a:lnTo>
                    <a:lnTo>
                      <a:pt x="2034"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 name="Google Shape;939;p53">
                <a:extLst>
                  <a:ext uri="{FF2B5EF4-FFF2-40B4-BE49-F238E27FC236}">
                    <a16:creationId xmlns:a16="http://schemas.microsoft.com/office/drawing/2014/main" id="{FC945320-99F7-4C4B-953E-0DA49398F5E0}"/>
                  </a:ext>
                </a:extLst>
              </p:cNvPr>
              <p:cNvSpPr/>
              <p:nvPr/>
            </p:nvSpPr>
            <p:spPr>
              <a:xfrm>
                <a:off x="7197509" y="2795488"/>
                <a:ext cx="62164" cy="26360"/>
              </a:xfrm>
              <a:custGeom>
                <a:avLst/>
                <a:gdLst/>
                <a:ahLst/>
                <a:cxnLst/>
                <a:rect l="l" t="t" r="r" b="b"/>
                <a:pathLst>
                  <a:path w="3403" h="1443" extrusionOk="0">
                    <a:moveTo>
                      <a:pt x="2478" y="1"/>
                    </a:moveTo>
                    <a:lnTo>
                      <a:pt x="1" y="408"/>
                    </a:lnTo>
                    <a:lnTo>
                      <a:pt x="962" y="1443"/>
                    </a:lnTo>
                    <a:lnTo>
                      <a:pt x="3402" y="1036"/>
                    </a:lnTo>
                    <a:lnTo>
                      <a:pt x="2478"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 name="Google Shape;940;p53">
                <a:extLst>
                  <a:ext uri="{FF2B5EF4-FFF2-40B4-BE49-F238E27FC236}">
                    <a16:creationId xmlns:a16="http://schemas.microsoft.com/office/drawing/2014/main" id="{A2062E4A-632F-4A35-97E7-C3ED1692BF83}"/>
                  </a:ext>
                </a:extLst>
              </p:cNvPr>
              <p:cNvSpPr/>
              <p:nvPr/>
            </p:nvSpPr>
            <p:spPr>
              <a:xfrm>
                <a:off x="7249516" y="2788747"/>
                <a:ext cx="51350" cy="24332"/>
              </a:xfrm>
              <a:custGeom>
                <a:avLst/>
                <a:gdLst/>
                <a:ahLst/>
                <a:cxnLst/>
                <a:rect l="l" t="t" r="r" b="b"/>
                <a:pathLst>
                  <a:path w="2811" h="1332" extrusionOk="0">
                    <a:moveTo>
                      <a:pt x="1886" y="0"/>
                    </a:moveTo>
                    <a:lnTo>
                      <a:pt x="1" y="296"/>
                    </a:lnTo>
                    <a:lnTo>
                      <a:pt x="925" y="1331"/>
                    </a:lnTo>
                    <a:lnTo>
                      <a:pt x="2810" y="998"/>
                    </a:lnTo>
                    <a:lnTo>
                      <a:pt x="1886"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 name="Google Shape;941;p53">
                <a:extLst>
                  <a:ext uri="{FF2B5EF4-FFF2-40B4-BE49-F238E27FC236}">
                    <a16:creationId xmlns:a16="http://schemas.microsoft.com/office/drawing/2014/main" id="{651B3F2F-9D03-4A67-915E-D53B315E55CF}"/>
                  </a:ext>
                </a:extLst>
              </p:cNvPr>
              <p:cNvSpPr/>
              <p:nvPr/>
            </p:nvSpPr>
            <p:spPr>
              <a:xfrm>
                <a:off x="7326514" y="2777257"/>
                <a:ext cx="46619" cy="22981"/>
              </a:xfrm>
              <a:custGeom>
                <a:avLst/>
                <a:gdLst/>
                <a:ahLst/>
                <a:cxnLst/>
                <a:rect l="l" t="t" r="r" b="b"/>
                <a:pathLst>
                  <a:path w="2552" h="1258" extrusionOk="0">
                    <a:moveTo>
                      <a:pt x="1701" y="1"/>
                    </a:moveTo>
                    <a:lnTo>
                      <a:pt x="0" y="259"/>
                    </a:lnTo>
                    <a:lnTo>
                      <a:pt x="888" y="1258"/>
                    </a:lnTo>
                    <a:lnTo>
                      <a:pt x="2551" y="962"/>
                    </a:lnTo>
                    <a:lnTo>
                      <a:pt x="1701"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 name="Google Shape;942;p53">
                <a:extLst>
                  <a:ext uri="{FF2B5EF4-FFF2-40B4-BE49-F238E27FC236}">
                    <a16:creationId xmlns:a16="http://schemas.microsoft.com/office/drawing/2014/main" id="{AF9198E8-EF4E-4A8B-B577-4105EC5F0F97}"/>
                  </a:ext>
                </a:extLst>
              </p:cNvPr>
              <p:cNvSpPr/>
              <p:nvPr/>
            </p:nvSpPr>
            <p:spPr>
              <a:xfrm>
                <a:off x="7142816" y="2836699"/>
                <a:ext cx="53378" cy="33101"/>
              </a:xfrm>
              <a:custGeom>
                <a:avLst/>
                <a:gdLst/>
                <a:ahLst/>
                <a:cxnLst/>
                <a:rect l="l" t="t" r="r" b="b"/>
                <a:pathLst>
                  <a:path w="2922" h="1812" extrusionOk="0">
                    <a:moveTo>
                      <a:pt x="1553" y="0"/>
                    </a:moveTo>
                    <a:lnTo>
                      <a:pt x="0" y="296"/>
                    </a:lnTo>
                    <a:lnTo>
                      <a:pt x="1368" y="1812"/>
                    </a:lnTo>
                    <a:lnTo>
                      <a:pt x="2921" y="1516"/>
                    </a:lnTo>
                    <a:lnTo>
                      <a:pt x="1553"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 name="Google Shape;943;p53">
                <a:extLst>
                  <a:ext uri="{FF2B5EF4-FFF2-40B4-BE49-F238E27FC236}">
                    <a16:creationId xmlns:a16="http://schemas.microsoft.com/office/drawing/2014/main" id="{B1C940EE-2C0F-4EC3-A7FF-9654DAC82A44}"/>
                  </a:ext>
                </a:extLst>
              </p:cNvPr>
              <p:cNvSpPr/>
              <p:nvPr/>
            </p:nvSpPr>
            <p:spPr>
              <a:xfrm>
                <a:off x="7100271" y="2842764"/>
                <a:ext cx="61470" cy="34471"/>
              </a:xfrm>
              <a:custGeom>
                <a:avLst/>
                <a:gdLst/>
                <a:ahLst/>
                <a:cxnLst/>
                <a:rect l="l" t="t" r="r" b="b"/>
                <a:pathLst>
                  <a:path w="3365" h="1887" extrusionOk="0">
                    <a:moveTo>
                      <a:pt x="1997" y="1"/>
                    </a:moveTo>
                    <a:lnTo>
                      <a:pt x="0" y="371"/>
                    </a:lnTo>
                    <a:lnTo>
                      <a:pt x="1405" y="1886"/>
                    </a:lnTo>
                    <a:lnTo>
                      <a:pt x="3365" y="1517"/>
                    </a:lnTo>
                    <a:lnTo>
                      <a:pt x="1997"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 name="Google Shape;944;p53">
                <a:extLst>
                  <a:ext uri="{FF2B5EF4-FFF2-40B4-BE49-F238E27FC236}">
                    <a16:creationId xmlns:a16="http://schemas.microsoft.com/office/drawing/2014/main" id="{286FB24C-4DF1-4241-877E-0E57B321BCB6}"/>
                  </a:ext>
                </a:extLst>
              </p:cNvPr>
              <p:cNvSpPr/>
              <p:nvPr/>
            </p:nvSpPr>
            <p:spPr>
              <a:xfrm>
                <a:off x="7015163" y="2856958"/>
                <a:ext cx="67553" cy="36480"/>
              </a:xfrm>
              <a:custGeom>
                <a:avLst/>
                <a:gdLst/>
                <a:ahLst/>
                <a:cxnLst/>
                <a:rect l="l" t="t" r="r" b="b"/>
                <a:pathLst>
                  <a:path w="3698" h="1997" extrusionOk="0">
                    <a:moveTo>
                      <a:pt x="2256" y="0"/>
                    </a:moveTo>
                    <a:lnTo>
                      <a:pt x="1" y="407"/>
                    </a:lnTo>
                    <a:lnTo>
                      <a:pt x="1480" y="1997"/>
                    </a:lnTo>
                    <a:lnTo>
                      <a:pt x="3698" y="1590"/>
                    </a:lnTo>
                    <a:lnTo>
                      <a:pt x="2256"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 name="Google Shape;945;p53">
                <a:extLst>
                  <a:ext uri="{FF2B5EF4-FFF2-40B4-BE49-F238E27FC236}">
                    <a16:creationId xmlns:a16="http://schemas.microsoft.com/office/drawing/2014/main" id="{60C5A366-877A-4988-A78F-1064421851DF}"/>
                  </a:ext>
                </a:extLst>
              </p:cNvPr>
              <p:cNvSpPr/>
              <p:nvPr/>
            </p:nvSpPr>
            <p:spPr>
              <a:xfrm>
                <a:off x="7348124" y="2800895"/>
                <a:ext cx="52702" cy="29739"/>
              </a:xfrm>
              <a:custGeom>
                <a:avLst/>
                <a:gdLst/>
                <a:ahLst/>
                <a:cxnLst/>
                <a:rect l="l" t="t" r="r" b="b"/>
                <a:pathLst>
                  <a:path w="2885" h="1628" extrusionOk="0">
                    <a:moveTo>
                      <a:pt x="1701" y="1"/>
                    </a:moveTo>
                    <a:lnTo>
                      <a:pt x="0" y="296"/>
                    </a:lnTo>
                    <a:lnTo>
                      <a:pt x="1220" y="1627"/>
                    </a:lnTo>
                    <a:lnTo>
                      <a:pt x="2884" y="1332"/>
                    </a:lnTo>
                    <a:lnTo>
                      <a:pt x="1701"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 name="Google Shape;946;p53">
                <a:extLst>
                  <a:ext uri="{FF2B5EF4-FFF2-40B4-BE49-F238E27FC236}">
                    <a16:creationId xmlns:a16="http://schemas.microsoft.com/office/drawing/2014/main" id="{028BBF9E-D355-436B-A009-223A8C21761B}"/>
                  </a:ext>
                </a:extLst>
              </p:cNvPr>
              <p:cNvSpPr/>
              <p:nvPr/>
            </p:nvSpPr>
            <p:spPr>
              <a:xfrm>
                <a:off x="7063115" y="2850199"/>
                <a:ext cx="56757" cy="34453"/>
              </a:xfrm>
              <a:custGeom>
                <a:avLst/>
                <a:gdLst/>
                <a:ahLst/>
                <a:cxnLst/>
                <a:rect l="l" t="t" r="r" b="b"/>
                <a:pathLst>
                  <a:path w="3107" h="1886" extrusionOk="0">
                    <a:moveTo>
                      <a:pt x="1665" y="0"/>
                    </a:moveTo>
                    <a:lnTo>
                      <a:pt x="1" y="296"/>
                    </a:lnTo>
                    <a:lnTo>
                      <a:pt x="1406" y="1886"/>
                    </a:lnTo>
                    <a:lnTo>
                      <a:pt x="3106" y="1553"/>
                    </a:lnTo>
                    <a:lnTo>
                      <a:pt x="1665"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 name="Google Shape;947;p53">
                <a:extLst>
                  <a:ext uri="{FF2B5EF4-FFF2-40B4-BE49-F238E27FC236}">
                    <a16:creationId xmlns:a16="http://schemas.microsoft.com/office/drawing/2014/main" id="{66BF076A-4283-4BCC-B82E-C5139694A108}"/>
                  </a:ext>
                </a:extLst>
              </p:cNvPr>
              <p:cNvSpPr/>
              <p:nvPr/>
            </p:nvSpPr>
            <p:spPr>
              <a:xfrm>
                <a:off x="7312996" y="2806978"/>
                <a:ext cx="51350" cy="30415"/>
              </a:xfrm>
              <a:custGeom>
                <a:avLst/>
                <a:gdLst/>
                <a:ahLst/>
                <a:cxnLst/>
                <a:rect l="l" t="t" r="r" b="b"/>
                <a:pathLst>
                  <a:path w="2811" h="1665" extrusionOk="0">
                    <a:moveTo>
                      <a:pt x="1554" y="0"/>
                    </a:moveTo>
                    <a:lnTo>
                      <a:pt x="1" y="296"/>
                    </a:lnTo>
                    <a:lnTo>
                      <a:pt x="1258" y="1664"/>
                    </a:lnTo>
                    <a:lnTo>
                      <a:pt x="2811" y="1368"/>
                    </a:lnTo>
                    <a:lnTo>
                      <a:pt x="1554"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 name="Google Shape;948;p53">
                <a:extLst>
                  <a:ext uri="{FF2B5EF4-FFF2-40B4-BE49-F238E27FC236}">
                    <a16:creationId xmlns:a16="http://schemas.microsoft.com/office/drawing/2014/main" id="{AFB15121-5C30-4C84-A1D1-9ED6074C0EE6}"/>
                  </a:ext>
                </a:extLst>
              </p:cNvPr>
              <p:cNvSpPr/>
              <p:nvPr/>
            </p:nvSpPr>
            <p:spPr>
              <a:xfrm>
                <a:off x="7271803" y="2813737"/>
                <a:ext cx="57433" cy="31073"/>
              </a:xfrm>
              <a:custGeom>
                <a:avLst/>
                <a:gdLst/>
                <a:ahLst/>
                <a:cxnLst/>
                <a:rect l="l" t="t" r="r" b="b"/>
                <a:pathLst>
                  <a:path w="3144" h="1701" extrusionOk="0">
                    <a:moveTo>
                      <a:pt x="1886" y="0"/>
                    </a:moveTo>
                    <a:lnTo>
                      <a:pt x="1" y="296"/>
                    </a:lnTo>
                    <a:lnTo>
                      <a:pt x="1295" y="1701"/>
                    </a:lnTo>
                    <a:lnTo>
                      <a:pt x="3143" y="1368"/>
                    </a:lnTo>
                    <a:lnTo>
                      <a:pt x="1886"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 name="Google Shape;949;p53">
                <a:extLst>
                  <a:ext uri="{FF2B5EF4-FFF2-40B4-BE49-F238E27FC236}">
                    <a16:creationId xmlns:a16="http://schemas.microsoft.com/office/drawing/2014/main" id="{D0E012C5-53B6-4551-823F-0F2522924F2D}"/>
                  </a:ext>
                </a:extLst>
              </p:cNvPr>
              <p:cNvSpPr/>
              <p:nvPr/>
            </p:nvSpPr>
            <p:spPr>
              <a:xfrm>
                <a:off x="7177250" y="2829265"/>
                <a:ext cx="61488" cy="33777"/>
              </a:xfrm>
              <a:custGeom>
                <a:avLst/>
                <a:gdLst/>
                <a:ahLst/>
                <a:cxnLst/>
                <a:rect l="l" t="t" r="r" b="b"/>
                <a:pathLst>
                  <a:path w="3366" h="1849" extrusionOk="0">
                    <a:moveTo>
                      <a:pt x="2034" y="0"/>
                    </a:moveTo>
                    <a:lnTo>
                      <a:pt x="1" y="370"/>
                    </a:lnTo>
                    <a:lnTo>
                      <a:pt x="1369" y="1849"/>
                    </a:lnTo>
                    <a:lnTo>
                      <a:pt x="3365" y="1479"/>
                    </a:lnTo>
                    <a:lnTo>
                      <a:pt x="2034"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 name="Google Shape;950;p53">
                <a:extLst>
                  <a:ext uri="{FF2B5EF4-FFF2-40B4-BE49-F238E27FC236}">
                    <a16:creationId xmlns:a16="http://schemas.microsoft.com/office/drawing/2014/main" id="{A45DB05B-BDB5-4DBE-82AF-D701D0E719EE}"/>
                  </a:ext>
                </a:extLst>
              </p:cNvPr>
              <p:cNvSpPr/>
              <p:nvPr/>
            </p:nvSpPr>
            <p:spPr>
              <a:xfrm>
                <a:off x="7220471" y="2820478"/>
                <a:ext cx="68905" cy="34471"/>
              </a:xfrm>
              <a:custGeom>
                <a:avLst/>
                <a:gdLst/>
                <a:ahLst/>
                <a:cxnLst/>
                <a:rect l="l" t="t" r="r" b="b"/>
                <a:pathLst>
                  <a:path w="3772" h="1887" extrusionOk="0">
                    <a:moveTo>
                      <a:pt x="2478" y="1"/>
                    </a:moveTo>
                    <a:lnTo>
                      <a:pt x="1" y="444"/>
                    </a:lnTo>
                    <a:lnTo>
                      <a:pt x="1332" y="1886"/>
                    </a:lnTo>
                    <a:lnTo>
                      <a:pt x="3772" y="1406"/>
                    </a:lnTo>
                    <a:lnTo>
                      <a:pt x="2478"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 name="Google Shape;951;p53">
                <a:extLst>
                  <a:ext uri="{FF2B5EF4-FFF2-40B4-BE49-F238E27FC236}">
                    <a16:creationId xmlns:a16="http://schemas.microsoft.com/office/drawing/2014/main" id="{52417D46-216A-42E5-B436-52A1B2468C0E}"/>
                  </a:ext>
                </a:extLst>
              </p:cNvPr>
              <p:cNvSpPr/>
              <p:nvPr/>
            </p:nvSpPr>
            <p:spPr>
              <a:xfrm>
                <a:off x="7415659" y="2826561"/>
                <a:ext cx="52702" cy="28388"/>
              </a:xfrm>
              <a:custGeom>
                <a:avLst/>
                <a:gdLst/>
                <a:ahLst/>
                <a:cxnLst/>
                <a:rect l="l" t="t" r="r" b="b"/>
                <a:pathLst>
                  <a:path w="2885" h="1554" extrusionOk="0">
                    <a:moveTo>
                      <a:pt x="1812" y="0"/>
                    </a:moveTo>
                    <a:lnTo>
                      <a:pt x="0" y="333"/>
                    </a:lnTo>
                    <a:lnTo>
                      <a:pt x="1073" y="1553"/>
                    </a:lnTo>
                    <a:lnTo>
                      <a:pt x="2884" y="1184"/>
                    </a:lnTo>
                    <a:lnTo>
                      <a:pt x="1812"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 name="Google Shape;952;p53">
                <a:extLst>
                  <a:ext uri="{FF2B5EF4-FFF2-40B4-BE49-F238E27FC236}">
                    <a16:creationId xmlns:a16="http://schemas.microsoft.com/office/drawing/2014/main" id="{4C2C4959-7DFE-4F0A-9EBF-9F507BD0CDAD}"/>
                  </a:ext>
                </a:extLst>
              </p:cNvPr>
              <p:cNvSpPr/>
              <p:nvPr/>
            </p:nvSpPr>
            <p:spPr>
              <a:xfrm>
                <a:off x="7492657" y="2815071"/>
                <a:ext cx="40536" cy="24332"/>
              </a:xfrm>
              <a:custGeom>
                <a:avLst/>
                <a:gdLst/>
                <a:ahLst/>
                <a:cxnLst/>
                <a:rect l="l" t="t" r="r" b="b"/>
                <a:pathLst>
                  <a:path w="2219" h="1332" extrusionOk="0">
                    <a:moveTo>
                      <a:pt x="1109" y="1"/>
                    </a:moveTo>
                    <a:lnTo>
                      <a:pt x="0" y="186"/>
                    </a:lnTo>
                    <a:lnTo>
                      <a:pt x="1035" y="1332"/>
                    </a:lnTo>
                    <a:lnTo>
                      <a:pt x="2218" y="1073"/>
                    </a:lnTo>
                    <a:lnTo>
                      <a:pt x="110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953;p53">
                <a:extLst>
                  <a:ext uri="{FF2B5EF4-FFF2-40B4-BE49-F238E27FC236}">
                    <a16:creationId xmlns:a16="http://schemas.microsoft.com/office/drawing/2014/main" id="{0D95CD04-85B6-471C-9AD2-A60EFE4DECAC}"/>
                  </a:ext>
                </a:extLst>
              </p:cNvPr>
              <p:cNvSpPr/>
              <p:nvPr/>
            </p:nvSpPr>
            <p:spPr>
              <a:xfrm>
                <a:off x="7454825" y="2819802"/>
                <a:ext cx="50674" cy="27036"/>
              </a:xfrm>
              <a:custGeom>
                <a:avLst/>
                <a:gdLst/>
                <a:ahLst/>
                <a:cxnLst/>
                <a:rect l="l" t="t" r="r" b="b"/>
                <a:pathLst>
                  <a:path w="2774" h="1480" extrusionOk="0">
                    <a:moveTo>
                      <a:pt x="1738" y="1"/>
                    </a:moveTo>
                    <a:lnTo>
                      <a:pt x="1" y="334"/>
                    </a:lnTo>
                    <a:lnTo>
                      <a:pt x="1036" y="1480"/>
                    </a:lnTo>
                    <a:lnTo>
                      <a:pt x="2774" y="1110"/>
                    </a:lnTo>
                    <a:lnTo>
                      <a:pt x="1738"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 name="Google Shape;954;p53">
                <a:extLst>
                  <a:ext uri="{FF2B5EF4-FFF2-40B4-BE49-F238E27FC236}">
                    <a16:creationId xmlns:a16="http://schemas.microsoft.com/office/drawing/2014/main" id="{D7A8A9EC-76F9-4405-B59D-75235337B13A}"/>
                  </a:ext>
                </a:extLst>
              </p:cNvPr>
              <p:cNvSpPr/>
              <p:nvPr/>
            </p:nvSpPr>
            <p:spPr>
              <a:xfrm>
                <a:off x="7378521" y="2833996"/>
                <a:ext cx="51332" cy="28369"/>
              </a:xfrm>
              <a:custGeom>
                <a:avLst/>
                <a:gdLst/>
                <a:ahLst/>
                <a:cxnLst/>
                <a:rect l="l" t="t" r="r" b="b"/>
                <a:pathLst>
                  <a:path w="2810" h="1553" extrusionOk="0">
                    <a:moveTo>
                      <a:pt x="1701" y="0"/>
                    </a:moveTo>
                    <a:lnTo>
                      <a:pt x="0" y="333"/>
                    </a:lnTo>
                    <a:lnTo>
                      <a:pt x="1109" y="1553"/>
                    </a:lnTo>
                    <a:lnTo>
                      <a:pt x="2810" y="1220"/>
                    </a:lnTo>
                    <a:lnTo>
                      <a:pt x="1701"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 name="Google Shape;955;p53">
                <a:extLst>
                  <a:ext uri="{FF2B5EF4-FFF2-40B4-BE49-F238E27FC236}">
                    <a16:creationId xmlns:a16="http://schemas.microsoft.com/office/drawing/2014/main" id="{EF7D676D-7C5D-4F4E-B104-141B52998F95}"/>
                  </a:ext>
                </a:extLst>
              </p:cNvPr>
              <p:cNvSpPr/>
              <p:nvPr/>
            </p:nvSpPr>
            <p:spPr>
              <a:xfrm>
                <a:off x="7463611" y="2780636"/>
                <a:ext cx="54054" cy="28388"/>
              </a:xfrm>
              <a:custGeom>
                <a:avLst/>
                <a:gdLst/>
                <a:ahLst/>
                <a:cxnLst/>
                <a:rect l="l" t="t" r="r" b="b"/>
                <a:pathLst>
                  <a:path w="2959" h="1554" extrusionOk="0">
                    <a:moveTo>
                      <a:pt x="1701" y="0"/>
                    </a:moveTo>
                    <a:lnTo>
                      <a:pt x="0" y="296"/>
                    </a:lnTo>
                    <a:lnTo>
                      <a:pt x="1146" y="1553"/>
                    </a:lnTo>
                    <a:lnTo>
                      <a:pt x="2958" y="1221"/>
                    </a:lnTo>
                    <a:lnTo>
                      <a:pt x="1701"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 name="Google Shape;956;p53">
                <a:extLst>
                  <a:ext uri="{FF2B5EF4-FFF2-40B4-BE49-F238E27FC236}">
                    <a16:creationId xmlns:a16="http://schemas.microsoft.com/office/drawing/2014/main" id="{0E6F8080-4B29-4EFD-A015-92737DD297AB}"/>
                  </a:ext>
                </a:extLst>
              </p:cNvPr>
              <p:cNvSpPr/>
              <p:nvPr/>
            </p:nvSpPr>
            <p:spPr>
              <a:xfrm>
                <a:off x="6917925" y="2873837"/>
                <a:ext cx="68905" cy="37832"/>
              </a:xfrm>
              <a:custGeom>
                <a:avLst/>
                <a:gdLst/>
                <a:ahLst/>
                <a:cxnLst/>
                <a:rect l="l" t="t" r="r" b="b"/>
                <a:pathLst>
                  <a:path w="3772" h="2071" extrusionOk="0">
                    <a:moveTo>
                      <a:pt x="2292" y="0"/>
                    </a:moveTo>
                    <a:lnTo>
                      <a:pt x="0" y="407"/>
                    </a:lnTo>
                    <a:lnTo>
                      <a:pt x="1516" y="2071"/>
                    </a:lnTo>
                    <a:lnTo>
                      <a:pt x="3771" y="1664"/>
                    </a:lnTo>
                    <a:lnTo>
                      <a:pt x="2292"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 name="Google Shape;957;p53">
                <a:extLst>
                  <a:ext uri="{FF2B5EF4-FFF2-40B4-BE49-F238E27FC236}">
                    <a16:creationId xmlns:a16="http://schemas.microsoft.com/office/drawing/2014/main" id="{5AE55603-3267-4477-8310-36C897C76083}"/>
                  </a:ext>
                </a:extLst>
              </p:cNvPr>
              <p:cNvSpPr/>
              <p:nvPr/>
            </p:nvSpPr>
            <p:spPr>
              <a:xfrm>
                <a:off x="6953711" y="2910975"/>
                <a:ext cx="66877" cy="37850"/>
              </a:xfrm>
              <a:custGeom>
                <a:avLst/>
                <a:gdLst/>
                <a:ahLst/>
                <a:cxnLst/>
                <a:rect l="l" t="t" r="r" b="b"/>
                <a:pathLst>
                  <a:path w="3661" h="2072" extrusionOk="0">
                    <a:moveTo>
                      <a:pt x="2182" y="1"/>
                    </a:moveTo>
                    <a:lnTo>
                      <a:pt x="1" y="408"/>
                    </a:lnTo>
                    <a:lnTo>
                      <a:pt x="1627" y="2071"/>
                    </a:lnTo>
                    <a:lnTo>
                      <a:pt x="3661" y="1628"/>
                    </a:lnTo>
                    <a:lnTo>
                      <a:pt x="2182"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 name="Google Shape;958;p53">
                <a:extLst>
                  <a:ext uri="{FF2B5EF4-FFF2-40B4-BE49-F238E27FC236}">
                    <a16:creationId xmlns:a16="http://schemas.microsoft.com/office/drawing/2014/main" id="{F49E7995-F4B0-4C48-B0B3-A7E2789A81D3}"/>
                  </a:ext>
                </a:extLst>
              </p:cNvPr>
              <p:cNvSpPr/>
              <p:nvPr/>
            </p:nvSpPr>
            <p:spPr>
              <a:xfrm>
                <a:off x="7344069" y="2840737"/>
                <a:ext cx="49322" cy="29064"/>
              </a:xfrm>
              <a:custGeom>
                <a:avLst/>
                <a:gdLst/>
                <a:ahLst/>
                <a:cxnLst/>
                <a:rect l="l" t="t" r="r" b="b"/>
                <a:pathLst>
                  <a:path w="2700" h="1591" extrusionOk="0">
                    <a:moveTo>
                      <a:pt x="1553" y="1"/>
                    </a:moveTo>
                    <a:lnTo>
                      <a:pt x="1" y="297"/>
                    </a:lnTo>
                    <a:lnTo>
                      <a:pt x="1147" y="1591"/>
                    </a:lnTo>
                    <a:lnTo>
                      <a:pt x="2699" y="1258"/>
                    </a:lnTo>
                    <a:lnTo>
                      <a:pt x="1553" y="1"/>
                    </a:ln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 name="Google Shape;959;p53">
                <a:extLst>
                  <a:ext uri="{FF2B5EF4-FFF2-40B4-BE49-F238E27FC236}">
                    <a16:creationId xmlns:a16="http://schemas.microsoft.com/office/drawing/2014/main" id="{C621C949-1523-458F-A8E5-59FA7FBEB915}"/>
                  </a:ext>
                </a:extLst>
              </p:cNvPr>
              <p:cNvSpPr/>
              <p:nvPr/>
            </p:nvSpPr>
            <p:spPr>
              <a:xfrm>
                <a:off x="6892259" y="2844792"/>
                <a:ext cx="60794" cy="28388"/>
              </a:xfrm>
              <a:custGeom>
                <a:avLst/>
                <a:gdLst/>
                <a:ahLst/>
                <a:cxnLst/>
                <a:rect l="l" t="t" r="r" b="b"/>
                <a:pathLst>
                  <a:path w="3328" h="1554" extrusionOk="0">
                    <a:moveTo>
                      <a:pt x="2255" y="1"/>
                    </a:moveTo>
                    <a:lnTo>
                      <a:pt x="0" y="370"/>
                    </a:lnTo>
                    <a:lnTo>
                      <a:pt x="1220" y="1553"/>
                    </a:lnTo>
                    <a:lnTo>
                      <a:pt x="3328" y="1221"/>
                    </a:lnTo>
                    <a:lnTo>
                      <a:pt x="2255"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960;p53">
                <a:extLst>
                  <a:ext uri="{FF2B5EF4-FFF2-40B4-BE49-F238E27FC236}">
                    <a16:creationId xmlns:a16="http://schemas.microsoft.com/office/drawing/2014/main" id="{C9A83BE6-979B-4124-89DD-5AA0E7D88F22}"/>
                  </a:ext>
                </a:extLst>
              </p:cNvPr>
              <p:cNvSpPr/>
              <p:nvPr/>
            </p:nvSpPr>
            <p:spPr>
              <a:xfrm>
                <a:off x="7442677" y="2759026"/>
                <a:ext cx="46619" cy="20953"/>
              </a:xfrm>
              <a:custGeom>
                <a:avLst/>
                <a:gdLst/>
                <a:ahLst/>
                <a:cxnLst/>
                <a:rect l="l" t="t" r="r" b="b"/>
                <a:pathLst>
                  <a:path w="2552" h="1147" extrusionOk="0">
                    <a:moveTo>
                      <a:pt x="1516" y="0"/>
                    </a:moveTo>
                    <a:lnTo>
                      <a:pt x="0" y="222"/>
                    </a:lnTo>
                    <a:lnTo>
                      <a:pt x="851" y="1147"/>
                    </a:lnTo>
                    <a:lnTo>
                      <a:pt x="2551" y="851"/>
                    </a:lnTo>
                    <a:lnTo>
                      <a:pt x="1516"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 name="Google Shape;961;p53">
                <a:extLst>
                  <a:ext uri="{FF2B5EF4-FFF2-40B4-BE49-F238E27FC236}">
                    <a16:creationId xmlns:a16="http://schemas.microsoft.com/office/drawing/2014/main" id="{36AA86FB-A5E4-43FD-A48E-9DCC0BE27C39}"/>
                  </a:ext>
                </a:extLst>
              </p:cNvPr>
              <p:cNvSpPr/>
              <p:nvPr/>
            </p:nvSpPr>
            <p:spPr>
              <a:xfrm>
                <a:off x="6940211" y="2837375"/>
                <a:ext cx="62146" cy="28369"/>
              </a:xfrm>
              <a:custGeom>
                <a:avLst/>
                <a:gdLst/>
                <a:ahLst/>
                <a:cxnLst/>
                <a:rect l="l" t="t" r="r" b="b"/>
                <a:pathLst>
                  <a:path w="3402" h="1553" extrusionOk="0">
                    <a:moveTo>
                      <a:pt x="2329" y="0"/>
                    </a:moveTo>
                    <a:lnTo>
                      <a:pt x="0" y="370"/>
                    </a:lnTo>
                    <a:lnTo>
                      <a:pt x="1072" y="1553"/>
                    </a:lnTo>
                    <a:lnTo>
                      <a:pt x="3401" y="1146"/>
                    </a:lnTo>
                    <a:lnTo>
                      <a:pt x="2329"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 name="Google Shape;962;p53">
                <a:extLst>
                  <a:ext uri="{FF2B5EF4-FFF2-40B4-BE49-F238E27FC236}">
                    <a16:creationId xmlns:a16="http://schemas.microsoft.com/office/drawing/2014/main" id="{F9663D47-90C6-4876-AF3C-53CF72F52E5B}"/>
                  </a:ext>
                </a:extLst>
              </p:cNvPr>
              <p:cNvSpPr/>
              <p:nvPr/>
            </p:nvSpPr>
            <p:spPr>
              <a:xfrm>
                <a:off x="6990173" y="2829265"/>
                <a:ext cx="60137" cy="27712"/>
              </a:xfrm>
              <a:custGeom>
                <a:avLst/>
                <a:gdLst/>
                <a:ahLst/>
                <a:cxnLst/>
                <a:rect l="l" t="t" r="r" b="b"/>
                <a:pathLst>
                  <a:path w="3292" h="1517" extrusionOk="0">
                    <a:moveTo>
                      <a:pt x="2256" y="0"/>
                    </a:moveTo>
                    <a:lnTo>
                      <a:pt x="1" y="370"/>
                    </a:lnTo>
                    <a:lnTo>
                      <a:pt x="1036" y="1516"/>
                    </a:lnTo>
                    <a:lnTo>
                      <a:pt x="3291" y="1146"/>
                    </a:lnTo>
                    <a:lnTo>
                      <a:pt x="2256"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 name="Google Shape;963;p53">
                <a:extLst>
                  <a:ext uri="{FF2B5EF4-FFF2-40B4-BE49-F238E27FC236}">
                    <a16:creationId xmlns:a16="http://schemas.microsoft.com/office/drawing/2014/main" id="{59C30AF7-5F82-4279-8515-DC051AAE0D10}"/>
                  </a:ext>
                </a:extLst>
              </p:cNvPr>
              <p:cNvSpPr/>
              <p:nvPr/>
            </p:nvSpPr>
            <p:spPr>
              <a:xfrm>
                <a:off x="6965877" y="2865051"/>
                <a:ext cx="69581" cy="37850"/>
              </a:xfrm>
              <a:custGeom>
                <a:avLst/>
                <a:gdLst/>
                <a:ahLst/>
                <a:cxnLst/>
                <a:rect l="l" t="t" r="r" b="b"/>
                <a:pathLst>
                  <a:path w="3809" h="2072" extrusionOk="0">
                    <a:moveTo>
                      <a:pt x="2329" y="1"/>
                    </a:moveTo>
                    <a:lnTo>
                      <a:pt x="0" y="408"/>
                    </a:lnTo>
                    <a:lnTo>
                      <a:pt x="1516" y="2071"/>
                    </a:lnTo>
                    <a:lnTo>
                      <a:pt x="3808" y="1628"/>
                    </a:lnTo>
                    <a:lnTo>
                      <a:pt x="232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 name="Google Shape;964;p53">
                <a:extLst>
                  <a:ext uri="{FF2B5EF4-FFF2-40B4-BE49-F238E27FC236}">
                    <a16:creationId xmlns:a16="http://schemas.microsoft.com/office/drawing/2014/main" id="{973D0809-F4BB-4F44-9A52-A810B9A07E68}"/>
                  </a:ext>
                </a:extLst>
              </p:cNvPr>
              <p:cNvSpPr/>
              <p:nvPr/>
            </p:nvSpPr>
            <p:spPr>
              <a:xfrm>
                <a:off x="7075281" y="2816423"/>
                <a:ext cx="55387" cy="26360"/>
              </a:xfrm>
              <a:custGeom>
                <a:avLst/>
                <a:gdLst/>
                <a:ahLst/>
                <a:cxnLst/>
                <a:rect l="l" t="t" r="r" b="b"/>
                <a:pathLst>
                  <a:path w="3032" h="1443" extrusionOk="0">
                    <a:moveTo>
                      <a:pt x="2034" y="1"/>
                    </a:moveTo>
                    <a:lnTo>
                      <a:pt x="0" y="334"/>
                    </a:lnTo>
                    <a:lnTo>
                      <a:pt x="1035" y="1443"/>
                    </a:lnTo>
                    <a:lnTo>
                      <a:pt x="3032" y="1110"/>
                    </a:lnTo>
                    <a:lnTo>
                      <a:pt x="2034"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 name="Google Shape;965;p53">
                <a:extLst>
                  <a:ext uri="{FF2B5EF4-FFF2-40B4-BE49-F238E27FC236}">
                    <a16:creationId xmlns:a16="http://schemas.microsoft.com/office/drawing/2014/main" id="{E7C819D9-C517-4FAE-9C8D-94796F1FF300}"/>
                  </a:ext>
                </a:extLst>
              </p:cNvPr>
              <p:cNvSpPr/>
              <p:nvPr/>
            </p:nvSpPr>
            <p:spPr>
              <a:xfrm>
                <a:off x="7038125" y="2823182"/>
                <a:ext cx="49322" cy="25684"/>
              </a:xfrm>
              <a:custGeom>
                <a:avLst/>
                <a:gdLst/>
                <a:ahLst/>
                <a:cxnLst/>
                <a:rect l="l" t="t" r="r" b="b"/>
                <a:pathLst>
                  <a:path w="2700" h="1406" extrusionOk="0">
                    <a:moveTo>
                      <a:pt x="1702" y="1"/>
                    </a:moveTo>
                    <a:lnTo>
                      <a:pt x="1" y="296"/>
                    </a:lnTo>
                    <a:lnTo>
                      <a:pt x="1036" y="1406"/>
                    </a:lnTo>
                    <a:lnTo>
                      <a:pt x="2700" y="1110"/>
                    </a:lnTo>
                    <a:lnTo>
                      <a:pt x="1702"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 name="Google Shape;966;p53">
                <a:extLst>
                  <a:ext uri="{FF2B5EF4-FFF2-40B4-BE49-F238E27FC236}">
                    <a16:creationId xmlns:a16="http://schemas.microsoft.com/office/drawing/2014/main" id="{57583C46-EB89-45F9-BCBB-5302BC341B2F}"/>
                  </a:ext>
                </a:extLst>
              </p:cNvPr>
              <p:cNvSpPr/>
              <p:nvPr/>
            </p:nvSpPr>
            <p:spPr>
              <a:xfrm>
                <a:off x="6999635" y="2901531"/>
                <a:ext cx="68905" cy="37832"/>
              </a:xfrm>
              <a:custGeom>
                <a:avLst/>
                <a:gdLst/>
                <a:ahLst/>
                <a:cxnLst/>
                <a:rect l="l" t="t" r="r" b="b"/>
                <a:pathLst>
                  <a:path w="3772" h="2071" extrusionOk="0">
                    <a:moveTo>
                      <a:pt x="2330" y="0"/>
                    </a:moveTo>
                    <a:lnTo>
                      <a:pt x="1" y="444"/>
                    </a:lnTo>
                    <a:lnTo>
                      <a:pt x="1479" y="2071"/>
                    </a:lnTo>
                    <a:lnTo>
                      <a:pt x="3772" y="1590"/>
                    </a:lnTo>
                    <a:lnTo>
                      <a:pt x="2330"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 name="Google Shape;967;p53">
                <a:extLst>
                  <a:ext uri="{FF2B5EF4-FFF2-40B4-BE49-F238E27FC236}">
                    <a16:creationId xmlns:a16="http://schemas.microsoft.com/office/drawing/2014/main" id="{81685B89-5222-49C6-AE33-8378979A1127}"/>
                  </a:ext>
                </a:extLst>
              </p:cNvPr>
              <p:cNvSpPr/>
              <p:nvPr/>
            </p:nvSpPr>
            <p:spPr>
              <a:xfrm>
                <a:off x="7302876" y="2847496"/>
                <a:ext cx="56063" cy="30415"/>
              </a:xfrm>
              <a:custGeom>
                <a:avLst/>
                <a:gdLst/>
                <a:ahLst/>
                <a:cxnLst/>
                <a:rect l="l" t="t" r="r" b="b"/>
                <a:pathLst>
                  <a:path w="3069" h="1665" extrusionOk="0">
                    <a:moveTo>
                      <a:pt x="1886" y="1"/>
                    </a:moveTo>
                    <a:lnTo>
                      <a:pt x="0" y="333"/>
                    </a:lnTo>
                    <a:lnTo>
                      <a:pt x="1220" y="1664"/>
                    </a:lnTo>
                    <a:lnTo>
                      <a:pt x="3069" y="1258"/>
                    </a:lnTo>
                    <a:lnTo>
                      <a:pt x="1886"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 name="Google Shape;968;p53">
                <a:extLst>
                  <a:ext uri="{FF2B5EF4-FFF2-40B4-BE49-F238E27FC236}">
                    <a16:creationId xmlns:a16="http://schemas.microsoft.com/office/drawing/2014/main" id="{2C9553E3-1D7F-4C8A-87E9-315E313A4B28}"/>
                  </a:ext>
                </a:extLst>
              </p:cNvPr>
              <p:cNvSpPr/>
              <p:nvPr/>
            </p:nvSpPr>
            <p:spPr>
              <a:xfrm>
                <a:off x="7095540" y="2854930"/>
                <a:ext cx="223558" cy="64850"/>
              </a:xfrm>
              <a:custGeom>
                <a:avLst/>
                <a:gdLst/>
                <a:ahLst/>
                <a:cxnLst/>
                <a:rect l="l" t="t" r="r" b="b"/>
                <a:pathLst>
                  <a:path w="12238" h="3550" extrusionOk="0">
                    <a:moveTo>
                      <a:pt x="11018" y="0"/>
                    </a:moveTo>
                    <a:lnTo>
                      <a:pt x="0" y="2034"/>
                    </a:lnTo>
                    <a:lnTo>
                      <a:pt x="1405" y="3549"/>
                    </a:lnTo>
                    <a:lnTo>
                      <a:pt x="12238" y="1331"/>
                    </a:lnTo>
                    <a:lnTo>
                      <a:pt x="11018"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 name="Google Shape;969;p53">
                <a:extLst>
                  <a:ext uri="{FF2B5EF4-FFF2-40B4-BE49-F238E27FC236}">
                    <a16:creationId xmlns:a16="http://schemas.microsoft.com/office/drawing/2014/main" id="{B7B40DAE-5563-4F96-802F-89E7F6521D83}"/>
                  </a:ext>
                </a:extLst>
              </p:cNvPr>
              <p:cNvSpPr/>
              <p:nvPr/>
            </p:nvSpPr>
            <p:spPr>
              <a:xfrm>
                <a:off x="7048263" y="2893420"/>
                <a:ext cx="66877" cy="36498"/>
              </a:xfrm>
              <a:custGeom>
                <a:avLst/>
                <a:gdLst/>
                <a:ahLst/>
                <a:cxnLst/>
                <a:rect l="l" t="t" r="r" b="b"/>
                <a:pathLst>
                  <a:path w="3661" h="1998" extrusionOk="0">
                    <a:moveTo>
                      <a:pt x="2256" y="1"/>
                    </a:moveTo>
                    <a:lnTo>
                      <a:pt x="0" y="407"/>
                    </a:lnTo>
                    <a:lnTo>
                      <a:pt x="1442" y="1997"/>
                    </a:lnTo>
                    <a:lnTo>
                      <a:pt x="3661" y="1516"/>
                    </a:lnTo>
                    <a:lnTo>
                      <a:pt x="2256"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 name="Google Shape;970;p53">
                <a:extLst>
                  <a:ext uri="{FF2B5EF4-FFF2-40B4-BE49-F238E27FC236}">
                    <a16:creationId xmlns:a16="http://schemas.microsoft.com/office/drawing/2014/main" id="{DD810E9F-263D-48BF-B7FD-3F49C82F3E5E}"/>
                  </a:ext>
                </a:extLst>
              </p:cNvPr>
              <p:cNvSpPr/>
              <p:nvPr/>
            </p:nvSpPr>
            <p:spPr>
              <a:xfrm>
                <a:off x="7344069" y="2840737"/>
                <a:ext cx="49322" cy="29064"/>
              </a:xfrm>
              <a:custGeom>
                <a:avLst/>
                <a:gdLst/>
                <a:ahLst/>
                <a:cxnLst/>
                <a:rect l="l" t="t" r="r" b="b"/>
                <a:pathLst>
                  <a:path w="2700" h="1591" extrusionOk="0">
                    <a:moveTo>
                      <a:pt x="1553" y="1"/>
                    </a:moveTo>
                    <a:lnTo>
                      <a:pt x="1" y="297"/>
                    </a:lnTo>
                    <a:lnTo>
                      <a:pt x="1147" y="1591"/>
                    </a:lnTo>
                    <a:lnTo>
                      <a:pt x="2699" y="1258"/>
                    </a:lnTo>
                    <a:lnTo>
                      <a:pt x="1553"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 name="Google Shape;971;p53">
                <a:extLst>
                  <a:ext uri="{FF2B5EF4-FFF2-40B4-BE49-F238E27FC236}">
                    <a16:creationId xmlns:a16="http://schemas.microsoft.com/office/drawing/2014/main" id="{6FDB3CB8-5641-4935-B474-A26952DD5333}"/>
                  </a:ext>
                </a:extLst>
              </p:cNvPr>
              <p:cNvSpPr/>
              <p:nvPr/>
            </p:nvSpPr>
            <p:spPr>
              <a:xfrm>
                <a:off x="7912042" y="1891082"/>
                <a:ext cx="224252" cy="381024"/>
              </a:xfrm>
              <a:custGeom>
                <a:avLst/>
                <a:gdLst/>
                <a:ahLst/>
                <a:cxnLst/>
                <a:rect l="l" t="t" r="r" b="b"/>
                <a:pathLst>
                  <a:path w="12276" h="20858" extrusionOk="0">
                    <a:moveTo>
                      <a:pt x="5806" y="1829"/>
                    </a:moveTo>
                    <a:cubicBezTo>
                      <a:pt x="6297" y="1829"/>
                      <a:pt x="6877" y="1932"/>
                      <a:pt x="7580" y="2113"/>
                    </a:cubicBezTo>
                    <a:lnTo>
                      <a:pt x="7321" y="3075"/>
                    </a:lnTo>
                    <a:lnTo>
                      <a:pt x="6508" y="2853"/>
                    </a:lnTo>
                    <a:cubicBezTo>
                      <a:pt x="6338" y="2794"/>
                      <a:pt x="6163" y="2766"/>
                      <a:pt x="5991" y="2766"/>
                    </a:cubicBezTo>
                    <a:cubicBezTo>
                      <a:pt x="5301" y="2766"/>
                      <a:pt x="4644" y="3215"/>
                      <a:pt x="4437" y="3925"/>
                    </a:cubicBezTo>
                    <a:lnTo>
                      <a:pt x="3291" y="7696"/>
                    </a:lnTo>
                    <a:cubicBezTo>
                      <a:pt x="2996" y="7696"/>
                      <a:pt x="2700" y="7844"/>
                      <a:pt x="2515" y="8029"/>
                    </a:cubicBezTo>
                    <a:lnTo>
                      <a:pt x="1960" y="7881"/>
                    </a:lnTo>
                    <a:cubicBezTo>
                      <a:pt x="3313" y="3381"/>
                      <a:pt x="3894" y="1829"/>
                      <a:pt x="5806" y="1829"/>
                    </a:cubicBezTo>
                    <a:close/>
                    <a:moveTo>
                      <a:pt x="9022" y="2557"/>
                    </a:moveTo>
                    <a:cubicBezTo>
                      <a:pt x="12201" y="3666"/>
                      <a:pt x="12164" y="4775"/>
                      <a:pt x="10464" y="10395"/>
                    </a:cubicBezTo>
                    <a:lnTo>
                      <a:pt x="9946" y="10247"/>
                    </a:lnTo>
                    <a:cubicBezTo>
                      <a:pt x="9872" y="9914"/>
                      <a:pt x="9650" y="9618"/>
                      <a:pt x="9318" y="9471"/>
                    </a:cubicBezTo>
                    <a:lnTo>
                      <a:pt x="9391" y="9360"/>
                    </a:lnTo>
                    <a:lnTo>
                      <a:pt x="10464" y="5737"/>
                    </a:lnTo>
                    <a:cubicBezTo>
                      <a:pt x="10759" y="4886"/>
                      <a:pt x="10279" y="3962"/>
                      <a:pt x="9428" y="3740"/>
                    </a:cubicBezTo>
                    <a:lnTo>
                      <a:pt x="8726" y="3518"/>
                    </a:lnTo>
                    <a:lnTo>
                      <a:pt x="9022" y="2557"/>
                    </a:lnTo>
                    <a:close/>
                    <a:moveTo>
                      <a:pt x="7915" y="0"/>
                    </a:moveTo>
                    <a:cubicBezTo>
                      <a:pt x="7823" y="0"/>
                      <a:pt x="7761" y="129"/>
                      <a:pt x="7728" y="228"/>
                    </a:cubicBezTo>
                    <a:lnTo>
                      <a:pt x="7654" y="413"/>
                    </a:lnTo>
                    <a:cubicBezTo>
                      <a:pt x="7617" y="524"/>
                      <a:pt x="7654" y="561"/>
                      <a:pt x="7765" y="598"/>
                    </a:cubicBezTo>
                    <a:lnTo>
                      <a:pt x="8024" y="672"/>
                    </a:lnTo>
                    <a:lnTo>
                      <a:pt x="7728" y="1670"/>
                    </a:lnTo>
                    <a:cubicBezTo>
                      <a:pt x="7038" y="1497"/>
                      <a:pt x="6421" y="1391"/>
                      <a:pt x="5869" y="1391"/>
                    </a:cubicBezTo>
                    <a:cubicBezTo>
                      <a:pt x="5119" y="1391"/>
                      <a:pt x="4489" y="1587"/>
                      <a:pt x="3957" y="2076"/>
                    </a:cubicBezTo>
                    <a:cubicBezTo>
                      <a:pt x="3069" y="2964"/>
                      <a:pt x="2404" y="4738"/>
                      <a:pt x="1554" y="7548"/>
                    </a:cubicBezTo>
                    <a:cubicBezTo>
                      <a:pt x="1517" y="7548"/>
                      <a:pt x="1480" y="7511"/>
                      <a:pt x="1443" y="7511"/>
                    </a:cubicBezTo>
                    <a:lnTo>
                      <a:pt x="1184" y="7437"/>
                    </a:lnTo>
                    <a:cubicBezTo>
                      <a:pt x="1136" y="7418"/>
                      <a:pt x="1084" y="7409"/>
                      <a:pt x="1030" y="7409"/>
                    </a:cubicBezTo>
                    <a:cubicBezTo>
                      <a:pt x="878" y="7409"/>
                      <a:pt x="721" y="7485"/>
                      <a:pt x="666" y="7622"/>
                    </a:cubicBezTo>
                    <a:lnTo>
                      <a:pt x="371" y="8583"/>
                    </a:lnTo>
                    <a:cubicBezTo>
                      <a:pt x="334" y="8731"/>
                      <a:pt x="518" y="8990"/>
                      <a:pt x="703" y="9027"/>
                    </a:cubicBezTo>
                    <a:lnTo>
                      <a:pt x="962" y="9101"/>
                    </a:lnTo>
                    <a:cubicBezTo>
                      <a:pt x="995" y="9114"/>
                      <a:pt x="1028" y="9120"/>
                      <a:pt x="1060" y="9120"/>
                    </a:cubicBezTo>
                    <a:cubicBezTo>
                      <a:pt x="1210" y="9120"/>
                      <a:pt x="1351" y="8988"/>
                      <a:pt x="1443" y="8805"/>
                    </a:cubicBezTo>
                    <a:lnTo>
                      <a:pt x="2219" y="9027"/>
                    </a:lnTo>
                    <a:cubicBezTo>
                      <a:pt x="2108" y="9323"/>
                      <a:pt x="2219" y="9618"/>
                      <a:pt x="2441" y="9803"/>
                    </a:cubicBezTo>
                    <a:lnTo>
                      <a:pt x="2182" y="10691"/>
                    </a:lnTo>
                    <a:lnTo>
                      <a:pt x="1923" y="11578"/>
                    </a:lnTo>
                    <a:lnTo>
                      <a:pt x="1702" y="12280"/>
                    </a:lnTo>
                    <a:lnTo>
                      <a:pt x="1443" y="13168"/>
                    </a:lnTo>
                    <a:lnTo>
                      <a:pt x="1258" y="13870"/>
                    </a:lnTo>
                    <a:lnTo>
                      <a:pt x="962" y="14757"/>
                    </a:lnTo>
                    <a:lnTo>
                      <a:pt x="777" y="15423"/>
                    </a:lnTo>
                    <a:lnTo>
                      <a:pt x="518" y="16347"/>
                    </a:lnTo>
                    <a:lnTo>
                      <a:pt x="260" y="17160"/>
                    </a:lnTo>
                    <a:cubicBezTo>
                      <a:pt x="1" y="18122"/>
                      <a:pt x="334" y="19157"/>
                      <a:pt x="1110" y="19785"/>
                    </a:cubicBezTo>
                    <a:lnTo>
                      <a:pt x="1849" y="20155"/>
                    </a:lnTo>
                    <a:cubicBezTo>
                      <a:pt x="1886" y="20155"/>
                      <a:pt x="1960" y="20155"/>
                      <a:pt x="1997" y="20192"/>
                    </a:cubicBezTo>
                    <a:lnTo>
                      <a:pt x="2552" y="20340"/>
                    </a:lnTo>
                    <a:lnTo>
                      <a:pt x="3291" y="20599"/>
                    </a:lnTo>
                    <a:lnTo>
                      <a:pt x="3809" y="20747"/>
                    </a:lnTo>
                    <a:cubicBezTo>
                      <a:pt x="3846" y="20747"/>
                      <a:pt x="3883" y="20784"/>
                      <a:pt x="3957" y="20784"/>
                    </a:cubicBezTo>
                    <a:lnTo>
                      <a:pt x="4770" y="20858"/>
                    </a:lnTo>
                    <a:cubicBezTo>
                      <a:pt x="5768" y="20784"/>
                      <a:pt x="6619" y="20081"/>
                      <a:pt x="6914" y="19120"/>
                    </a:cubicBezTo>
                    <a:lnTo>
                      <a:pt x="7173" y="18307"/>
                    </a:lnTo>
                    <a:lnTo>
                      <a:pt x="7432" y="17419"/>
                    </a:lnTo>
                    <a:lnTo>
                      <a:pt x="7654" y="16754"/>
                    </a:lnTo>
                    <a:lnTo>
                      <a:pt x="7876" y="15830"/>
                    </a:lnTo>
                    <a:lnTo>
                      <a:pt x="8097" y="15164"/>
                    </a:lnTo>
                    <a:lnTo>
                      <a:pt x="8356" y="14277"/>
                    </a:lnTo>
                    <a:lnTo>
                      <a:pt x="8578" y="13574"/>
                    </a:lnTo>
                    <a:lnTo>
                      <a:pt x="8837" y="12687"/>
                    </a:lnTo>
                    <a:lnTo>
                      <a:pt x="9096" y="11763"/>
                    </a:lnTo>
                    <a:cubicBezTo>
                      <a:pt x="9354" y="11726"/>
                      <a:pt x="9465" y="11652"/>
                      <a:pt x="9613" y="11245"/>
                    </a:cubicBezTo>
                    <a:lnTo>
                      <a:pt x="10390" y="11504"/>
                    </a:lnTo>
                    <a:cubicBezTo>
                      <a:pt x="10353" y="11689"/>
                      <a:pt x="10427" y="11948"/>
                      <a:pt x="10611" y="11985"/>
                    </a:cubicBezTo>
                    <a:lnTo>
                      <a:pt x="10870" y="12059"/>
                    </a:lnTo>
                    <a:cubicBezTo>
                      <a:pt x="10904" y="12072"/>
                      <a:pt x="10937" y="12078"/>
                      <a:pt x="10969" y="12078"/>
                    </a:cubicBezTo>
                    <a:cubicBezTo>
                      <a:pt x="11117" y="12078"/>
                      <a:pt x="11247" y="11951"/>
                      <a:pt x="11277" y="11800"/>
                    </a:cubicBezTo>
                    <a:lnTo>
                      <a:pt x="11573" y="10838"/>
                    </a:lnTo>
                    <a:cubicBezTo>
                      <a:pt x="11647" y="10691"/>
                      <a:pt x="11536" y="10506"/>
                      <a:pt x="11351" y="10469"/>
                    </a:cubicBezTo>
                    <a:lnTo>
                      <a:pt x="11092" y="10358"/>
                    </a:lnTo>
                    <a:lnTo>
                      <a:pt x="10981" y="10358"/>
                    </a:lnTo>
                    <a:cubicBezTo>
                      <a:pt x="11832" y="7585"/>
                      <a:pt x="12275" y="5737"/>
                      <a:pt x="11979" y="4480"/>
                    </a:cubicBezTo>
                    <a:cubicBezTo>
                      <a:pt x="11684" y="3223"/>
                      <a:pt x="10722" y="2631"/>
                      <a:pt x="9133" y="2113"/>
                    </a:cubicBezTo>
                    <a:lnTo>
                      <a:pt x="9428" y="1115"/>
                    </a:lnTo>
                    <a:lnTo>
                      <a:pt x="9650" y="1189"/>
                    </a:lnTo>
                    <a:cubicBezTo>
                      <a:pt x="9761" y="1189"/>
                      <a:pt x="9872" y="1189"/>
                      <a:pt x="9872" y="1078"/>
                    </a:cubicBezTo>
                    <a:lnTo>
                      <a:pt x="9946" y="893"/>
                    </a:lnTo>
                    <a:cubicBezTo>
                      <a:pt x="9983" y="782"/>
                      <a:pt x="9946" y="598"/>
                      <a:pt x="9835" y="561"/>
                    </a:cubicBezTo>
                    <a:lnTo>
                      <a:pt x="7950" y="6"/>
                    </a:lnTo>
                    <a:cubicBezTo>
                      <a:pt x="7938" y="2"/>
                      <a:pt x="7926" y="0"/>
                      <a:pt x="7915" y="0"/>
                    </a:cubicBez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 name="Google Shape;972;p53">
                <a:extLst>
                  <a:ext uri="{FF2B5EF4-FFF2-40B4-BE49-F238E27FC236}">
                    <a16:creationId xmlns:a16="http://schemas.microsoft.com/office/drawing/2014/main" id="{06605848-10B8-4131-9411-E5FBE34A7502}"/>
                  </a:ext>
                </a:extLst>
              </p:cNvPr>
              <p:cNvSpPr/>
              <p:nvPr/>
            </p:nvSpPr>
            <p:spPr>
              <a:xfrm>
                <a:off x="7951226" y="2030883"/>
                <a:ext cx="145208" cy="74257"/>
              </a:xfrm>
              <a:custGeom>
                <a:avLst/>
                <a:gdLst/>
                <a:ahLst/>
                <a:cxnLst/>
                <a:rect l="l" t="t" r="r" b="b"/>
                <a:pathLst>
                  <a:path w="7949" h="4065" extrusionOk="0">
                    <a:moveTo>
                      <a:pt x="887" y="1411"/>
                    </a:moveTo>
                    <a:lnTo>
                      <a:pt x="6803" y="3185"/>
                    </a:lnTo>
                    <a:cubicBezTo>
                      <a:pt x="6978" y="3291"/>
                      <a:pt x="6921" y="3595"/>
                      <a:pt x="6694" y="3595"/>
                    </a:cubicBezTo>
                    <a:cubicBezTo>
                      <a:pt x="6681" y="3595"/>
                      <a:pt x="6668" y="3594"/>
                      <a:pt x="6655" y="3592"/>
                    </a:cubicBezTo>
                    <a:lnTo>
                      <a:pt x="740" y="1818"/>
                    </a:lnTo>
                    <a:cubicBezTo>
                      <a:pt x="666" y="1781"/>
                      <a:pt x="592" y="1670"/>
                      <a:pt x="629" y="1559"/>
                    </a:cubicBezTo>
                    <a:cubicBezTo>
                      <a:pt x="666" y="1485"/>
                      <a:pt x="777" y="1411"/>
                      <a:pt x="887" y="1411"/>
                    </a:cubicBezTo>
                    <a:close/>
                    <a:moveTo>
                      <a:pt x="1076" y="1"/>
                    </a:moveTo>
                    <a:cubicBezTo>
                      <a:pt x="728" y="1"/>
                      <a:pt x="422" y="233"/>
                      <a:pt x="333" y="561"/>
                    </a:cubicBezTo>
                    <a:lnTo>
                      <a:pt x="111" y="1263"/>
                    </a:lnTo>
                    <a:cubicBezTo>
                      <a:pt x="0" y="1670"/>
                      <a:pt x="222" y="2113"/>
                      <a:pt x="666" y="2224"/>
                    </a:cubicBezTo>
                    <a:lnTo>
                      <a:pt x="6618" y="4036"/>
                    </a:lnTo>
                    <a:cubicBezTo>
                      <a:pt x="6688" y="4055"/>
                      <a:pt x="6760" y="4064"/>
                      <a:pt x="6831" y="4064"/>
                    </a:cubicBezTo>
                    <a:cubicBezTo>
                      <a:pt x="7168" y="4064"/>
                      <a:pt x="7487" y="3854"/>
                      <a:pt x="7579" y="3518"/>
                    </a:cubicBezTo>
                    <a:lnTo>
                      <a:pt x="7801" y="2779"/>
                    </a:lnTo>
                    <a:cubicBezTo>
                      <a:pt x="7949" y="2372"/>
                      <a:pt x="7690" y="1928"/>
                      <a:pt x="7283" y="1818"/>
                    </a:cubicBezTo>
                    <a:lnTo>
                      <a:pt x="1331" y="43"/>
                    </a:lnTo>
                    <a:cubicBezTo>
                      <a:pt x="1245" y="14"/>
                      <a:pt x="1159" y="1"/>
                      <a:pt x="107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 name="Google Shape;973;p53">
                <a:extLst>
                  <a:ext uri="{FF2B5EF4-FFF2-40B4-BE49-F238E27FC236}">
                    <a16:creationId xmlns:a16="http://schemas.microsoft.com/office/drawing/2014/main" id="{AF60396C-E549-4F57-B7B3-2F08DD24DD98}"/>
                  </a:ext>
                </a:extLst>
              </p:cNvPr>
              <p:cNvSpPr/>
              <p:nvPr/>
            </p:nvSpPr>
            <p:spPr>
              <a:xfrm>
                <a:off x="7971484" y="1942268"/>
                <a:ext cx="137116" cy="119798"/>
              </a:xfrm>
              <a:custGeom>
                <a:avLst/>
                <a:gdLst/>
                <a:ahLst/>
                <a:cxnLst/>
                <a:rect l="l" t="t" r="r" b="b"/>
                <a:pathLst>
                  <a:path w="7506" h="6558" extrusionOk="0">
                    <a:moveTo>
                      <a:pt x="4622" y="1123"/>
                    </a:moveTo>
                    <a:lnTo>
                      <a:pt x="4843" y="1197"/>
                    </a:lnTo>
                    <a:cubicBezTo>
                      <a:pt x="5620" y="1382"/>
                      <a:pt x="6100" y="2121"/>
                      <a:pt x="5916" y="2898"/>
                    </a:cubicBezTo>
                    <a:lnTo>
                      <a:pt x="4991" y="5929"/>
                    </a:lnTo>
                    <a:lnTo>
                      <a:pt x="3956" y="5670"/>
                    </a:lnTo>
                    <a:lnTo>
                      <a:pt x="4880" y="2528"/>
                    </a:lnTo>
                    <a:cubicBezTo>
                      <a:pt x="5065" y="2047"/>
                      <a:pt x="4954" y="1493"/>
                      <a:pt x="4622" y="1123"/>
                    </a:cubicBezTo>
                    <a:close/>
                    <a:moveTo>
                      <a:pt x="2737" y="1"/>
                    </a:moveTo>
                    <a:cubicBezTo>
                      <a:pt x="2047" y="1"/>
                      <a:pt x="1390" y="450"/>
                      <a:pt x="1183" y="1160"/>
                    </a:cubicBezTo>
                    <a:lnTo>
                      <a:pt x="0" y="5079"/>
                    </a:lnTo>
                    <a:lnTo>
                      <a:pt x="6137" y="6558"/>
                    </a:lnTo>
                    <a:lnTo>
                      <a:pt x="7210" y="2971"/>
                    </a:lnTo>
                    <a:cubicBezTo>
                      <a:pt x="7505" y="2121"/>
                      <a:pt x="7025" y="1197"/>
                      <a:pt x="6174" y="938"/>
                    </a:cubicBezTo>
                    <a:lnTo>
                      <a:pt x="3254" y="88"/>
                    </a:lnTo>
                    <a:cubicBezTo>
                      <a:pt x="3084" y="29"/>
                      <a:pt x="2909" y="1"/>
                      <a:pt x="273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 name="Google Shape;974;p53">
                <a:extLst>
                  <a:ext uri="{FF2B5EF4-FFF2-40B4-BE49-F238E27FC236}">
                    <a16:creationId xmlns:a16="http://schemas.microsoft.com/office/drawing/2014/main" id="{0FE5A1CB-2AD1-4F7B-B7A8-26A1DED1A3A4}"/>
                  </a:ext>
                </a:extLst>
              </p:cNvPr>
              <p:cNvSpPr/>
              <p:nvPr/>
            </p:nvSpPr>
            <p:spPr>
              <a:xfrm>
                <a:off x="8045103" y="1899960"/>
                <a:ext cx="40536" cy="55405"/>
              </a:xfrm>
              <a:custGeom>
                <a:avLst/>
                <a:gdLst/>
                <a:ahLst/>
                <a:cxnLst/>
                <a:rect l="l" t="t" r="r" b="b"/>
                <a:pathLst>
                  <a:path w="2219" h="3033" extrusionOk="0">
                    <a:moveTo>
                      <a:pt x="813" y="1"/>
                    </a:moveTo>
                    <a:lnTo>
                      <a:pt x="0" y="2626"/>
                    </a:lnTo>
                    <a:lnTo>
                      <a:pt x="1442" y="3032"/>
                    </a:lnTo>
                    <a:lnTo>
                      <a:pt x="2218" y="407"/>
                    </a:lnTo>
                    <a:lnTo>
                      <a:pt x="813"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 name="Google Shape;975;p53">
                <a:extLst>
                  <a:ext uri="{FF2B5EF4-FFF2-40B4-BE49-F238E27FC236}">
                    <a16:creationId xmlns:a16="http://schemas.microsoft.com/office/drawing/2014/main" id="{74B78E5A-87EA-4344-88B8-9A8CA2444848}"/>
                  </a:ext>
                </a:extLst>
              </p:cNvPr>
              <p:cNvSpPr/>
              <p:nvPr/>
            </p:nvSpPr>
            <p:spPr>
              <a:xfrm>
                <a:off x="8085620" y="2077575"/>
                <a:ext cx="27712" cy="25008"/>
              </a:xfrm>
              <a:custGeom>
                <a:avLst/>
                <a:gdLst/>
                <a:ahLst/>
                <a:cxnLst/>
                <a:rect l="l" t="t" r="r" b="b"/>
                <a:pathLst>
                  <a:path w="1517" h="1369" extrusionOk="0">
                    <a:moveTo>
                      <a:pt x="296" y="1"/>
                    </a:moveTo>
                    <a:lnTo>
                      <a:pt x="0" y="999"/>
                    </a:lnTo>
                    <a:lnTo>
                      <a:pt x="1220" y="1369"/>
                    </a:lnTo>
                    <a:lnTo>
                      <a:pt x="1516" y="371"/>
                    </a:lnTo>
                    <a:lnTo>
                      <a:pt x="296"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 name="Google Shape;976;p53">
                <a:extLst>
                  <a:ext uri="{FF2B5EF4-FFF2-40B4-BE49-F238E27FC236}">
                    <a16:creationId xmlns:a16="http://schemas.microsoft.com/office/drawing/2014/main" id="{D78C3F32-4647-4B54-98BC-324DDDE44D18}"/>
                  </a:ext>
                </a:extLst>
              </p:cNvPr>
              <p:cNvSpPr/>
              <p:nvPr/>
            </p:nvSpPr>
            <p:spPr>
              <a:xfrm>
                <a:off x="8102499" y="2080863"/>
                <a:ext cx="22305" cy="30178"/>
              </a:xfrm>
              <a:custGeom>
                <a:avLst/>
                <a:gdLst/>
                <a:ahLst/>
                <a:cxnLst/>
                <a:rect l="l" t="t" r="r" b="b"/>
                <a:pathLst>
                  <a:path w="1221" h="1652" extrusionOk="0">
                    <a:moveTo>
                      <a:pt x="772" y="0"/>
                    </a:moveTo>
                    <a:cubicBezTo>
                      <a:pt x="542" y="0"/>
                      <a:pt x="330" y="143"/>
                      <a:pt x="296" y="376"/>
                    </a:cubicBezTo>
                    <a:lnTo>
                      <a:pt x="112" y="1041"/>
                    </a:lnTo>
                    <a:cubicBezTo>
                      <a:pt x="1" y="1300"/>
                      <a:pt x="112" y="1559"/>
                      <a:pt x="370" y="1633"/>
                    </a:cubicBezTo>
                    <a:cubicBezTo>
                      <a:pt x="409" y="1645"/>
                      <a:pt x="449" y="1652"/>
                      <a:pt x="488" y="1652"/>
                    </a:cubicBezTo>
                    <a:cubicBezTo>
                      <a:pt x="676" y="1652"/>
                      <a:pt x="857" y="1514"/>
                      <a:pt x="888" y="1300"/>
                    </a:cubicBezTo>
                    <a:lnTo>
                      <a:pt x="1110" y="597"/>
                    </a:lnTo>
                    <a:cubicBezTo>
                      <a:pt x="1221" y="376"/>
                      <a:pt x="1073" y="117"/>
                      <a:pt x="851" y="6"/>
                    </a:cubicBezTo>
                    <a:cubicBezTo>
                      <a:pt x="825" y="2"/>
                      <a:pt x="798" y="0"/>
                      <a:pt x="77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 name="Google Shape;977;p53">
                <a:extLst>
                  <a:ext uri="{FF2B5EF4-FFF2-40B4-BE49-F238E27FC236}">
                    <a16:creationId xmlns:a16="http://schemas.microsoft.com/office/drawing/2014/main" id="{D32116E7-05A5-43D4-9F48-24B878A44643}"/>
                  </a:ext>
                </a:extLst>
              </p:cNvPr>
              <p:cNvSpPr/>
              <p:nvPr/>
            </p:nvSpPr>
            <p:spPr>
              <a:xfrm>
                <a:off x="8061982" y="1924274"/>
                <a:ext cx="75664" cy="163458"/>
              </a:xfrm>
              <a:custGeom>
                <a:avLst/>
                <a:gdLst/>
                <a:ahLst/>
                <a:cxnLst/>
                <a:rect l="l" t="t" r="r" b="b"/>
                <a:pathLst>
                  <a:path w="4142" h="8948" extrusionOk="0">
                    <a:moveTo>
                      <a:pt x="148" y="1"/>
                    </a:moveTo>
                    <a:lnTo>
                      <a:pt x="0" y="481"/>
                    </a:lnTo>
                    <a:cubicBezTo>
                      <a:pt x="4030" y="1701"/>
                      <a:pt x="4104" y="2552"/>
                      <a:pt x="2219" y="8800"/>
                    </a:cubicBezTo>
                    <a:lnTo>
                      <a:pt x="2699" y="8948"/>
                    </a:lnTo>
                    <a:cubicBezTo>
                      <a:pt x="3587" y="5916"/>
                      <a:pt x="4141" y="3956"/>
                      <a:pt x="3845" y="2663"/>
                    </a:cubicBezTo>
                    <a:cubicBezTo>
                      <a:pt x="3476" y="1258"/>
                      <a:pt x="2145" y="629"/>
                      <a:pt x="14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 name="Google Shape;978;p53">
                <a:extLst>
                  <a:ext uri="{FF2B5EF4-FFF2-40B4-BE49-F238E27FC236}">
                    <a16:creationId xmlns:a16="http://schemas.microsoft.com/office/drawing/2014/main" id="{1724685C-AF94-4049-AD25-181EF76ECD0D}"/>
                  </a:ext>
                </a:extLst>
              </p:cNvPr>
              <p:cNvSpPr/>
              <p:nvPr/>
            </p:nvSpPr>
            <p:spPr>
              <a:xfrm>
                <a:off x="7930291" y="2031651"/>
                <a:ext cx="31749" cy="25684"/>
              </a:xfrm>
              <a:custGeom>
                <a:avLst/>
                <a:gdLst/>
                <a:ahLst/>
                <a:cxnLst/>
                <a:rect l="l" t="t" r="r" b="b"/>
                <a:pathLst>
                  <a:path w="1738" h="1406" extrusionOk="0">
                    <a:moveTo>
                      <a:pt x="333" y="1"/>
                    </a:moveTo>
                    <a:lnTo>
                      <a:pt x="0" y="999"/>
                    </a:lnTo>
                    <a:lnTo>
                      <a:pt x="1442" y="1406"/>
                    </a:lnTo>
                    <a:lnTo>
                      <a:pt x="1738" y="408"/>
                    </a:lnTo>
                    <a:lnTo>
                      <a:pt x="333"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 name="Google Shape;979;p53">
                <a:extLst>
                  <a:ext uri="{FF2B5EF4-FFF2-40B4-BE49-F238E27FC236}">
                    <a16:creationId xmlns:a16="http://schemas.microsoft.com/office/drawing/2014/main" id="{9AB5C3D3-5F8C-4229-AAD9-D3F73B7E05F8}"/>
                  </a:ext>
                </a:extLst>
              </p:cNvPr>
              <p:cNvSpPr/>
              <p:nvPr/>
            </p:nvSpPr>
            <p:spPr>
              <a:xfrm>
                <a:off x="7918125" y="2027193"/>
                <a:ext cx="24332" cy="30141"/>
              </a:xfrm>
              <a:custGeom>
                <a:avLst/>
                <a:gdLst/>
                <a:ahLst/>
                <a:cxnLst/>
                <a:rect l="l" t="t" r="r" b="b"/>
                <a:pathLst>
                  <a:path w="1332" h="1650" extrusionOk="0">
                    <a:moveTo>
                      <a:pt x="712" y="1"/>
                    </a:moveTo>
                    <a:cubicBezTo>
                      <a:pt x="531" y="1"/>
                      <a:pt x="355" y="113"/>
                      <a:pt x="296" y="319"/>
                    </a:cubicBezTo>
                    <a:lnTo>
                      <a:pt x="75" y="1021"/>
                    </a:lnTo>
                    <a:cubicBezTo>
                      <a:pt x="1" y="1280"/>
                      <a:pt x="149" y="1539"/>
                      <a:pt x="407" y="1613"/>
                    </a:cubicBezTo>
                    <a:lnTo>
                      <a:pt x="481" y="1650"/>
                    </a:lnTo>
                    <a:lnTo>
                      <a:pt x="481" y="1613"/>
                    </a:lnTo>
                    <a:cubicBezTo>
                      <a:pt x="521" y="1626"/>
                      <a:pt x="561" y="1632"/>
                      <a:pt x="601" y="1632"/>
                    </a:cubicBezTo>
                    <a:cubicBezTo>
                      <a:pt x="789" y="1632"/>
                      <a:pt x="975" y="1500"/>
                      <a:pt x="1036" y="1317"/>
                    </a:cubicBezTo>
                    <a:lnTo>
                      <a:pt x="1258" y="615"/>
                    </a:lnTo>
                    <a:cubicBezTo>
                      <a:pt x="1332" y="356"/>
                      <a:pt x="1184" y="97"/>
                      <a:pt x="962" y="23"/>
                    </a:cubicBezTo>
                    <a:lnTo>
                      <a:pt x="851" y="23"/>
                    </a:lnTo>
                    <a:cubicBezTo>
                      <a:pt x="806" y="8"/>
                      <a:pt x="759" y="1"/>
                      <a:pt x="71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 name="Google Shape;980;p53">
                <a:extLst>
                  <a:ext uri="{FF2B5EF4-FFF2-40B4-BE49-F238E27FC236}">
                    <a16:creationId xmlns:a16="http://schemas.microsoft.com/office/drawing/2014/main" id="{5AA6C851-3842-4C73-AA84-8D91B1AE2AD4}"/>
                  </a:ext>
                </a:extLst>
              </p:cNvPr>
              <p:cNvSpPr/>
              <p:nvPr/>
            </p:nvSpPr>
            <p:spPr>
              <a:xfrm>
                <a:off x="7938384" y="1916091"/>
                <a:ext cx="129699" cy="122337"/>
              </a:xfrm>
              <a:custGeom>
                <a:avLst/>
                <a:gdLst/>
                <a:ahLst/>
                <a:cxnLst/>
                <a:rect l="l" t="t" r="r" b="b"/>
                <a:pathLst>
                  <a:path w="7100" h="6697" extrusionOk="0">
                    <a:moveTo>
                      <a:pt x="4380" y="0"/>
                    </a:moveTo>
                    <a:cubicBezTo>
                      <a:pt x="3628" y="0"/>
                      <a:pt x="3038" y="203"/>
                      <a:pt x="2552" y="670"/>
                    </a:cubicBezTo>
                    <a:cubicBezTo>
                      <a:pt x="1554" y="1595"/>
                      <a:pt x="925" y="3517"/>
                      <a:pt x="1" y="6549"/>
                    </a:cubicBezTo>
                    <a:lnTo>
                      <a:pt x="444" y="6697"/>
                    </a:lnTo>
                    <a:cubicBezTo>
                      <a:pt x="1839" y="2075"/>
                      <a:pt x="2425" y="467"/>
                      <a:pt x="4341" y="467"/>
                    </a:cubicBezTo>
                    <a:cubicBezTo>
                      <a:pt x="5015" y="467"/>
                      <a:pt x="5854" y="666"/>
                      <a:pt x="6951" y="1003"/>
                    </a:cubicBezTo>
                    <a:lnTo>
                      <a:pt x="7099" y="523"/>
                    </a:lnTo>
                    <a:cubicBezTo>
                      <a:pt x="6003" y="194"/>
                      <a:pt x="5114" y="0"/>
                      <a:pt x="438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 name="Google Shape;981;p53">
                <a:extLst>
                  <a:ext uri="{FF2B5EF4-FFF2-40B4-BE49-F238E27FC236}">
                    <a16:creationId xmlns:a16="http://schemas.microsoft.com/office/drawing/2014/main" id="{1EBE597A-0083-4F73-9517-8A28B497642A}"/>
                  </a:ext>
                </a:extLst>
              </p:cNvPr>
              <p:cNvSpPr/>
              <p:nvPr/>
            </p:nvSpPr>
            <p:spPr>
              <a:xfrm>
                <a:off x="8052519" y="1891429"/>
                <a:ext cx="41887" cy="20460"/>
              </a:xfrm>
              <a:custGeom>
                <a:avLst/>
                <a:gdLst/>
                <a:ahLst/>
                <a:cxnLst/>
                <a:rect l="l" t="t" r="r" b="b"/>
                <a:pathLst>
                  <a:path w="2293" h="1120" extrusionOk="0">
                    <a:moveTo>
                      <a:pt x="307" y="0"/>
                    </a:moveTo>
                    <a:cubicBezTo>
                      <a:pt x="186" y="0"/>
                      <a:pt x="67" y="93"/>
                      <a:pt x="38" y="209"/>
                    </a:cubicBezTo>
                    <a:lnTo>
                      <a:pt x="38" y="246"/>
                    </a:lnTo>
                    <a:cubicBezTo>
                      <a:pt x="1" y="394"/>
                      <a:pt x="75" y="579"/>
                      <a:pt x="223" y="616"/>
                    </a:cubicBezTo>
                    <a:lnTo>
                      <a:pt x="1886" y="1096"/>
                    </a:lnTo>
                    <a:cubicBezTo>
                      <a:pt x="1919" y="1112"/>
                      <a:pt x="1953" y="1120"/>
                      <a:pt x="1987" y="1120"/>
                    </a:cubicBezTo>
                    <a:cubicBezTo>
                      <a:pt x="2108" y="1120"/>
                      <a:pt x="2227" y="1027"/>
                      <a:pt x="2256" y="911"/>
                    </a:cubicBezTo>
                    <a:lnTo>
                      <a:pt x="2256" y="874"/>
                    </a:lnTo>
                    <a:cubicBezTo>
                      <a:pt x="2293" y="726"/>
                      <a:pt x="2219" y="542"/>
                      <a:pt x="2034" y="505"/>
                    </a:cubicBezTo>
                    <a:lnTo>
                      <a:pt x="407" y="24"/>
                    </a:lnTo>
                    <a:cubicBezTo>
                      <a:pt x="375" y="8"/>
                      <a:pt x="341" y="0"/>
                      <a:pt x="30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 name="Google Shape;982;p53">
                <a:extLst>
                  <a:ext uri="{FF2B5EF4-FFF2-40B4-BE49-F238E27FC236}">
                    <a16:creationId xmlns:a16="http://schemas.microsoft.com/office/drawing/2014/main" id="{DE50B14B-7B58-4EAC-AB16-FB02E44048B1}"/>
                  </a:ext>
                </a:extLst>
              </p:cNvPr>
              <p:cNvSpPr/>
              <p:nvPr/>
            </p:nvSpPr>
            <p:spPr>
              <a:xfrm>
                <a:off x="7911366" y="2065427"/>
                <a:ext cx="168189" cy="206678"/>
              </a:xfrm>
              <a:custGeom>
                <a:avLst/>
                <a:gdLst/>
                <a:ahLst/>
                <a:cxnLst/>
                <a:rect l="l" t="t" r="r" b="b"/>
                <a:pathLst>
                  <a:path w="9207" h="11314" extrusionOk="0">
                    <a:moveTo>
                      <a:pt x="2552" y="1"/>
                    </a:moveTo>
                    <a:lnTo>
                      <a:pt x="2182" y="1221"/>
                    </a:lnTo>
                    <a:lnTo>
                      <a:pt x="3883" y="1775"/>
                    </a:lnTo>
                    <a:cubicBezTo>
                      <a:pt x="4409" y="1874"/>
                      <a:pt x="4262" y="2587"/>
                      <a:pt x="3833" y="2587"/>
                    </a:cubicBezTo>
                    <a:cubicBezTo>
                      <a:pt x="3780" y="2587"/>
                      <a:pt x="3722" y="2576"/>
                      <a:pt x="3661" y="2551"/>
                    </a:cubicBezTo>
                    <a:lnTo>
                      <a:pt x="1923" y="2034"/>
                    </a:lnTo>
                    <a:lnTo>
                      <a:pt x="1776" y="2662"/>
                    </a:lnTo>
                    <a:lnTo>
                      <a:pt x="3476" y="3180"/>
                    </a:lnTo>
                    <a:cubicBezTo>
                      <a:pt x="4007" y="3428"/>
                      <a:pt x="3793" y="4183"/>
                      <a:pt x="3255" y="4183"/>
                    </a:cubicBezTo>
                    <a:cubicBezTo>
                      <a:pt x="3231" y="4183"/>
                      <a:pt x="3206" y="4181"/>
                      <a:pt x="3180" y="4178"/>
                    </a:cubicBezTo>
                    <a:lnTo>
                      <a:pt x="1443" y="3661"/>
                    </a:lnTo>
                    <a:lnTo>
                      <a:pt x="1258" y="4289"/>
                    </a:lnTo>
                    <a:lnTo>
                      <a:pt x="2996" y="4770"/>
                    </a:lnTo>
                    <a:cubicBezTo>
                      <a:pt x="3527" y="5018"/>
                      <a:pt x="3311" y="5809"/>
                      <a:pt x="2739" y="5809"/>
                    </a:cubicBezTo>
                    <a:cubicBezTo>
                      <a:pt x="2714" y="5809"/>
                      <a:pt x="2689" y="5808"/>
                      <a:pt x="2663" y="5805"/>
                    </a:cubicBezTo>
                    <a:lnTo>
                      <a:pt x="999" y="5287"/>
                    </a:lnTo>
                    <a:lnTo>
                      <a:pt x="814" y="5879"/>
                    </a:lnTo>
                    <a:lnTo>
                      <a:pt x="2515" y="6396"/>
                    </a:lnTo>
                    <a:cubicBezTo>
                      <a:pt x="2774" y="6433"/>
                      <a:pt x="2922" y="6692"/>
                      <a:pt x="2848" y="6951"/>
                    </a:cubicBezTo>
                    <a:cubicBezTo>
                      <a:pt x="2789" y="7127"/>
                      <a:pt x="2615" y="7233"/>
                      <a:pt x="2435" y="7233"/>
                    </a:cubicBezTo>
                    <a:cubicBezTo>
                      <a:pt x="2387" y="7233"/>
                      <a:pt x="2339" y="7225"/>
                      <a:pt x="2293" y="7210"/>
                    </a:cubicBezTo>
                    <a:lnTo>
                      <a:pt x="555" y="6692"/>
                    </a:lnTo>
                    <a:lnTo>
                      <a:pt x="297" y="7616"/>
                    </a:lnTo>
                    <a:cubicBezTo>
                      <a:pt x="1" y="8615"/>
                      <a:pt x="371" y="9724"/>
                      <a:pt x="1258" y="10278"/>
                    </a:cubicBezTo>
                    <a:lnTo>
                      <a:pt x="1591" y="9132"/>
                    </a:lnTo>
                    <a:cubicBezTo>
                      <a:pt x="1651" y="8981"/>
                      <a:pt x="1762" y="8854"/>
                      <a:pt x="1901" y="8854"/>
                    </a:cubicBezTo>
                    <a:cubicBezTo>
                      <a:pt x="1932" y="8854"/>
                      <a:pt x="1964" y="8860"/>
                      <a:pt x="1997" y="8873"/>
                    </a:cubicBezTo>
                    <a:cubicBezTo>
                      <a:pt x="2219" y="8910"/>
                      <a:pt x="2256" y="9132"/>
                      <a:pt x="2219" y="9317"/>
                    </a:cubicBezTo>
                    <a:lnTo>
                      <a:pt x="1812" y="10648"/>
                    </a:lnTo>
                    <a:cubicBezTo>
                      <a:pt x="1886" y="10648"/>
                      <a:pt x="1960" y="10685"/>
                      <a:pt x="2034" y="10685"/>
                    </a:cubicBezTo>
                    <a:lnTo>
                      <a:pt x="2626" y="10833"/>
                    </a:lnTo>
                    <a:lnTo>
                      <a:pt x="2996" y="9576"/>
                    </a:lnTo>
                    <a:cubicBezTo>
                      <a:pt x="3056" y="9393"/>
                      <a:pt x="3167" y="9261"/>
                      <a:pt x="3308" y="9261"/>
                    </a:cubicBezTo>
                    <a:cubicBezTo>
                      <a:pt x="3338" y="9261"/>
                      <a:pt x="3369" y="9267"/>
                      <a:pt x="3402" y="9280"/>
                    </a:cubicBezTo>
                    <a:cubicBezTo>
                      <a:pt x="3624" y="9354"/>
                      <a:pt x="3661" y="9539"/>
                      <a:pt x="3624" y="9761"/>
                    </a:cubicBezTo>
                    <a:lnTo>
                      <a:pt x="3217" y="11018"/>
                    </a:lnTo>
                    <a:lnTo>
                      <a:pt x="3846" y="11203"/>
                    </a:lnTo>
                    <a:cubicBezTo>
                      <a:pt x="3883" y="11203"/>
                      <a:pt x="4031" y="11314"/>
                      <a:pt x="4031" y="11314"/>
                    </a:cubicBezTo>
                    <a:lnTo>
                      <a:pt x="4437" y="9983"/>
                    </a:lnTo>
                    <a:cubicBezTo>
                      <a:pt x="4468" y="9831"/>
                      <a:pt x="4573" y="9704"/>
                      <a:pt x="4732" y="9704"/>
                    </a:cubicBezTo>
                    <a:cubicBezTo>
                      <a:pt x="4767" y="9704"/>
                      <a:pt x="4804" y="9710"/>
                      <a:pt x="4844" y="9724"/>
                    </a:cubicBezTo>
                    <a:cubicBezTo>
                      <a:pt x="5029" y="9761"/>
                      <a:pt x="5103" y="9983"/>
                      <a:pt x="5029" y="10167"/>
                    </a:cubicBezTo>
                    <a:lnTo>
                      <a:pt x="4696" y="11314"/>
                    </a:lnTo>
                    <a:cubicBezTo>
                      <a:pt x="5731" y="11314"/>
                      <a:pt x="6656" y="10611"/>
                      <a:pt x="6951" y="9613"/>
                    </a:cubicBezTo>
                    <a:lnTo>
                      <a:pt x="7210" y="8689"/>
                    </a:lnTo>
                    <a:lnTo>
                      <a:pt x="5547" y="8208"/>
                    </a:lnTo>
                    <a:cubicBezTo>
                      <a:pt x="5288" y="8134"/>
                      <a:pt x="5140" y="7875"/>
                      <a:pt x="5214" y="7653"/>
                    </a:cubicBezTo>
                    <a:cubicBezTo>
                      <a:pt x="5268" y="7462"/>
                      <a:pt x="5424" y="7352"/>
                      <a:pt x="5591" y="7352"/>
                    </a:cubicBezTo>
                    <a:cubicBezTo>
                      <a:pt x="5650" y="7352"/>
                      <a:pt x="5710" y="7366"/>
                      <a:pt x="5768" y="7395"/>
                    </a:cubicBezTo>
                    <a:lnTo>
                      <a:pt x="7469" y="7875"/>
                    </a:lnTo>
                    <a:lnTo>
                      <a:pt x="7654" y="7284"/>
                    </a:lnTo>
                    <a:lnTo>
                      <a:pt x="5953" y="6766"/>
                    </a:lnTo>
                    <a:cubicBezTo>
                      <a:pt x="5396" y="6522"/>
                      <a:pt x="5593" y="5721"/>
                      <a:pt x="6143" y="5721"/>
                    </a:cubicBezTo>
                    <a:cubicBezTo>
                      <a:pt x="6177" y="5721"/>
                      <a:pt x="6212" y="5724"/>
                      <a:pt x="6249" y="5731"/>
                    </a:cubicBezTo>
                    <a:lnTo>
                      <a:pt x="7950" y="6249"/>
                    </a:lnTo>
                    <a:lnTo>
                      <a:pt x="8098" y="5657"/>
                    </a:lnTo>
                    <a:lnTo>
                      <a:pt x="6434" y="5139"/>
                    </a:lnTo>
                    <a:cubicBezTo>
                      <a:pt x="5913" y="4896"/>
                      <a:pt x="6110" y="4131"/>
                      <a:pt x="6626" y="4131"/>
                    </a:cubicBezTo>
                    <a:cubicBezTo>
                      <a:pt x="6659" y="4131"/>
                      <a:pt x="6694" y="4134"/>
                      <a:pt x="6730" y="4141"/>
                    </a:cubicBezTo>
                    <a:lnTo>
                      <a:pt x="8430" y="4622"/>
                    </a:lnTo>
                    <a:lnTo>
                      <a:pt x="8615" y="4030"/>
                    </a:lnTo>
                    <a:lnTo>
                      <a:pt x="6914" y="3513"/>
                    </a:lnTo>
                    <a:cubicBezTo>
                      <a:pt x="6477" y="3445"/>
                      <a:pt x="6682" y="2675"/>
                      <a:pt x="7057" y="2675"/>
                    </a:cubicBezTo>
                    <a:cubicBezTo>
                      <a:pt x="7094" y="2675"/>
                      <a:pt x="7133" y="2683"/>
                      <a:pt x="7173" y="2699"/>
                    </a:cubicBezTo>
                    <a:lnTo>
                      <a:pt x="8837" y="3217"/>
                    </a:lnTo>
                    <a:lnTo>
                      <a:pt x="9207" y="1997"/>
                    </a:lnTo>
                    <a:lnTo>
                      <a:pt x="255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983;p53">
                <a:extLst>
                  <a:ext uri="{FF2B5EF4-FFF2-40B4-BE49-F238E27FC236}">
                    <a16:creationId xmlns:a16="http://schemas.microsoft.com/office/drawing/2014/main" id="{1012949B-94BB-4E78-B18F-6B26D9F294B0}"/>
                  </a:ext>
                </a:extLst>
              </p:cNvPr>
              <p:cNvSpPr/>
              <p:nvPr/>
            </p:nvSpPr>
            <p:spPr>
              <a:xfrm>
                <a:off x="8045103" y="1754734"/>
                <a:ext cx="74604" cy="62548"/>
              </a:xfrm>
              <a:custGeom>
                <a:avLst/>
                <a:gdLst/>
                <a:ahLst/>
                <a:cxnLst/>
                <a:rect l="l" t="t" r="r" b="b"/>
                <a:pathLst>
                  <a:path w="4084" h="3424" extrusionOk="0">
                    <a:moveTo>
                      <a:pt x="2210" y="1"/>
                    </a:moveTo>
                    <a:cubicBezTo>
                      <a:pt x="1872" y="1"/>
                      <a:pt x="1527" y="104"/>
                      <a:pt x="1220" y="335"/>
                    </a:cubicBezTo>
                    <a:cubicBezTo>
                      <a:pt x="0" y="1259"/>
                      <a:pt x="481" y="3181"/>
                      <a:pt x="1997" y="3403"/>
                    </a:cubicBezTo>
                    <a:cubicBezTo>
                      <a:pt x="2083" y="3417"/>
                      <a:pt x="2169" y="3424"/>
                      <a:pt x="2254" y="3424"/>
                    </a:cubicBezTo>
                    <a:cubicBezTo>
                      <a:pt x="3074" y="3424"/>
                      <a:pt x="3785" y="2799"/>
                      <a:pt x="3919" y="1961"/>
                    </a:cubicBezTo>
                    <a:cubicBezTo>
                      <a:pt x="4083" y="839"/>
                      <a:pt x="3174" y="1"/>
                      <a:pt x="221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984;p53">
                <a:extLst>
                  <a:ext uri="{FF2B5EF4-FFF2-40B4-BE49-F238E27FC236}">
                    <a16:creationId xmlns:a16="http://schemas.microsoft.com/office/drawing/2014/main" id="{E5824DD3-D1BF-4B55-9D94-81A705DB28FD}"/>
                  </a:ext>
                </a:extLst>
              </p:cNvPr>
              <p:cNvSpPr/>
              <p:nvPr/>
            </p:nvSpPr>
            <p:spPr>
              <a:xfrm>
                <a:off x="8045778" y="1794612"/>
                <a:ext cx="55387" cy="160754"/>
              </a:xfrm>
              <a:custGeom>
                <a:avLst/>
                <a:gdLst/>
                <a:ahLst/>
                <a:cxnLst/>
                <a:rect l="l" t="t" r="r" b="b"/>
                <a:pathLst>
                  <a:path w="3032" h="8800" extrusionOk="0">
                    <a:moveTo>
                      <a:pt x="1997" y="0"/>
                    </a:moveTo>
                    <a:lnTo>
                      <a:pt x="0" y="8356"/>
                    </a:lnTo>
                    <a:lnTo>
                      <a:pt x="1405" y="8799"/>
                    </a:lnTo>
                    <a:lnTo>
                      <a:pt x="3032" y="148"/>
                    </a:lnTo>
                    <a:lnTo>
                      <a:pt x="199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 name="Google Shape;985;p53">
                <a:extLst>
                  <a:ext uri="{FF2B5EF4-FFF2-40B4-BE49-F238E27FC236}">
                    <a16:creationId xmlns:a16="http://schemas.microsoft.com/office/drawing/2014/main" id="{EA43B0AA-BFF4-47A7-AB09-B0994EA04C7A}"/>
                  </a:ext>
                </a:extLst>
              </p:cNvPr>
              <p:cNvSpPr/>
              <p:nvPr/>
            </p:nvSpPr>
            <p:spPr>
              <a:xfrm>
                <a:off x="7699993" y="1390169"/>
                <a:ext cx="93310" cy="77893"/>
              </a:xfrm>
              <a:custGeom>
                <a:avLst/>
                <a:gdLst/>
                <a:ahLst/>
                <a:cxnLst/>
                <a:rect l="l" t="t" r="r" b="b"/>
                <a:pathLst>
                  <a:path w="5108" h="4264" extrusionOk="0">
                    <a:moveTo>
                      <a:pt x="2793" y="1"/>
                    </a:moveTo>
                    <a:cubicBezTo>
                      <a:pt x="2361" y="1"/>
                      <a:pt x="1916" y="136"/>
                      <a:pt x="1516" y="438"/>
                    </a:cubicBezTo>
                    <a:cubicBezTo>
                      <a:pt x="0" y="1585"/>
                      <a:pt x="629" y="3988"/>
                      <a:pt x="2514" y="4246"/>
                    </a:cubicBezTo>
                    <a:cubicBezTo>
                      <a:pt x="2605" y="4258"/>
                      <a:pt x="2695" y="4264"/>
                      <a:pt x="2784" y="4264"/>
                    </a:cubicBezTo>
                    <a:cubicBezTo>
                      <a:pt x="3824" y="4264"/>
                      <a:pt x="4747" y="3490"/>
                      <a:pt x="4917" y="2435"/>
                    </a:cubicBezTo>
                    <a:cubicBezTo>
                      <a:pt x="5108" y="1048"/>
                      <a:pt x="3997" y="1"/>
                      <a:pt x="2793"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 name="Google Shape;986;p53">
                <a:extLst>
                  <a:ext uri="{FF2B5EF4-FFF2-40B4-BE49-F238E27FC236}">
                    <a16:creationId xmlns:a16="http://schemas.microsoft.com/office/drawing/2014/main" id="{84D6051B-2B4A-4BF3-9A6E-DD270E1EF0BD}"/>
                  </a:ext>
                </a:extLst>
              </p:cNvPr>
              <p:cNvSpPr/>
              <p:nvPr/>
            </p:nvSpPr>
            <p:spPr>
              <a:xfrm>
                <a:off x="7765500" y="1421133"/>
                <a:ext cx="333638" cy="353239"/>
              </a:xfrm>
              <a:custGeom>
                <a:avLst/>
                <a:gdLst/>
                <a:ahLst/>
                <a:cxnLst/>
                <a:rect l="l" t="t" r="r" b="b"/>
                <a:pathLst>
                  <a:path w="18264" h="19337" extrusionOk="0">
                    <a:moveTo>
                      <a:pt x="629" y="0"/>
                    </a:moveTo>
                    <a:lnTo>
                      <a:pt x="0" y="555"/>
                    </a:lnTo>
                    <a:lnTo>
                      <a:pt x="17635" y="19336"/>
                    </a:lnTo>
                    <a:lnTo>
                      <a:pt x="18264" y="18745"/>
                    </a:lnTo>
                    <a:lnTo>
                      <a:pt x="62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 name="Google Shape;987;p53">
                <a:extLst>
                  <a:ext uri="{FF2B5EF4-FFF2-40B4-BE49-F238E27FC236}">
                    <a16:creationId xmlns:a16="http://schemas.microsoft.com/office/drawing/2014/main" id="{96920871-238F-45BD-8ED2-5E1E3DC671AD}"/>
                  </a:ext>
                </a:extLst>
              </p:cNvPr>
              <p:cNvSpPr/>
              <p:nvPr/>
            </p:nvSpPr>
            <p:spPr>
              <a:xfrm>
                <a:off x="7749955" y="1440039"/>
                <a:ext cx="334332" cy="353239"/>
              </a:xfrm>
              <a:custGeom>
                <a:avLst/>
                <a:gdLst/>
                <a:ahLst/>
                <a:cxnLst/>
                <a:rect l="l" t="t" r="r" b="b"/>
                <a:pathLst>
                  <a:path w="18302" h="19337" extrusionOk="0">
                    <a:moveTo>
                      <a:pt x="629" y="1"/>
                    </a:moveTo>
                    <a:lnTo>
                      <a:pt x="1" y="592"/>
                    </a:lnTo>
                    <a:lnTo>
                      <a:pt x="17673" y="19336"/>
                    </a:lnTo>
                    <a:lnTo>
                      <a:pt x="18301" y="18745"/>
                    </a:lnTo>
                    <a:lnTo>
                      <a:pt x="62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 name="Google Shape;988;p53">
                <a:extLst>
                  <a:ext uri="{FF2B5EF4-FFF2-40B4-BE49-F238E27FC236}">
                    <a16:creationId xmlns:a16="http://schemas.microsoft.com/office/drawing/2014/main" id="{E643CB2D-F1E4-4C6D-A255-19D510A73800}"/>
                  </a:ext>
                </a:extLst>
              </p:cNvPr>
              <p:cNvSpPr/>
              <p:nvPr/>
            </p:nvSpPr>
            <p:spPr>
              <a:xfrm>
                <a:off x="7335958" y="1433956"/>
                <a:ext cx="405246" cy="174948"/>
              </a:xfrm>
              <a:custGeom>
                <a:avLst/>
                <a:gdLst/>
                <a:ahLst/>
                <a:cxnLst/>
                <a:rect l="l" t="t" r="r" b="b"/>
                <a:pathLst>
                  <a:path w="22184" h="9577" extrusionOk="0">
                    <a:moveTo>
                      <a:pt x="21851" y="1"/>
                    </a:moveTo>
                    <a:lnTo>
                      <a:pt x="149" y="8504"/>
                    </a:lnTo>
                    <a:lnTo>
                      <a:pt x="1" y="9576"/>
                    </a:lnTo>
                    <a:lnTo>
                      <a:pt x="22183" y="777"/>
                    </a:lnTo>
                    <a:lnTo>
                      <a:pt x="2185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989;p53">
                <a:extLst>
                  <a:ext uri="{FF2B5EF4-FFF2-40B4-BE49-F238E27FC236}">
                    <a16:creationId xmlns:a16="http://schemas.microsoft.com/office/drawing/2014/main" id="{F853F8A7-387A-4A67-A8E1-2003A0FACB6D}"/>
                  </a:ext>
                </a:extLst>
              </p:cNvPr>
              <p:cNvSpPr/>
              <p:nvPr/>
            </p:nvSpPr>
            <p:spPr>
              <a:xfrm>
                <a:off x="7341365" y="1413698"/>
                <a:ext cx="390376" cy="156023"/>
              </a:xfrm>
              <a:custGeom>
                <a:avLst/>
                <a:gdLst/>
                <a:ahLst/>
                <a:cxnLst/>
                <a:rect l="l" t="t" r="r" b="b"/>
                <a:pathLst>
                  <a:path w="21370" h="8541" extrusionOk="0">
                    <a:moveTo>
                      <a:pt x="21037" y="1"/>
                    </a:moveTo>
                    <a:lnTo>
                      <a:pt x="149" y="7469"/>
                    </a:lnTo>
                    <a:lnTo>
                      <a:pt x="1" y="8541"/>
                    </a:lnTo>
                    <a:lnTo>
                      <a:pt x="21370" y="777"/>
                    </a:lnTo>
                    <a:lnTo>
                      <a:pt x="2103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 name="Google Shape;990;p53">
                <a:extLst>
                  <a:ext uri="{FF2B5EF4-FFF2-40B4-BE49-F238E27FC236}">
                    <a16:creationId xmlns:a16="http://schemas.microsoft.com/office/drawing/2014/main" id="{202D6A9B-376A-4B96-B818-20B087D68457}"/>
                  </a:ext>
                </a:extLst>
              </p:cNvPr>
              <p:cNvSpPr/>
              <p:nvPr/>
            </p:nvSpPr>
            <p:spPr>
              <a:xfrm>
                <a:off x="7723631" y="1408291"/>
                <a:ext cx="49962" cy="42052"/>
              </a:xfrm>
              <a:custGeom>
                <a:avLst/>
                <a:gdLst/>
                <a:ahLst/>
                <a:cxnLst/>
                <a:rect l="l" t="t" r="r" b="b"/>
                <a:pathLst>
                  <a:path w="2735" h="2302" extrusionOk="0">
                    <a:moveTo>
                      <a:pt x="1487" y="0"/>
                    </a:moveTo>
                    <a:cubicBezTo>
                      <a:pt x="1259" y="0"/>
                      <a:pt x="1025" y="69"/>
                      <a:pt x="813" y="223"/>
                    </a:cubicBezTo>
                    <a:cubicBezTo>
                      <a:pt x="0" y="851"/>
                      <a:pt x="333" y="2145"/>
                      <a:pt x="1331" y="2293"/>
                    </a:cubicBezTo>
                    <a:cubicBezTo>
                      <a:pt x="1377" y="2299"/>
                      <a:pt x="1423" y="2301"/>
                      <a:pt x="1468" y="2301"/>
                    </a:cubicBezTo>
                    <a:cubicBezTo>
                      <a:pt x="2043" y="2301"/>
                      <a:pt x="2556" y="1878"/>
                      <a:pt x="2625" y="1295"/>
                    </a:cubicBezTo>
                    <a:cubicBezTo>
                      <a:pt x="2734" y="556"/>
                      <a:pt x="2136" y="0"/>
                      <a:pt x="148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 name="Google Shape;991;p53">
                <a:extLst>
                  <a:ext uri="{FF2B5EF4-FFF2-40B4-BE49-F238E27FC236}">
                    <a16:creationId xmlns:a16="http://schemas.microsoft.com/office/drawing/2014/main" id="{B5F3FB23-F0CA-4F6E-B98E-E721E7EF9A52}"/>
                  </a:ext>
                </a:extLst>
              </p:cNvPr>
              <p:cNvSpPr/>
              <p:nvPr/>
            </p:nvSpPr>
            <p:spPr>
              <a:xfrm>
                <a:off x="8063333" y="1769055"/>
                <a:ext cx="40700" cy="33850"/>
              </a:xfrm>
              <a:custGeom>
                <a:avLst/>
                <a:gdLst/>
                <a:ahLst/>
                <a:cxnLst/>
                <a:rect l="l" t="t" r="r" b="b"/>
                <a:pathLst>
                  <a:path w="2228" h="1853" extrusionOk="0">
                    <a:moveTo>
                      <a:pt x="1208" y="1"/>
                    </a:moveTo>
                    <a:cubicBezTo>
                      <a:pt x="1025" y="1"/>
                      <a:pt x="837" y="56"/>
                      <a:pt x="666" y="179"/>
                    </a:cubicBezTo>
                    <a:cubicBezTo>
                      <a:pt x="0" y="697"/>
                      <a:pt x="259" y="1732"/>
                      <a:pt x="1072" y="1843"/>
                    </a:cubicBezTo>
                    <a:cubicBezTo>
                      <a:pt x="1117" y="1849"/>
                      <a:pt x="1161" y="1852"/>
                      <a:pt x="1205" y="1852"/>
                    </a:cubicBezTo>
                    <a:cubicBezTo>
                      <a:pt x="1670" y="1852"/>
                      <a:pt x="2077" y="1506"/>
                      <a:pt x="2145" y="1067"/>
                    </a:cubicBezTo>
                    <a:cubicBezTo>
                      <a:pt x="2227" y="462"/>
                      <a:pt x="1738" y="1"/>
                      <a:pt x="1208"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 name="Google Shape;992;p53">
                <a:extLst>
                  <a:ext uri="{FF2B5EF4-FFF2-40B4-BE49-F238E27FC236}">
                    <a16:creationId xmlns:a16="http://schemas.microsoft.com/office/drawing/2014/main" id="{4E4AA3F0-8886-4F52-86C1-A31FD51B8AA5}"/>
                  </a:ext>
                </a:extLst>
              </p:cNvPr>
              <p:cNvSpPr/>
              <p:nvPr/>
            </p:nvSpPr>
            <p:spPr>
              <a:xfrm>
                <a:off x="7242776" y="1533240"/>
                <a:ext cx="117515" cy="124292"/>
              </a:xfrm>
              <a:custGeom>
                <a:avLst/>
                <a:gdLst/>
                <a:ahLst/>
                <a:cxnLst/>
                <a:rect l="l" t="t" r="r" b="b"/>
                <a:pathLst>
                  <a:path w="6433" h="6804" extrusionOk="0">
                    <a:moveTo>
                      <a:pt x="444" y="1"/>
                    </a:moveTo>
                    <a:lnTo>
                      <a:pt x="0" y="4030"/>
                    </a:lnTo>
                    <a:lnTo>
                      <a:pt x="1331" y="6803"/>
                    </a:lnTo>
                    <a:lnTo>
                      <a:pt x="6433" y="3809"/>
                    </a:lnTo>
                    <a:lnTo>
                      <a:pt x="5620" y="370"/>
                    </a:lnTo>
                    <a:lnTo>
                      <a:pt x="444"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 name="Google Shape;993;p53">
                <a:extLst>
                  <a:ext uri="{FF2B5EF4-FFF2-40B4-BE49-F238E27FC236}">
                    <a16:creationId xmlns:a16="http://schemas.microsoft.com/office/drawing/2014/main" id="{217A39E1-E075-43E0-85B5-A0DAD368A59A}"/>
                  </a:ext>
                </a:extLst>
              </p:cNvPr>
              <p:cNvSpPr/>
              <p:nvPr/>
            </p:nvSpPr>
            <p:spPr>
              <a:xfrm>
                <a:off x="6135856" y="785625"/>
                <a:ext cx="1416243" cy="1133937"/>
              </a:xfrm>
              <a:custGeom>
                <a:avLst/>
                <a:gdLst/>
                <a:ahLst/>
                <a:cxnLst/>
                <a:rect l="l" t="t" r="r" b="b"/>
                <a:pathLst>
                  <a:path w="77528" h="62074" extrusionOk="0">
                    <a:moveTo>
                      <a:pt x="407" y="0"/>
                    </a:moveTo>
                    <a:lnTo>
                      <a:pt x="0" y="62074"/>
                    </a:lnTo>
                    <a:lnTo>
                      <a:pt x="72684" y="61519"/>
                    </a:lnTo>
                    <a:lnTo>
                      <a:pt x="77528" y="5804"/>
                    </a:lnTo>
                    <a:lnTo>
                      <a:pt x="407"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 name="Google Shape;994;p53">
                <a:extLst>
                  <a:ext uri="{FF2B5EF4-FFF2-40B4-BE49-F238E27FC236}">
                    <a16:creationId xmlns:a16="http://schemas.microsoft.com/office/drawing/2014/main" id="{10FB85ED-E107-45A0-80FA-142C3FB775B4}"/>
                  </a:ext>
                </a:extLst>
              </p:cNvPr>
              <p:cNvSpPr/>
              <p:nvPr/>
            </p:nvSpPr>
            <p:spPr>
              <a:xfrm>
                <a:off x="6194605" y="835586"/>
                <a:ext cx="1302107" cy="1042782"/>
              </a:xfrm>
              <a:custGeom>
                <a:avLst/>
                <a:gdLst/>
                <a:ahLst/>
                <a:cxnLst/>
                <a:rect l="l" t="t" r="r" b="b"/>
                <a:pathLst>
                  <a:path w="71280" h="57084" extrusionOk="0">
                    <a:moveTo>
                      <a:pt x="370" y="1"/>
                    </a:moveTo>
                    <a:lnTo>
                      <a:pt x="1" y="57084"/>
                    </a:lnTo>
                    <a:lnTo>
                      <a:pt x="66807" y="56566"/>
                    </a:lnTo>
                    <a:lnTo>
                      <a:pt x="71280" y="5325"/>
                    </a:lnTo>
                    <a:lnTo>
                      <a:pt x="37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 name="Google Shape;995;p53">
                <a:extLst>
                  <a:ext uri="{FF2B5EF4-FFF2-40B4-BE49-F238E27FC236}">
                    <a16:creationId xmlns:a16="http://schemas.microsoft.com/office/drawing/2014/main" id="{B1C8D16B-F7BE-4B6E-9689-F913A60A5DBD}"/>
                  </a:ext>
                </a:extLst>
              </p:cNvPr>
              <p:cNvSpPr/>
              <p:nvPr/>
            </p:nvSpPr>
            <p:spPr>
              <a:xfrm>
                <a:off x="6194605" y="835586"/>
                <a:ext cx="212086" cy="1043458"/>
              </a:xfrm>
              <a:custGeom>
                <a:avLst/>
                <a:gdLst/>
                <a:ahLst/>
                <a:cxnLst/>
                <a:rect l="l" t="t" r="r" b="b"/>
                <a:pathLst>
                  <a:path w="11610" h="57121" extrusionOk="0">
                    <a:moveTo>
                      <a:pt x="370" y="1"/>
                    </a:moveTo>
                    <a:lnTo>
                      <a:pt x="1" y="57084"/>
                    </a:lnTo>
                    <a:lnTo>
                      <a:pt x="10131" y="57121"/>
                    </a:lnTo>
                    <a:lnTo>
                      <a:pt x="11609" y="851"/>
                    </a:lnTo>
                    <a:lnTo>
                      <a:pt x="370" y="1"/>
                    </a:lnTo>
                    <a:close/>
                  </a:path>
                </a:pathLst>
              </a:custGeom>
              <a:solidFill>
                <a:srgbClr val="37006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 name="Google Shape;996;p53">
                <a:extLst>
                  <a:ext uri="{FF2B5EF4-FFF2-40B4-BE49-F238E27FC236}">
                    <a16:creationId xmlns:a16="http://schemas.microsoft.com/office/drawing/2014/main" id="{ABFBDB1E-A571-41AE-9763-85249D746FC0}"/>
                  </a:ext>
                </a:extLst>
              </p:cNvPr>
              <p:cNvSpPr/>
              <p:nvPr/>
            </p:nvSpPr>
            <p:spPr>
              <a:xfrm>
                <a:off x="6223175" y="1070616"/>
                <a:ext cx="98425" cy="84323"/>
              </a:xfrm>
              <a:custGeom>
                <a:avLst/>
                <a:gdLst/>
                <a:ahLst/>
                <a:cxnLst/>
                <a:rect l="l" t="t" r="r" b="b"/>
                <a:pathLst>
                  <a:path w="5388" h="4616" extrusionOk="0">
                    <a:moveTo>
                      <a:pt x="3050" y="0"/>
                    </a:moveTo>
                    <a:cubicBezTo>
                      <a:pt x="1046" y="0"/>
                      <a:pt x="0" y="2452"/>
                      <a:pt x="1431" y="3920"/>
                    </a:cubicBezTo>
                    <a:cubicBezTo>
                      <a:pt x="1912" y="4400"/>
                      <a:pt x="2499" y="4616"/>
                      <a:pt x="3071" y="4616"/>
                    </a:cubicBezTo>
                    <a:cubicBezTo>
                      <a:pt x="4259" y="4616"/>
                      <a:pt x="5387" y="3690"/>
                      <a:pt x="5387" y="2293"/>
                    </a:cubicBezTo>
                    <a:cubicBezTo>
                      <a:pt x="5387" y="1036"/>
                      <a:pt x="4389" y="1"/>
                      <a:pt x="3095" y="1"/>
                    </a:cubicBezTo>
                    <a:cubicBezTo>
                      <a:pt x="3080" y="0"/>
                      <a:pt x="3065" y="0"/>
                      <a:pt x="3050"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 name="Google Shape;997;p53">
                <a:extLst>
                  <a:ext uri="{FF2B5EF4-FFF2-40B4-BE49-F238E27FC236}">
                    <a16:creationId xmlns:a16="http://schemas.microsoft.com/office/drawing/2014/main" id="{E63B983E-D58C-4D73-84D4-8D37A20D3188}"/>
                  </a:ext>
                </a:extLst>
              </p:cNvPr>
              <p:cNvSpPr/>
              <p:nvPr/>
            </p:nvSpPr>
            <p:spPr>
              <a:xfrm>
                <a:off x="6222499" y="1204334"/>
                <a:ext cx="98425" cy="84323"/>
              </a:xfrm>
              <a:custGeom>
                <a:avLst/>
                <a:gdLst/>
                <a:ahLst/>
                <a:cxnLst/>
                <a:rect l="l" t="t" r="r" b="b"/>
                <a:pathLst>
                  <a:path w="5388" h="4616" extrusionOk="0">
                    <a:moveTo>
                      <a:pt x="3049" y="0"/>
                    </a:moveTo>
                    <a:cubicBezTo>
                      <a:pt x="1009" y="0"/>
                      <a:pt x="0" y="2452"/>
                      <a:pt x="1431" y="3920"/>
                    </a:cubicBezTo>
                    <a:cubicBezTo>
                      <a:pt x="1900" y="4401"/>
                      <a:pt x="2483" y="4616"/>
                      <a:pt x="3055" y="4616"/>
                    </a:cubicBezTo>
                    <a:cubicBezTo>
                      <a:pt x="4242" y="4616"/>
                      <a:pt x="5387" y="3690"/>
                      <a:pt x="5387" y="2293"/>
                    </a:cubicBezTo>
                    <a:cubicBezTo>
                      <a:pt x="5387" y="1036"/>
                      <a:pt x="4352" y="1"/>
                      <a:pt x="3095" y="1"/>
                    </a:cubicBezTo>
                    <a:cubicBezTo>
                      <a:pt x="3080" y="1"/>
                      <a:pt x="3064" y="0"/>
                      <a:pt x="3049"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 name="Google Shape;998;p53">
                <a:extLst>
                  <a:ext uri="{FF2B5EF4-FFF2-40B4-BE49-F238E27FC236}">
                    <a16:creationId xmlns:a16="http://schemas.microsoft.com/office/drawing/2014/main" id="{C4877E16-4B85-48D6-9139-55ECD4D0B7DC}"/>
                  </a:ext>
                </a:extLst>
              </p:cNvPr>
              <p:cNvSpPr/>
              <p:nvPr/>
            </p:nvSpPr>
            <p:spPr>
              <a:xfrm>
                <a:off x="6221823" y="1338052"/>
                <a:ext cx="98425" cy="84323"/>
              </a:xfrm>
              <a:custGeom>
                <a:avLst/>
                <a:gdLst/>
                <a:ahLst/>
                <a:cxnLst/>
                <a:rect l="l" t="t" r="r" b="b"/>
                <a:pathLst>
                  <a:path w="5388" h="4616" extrusionOk="0">
                    <a:moveTo>
                      <a:pt x="3049" y="1"/>
                    </a:moveTo>
                    <a:cubicBezTo>
                      <a:pt x="1009" y="1"/>
                      <a:pt x="0" y="2452"/>
                      <a:pt x="1431" y="3920"/>
                    </a:cubicBezTo>
                    <a:cubicBezTo>
                      <a:pt x="1900" y="4401"/>
                      <a:pt x="2483" y="4616"/>
                      <a:pt x="3055" y="4616"/>
                    </a:cubicBezTo>
                    <a:cubicBezTo>
                      <a:pt x="4242" y="4616"/>
                      <a:pt x="5387" y="3690"/>
                      <a:pt x="5387" y="2293"/>
                    </a:cubicBezTo>
                    <a:cubicBezTo>
                      <a:pt x="5387" y="1036"/>
                      <a:pt x="4352" y="1"/>
                      <a:pt x="3095" y="1"/>
                    </a:cubicBezTo>
                    <a:cubicBezTo>
                      <a:pt x="3080" y="1"/>
                      <a:pt x="3064" y="1"/>
                      <a:pt x="3049"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 name="Google Shape;999;p53">
                <a:extLst>
                  <a:ext uri="{FF2B5EF4-FFF2-40B4-BE49-F238E27FC236}">
                    <a16:creationId xmlns:a16="http://schemas.microsoft.com/office/drawing/2014/main" id="{2598393B-1A2A-46BD-A9A0-996FA11EA418}"/>
                  </a:ext>
                </a:extLst>
              </p:cNvPr>
              <p:cNvSpPr/>
              <p:nvPr/>
            </p:nvSpPr>
            <p:spPr>
              <a:xfrm>
                <a:off x="6220271" y="1471112"/>
                <a:ext cx="99302" cy="84688"/>
              </a:xfrm>
              <a:custGeom>
                <a:avLst/>
                <a:gdLst/>
                <a:ahLst/>
                <a:cxnLst/>
                <a:rect l="l" t="t" r="r" b="b"/>
                <a:pathLst>
                  <a:path w="5436" h="4636" extrusionOk="0">
                    <a:moveTo>
                      <a:pt x="3143" y="0"/>
                    </a:moveTo>
                    <a:cubicBezTo>
                      <a:pt x="1073" y="0"/>
                      <a:pt x="0" y="2477"/>
                      <a:pt x="1479" y="3956"/>
                    </a:cubicBezTo>
                    <a:cubicBezTo>
                      <a:pt x="1948" y="4425"/>
                      <a:pt x="2530" y="4636"/>
                      <a:pt x="3102" y="4636"/>
                    </a:cubicBezTo>
                    <a:cubicBezTo>
                      <a:pt x="4290" y="4636"/>
                      <a:pt x="5435" y="3727"/>
                      <a:pt x="5435" y="2329"/>
                    </a:cubicBezTo>
                    <a:cubicBezTo>
                      <a:pt x="5435" y="1072"/>
                      <a:pt x="4400" y="37"/>
                      <a:pt x="3143"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 name="Google Shape;1000;p53">
                <a:extLst>
                  <a:ext uri="{FF2B5EF4-FFF2-40B4-BE49-F238E27FC236}">
                    <a16:creationId xmlns:a16="http://schemas.microsoft.com/office/drawing/2014/main" id="{5E6F19E3-2FFA-4711-AF5B-9B563EA8C9AB}"/>
                  </a:ext>
                </a:extLst>
              </p:cNvPr>
              <p:cNvSpPr/>
              <p:nvPr/>
            </p:nvSpPr>
            <p:spPr>
              <a:xfrm>
                <a:off x="6219595" y="1604831"/>
                <a:ext cx="99302" cy="84999"/>
              </a:xfrm>
              <a:custGeom>
                <a:avLst/>
                <a:gdLst/>
                <a:ahLst/>
                <a:cxnLst/>
                <a:rect l="l" t="t" r="r" b="b"/>
                <a:pathLst>
                  <a:path w="5436" h="4653" extrusionOk="0">
                    <a:moveTo>
                      <a:pt x="3143" y="0"/>
                    </a:moveTo>
                    <a:cubicBezTo>
                      <a:pt x="1073" y="0"/>
                      <a:pt x="1" y="2478"/>
                      <a:pt x="1479" y="3956"/>
                    </a:cubicBezTo>
                    <a:cubicBezTo>
                      <a:pt x="1948" y="4437"/>
                      <a:pt x="2527" y="4652"/>
                      <a:pt x="3094" y="4652"/>
                    </a:cubicBezTo>
                    <a:cubicBezTo>
                      <a:pt x="4270" y="4652"/>
                      <a:pt x="5398" y="3727"/>
                      <a:pt x="5398" y="2330"/>
                    </a:cubicBezTo>
                    <a:cubicBezTo>
                      <a:pt x="5435" y="1073"/>
                      <a:pt x="4400" y="37"/>
                      <a:pt x="3143"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 name="Google Shape;1001;p53">
                <a:extLst>
                  <a:ext uri="{FF2B5EF4-FFF2-40B4-BE49-F238E27FC236}">
                    <a16:creationId xmlns:a16="http://schemas.microsoft.com/office/drawing/2014/main" id="{883983A4-B488-47F4-9714-2BB98B8CD567}"/>
                  </a:ext>
                </a:extLst>
              </p:cNvPr>
              <p:cNvSpPr/>
              <p:nvPr/>
            </p:nvSpPr>
            <p:spPr>
              <a:xfrm>
                <a:off x="6218919" y="1738549"/>
                <a:ext cx="98626" cy="84999"/>
              </a:xfrm>
              <a:custGeom>
                <a:avLst/>
                <a:gdLst/>
                <a:ahLst/>
                <a:cxnLst/>
                <a:rect l="l" t="t" r="r" b="b"/>
                <a:pathLst>
                  <a:path w="5399" h="4653" extrusionOk="0">
                    <a:moveTo>
                      <a:pt x="3143" y="1"/>
                    </a:moveTo>
                    <a:cubicBezTo>
                      <a:pt x="1073" y="1"/>
                      <a:pt x="1" y="2478"/>
                      <a:pt x="1442" y="3957"/>
                    </a:cubicBezTo>
                    <a:cubicBezTo>
                      <a:pt x="1923" y="4438"/>
                      <a:pt x="2510" y="4653"/>
                      <a:pt x="3082" y="4653"/>
                    </a:cubicBezTo>
                    <a:cubicBezTo>
                      <a:pt x="4270" y="4653"/>
                      <a:pt x="5398" y="3727"/>
                      <a:pt x="5398" y="2330"/>
                    </a:cubicBezTo>
                    <a:cubicBezTo>
                      <a:pt x="5398" y="1073"/>
                      <a:pt x="4400" y="38"/>
                      <a:pt x="3143"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 name="Google Shape;1002;p53">
                <a:extLst>
                  <a:ext uri="{FF2B5EF4-FFF2-40B4-BE49-F238E27FC236}">
                    <a16:creationId xmlns:a16="http://schemas.microsoft.com/office/drawing/2014/main" id="{ACDF09F7-10A6-49BC-A530-E9247165A895}"/>
                  </a:ext>
                </a:extLst>
              </p:cNvPr>
              <p:cNvSpPr/>
              <p:nvPr/>
            </p:nvSpPr>
            <p:spPr>
              <a:xfrm>
                <a:off x="6218919" y="893001"/>
                <a:ext cx="123616" cy="122940"/>
              </a:xfrm>
              <a:custGeom>
                <a:avLst/>
                <a:gdLst/>
                <a:ahLst/>
                <a:cxnLst/>
                <a:rect l="l" t="t" r="r" b="b"/>
                <a:pathLst>
                  <a:path w="6767" h="6730" extrusionOk="0">
                    <a:moveTo>
                      <a:pt x="1295" y="0"/>
                    </a:moveTo>
                    <a:cubicBezTo>
                      <a:pt x="592" y="0"/>
                      <a:pt x="38" y="555"/>
                      <a:pt x="38" y="1220"/>
                    </a:cubicBezTo>
                    <a:lnTo>
                      <a:pt x="38" y="5472"/>
                    </a:lnTo>
                    <a:cubicBezTo>
                      <a:pt x="1" y="6174"/>
                      <a:pt x="555" y="6692"/>
                      <a:pt x="1221" y="6729"/>
                    </a:cubicBezTo>
                    <a:lnTo>
                      <a:pt x="5509" y="6729"/>
                    </a:lnTo>
                    <a:cubicBezTo>
                      <a:pt x="6175" y="6729"/>
                      <a:pt x="6729" y="6211"/>
                      <a:pt x="6729" y="5509"/>
                    </a:cubicBezTo>
                    <a:lnTo>
                      <a:pt x="6766" y="1257"/>
                    </a:lnTo>
                    <a:cubicBezTo>
                      <a:pt x="6766" y="592"/>
                      <a:pt x="6212" y="37"/>
                      <a:pt x="5546" y="37"/>
                    </a:cubicBezTo>
                    <a:lnTo>
                      <a:pt x="129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 name="Google Shape;1003;p53">
                <a:extLst>
                  <a:ext uri="{FF2B5EF4-FFF2-40B4-BE49-F238E27FC236}">
                    <a16:creationId xmlns:a16="http://schemas.microsoft.com/office/drawing/2014/main" id="{01C1774D-FBE0-4A8E-B31B-D1D34CA1AD4D}"/>
                  </a:ext>
                </a:extLst>
              </p:cNvPr>
              <p:cNvSpPr/>
              <p:nvPr/>
            </p:nvSpPr>
            <p:spPr>
              <a:xfrm>
                <a:off x="6758541" y="1545406"/>
                <a:ext cx="401173" cy="37156"/>
              </a:xfrm>
              <a:custGeom>
                <a:avLst/>
                <a:gdLst/>
                <a:ahLst/>
                <a:cxnLst/>
                <a:rect l="l" t="t" r="r" b="b"/>
                <a:pathLst>
                  <a:path w="21961" h="2034" extrusionOk="0">
                    <a:moveTo>
                      <a:pt x="0" y="0"/>
                    </a:moveTo>
                    <a:lnTo>
                      <a:pt x="0" y="1664"/>
                    </a:lnTo>
                    <a:lnTo>
                      <a:pt x="21924" y="2033"/>
                    </a:lnTo>
                    <a:lnTo>
                      <a:pt x="21961" y="370"/>
                    </a:lnTo>
                    <a:lnTo>
                      <a:pt x="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 name="Google Shape;1004;p53">
                <a:extLst>
                  <a:ext uri="{FF2B5EF4-FFF2-40B4-BE49-F238E27FC236}">
                    <a16:creationId xmlns:a16="http://schemas.microsoft.com/office/drawing/2014/main" id="{3B5456E0-1FD0-4A03-A7C6-0641248033A0}"/>
                  </a:ext>
                </a:extLst>
              </p:cNvPr>
              <p:cNvSpPr/>
              <p:nvPr/>
            </p:nvSpPr>
            <p:spPr>
              <a:xfrm>
                <a:off x="6755161" y="1631848"/>
                <a:ext cx="401848" cy="37156"/>
              </a:xfrm>
              <a:custGeom>
                <a:avLst/>
                <a:gdLst/>
                <a:ahLst/>
                <a:cxnLst/>
                <a:rect l="l" t="t" r="r" b="b"/>
                <a:pathLst>
                  <a:path w="21998" h="2034" extrusionOk="0">
                    <a:moveTo>
                      <a:pt x="37" y="0"/>
                    </a:moveTo>
                    <a:lnTo>
                      <a:pt x="0" y="1664"/>
                    </a:lnTo>
                    <a:lnTo>
                      <a:pt x="21961" y="2034"/>
                    </a:lnTo>
                    <a:lnTo>
                      <a:pt x="21998" y="370"/>
                    </a:lnTo>
                    <a:lnTo>
                      <a:pt x="3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 name="Google Shape;1005;p53">
                <a:extLst>
                  <a:ext uri="{FF2B5EF4-FFF2-40B4-BE49-F238E27FC236}">
                    <a16:creationId xmlns:a16="http://schemas.microsoft.com/office/drawing/2014/main" id="{FBA3AFB3-BB52-42CE-B1C1-79467A65018F}"/>
                  </a:ext>
                </a:extLst>
              </p:cNvPr>
              <p:cNvSpPr/>
              <p:nvPr/>
            </p:nvSpPr>
            <p:spPr>
              <a:xfrm>
                <a:off x="6755161" y="1719642"/>
                <a:ext cx="401173" cy="37156"/>
              </a:xfrm>
              <a:custGeom>
                <a:avLst/>
                <a:gdLst/>
                <a:ahLst/>
                <a:cxnLst/>
                <a:rect l="l" t="t" r="r" b="b"/>
                <a:pathLst>
                  <a:path w="21961" h="2034" extrusionOk="0">
                    <a:moveTo>
                      <a:pt x="37" y="0"/>
                    </a:moveTo>
                    <a:lnTo>
                      <a:pt x="0" y="1664"/>
                    </a:lnTo>
                    <a:lnTo>
                      <a:pt x="21961" y="2034"/>
                    </a:lnTo>
                    <a:lnTo>
                      <a:pt x="21961" y="370"/>
                    </a:lnTo>
                    <a:lnTo>
                      <a:pt x="3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 name="Google Shape;1006;p53">
                <a:extLst>
                  <a:ext uri="{FF2B5EF4-FFF2-40B4-BE49-F238E27FC236}">
                    <a16:creationId xmlns:a16="http://schemas.microsoft.com/office/drawing/2014/main" id="{678A9E84-BC71-4F02-B5FE-FF7812A0B33B}"/>
                  </a:ext>
                </a:extLst>
              </p:cNvPr>
              <p:cNvSpPr/>
              <p:nvPr/>
            </p:nvSpPr>
            <p:spPr>
              <a:xfrm>
                <a:off x="6379655" y="851132"/>
                <a:ext cx="364035" cy="1029940"/>
              </a:xfrm>
              <a:custGeom>
                <a:avLst/>
                <a:gdLst/>
                <a:ahLst/>
                <a:cxnLst/>
                <a:rect l="l" t="t" r="r" b="b"/>
                <a:pathLst>
                  <a:path w="19928" h="56381" extrusionOk="0">
                    <a:moveTo>
                      <a:pt x="1479" y="0"/>
                    </a:moveTo>
                    <a:lnTo>
                      <a:pt x="1" y="56270"/>
                    </a:lnTo>
                    <a:lnTo>
                      <a:pt x="17229" y="56381"/>
                    </a:lnTo>
                    <a:lnTo>
                      <a:pt x="19928" y="1405"/>
                    </a:lnTo>
                    <a:lnTo>
                      <a:pt x="1479" y="0"/>
                    </a:lnTo>
                    <a:close/>
                  </a:path>
                </a:pathLst>
              </a:custGeom>
              <a:solidFill>
                <a:srgbClr val="37006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 name="Google Shape;1007;p53">
                <a:extLst>
                  <a:ext uri="{FF2B5EF4-FFF2-40B4-BE49-F238E27FC236}">
                    <a16:creationId xmlns:a16="http://schemas.microsoft.com/office/drawing/2014/main" id="{B498CD11-63FE-4E50-8CDA-7F05AF6C3E40}"/>
                  </a:ext>
                </a:extLst>
              </p:cNvPr>
              <p:cNvSpPr/>
              <p:nvPr/>
            </p:nvSpPr>
            <p:spPr>
              <a:xfrm>
                <a:off x="6379655" y="851132"/>
                <a:ext cx="27036" cy="1027912"/>
              </a:xfrm>
              <a:custGeom>
                <a:avLst/>
                <a:gdLst/>
                <a:ahLst/>
                <a:cxnLst/>
                <a:rect l="l" t="t" r="r" b="b"/>
                <a:pathLst>
                  <a:path w="1480" h="56270" fill="none" extrusionOk="0">
                    <a:moveTo>
                      <a:pt x="1479" y="0"/>
                    </a:moveTo>
                    <a:lnTo>
                      <a:pt x="1" y="56270"/>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 name="Google Shape;1008;p53">
                <a:extLst>
                  <a:ext uri="{FF2B5EF4-FFF2-40B4-BE49-F238E27FC236}">
                    <a16:creationId xmlns:a16="http://schemas.microsoft.com/office/drawing/2014/main" id="{291B3378-E9A5-4DD9-99DF-8751A510B7CB}"/>
                  </a:ext>
                </a:extLst>
              </p:cNvPr>
              <p:cNvSpPr/>
              <p:nvPr/>
            </p:nvSpPr>
            <p:spPr>
              <a:xfrm>
                <a:off x="7204268" y="1530537"/>
                <a:ext cx="24332" cy="322166"/>
              </a:xfrm>
              <a:custGeom>
                <a:avLst/>
                <a:gdLst/>
                <a:ahLst/>
                <a:cxnLst/>
                <a:rect l="l" t="t" r="r" b="b"/>
                <a:pathLst>
                  <a:path w="1332" h="17636" fill="none" extrusionOk="0">
                    <a:moveTo>
                      <a:pt x="1332" y="1"/>
                    </a:moveTo>
                    <a:lnTo>
                      <a:pt x="1" y="17636"/>
                    </a:lnTo>
                  </a:path>
                </a:pathLst>
              </a:custGeom>
              <a:solidFill>
                <a:schemeClr val="accent3"/>
              </a:solid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 name="Google Shape;1009;p53">
                <a:extLst>
                  <a:ext uri="{FF2B5EF4-FFF2-40B4-BE49-F238E27FC236}">
                    <a16:creationId xmlns:a16="http://schemas.microsoft.com/office/drawing/2014/main" id="{7FA1C40F-C2AA-4A1E-A856-A3CD44E07A07}"/>
                  </a:ext>
                </a:extLst>
              </p:cNvPr>
              <p:cNvSpPr/>
              <p:nvPr/>
            </p:nvSpPr>
            <p:spPr>
              <a:xfrm>
                <a:off x="6447390" y="955786"/>
                <a:ext cx="56556" cy="48098"/>
              </a:xfrm>
              <a:custGeom>
                <a:avLst/>
                <a:gdLst/>
                <a:ahLst/>
                <a:cxnLst/>
                <a:rect l="l" t="t" r="r" b="b"/>
                <a:pathLst>
                  <a:path w="3096" h="2633" extrusionOk="0">
                    <a:moveTo>
                      <a:pt x="1756" y="1"/>
                    </a:moveTo>
                    <a:cubicBezTo>
                      <a:pt x="602" y="1"/>
                      <a:pt x="0" y="1381"/>
                      <a:pt x="803" y="2220"/>
                    </a:cubicBezTo>
                    <a:cubicBezTo>
                      <a:pt x="1076" y="2505"/>
                      <a:pt x="1415" y="2632"/>
                      <a:pt x="1746" y="2632"/>
                    </a:cubicBezTo>
                    <a:cubicBezTo>
                      <a:pt x="2404" y="2632"/>
                      <a:pt x="3034" y="2132"/>
                      <a:pt x="3058" y="1370"/>
                    </a:cubicBezTo>
                    <a:cubicBezTo>
                      <a:pt x="3095" y="630"/>
                      <a:pt x="2541" y="39"/>
                      <a:pt x="1801" y="2"/>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 name="Google Shape;1010;p53">
                <a:extLst>
                  <a:ext uri="{FF2B5EF4-FFF2-40B4-BE49-F238E27FC236}">
                    <a16:creationId xmlns:a16="http://schemas.microsoft.com/office/drawing/2014/main" id="{3BF839D8-8351-4B41-B6E0-0EC7BA010EBD}"/>
                  </a:ext>
                </a:extLst>
              </p:cNvPr>
              <p:cNvSpPr/>
              <p:nvPr/>
            </p:nvSpPr>
            <p:spPr>
              <a:xfrm>
                <a:off x="6444011" y="1073977"/>
                <a:ext cx="56556" cy="48062"/>
              </a:xfrm>
              <a:custGeom>
                <a:avLst/>
                <a:gdLst/>
                <a:ahLst/>
                <a:cxnLst/>
                <a:rect l="l" t="t" r="r" b="b"/>
                <a:pathLst>
                  <a:path w="3096" h="2631" extrusionOk="0">
                    <a:moveTo>
                      <a:pt x="1756" y="1"/>
                    </a:moveTo>
                    <a:cubicBezTo>
                      <a:pt x="602" y="1"/>
                      <a:pt x="0" y="1380"/>
                      <a:pt x="803" y="2220"/>
                    </a:cubicBezTo>
                    <a:cubicBezTo>
                      <a:pt x="1074" y="2503"/>
                      <a:pt x="1415" y="2631"/>
                      <a:pt x="1751" y="2631"/>
                    </a:cubicBezTo>
                    <a:cubicBezTo>
                      <a:pt x="2422" y="2631"/>
                      <a:pt x="3071" y="2121"/>
                      <a:pt x="3095" y="1332"/>
                    </a:cubicBezTo>
                    <a:cubicBezTo>
                      <a:pt x="3095" y="630"/>
                      <a:pt x="2541" y="1"/>
                      <a:pt x="1801" y="1"/>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 name="Google Shape;1011;p53">
                <a:extLst>
                  <a:ext uri="{FF2B5EF4-FFF2-40B4-BE49-F238E27FC236}">
                    <a16:creationId xmlns:a16="http://schemas.microsoft.com/office/drawing/2014/main" id="{A53F4288-7F53-4B9F-A5AC-48E96AEE6135}"/>
                  </a:ext>
                </a:extLst>
              </p:cNvPr>
              <p:cNvSpPr/>
              <p:nvPr/>
            </p:nvSpPr>
            <p:spPr>
              <a:xfrm>
                <a:off x="6440631" y="1191492"/>
                <a:ext cx="56556" cy="48244"/>
              </a:xfrm>
              <a:custGeom>
                <a:avLst/>
                <a:gdLst/>
                <a:ahLst/>
                <a:cxnLst/>
                <a:rect l="l" t="t" r="r" b="b"/>
                <a:pathLst>
                  <a:path w="3096" h="2641" extrusionOk="0">
                    <a:moveTo>
                      <a:pt x="1756" y="1"/>
                    </a:moveTo>
                    <a:cubicBezTo>
                      <a:pt x="602" y="1"/>
                      <a:pt x="0" y="1380"/>
                      <a:pt x="803" y="2220"/>
                    </a:cubicBezTo>
                    <a:cubicBezTo>
                      <a:pt x="1080" y="2509"/>
                      <a:pt x="1430" y="2640"/>
                      <a:pt x="1771" y="2640"/>
                    </a:cubicBezTo>
                    <a:cubicBezTo>
                      <a:pt x="2432" y="2640"/>
                      <a:pt x="3058" y="2149"/>
                      <a:pt x="3058" y="1369"/>
                    </a:cubicBezTo>
                    <a:cubicBezTo>
                      <a:pt x="3095" y="630"/>
                      <a:pt x="2541" y="38"/>
                      <a:pt x="1801" y="1"/>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 name="Google Shape;1012;p53">
                <a:extLst>
                  <a:ext uri="{FF2B5EF4-FFF2-40B4-BE49-F238E27FC236}">
                    <a16:creationId xmlns:a16="http://schemas.microsoft.com/office/drawing/2014/main" id="{A5B7DFFD-45E8-48B2-9907-0C932B47D2ED}"/>
                  </a:ext>
                </a:extLst>
              </p:cNvPr>
              <p:cNvSpPr/>
              <p:nvPr/>
            </p:nvSpPr>
            <p:spPr>
              <a:xfrm>
                <a:off x="6437252" y="1309683"/>
                <a:ext cx="56556" cy="48080"/>
              </a:xfrm>
              <a:custGeom>
                <a:avLst/>
                <a:gdLst/>
                <a:ahLst/>
                <a:cxnLst/>
                <a:rect l="l" t="t" r="r" b="b"/>
                <a:pathLst>
                  <a:path w="3096" h="2632" extrusionOk="0">
                    <a:moveTo>
                      <a:pt x="1756" y="1"/>
                    </a:moveTo>
                    <a:cubicBezTo>
                      <a:pt x="603" y="1"/>
                      <a:pt x="1" y="1380"/>
                      <a:pt x="803" y="2220"/>
                    </a:cubicBezTo>
                    <a:cubicBezTo>
                      <a:pt x="1076" y="2505"/>
                      <a:pt x="1419" y="2632"/>
                      <a:pt x="1756" y="2632"/>
                    </a:cubicBezTo>
                    <a:cubicBezTo>
                      <a:pt x="2425" y="2632"/>
                      <a:pt x="3071" y="2131"/>
                      <a:pt x="3096" y="1369"/>
                    </a:cubicBezTo>
                    <a:cubicBezTo>
                      <a:pt x="3096" y="630"/>
                      <a:pt x="2541" y="1"/>
                      <a:pt x="1802" y="1"/>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 name="Google Shape;1013;p53">
                <a:extLst>
                  <a:ext uri="{FF2B5EF4-FFF2-40B4-BE49-F238E27FC236}">
                    <a16:creationId xmlns:a16="http://schemas.microsoft.com/office/drawing/2014/main" id="{B96E547F-180D-4E2D-9D6D-A9636196ED79}"/>
                  </a:ext>
                </a:extLst>
              </p:cNvPr>
              <p:cNvSpPr/>
              <p:nvPr/>
            </p:nvSpPr>
            <p:spPr>
              <a:xfrm>
                <a:off x="6433690" y="1427216"/>
                <a:ext cx="56739" cy="48719"/>
              </a:xfrm>
              <a:custGeom>
                <a:avLst/>
                <a:gdLst/>
                <a:ahLst/>
                <a:cxnLst/>
                <a:rect l="l" t="t" r="r" b="b"/>
                <a:pathLst>
                  <a:path w="3106" h="2667" extrusionOk="0">
                    <a:moveTo>
                      <a:pt x="1812" y="0"/>
                    </a:moveTo>
                    <a:cubicBezTo>
                      <a:pt x="629" y="0"/>
                      <a:pt x="0" y="1368"/>
                      <a:pt x="814" y="2255"/>
                    </a:cubicBezTo>
                    <a:cubicBezTo>
                      <a:pt x="1085" y="2539"/>
                      <a:pt x="1426" y="2666"/>
                      <a:pt x="1760" y="2666"/>
                    </a:cubicBezTo>
                    <a:cubicBezTo>
                      <a:pt x="2428" y="2666"/>
                      <a:pt x="3069" y="2157"/>
                      <a:pt x="3069" y="1368"/>
                    </a:cubicBezTo>
                    <a:cubicBezTo>
                      <a:pt x="3106" y="629"/>
                      <a:pt x="2551" y="37"/>
                      <a:pt x="181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 name="Google Shape;1014;p53">
                <a:extLst>
                  <a:ext uri="{FF2B5EF4-FFF2-40B4-BE49-F238E27FC236}">
                    <a16:creationId xmlns:a16="http://schemas.microsoft.com/office/drawing/2014/main" id="{3FA6EC0C-B219-4D26-8A7C-F9D0F779EBE2}"/>
                  </a:ext>
                </a:extLst>
              </p:cNvPr>
              <p:cNvSpPr/>
              <p:nvPr/>
            </p:nvSpPr>
            <p:spPr>
              <a:xfrm>
                <a:off x="6430493" y="1545388"/>
                <a:ext cx="56556" cy="48080"/>
              </a:xfrm>
              <a:custGeom>
                <a:avLst/>
                <a:gdLst/>
                <a:ahLst/>
                <a:cxnLst/>
                <a:rect l="l" t="t" r="r" b="b"/>
                <a:pathLst>
                  <a:path w="3096" h="2632" extrusionOk="0">
                    <a:moveTo>
                      <a:pt x="1756" y="0"/>
                    </a:moveTo>
                    <a:cubicBezTo>
                      <a:pt x="603" y="0"/>
                      <a:pt x="1" y="1380"/>
                      <a:pt x="804" y="2219"/>
                    </a:cubicBezTo>
                    <a:cubicBezTo>
                      <a:pt x="1076" y="2504"/>
                      <a:pt x="1419" y="2631"/>
                      <a:pt x="1757" y="2631"/>
                    </a:cubicBezTo>
                    <a:cubicBezTo>
                      <a:pt x="2426" y="2631"/>
                      <a:pt x="3071" y="2131"/>
                      <a:pt x="3096" y="1369"/>
                    </a:cubicBezTo>
                    <a:cubicBezTo>
                      <a:pt x="3096" y="630"/>
                      <a:pt x="2541" y="38"/>
                      <a:pt x="1802" y="1"/>
                    </a:cubicBezTo>
                    <a:cubicBezTo>
                      <a:pt x="1787" y="1"/>
                      <a:pt x="1771" y="0"/>
                      <a:pt x="175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 name="Google Shape;1015;p53">
                <a:extLst>
                  <a:ext uri="{FF2B5EF4-FFF2-40B4-BE49-F238E27FC236}">
                    <a16:creationId xmlns:a16="http://schemas.microsoft.com/office/drawing/2014/main" id="{8FCBB691-5BC6-4F8B-A358-78607AB149CF}"/>
                  </a:ext>
                </a:extLst>
              </p:cNvPr>
              <p:cNvSpPr/>
              <p:nvPr/>
            </p:nvSpPr>
            <p:spPr>
              <a:xfrm>
                <a:off x="6427132" y="1663579"/>
                <a:ext cx="56556" cy="48044"/>
              </a:xfrm>
              <a:custGeom>
                <a:avLst/>
                <a:gdLst/>
                <a:ahLst/>
                <a:cxnLst/>
                <a:rect l="l" t="t" r="r" b="b"/>
                <a:pathLst>
                  <a:path w="3096" h="2630" extrusionOk="0">
                    <a:moveTo>
                      <a:pt x="1755" y="0"/>
                    </a:moveTo>
                    <a:cubicBezTo>
                      <a:pt x="602" y="0"/>
                      <a:pt x="0" y="1380"/>
                      <a:pt x="803" y="2219"/>
                    </a:cubicBezTo>
                    <a:cubicBezTo>
                      <a:pt x="1074" y="2503"/>
                      <a:pt x="1415" y="2630"/>
                      <a:pt x="1750" y="2630"/>
                    </a:cubicBezTo>
                    <a:cubicBezTo>
                      <a:pt x="2421" y="2630"/>
                      <a:pt x="3070" y="2121"/>
                      <a:pt x="3095" y="1332"/>
                    </a:cubicBezTo>
                    <a:cubicBezTo>
                      <a:pt x="3095" y="629"/>
                      <a:pt x="2540" y="1"/>
                      <a:pt x="1801" y="1"/>
                    </a:cubicBezTo>
                    <a:cubicBezTo>
                      <a:pt x="1786" y="0"/>
                      <a:pt x="1771" y="0"/>
                      <a:pt x="1755"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 name="Google Shape;1016;p53">
                <a:extLst>
                  <a:ext uri="{FF2B5EF4-FFF2-40B4-BE49-F238E27FC236}">
                    <a16:creationId xmlns:a16="http://schemas.microsoft.com/office/drawing/2014/main" id="{61DBD1E7-9F62-4B86-B555-AE7E6BBA68C5}"/>
                  </a:ext>
                </a:extLst>
              </p:cNvPr>
              <p:cNvSpPr/>
              <p:nvPr/>
            </p:nvSpPr>
            <p:spPr>
              <a:xfrm>
                <a:off x="6423752" y="1781094"/>
                <a:ext cx="56556" cy="48537"/>
              </a:xfrm>
              <a:custGeom>
                <a:avLst/>
                <a:gdLst/>
                <a:ahLst/>
                <a:cxnLst/>
                <a:rect l="l" t="t" r="r" b="b"/>
                <a:pathLst>
                  <a:path w="3096" h="2657" extrusionOk="0">
                    <a:moveTo>
                      <a:pt x="1756" y="0"/>
                    </a:moveTo>
                    <a:cubicBezTo>
                      <a:pt x="602" y="0"/>
                      <a:pt x="0" y="1380"/>
                      <a:pt x="803" y="2219"/>
                    </a:cubicBezTo>
                    <a:cubicBezTo>
                      <a:pt x="1080" y="2521"/>
                      <a:pt x="1429" y="2656"/>
                      <a:pt x="1772" y="2656"/>
                    </a:cubicBezTo>
                    <a:cubicBezTo>
                      <a:pt x="2435" y="2656"/>
                      <a:pt x="3071" y="2149"/>
                      <a:pt x="3095" y="1369"/>
                    </a:cubicBezTo>
                    <a:cubicBezTo>
                      <a:pt x="3095" y="629"/>
                      <a:pt x="2541" y="38"/>
                      <a:pt x="1801" y="1"/>
                    </a:cubicBezTo>
                    <a:cubicBezTo>
                      <a:pt x="1786" y="0"/>
                      <a:pt x="1771" y="0"/>
                      <a:pt x="175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 name="Google Shape;1017;p53">
                <a:extLst>
                  <a:ext uri="{FF2B5EF4-FFF2-40B4-BE49-F238E27FC236}">
                    <a16:creationId xmlns:a16="http://schemas.microsoft.com/office/drawing/2014/main" id="{736A8D54-013D-43E6-819B-4274070FC8A0}"/>
                  </a:ext>
                </a:extLst>
              </p:cNvPr>
              <p:cNvSpPr/>
              <p:nvPr/>
            </p:nvSpPr>
            <p:spPr>
              <a:xfrm>
                <a:off x="6535659" y="987553"/>
                <a:ext cx="138468" cy="6083"/>
              </a:xfrm>
              <a:custGeom>
                <a:avLst/>
                <a:gdLst/>
                <a:ahLst/>
                <a:cxnLst/>
                <a:rect l="l" t="t" r="r" b="b"/>
                <a:pathLst>
                  <a:path w="7580" h="333" fill="none" extrusionOk="0">
                    <a:moveTo>
                      <a:pt x="1" y="0"/>
                    </a:moveTo>
                    <a:lnTo>
                      <a:pt x="7580"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 name="Google Shape;1018;p53">
                <a:extLst>
                  <a:ext uri="{FF2B5EF4-FFF2-40B4-BE49-F238E27FC236}">
                    <a16:creationId xmlns:a16="http://schemas.microsoft.com/office/drawing/2014/main" id="{7D4E46F0-24C5-431A-A1A5-CB0B968B8014}"/>
                  </a:ext>
                </a:extLst>
              </p:cNvPr>
              <p:cNvSpPr/>
              <p:nvPr/>
            </p:nvSpPr>
            <p:spPr>
              <a:xfrm>
                <a:off x="6534983" y="1095606"/>
                <a:ext cx="138468" cy="6101"/>
              </a:xfrm>
              <a:custGeom>
                <a:avLst/>
                <a:gdLst/>
                <a:ahLst/>
                <a:cxnLst/>
                <a:rect l="l" t="t" r="r" b="b"/>
                <a:pathLst>
                  <a:path w="7580" h="334" fill="none" extrusionOk="0">
                    <a:moveTo>
                      <a:pt x="1" y="1"/>
                    </a:moveTo>
                    <a:lnTo>
                      <a:pt x="7580"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 name="Google Shape;1019;p53">
                <a:extLst>
                  <a:ext uri="{FF2B5EF4-FFF2-40B4-BE49-F238E27FC236}">
                    <a16:creationId xmlns:a16="http://schemas.microsoft.com/office/drawing/2014/main" id="{33D30D14-5321-4CEB-994A-AACD1E21487B}"/>
                  </a:ext>
                </a:extLst>
              </p:cNvPr>
              <p:cNvSpPr/>
              <p:nvPr/>
            </p:nvSpPr>
            <p:spPr>
              <a:xfrm>
                <a:off x="6534307" y="1212445"/>
                <a:ext cx="138468" cy="6101"/>
              </a:xfrm>
              <a:custGeom>
                <a:avLst/>
                <a:gdLst/>
                <a:ahLst/>
                <a:cxnLst/>
                <a:rect l="l" t="t" r="r" b="b"/>
                <a:pathLst>
                  <a:path w="7580" h="334" fill="none" extrusionOk="0">
                    <a:moveTo>
                      <a:pt x="1" y="0"/>
                    </a:moveTo>
                    <a:lnTo>
                      <a:pt x="7580"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 name="Google Shape;1020;p53">
                <a:extLst>
                  <a:ext uri="{FF2B5EF4-FFF2-40B4-BE49-F238E27FC236}">
                    <a16:creationId xmlns:a16="http://schemas.microsoft.com/office/drawing/2014/main" id="{96CF37BF-6F6C-428A-AAD2-686934454ED4}"/>
                  </a:ext>
                </a:extLst>
              </p:cNvPr>
              <p:cNvSpPr/>
              <p:nvPr/>
            </p:nvSpPr>
            <p:spPr>
              <a:xfrm>
                <a:off x="6520808" y="1331311"/>
                <a:ext cx="138468" cy="6101"/>
              </a:xfrm>
              <a:custGeom>
                <a:avLst/>
                <a:gdLst/>
                <a:ahLst/>
                <a:cxnLst/>
                <a:rect l="l" t="t" r="r" b="b"/>
                <a:pathLst>
                  <a:path w="7580" h="334" fill="none" extrusionOk="0">
                    <a:moveTo>
                      <a:pt x="0" y="0"/>
                    </a:moveTo>
                    <a:lnTo>
                      <a:pt x="7579"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 name="Google Shape;1021;p53">
                <a:extLst>
                  <a:ext uri="{FF2B5EF4-FFF2-40B4-BE49-F238E27FC236}">
                    <a16:creationId xmlns:a16="http://schemas.microsoft.com/office/drawing/2014/main" id="{A09AF00A-B0EA-47C0-9F22-1CD2BA7AD1D3}"/>
                  </a:ext>
                </a:extLst>
              </p:cNvPr>
              <p:cNvSpPr/>
              <p:nvPr/>
            </p:nvSpPr>
            <p:spPr>
              <a:xfrm>
                <a:off x="6520132" y="1449502"/>
                <a:ext cx="138468" cy="5407"/>
              </a:xfrm>
              <a:custGeom>
                <a:avLst/>
                <a:gdLst/>
                <a:ahLst/>
                <a:cxnLst/>
                <a:rect l="l" t="t" r="r" b="b"/>
                <a:pathLst>
                  <a:path w="7580" h="296" fill="none" extrusionOk="0">
                    <a:moveTo>
                      <a:pt x="0" y="0"/>
                    </a:moveTo>
                    <a:lnTo>
                      <a:pt x="7579" y="29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 name="Google Shape;1022;p53">
                <a:extLst>
                  <a:ext uri="{FF2B5EF4-FFF2-40B4-BE49-F238E27FC236}">
                    <a16:creationId xmlns:a16="http://schemas.microsoft.com/office/drawing/2014/main" id="{ECC30617-3027-415D-A1E2-9CEA89FB98EB}"/>
                  </a:ext>
                </a:extLst>
              </p:cNvPr>
              <p:cNvSpPr/>
              <p:nvPr/>
            </p:nvSpPr>
            <p:spPr>
              <a:xfrm>
                <a:off x="6519456" y="1567693"/>
                <a:ext cx="138468" cy="5407"/>
              </a:xfrm>
              <a:custGeom>
                <a:avLst/>
                <a:gdLst/>
                <a:ahLst/>
                <a:cxnLst/>
                <a:rect l="l" t="t" r="r" b="b"/>
                <a:pathLst>
                  <a:path w="7580" h="296" fill="none" extrusionOk="0">
                    <a:moveTo>
                      <a:pt x="0" y="0"/>
                    </a:moveTo>
                    <a:lnTo>
                      <a:pt x="7579" y="29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 name="Google Shape;1023;p53">
                <a:extLst>
                  <a:ext uri="{FF2B5EF4-FFF2-40B4-BE49-F238E27FC236}">
                    <a16:creationId xmlns:a16="http://schemas.microsoft.com/office/drawing/2014/main" id="{4F8BD692-A25A-4DBB-AC79-CE5FB8A25DF2}"/>
                  </a:ext>
                </a:extLst>
              </p:cNvPr>
              <p:cNvSpPr/>
              <p:nvPr/>
            </p:nvSpPr>
            <p:spPr>
              <a:xfrm>
                <a:off x="6518780" y="1687893"/>
                <a:ext cx="138468" cy="6101"/>
              </a:xfrm>
              <a:custGeom>
                <a:avLst/>
                <a:gdLst/>
                <a:ahLst/>
                <a:cxnLst/>
                <a:rect l="l" t="t" r="r" b="b"/>
                <a:pathLst>
                  <a:path w="7580" h="334" fill="none" extrusionOk="0">
                    <a:moveTo>
                      <a:pt x="1" y="1"/>
                    </a:moveTo>
                    <a:lnTo>
                      <a:pt x="7579" y="334"/>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 name="Google Shape;1024;p53">
                <a:extLst>
                  <a:ext uri="{FF2B5EF4-FFF2-40B4-BE49-F238E27FC236}">
                    <a16:creationId xmlns:a16="http://schemas.microsoft.com/office/drawing/2014/main" id="{527578DE-F879-4FC6-ADCD-0327B333BD53}"/>
                  </a:ext>
                </a:extLst>
              </p:cNvPr>
              <p:cNvSpPr/>
              <p:nvPr/>
            </p:nvSpPr>
            <p:spPr>
              <a:xfrm>
                <a:off x="6518104" y="1803380"/>
                <a:ext cx="138468" cy="6101"/>
              </a:xfrm>
              <a:custGeom>
                <a:avLst/>
                <a:gdLst/>
                <a:ahLst/>
                <a:cxnLst/>
                <a:rect l="l" t="t" r="r" b="b"/>
                <a:pathLst>
                  <a:path w="7580" h="334" fill="none" extrusionOk="0">
                    <a:moveTo>
                      <a:pt x="1" y="1"/>
                    </a:moveTo>
                    <a:lnTo>
                      <a:pt x="7580" y="334"/>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 name="Google Shape;1025;p53">
                <a:extLst>
                  <a:ext uri="{FF2B5EF4-FFF2-40B4-BE49-F238E27FC236}">
                    <a16:creationId xmlns:a16="http://schemas.microsoft.com/office/drawing/2014/main" id="{4AC2B6DC-FCA4-42C4-BDDC-4A3C066FD16B}"/>
                  </a:ext>
                </a:extLst>
              </p:cNvPr>
              <p:cNvSpPr/>
              <p:nvPr/>
            </p:nvSpPr>
            <p:spPr>
              <a:xfrm>
                <a:off x="6718005" y="883538"/>
                <a:ext cx="777373" cy="578806"/>
              </a:xfrm>
              <a:custGeom>
                <a:avLst/>
                <a:gdLst/>
                <a:ahLst/>
                <a:cxnLst/>
                <a:rect l="l" t="t" r="r" b="b"/>
                <a:pathLst>
                  <a:path w="42555" h="31685" extrusionOk="0">
                    <a:moveTo>
                      <a:pt x="1369" y="1"/>
                    </a:moveTo>
                    <a:lnTo>
                      <a:pt x="1" y="30021"/>
                    </a:lnTo>
                    <a:lnTo>
                      <a:pt x="40225" y="31685"/>
                    </a:lnTo>
                    <a:lnTo>
                      <a:pt x="42554" y="3106"/>
                    </a:lnTo>
                    <a:lnTo>
                      <a:pt x="1369"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 name="Google Shape;1026;p53">
                <a:extLst>
                  <a:ext uri="{FF2B5EF4-FFF2-40B4-BE49-F238E27FC236}">
                    <a16:creationId xmlns:a16="http://schemas.microsoft.com/office/drawing/2014/main" id="{1B1CC494-E850-4AE9-9CE1-DC59A12E99B0}"/>
                  </a:ext>
                </a:extLst>
              </p:cNvPr>
              <p:cNvSpPr/>
              <p:nvPr/>
            </p:nvSpPr>
            <p:spPr>
              <a:xfrm>
                <a:off x="6803113" y="1225195"/>
                <a:ext cx="586898" cy="237752"/>
              </a:xfrm>
              <a:custGeom>
                <a:avLst/>
                <a:gdLst/>
                <a:ahLst/>
                <a:cxnLst/>
                <a:rect l="l" t="t" r="r" b="b"/>
                <a:pathLst>
                  <a:path w="32128" h="13015" extrusionOk="0">
                    <a:moveTo>
                      <a:pt x="15073" y="0"/>
                    </a:moveTo>
                    <a:cubicBezTo>
                      <a:pt x="12504" y="0"/>
                      <a:pt x="9281" y="590"/>
                      <a:pt x="7468" y="1706"/>
                    </a:cubicBezTo>
                    <a:cubicBezTo>
                      <a:pt x="5139" y="3184"/>
                      <a:pt x="1701" y="7843"/>
                      <a:pt x="1701" y="7843"/>
                    </a:cubicBezTo>
                    <a:cubicBezTo>
                      <a:pt x="1035" y="8989"/>
                      <a:pt x="481" y="10246"/>
                      <a:pt x="0" y="11540"/>
                    </a:cubicBezTo>
                    <a:cubicBezTo>
                      <a:pt x="0" y="11540"/>
                      <a:pt x="6100" y="11762"/>
                      <a:pt x="8097" y="11873"/>
                    </a:cubicBezTo>
                    <a:cubicBezTo>
                      <a:pt x="15372" y="12205"/>
                      <a:pt x="22408" y="13014"/>
                      <a:pt x="29661" y="13014"/>
                    </a:cubicBezTo>
                    <a:cubicBezTo>
                      <a:pt x="30480" y="13014"/>
                      <a:pt x="31302" y="13004"/>
                      <a:pt x="32128" y="12982"/>
                    </a:cubicBezTo>
                    <a:cubicBezTo>
                      <a:pt x="31721" y="11614"/>
                      <a:pt x="31425" y="9691"/>
                      <a:pt x="30538" y="8434"/>
                    </a:cubicBezTo>
                    <a:cubicBezTo>
                      <a:pt x="28985" y="6105"/>
                      <a:pt x="26767" y="3591"/>
                      <a:pt x="24401" y="2038"/>
                    </a:cubicBezTo>
                    <a:cubicBezTo>
                      <a:pt x="22256" y="596"/>
                      <a:pt x="19779" y="670"/>
                      <a:pt x="17302" y="190"/>
                    </a:cubicBezTo>
                    <a:cubicBezTo>
                      <a:pt x="16676" y="63"/>
                      <a:pt x="15909" y="0"/>
                      <a:pt x="15073"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 name="Google Shape;1027;p53">
                <a:extLst>
                  <a:ext uri="{FF2B5EF4-FFF2-40B4-BE49-F238E27FC236}">
                    <a16:creationId xmlns:a16="http://schemas.microsoft.com/office/drawing/2014/main" id="{E8ED4CE3-2DB2-4CA5-8465-E901FF42393C}"/>
                  </a:ext>
                </a:extLst>
              </p:cNvPr>
              <p:cNvSpPr/>
              <p:nvPr/>
            </p:nvSpPr>
            <p:spPr>
              <a:xfrm>
                <a:off x="7007746" y="998934"/>
                <a:ext cx="215940" cy="212195"/>
              </a:xfrm>
              <a:custGeom>
                <a:avLst/>
                <a:gdLst/>
                <a:ahLst/>
                <a:cxnLst/>
                <a:rect l="l" t="t" r="r" b="b"/>
                <a:pathLst>
                  <a:path w="11821" h="11616" extrusionOk="0">
                    <a:moveTo>
                      <a:pt x="4684" y="1"/>
                    </a:moveTo>
                    <a:cubicBezTo>
                      <a:pt x="3148" y="1"/>
                      <a:pt x="1886" y="460"/>
                      <a:pt x="1886" y="1632"/>
                    </a:cubicBezTo>
                    <a:lnTo>
                      <a:pt x="1886" y="1374"/>
                    </a:lnTo>
                    <a:lnTo>
                      <a:pt x="1886" y="1374"/>
                    </a:lnTo>
                    <a:cubicBezTo>
                      <a:pt x="0" y="4405"/>
                      <a:pt x="185" y="11504"/>
                      <a:pt x="4880" y="11615"/>
                    </a:cubicBezTo>
                    <a:cubicBezTo>
                      <a:pt x="4901" y="11615"/>
                      <a:pt x="4921" y="11615"/>
                      <a:pt x="4942" y="11615"/>
                    </a:cubicBezTo>
                    <a:cubicBezTo>
                      <a:pt x="8758" y="11615"/>
                      <a:pt x="11821" y="4759"/>
                      <a:pt x="9945" y="1854"/>
                    </a:cubicBezTo>
                    <a:cubicBezTo>
                      <a:pt x="9269" y="819"/>
                      <a:pt x="6733" y="1"/>
                      <a:pt x="4684"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 name="Google Shape;1028;p53">
                <a:extLst>
                  <a:ext uri="{FF2B5EF4-FFF2-40B4-BE49-F238E27FC236}">
                    <a16:creationId xmlns:a16="http://schemas.microsoft.com/office/drawing/2014/main" id="{D8581700-87F5-46B7-AC3A-3E38503EFDCE}"/>
                  </a:ext>
                </a:extLst>
              </p:cNvPr>
              <p:cNvSpPr/>
              <p:nvPr/>
            </p:nvSpPr>
            <p:spPr>
              <a:xfrm>
                <a:off x="7007746" y="948753"/>
                <a:ext cx="230682" cy="165193"/>
              </a:xfrm>
              <a:custGeom>
                <a:avLst/>
                <a:gdLst/>
                <a:ahLst/>
                <a:cxnLst/>
                <a:rect l="l" t="t" r="r" b="b"/>
                <a:pathLst>
                  <a:path w="12628" h="9043" extrusionOk="0">
                    <a:moveTo>
                      <a:pt x="4759" y="0"/>
                    </a:moveTo>
                    <a:cubicBezTo>
                      <a:pt x="2725" y="0"/>
                      <a:pt x="180" y="2695"/>
                      <a:pt x="74" y="4712"/>
                    </a:cubicBezTo>
                    <a:cubicBezTo>
                      <a:pt x="0" y="5895"/>
                      <a:pt x="74" y="7041"/>
                      <a:pt x="296" y="8187"/>
                    </a:cubicBezTo>
                    <a:cubicBezTo>
                      <a:pt x="478" y="8803"/>
                      <a:pt x="654" y="9043"/>
                      <a:pt x="830" y="9043"/>
                    </a:cubicBezTo>
                    <a:cubicBezTo>
                      <a:pt x="1118" y="9043"/>
                      <a:pt x="1402" y="8396"/>
                      <a:pt x="1701" y="7707"/>
                    </a:cubicBezTo>
                    <a:cubicBezTo>
                      <a:pt x="2579" y="5401"/>
                      <a:pt x="2914" y="3603"/>
                      <a:pt x="5719" y="3603"/>
                    </a:cubicBezTo>
                    <a:cubicBezTo>
                      <a:pt x="5747" y="3603"/>
                      <a:pt x="5776" y="3603"/>
                      <a:pt x="5805" y="3603"/>
                    </a:cubicBezTo>
                    <a:cubicBezTo>
                      <a:pt x="7136" y="3603"/>
                      <a:pt x="8245" y="3677"/>
                      <a:pt x="9354" y="4416"/>
                    </a:cubicBezTo>
                    <a:cubicBezTo>
                      <a:pt x="10870" y="5378"/>
                      <a:pt x="10056" y="5747"/>
                      <a:pt x="10463" y="7152"/>
                    </a:cubicBezTo>
                    <a:cubicBezTo>
                      <a:pt x="10537" y="7337"/>
                      <a:pt x="10537" y="7596"/>
                      <a:pt x="10611" y="7818"/>
                    </a:cubicBezTo>
                    <a:cubicBezTo>
                      <a:pt x="10661" y="7821"/>
                      <a:pt x="10710" y="7823"/>
                      <a:pt x="10756" y="7823"/>
                    </a:cubicBezTo>
                    <a:cubicBezTo>
                      <a:pt x="12628" y="7823"/>
                      <a:pt x="11569" y="4986"/>
                      <a:pt x="11461" y="4121"/>
                    </a:cubicBezTo>
                    <a:cubicBezTo>
                      <a:pt x="11239" y="2716"/>
                      <a:pt x="10685" y="1533"/>
                      <a:pt x="9391" y="867"/>
                    </a:cubicBezTo>
                    <a:lnTo>
                      <a:pt x="5028" y="17"/>
                    </a:lnTo>
                    <a:cubicBezTo>
                      <a:pt x="4940" y="6"/>
                      <a:pt x="4850" y="0"/>
                      <a:pt x="475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 name="Google Shape;1029;p53">
                <a:extLst>
                  <a:ext uri="{FF2B5EF4-FFF2-40B4-BE49-F238E27FC236}">
                    <a16:creationId xmlns:a16="http://schemas.microsoft.com/office/drawing/2014/main" id="{D8D23F6D-B477-461A-ACB3-601F6E4F0A21}"/>
                  </a:ext>
                </a:extLst>
              </p:cNvPr>
              <p:cNvSpPr/>
              <p:nvPr/>
            </p:nvSpPr>
            <p:spPr>
              <a:xfrm>
                <a:off x="6981404" y="938103"/>
                <a:ext cx="264075" cy="156169"/>
              </a:xfrm>
              <a:custGeom>
                <a:avLst/>
                <a:gdLst/>
                <a:ahLst/>
                <a:cxnLst/>
                <a:rect l="l" t="t" r="r" b="b"/>
                <a:pathLst>
                  <a:path w="14456" h="8549" extrusionOk="0">
                    <a:moveTo>
                      <a:pt x="7162" y="0"/>
                    </a:moveTo>
                    <a:cubicBezTo>
                      <a:pt x="3394" y="0"/>
                      <a:pt x="252" y="2932"/>
                      <a:pt x="0" y="6700"/>
                    </a:cubicBezTo>
                    <a:lnTo>
                      <a:pt x="0" y="6774"/>
                    </a:lnTo>
                    <a:lnTo>
                      <a:pt x="1220" y="6848"/>
                    </a:lnTo>
                    <a:cubicBezTo>
                      <a:pt x="1220" y="6811"/>
                      <a:pt x="1220" y="6774"/>
                      <a:pt x="1220" y="6774"/>
                    </a:cubicBezTo>
                    <a:cubicBezTo>
                      <a:pt x="1400" y="3575"/>
                      <a:pt x="4027" y="1074"/>
                      <a:pt x="7196" y="1074"/>
                    </a:cubicBezTo>
                    <a:cubicBezTo>
                      <a:pt x="7287" y="1074"/>
                      <a:pt x="7377" y="1076"/>
                      <a:pt x="7468" y="1081"/>
                    </a:cubicBezTo>
                    <a:cubicBezTo>
                      <a:pt x="10759" y="1228"/>
                      <a:pt x="13310" y="4038"/>
                      <a:pt x="13125" y="7329"/>
                    </a:cubicBezTo>
                    <a:cubicBezTo>
                      <a:pt x="13125" y="7329"/>
                      <a:pt x="14123" y="8549"/>
                      <a:pt x="14123" y="8549"/>
                    </a:cubicBezTo>
                    <a:lnTo>
                      <a:pt x="14382" y="7366"/>
                    </a:lnTo>
                    <a:cubicBezTo>
                      <a:pt x="14456" y="3447"/>
                      <a:pt x="11424" y="193"/>
                      <a:pt x="7505" y="8"/>
                    </a:cubicBezTo>
                    <a:cubicBezTo>
                      <a:pt x="7390" y="3"/>
                      <a:pt x="7276" y="0"/>
                      <a:pt x="716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 name="Google Shape;1030;p53">
                <a:extLst>
                  <a:ext uri="{FF2B5EF4-FFF2-40B4-BE49-F238E27FC236}">
                    <a16:creationId xmlns:a16="http://schemas.microsoft.com/office/drawing/2014/main" id="{FC929F1E-D459-4864-BF35-8CFB9EECEDE3}"/>
                  </a:ext>
                </a:extLst>
              </p:cNvPr>
              <p:cNvSpPr/>
              <p:nvPr/>
            </p:nvSpPr>
            <p:spPr>
              <a:xfrm>
                <a:off x="6928374" y="1028619"/>
                <a:ext cx="106408" cy="123744"/>
              </a:xfrm>
              <a:custGeom>
                <a:avLst/>
                <a:gdLst/>
                <a:ahLst/>
                <a:cxnLst/>
                <a:rect l="l" t="t" r="r" b="b"/>
                <a:pathLst>
                  <a:path w="5825" h="6774" extrusionOk="0">
                    <a:moveTo>
                      <a:pt x="5107" y="1"/>
                    </a:moveTo>
                    <a:cubicBezTo>
                      <a:pt x="2412" y="1"/>
                      <a:pt x="1" y="3612"/>
                      <a:pt x="2238" y="5849"/>
                    </a:cubicBezTo>
                    <a:cubicBezTo>
                      <a:pt x="2719" y="6366"/>
                      <a:pt x="3421" y="6699"/>
                      <a:pt x="4160" y="6773"/>
                    </a:cubicBezTo>
                    <a:cubicBezTo>
                      <a:pt x="5270" y="6736"/>
                      <a:pt x="5011" y="6403"/>
                      <a:pt x="5196" y="5257"/>
                    </a:cubicBezTo>
                    <a:cubicBezTo>
                      <a:pt x="5417" y="3705"/>
                      <a:pt x="5676" y="1967"/>
                      <a:pt x="5824" y="451"/>
                    </a:cubicBezTo>
                    <a:lnTo>
                      <a:pt x="5306" y="7"/>
                    </a:lnTo>
                    <a:cubicBezTo>
                      <a:pt x="5240" y="3"/>
                      <a:pt x="5174" y="1"/>
                      <a:pt x="510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 name="Google Shape;1031;p53">
                <a:extLst>
                  <a:ext uri="{FF2B5EF4-FFF2-40B4-BE49-F238E27FC236}">
                    <a16:creationId xmlns:a16="http://schemas.microsoft.com/office/drawing/2014/main" id="{82234C17-619B-48A6-9C35-6C7FD60B3AED}"/>
                  </a:ext>
                </a:extLst>
              </p:cNvPr>
              <p:cNvSpPr/>
              <p:nvPr/>
            </p:nvSpPr>
            <p:spPr>
              <a:xfrm>
                <a:off x="7175898" y="1057573"/>
                <a:ext cx="66877" cy="115487"/>
              </a:xfrm>
              <a:custGeom>
                <a:avLst/>
                <a:gdLst/>
                <a:ahLst/>
                <a:cxnLst/>
                <a:rect l="l" t="t" r="r" b="b"/>
                <a:pathLst>
                  <a:path w="3661" h="6322" extrusionOk="0">
                    <a:moveTo>
                      <a:pt x="1790" y="0"/>
                    </a:moveTo>
                    <a:cubicBezTo>
                      <a:pt x="1544" y="0"/>
                      <a:pt x="1331" y="107"/>
                      <a:pt x="1221" y="382"/>
                    </a:cubicBezTo>
                    <a:lnTo>
                      <a:pt x="1" y="6260"/>
                    </a:lnTo>
                    <a:cubicBezTo>
                      <a:pt x="171" y="6302"/>
                      <a:pt x="335" y="6321"/>
                      <a:pt x="494" y="6321"/>
                    </a:cubicBezTo>
                    <a:cubicBezTo>
                      <a:pt x="2027" y="6321"/>
                      <a:pt x="3023" y="4502"/>
                      <a:pt x="3291" y="3229"/>
                    </a:cubicBezTo>
                    <a:cubicBezTo>
                      <a:pt x="3476" y="2341"/>
                      <a:pt x="3661" y="1380"/>
                      <a:pt x="2996" y="604"/>
                    </a:cubicBezTo>
                    <a:cubicBezTo>
                      <a:pt x="2717" y="302"/>
                      <a:pt x="2206" y="0"/>
                      <a:pt x="179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 name="Google Shape;1032;p53">
                <a:extLst>
                  <a:ext uri="{FF2B5EF4-FFF2-40B4-BE49-F238E27FC236}">
                    <a16:creationId xmlns:a16="http://schemas.microsoft.com/office/drawing/2014/main" id="{15E32EC0-34CA-4CB4-B26E-4248CABFB74A}"/>
                  </a:ext>
                </a:extLst>
              </p:cNvPr>
              <p:cNvSpPr/>
              <p:nvPr/>
            </p:nvSpPr>
            <p:spPr>
              <a:xfrm>
                <a:off x="7033412" y="1140379"/>
                <a:ext cx="146560" cy="155584"/>
              </a:xfrm>
              <a:custGeom>
                <a:avLst/>
                <a:gdLst/>
                <a:ahLst/>
                <a:cxnLst/>
                <a:rect l="l" t="t" r="r" b="b"/>
                <a:pathLst>
                  <a:path w="8023" h="8517" extrusionOk="0">
                    <a:moveTo>
                      <a:pt x="740" y="729"/>
                    </a:moveTo>
                    <a:cubicBezTo>
                      <a:pt x="796" y="729"/>
                      <a:pt x="829" y="746"/>
                      <a:pt x="850" y="773"/>
                    </a:cubicBezTo>
                    <a:lnTo>
                      <a:pt x="850" y="773"/>
                    </a:lnTo>
                    <a:cubicBezTo>
                      <a:pt x="813" y="759"/>
                      <a:pt x="776" y="745"/>
                      <a:pt x="740" y="729"/>
                    </a:cubicBezTo>
                    <a:close/>
                    <a:moveTo>
                      <a:pt x="6537" y="0"/>
                    </a:moveTo>
                    <a:cubicBezTo>
                      <a:pt x="5052" y="0"/>
                      <a:pt x="3307" y="930"/>
                      <a:pt x="1807" y="930"/>
                    </a:cubicBezTo>
                    <a:cubicBezTo>
                      <a:pt x="1496" y="930"/>
                      <a:pt x="1196" y="891"/>
                      <a:pt x="911" y="794"/>
                    </a:cubicBezTo>
                    <a:lnTo>
                      <a:pt x="911" y="794"/>
                    </a:lnTo>
                    <a:lnTo>
                      <a:pt x="740" y="138"/>
                    </a:lnTo>
                    <a:cubicBezTo>
                      <a:pt x="629" y="2799"/>
                      <a:pt x="0" y="5942"/>
                      <a:pt x="518" y="7014"/>
                    </a:cubicBezTo>
                    <a:cubicBezTo>
                      <a:pt x="887" y="7861"/>
                      <a:pt x="3054" y="8516"/>
                      <a:pt x="4937" y="8516"/>
                    </a:cubicBezTo>
                    <a:cubicBezTo>
                      <a:pt x="6260" y="8516"/>
                      <a:pt x="7444" y="8193"/>
                      <a:pt x="7764" y="7384"/>
                    </a:cubicBezTo>
                    <a:cubicBezTo>
                      <a:pt x="8023" y="6718"/>
                      <a:pt x="7025" y="4722"/>
                      <a:pt x="6951" y="3872"/>
                    </a:cubicBezTo>
                    <a:cubicBezTo>
                      <a:pt x="6840" y="2615"/>
                      <a:pt x="6951" y="1321"/>
                      <a:pt x="6951" y="27"/>
                    </a:cubicBezTo>
                    <a:cubicBezTo>
                      <a:pt x="6815" y="8"/>
                      <a:pt x="6677" y="0"/>
                      <a:pt x="6537"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 name="Google Shape;1033;p53">
                <a:extLst>
                  <a:ext uri="{FF2B5EF4-FFF2-40B4-BE49-F238E27FC236}">
                    <a16:creationId xmlns:a16="http://schemas.microsoft.com/office/drawing/2014/main" id="{5D91D2D5-1B5F-4121-92C5-20D0BC853BDA}"/>
                  </a:ext>
                </a:extLst>
              </p:cNvPr>
              <p:cNvSpPr/>
              <p:nvPr/>
            </p:nvSpPr>
            <p:spPr>
              <a:xfrm>
                <a:off x="6759217" y="1327932"/>
                <a:ext cx="243816" cy="164133"/>
              </a:xfrm>
              <a:custGeom>
                <a:avLst/>
                <a:gdLst/>
                <a:ahLst/>
                <a:cxnLst/>
                <a:rect l="l" t="t" r="r" b="b"/>
                <a:pathLst>
                  <a:path w="13347" h="8985" extrusionOk="0">
                    <a:moveTo>
                      <a:pt x="629" y="0"/>
                    </a:moveTo>
                    <a:lnTo>
                      <a:pt x="0" y="8504"/>
                    </a:lnTo>
                    <a:lnTo>
                      <a:pt x="12977" y="8984"/>
                    </a:lnTo>
                    <a:lnTo>
                      <a:pt x="13346" y="1036"/>
                    </a:lnTo>
                    <a:lnTo>
                      <a:pt x="62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 name="Google Shape;1034;p53">
                <a:extLst>
                  <a:ext uri="{FF2B5EF4-FFF2-40B4-BE49-F238E27FC236}">
                    <a16:creationId xmlns:a16="http://schemas.microsoft.com/office/drawing/2014/main" id="{C5DA0CA4-A8B5-47EE-8081-B7C47FA9BCC0}"/>
                  </a:ext>
                </a:extLst>
              </p:cNvPr>
              <p:cNvSpPr/>
              <p:nvPr/>
            </p:nvSpPr>
            <p:spPr>
              <a:xfrm>
                <a:off x="7034764" y="1346839"/>
                <a:ext cx="244492" cy="158050"/>
              </a:xfrm>
              <a:custGeom>
                <a:avLst/>
                <a:gdLst/>
                <a:ahLst/>
                <a:cxnLst/>
                <a:rect l="l" t="t" r="r" b="b"/>
                <a:pathLst>
                  <a:path w="13384" h="8652" extrusionOk="0">
                    <a:moveTo>
                      <a:pt x="259" y="1"/>
                    </a:moveTo>
                    <a:lnTo>
                      <a:pt x="0" y="8134"/>
                    </a:lnTo>
                    <a:lnTo>
                      <a:pt x="12977" y="8652"/>
                    </a:lnTo>
                    <a:lnTo>
                      <a:pt x="13383" y="666"/>
                    </a:lnTo>
                    <a:lnTo>
                      <a:pt x="259"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 name="Google Shape;1035;p53">
                <a:extLst>
                  <a:ext uri="{FF2B5EF4-FFF2-40B4-BE49-F238E27FC236}">
                    <a16:creationId xmlns:a16="http://schemas.microsoft.com/office/drawing/2014/main" id="{3BC65B96-2637-41AD-936E-D8CDA4B25B5B}"/>
                  </a:ext>
                </a:extLst>
              </p:cNvPr>
              <p:cNvSpPr/>
              <p:nvPr/>
            </p:nvSpPr>
            <p:spPr>
              <a:xfrm>
                <a:off x="7300848" y="1359681"/>
                <a:ext cx="160754" cy="154671"/>
              </a:xfrm>
              <a:custGeom>
                <a:avLst/>
                <a:gdLst/>
                <a:ahLst/>
                <a:cxnLst/>
                <a:rect l="l" t="t" r="r" b="b"/>
                <a:pathLst>
                  <a:path w="8800" h="8467" extrusionOk="0">
                    <a:moveTo>
                      <a:pt x="666" y="0"/>
                    </a:moveTo>
                    <a:lnTo>
                      <a:pt x="0" y="7912"/>
                    </a:lnTo>
                    <a:lnTo>
                      <a:pt x="7949" y="8466"/>
                    </a:lnTo>
                    <a:lnTo>
                      <a:pt x="8799" y="666"/>
                    </a:lnTo>
                    <a:lnTo>
                      <a:pt x="66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 name="Google Shape;1036;p53">
                <a:extLst>
                  <a:ext uri="{FF2B5EF4-FFF2-40B4-BE49-F238E27FC236}">
                    <a16:creationId xmlns:a16="http://schemas.microsoft.com/office/drawing/2014/main" id="{D5F6AAE3-F8F6-42B0-8904-F682DC42DC31}"/>
                  </a:ext>
                </a:extLst>
              </p:cNvPr>
              <p:cNvSpPr/>
              <p:nvPr/>
            </p:nvSpPr>
            <p:spPr>
              <a:xfrm>
                <a:off x="5821126" y="1890516"/>
                <a:ext cx="1215666" cy="958350"/>
              </a:xfrm>
              <a:custGeom>
                <a:avLst/>
                <a:gdLst/>
                <a:ahLst/>
                <a:cxnLst/>
                <a:rect l="l" t="t" r="r" b="b"/>
                <a:pathLst>
                  <a:path w="66548" h="52462" extrusionOk="0">
                    <a:moveTo>
                      <a:pt x="64515" y="0"/>
                    </a:moveTo>
                    <a:lnTo>
                      <a:pt x="1" y="1738"/>
                    </a:lnTo>
                    <a:lnTo>
                      <a:pt x="1701" y="52462"/>
                    </a:lnTo>
                    <a:lnTo>
                      <a:pt x="66548" y="43773"/>
                    </a:lnTo>
                    <a:lnTo>
                      <a:pt x="6451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 name="Google Shape;1037;p53">
                <a:extLst>
                  <a:ext uri="{FF2B5EF4-FFF2-40B4-BE49-F238E27FC236}">
                    <a16:creationId xmlns:a16="http://schemas.microsoft.com/office/drawing/2014/main" id="{B44E083C-C2CB-41A1-B6B3-C87E93725CB0}"/>
                  </a:ext>
                </a:extLst>
              </p:cNvPr>
              <p:cNvSpPr/>
              <p:nvPr/>
            </p:nvSpPr>
            <p:spPr>
              <a:xfrm>
                <a:off x="5869078" y="1924274"/>
                <a:ext cx="1129900" cy="872584"/>
              </a:xfrm>
              <a:custGeom>
                <a:avLst/>
                <a:gdLst/>
                <a:ahLst/>
                <a:cxnLst/>
                <a:rect l="l" t="t" r="r" b="b"/>
                <a:pathLst>
                  <a:path w="61853" h="47767" extrusionOk="0">
                    <a:moveTo>
                      <a:pt x="59745" y="1"/>
                    </a:moveTo>
                    <a:lnTo>
                      <a:pt x="1" y="3476"/>
                    </a:lnTo>
                    <a:lnTo>
                      <a:pt x="1590" y="47767"/>
                    </a:lnTo>
                    <a:lnTo>
                      <a:pt x="61853" y="40188"/>
                    </a:lnTo>
                    <a:lnTo>
                      <a:pt x="59745"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 name="Google Shape;1038;p53">
                <a:extLst>
                  <a:ext uri="{FF2B5EF4-FFF2-40B4-BE49-F238E27FC236}">
                    <a16:creationId xmlns:a16="http://schemas.microsoft.com/office/drawing/2014/main" id="{C783B0E9-117F-4467-B1E8-1A598F38BB79}"/>
                  </a:ext>
                </a:extLst>
              </p:cNvPr>
              <p:cNvSpPr/>
              <p:nvPr/>
            </p:nvSpPr>
            <p:spPr>
              <a:xfrm>
                <a:off x="5896771" y="2266680"/>
                <a:ext cx="1066420" cy="530854"/>
              </a:xfrm>
              <a:custGeom>
                <a:avLst/>
                <a:gdLst/>
                <a:ahLst/>
                <a:cxnLst/>
                <a:rect l="l" t="t" r="r" b="b"/>
                <a:pathLst>
                  <a:path w="58378" h="29060" extrusionOk="0">
                    <a:moveTo>
                      <a:pt x="26804" y="1"/>
                    </a:moveTo>
                    <a:lnTo>
                      <a:pt x="1" y="29060"/>
                    </a:lnTo>
                    <a:lnTo>
                      <a:pt x="1" y="29060"/>
                    </a:lnTo>
                    <a:lnTo>
                      <a:pt x="58377" y="21740"/>
                    </a:lnTo>
                    <a:lnTo>
                      <a:pt x="34198"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 name="Google Shape;1039;p53">
                <a:extLst>
                  <a:ext uri="{FF2B5EF4-FFF2-40B4-BE49-F238E27FC236}">
                    <a16:creationId xmlns:a16="http://schemas.microsoft.com/office/drawing/2014/main" id="{3CE70733-9F8B-4D3B-8D2D-EAF2027CAE19}"/>
                  </a:ext>
                </a:extLst>
              </p:cNvPr>
              <p:cNvSpPr/>
              <p:nvPr/>
            </p:nvSpPr>
            <p:spPr>
              <a:xfrm>
                <a:off x="5749535" y="2266680"/>
                <a:ext cx="636896" cy="658507"/>
              </a:xfrm>
              <a:custGeom>
                <a:avLst/>
                <a:gdLst/>
                <a:ahLst/>
                <a:cxnLst/>
                <a:rect l="l" t="t" r="r" b="b"/>
                <a:pathLst>
                  <a:path w="34865" h="36048" extrusionOk="0">
                    <a:moveTo>
                      <a:pt x="33607" y="1"/>
                    </a:moveTo>
                    <a:lnTo>
                      <a:pt x="1" y="33459"/>
                    </a:lnTo>
                    <a:lnTo>
                      <a:pt x="3070" y="36047"/>
                    </a:lnTo>
                    <a:lnTo>
                      <a:pt x="34864"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 name="Google Shape;1040;p53">
                <a:extLst>
                  <a:ext uri="{FF2B5EF4-FFF2-40B4-BE49-F238E27FC236}">
                    <a16:creationId xmlns:a16="http://schemas.microsoft.com/office/drawing/2014/main" id="{90BC5C88-08AA-4706-B092-5C79D332197A}"/>
                  </a:ext>
                </a:extLst>
              </p:cNvPr>
              <p:cNvSpPr/>
              <p:nvPr/>
            </p:nvSpPr>
            <p:spPr>
              <a:xfrm>
                <a:off x="6778799" y="2134314"/>
                <a:ext cx="104015" cy="515326"/>
              </a:xfrm>
              <a:custGeom>
                <a:avLst/>
                <a:gdLst/>
                <a:ahLst/>
                <a:cxnLst/>
                <a:rect l="l" t="t" r="r" b="b"/>
                <a:pathLst>
                  <a:path w="5694" h="28210" extrusionOk="0">
                    <a:moveTo>
                      <a:pt x="4215" y="1"/>
                    </a:moveTo>
                    <a:lnTo>
                      <a:pt x="0" y="28209"/>
                    </a:lnTo>
                    <a:lnTo>
                      <a:pt x="1960" y="28172"/>
                    </a:lnTo>
                    <a:lnTo>
                      <a:pt x="5694" y="1"/>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 name="Google Shape;1041;p53">
                <a:extLst>
                  <a:ext uri="{FF2B5EF4-FFF2-40B4-BE49-F238E27FC236}">
                    <a16:creationId xmlns:a16="http://schemas.microsoft.com/office/drawing/2014/main" id="{4F36926E-C9CA-40DB-981C-C514AB942D0F}"/>
                  </a:ext>
                </a:extLst>
              </p:cNvPr>
              <p:cNvSpPr/>
              <p:nvPr/>
            </p:nvSpPr>
            <p:spPr>
              <a:xfrm>
                <a:off x="6740292" y="2199821"/>
                <a:ext cx="81071" cy="301231"/>
              </a:xfrm>
              <a:custGeom>
                <a:avLst/>
                <a:gdLst/>
                <a:ahLst/>
                <a:cxnLst/>
                <a:rect l="l" t="t" r="r" b="b"/>
                <a:pathLst>
                  <a:path w="4438" h="16490" extrusionOk="0">
                    <a:moveTo>
                      <a:pt x="4437" y="1"/>
                    </a:moveTo>
                    <a:lnTo>
                      <a:pt x="3032" y="75"/>
                    </a:lnTo>
                    <a:lnTo>
                      <a:pt x="1" y="16490"/>
                    </a:lnTo>
                    <a:lnTo>
                      <a:pt x="1" y="16490"/>
                    </a:lnTo>
                    <a:lnTo>
                      <a:pt x="1886" y="16342"/>
                    </a:lnTo>
                    <a:lnTo>
                      <a:pt x="4437" y="1"/>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 name="Google Shape;1042;p53">
                <a:extLst>
                  <a:ext uri="{FF2B5EF4-FFF2-40B4-BE49-F238E27FC236}">
                    <a16:creationId xmlns:a16="http://schemas.microsoft.com/office/drawing/2014/main" id="{7A99CE3B-7110-4868-B000-0B1E91260354}"/>
                  </a:ext>
                </a:extLst>
              </p:cNvPr>
              <p:cNvSpPr/>
              <p:nvPr/>
            </p:nvSpPr>
            <p:spPr>
              <a:xfrm>
                <a:off x="6041980" y="2232246"/>
                <a:ext cx="36480" cy="262047"/>
              </a:xfrm>
              <a:custGeom>
                <a:avLst/>
                <a:gdLst/>
                <a:ahLst/>
                <a:cxnLst/>
                <a:rect l="l" t="t" r="r" b="b"/>
                <a:pathLst>
                  <a:path w="1997" h="14345" extrusionOk="0">
                    <a:moveTo>
                      <a:pt x="0" y="0"/>
                    </a:moveTo>
                    <a:lnTo>
                      <a:pt x="703" y="14345"/>
                    </a:lnTo>
                    <a:lnTo>
                      <a:pt x="1997" y="14345"/>
                    </a:lnTo>
                    <a:lnTo>
                      <a:pt x="1405" y="0"/>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 name="Google Shape;1043;p53">
                <a:extLst>
                  <a:ext uri="{FF2B5EF4-FFF2-40B4-BE49-F238E27FC236}">
                    <a16:creationId xmlns:a16="http://schemas.microsoft.com/office/drawing/2014/main" id="{8C3F6401-FC21-4832-AA9E-3495F76D8CF7}"/>
                  </a:ext>
                </a:extLst>
              </p:cNvPr>
              <p:cNvSpPr/>
              <p:nvPr/>
            </p:nvSpPr>
            <p:spPr>
              <a:xfrm>
                <a:off x="5973093" y="2232922"/>
                <a:ext cx="49998" cy="418070"/>
              </a:xfrm>
              <a:custGeom>
                <a:avLst/>
                <a:gdLst/>
                <a:ahLst/>
                <a:cxnLst/>
                <a:rect l="l" t="t" r="r" b="b"/>
                <a:pathLst>
                  <a:path w="2737" h="22886" extrusionOk="0">
                    <a:moveTo>
                      <a:pt x="0" y="0"/>
                    </a:moveTo>
                    <a:lnTo>
                      <a:pt x="1220" y="22885"/>
                    </a:lnTo>
                    <a:lnTo>
                      <a:pt x="2736" y="22885"/>
                    </a:lnTo>
                    <a:lnTo>
                      <a:pt x="1553" y="0"/>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 name="Google Shape;1044;p53">
                <a:extLst>
                  <a:ext uri="{FF2B5EF4-FFF2-40B4-BE49-F238E27FC236}">
                    <a16:creationId xmlns:a16="http://schemas.microsoft.com/office/drawing/2014/main" id="{26A695FA-3BBC-4896-B784-65340134597F}"/>
                  </a:ext>
                </a:extLst>
              </p:cNvPr>
              <p:cNvSpPr/>
              <p:nvPr/>
            </p:nvSpPr>
            <p:spPr>
              <a:xfrm>
                <a:off x="6391821" y="2134314"/>
                <a:ext cx="545705" cy="272862"/>
              </a:xfrm>
              <a:custGeom>
                <a:avLst/>
                <a:gdLst/>
                <a:ahLst/>
                <a:cxnLst/>
                <a:rect l="l" t="t" r="r" b="b"/>
                <a:pathLst>
                  <a:path w="29873" h="14937" extrusionOk="0">
                    <a:moveTo>
                      <a:pt x="29872" y="1"/>
                    </a:moveTo>
                    <a:lnTo>
                      <a:pt x="0" y="2219"/>
                    </a:lnTo>
                    <a:lnTo>
                      <a:pt x="1331" y="14937"/>
                    </a:lnTo>
                    <a:lnTo>
                      <a:pt x="29761" y="12829"/>
                    </a:lnTo>
                    <a:lnTo>
                      <a:pt x="2987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 name="Google Shape;1045;p53">
                <a:extLst>
                  <a:ext uri="{FF2B5EF4-FFF2-40B4-BE49-F238E27FC236}">
                    <a16:creationId xmlns:a16="http://schemas.microsoft.com/office/drawing/2014/main" id="{3F3148D9-02E9-4D52-8A14-02119727D11B}"/>
                  </a:ext>
                </a:extLst>
              </p:cNvPr>
              <p:cNvSpPr/>
              <p:nvPr/>
            </p:nvSpPr>
            <p:spPr>
              <a:xfrm>
                <a:off x="6282398" y="2320716"/>
                <a:ext cx="545723" cy="272862"/>
              </a:xfrm>
              <a:custGeom>
                <a:avLst/>
                <a:gdLst/>
                <a:ahLst/>
                <a:cxnLst/>
                <a:rect l="l" t="t" r="r" b="b"/>
                <a:pathLst>
                  <a:path w="29874" h="14937" extrusionOk="0">
                    <a:moveTo>
                      <a:pt x="29873" y="0"/>
                    </a:moveTo>
                    <a:lnTo>
                      <a:pt x="1" y="2219"/>
                    </a:lnTo>
                    <a:lnTo>
                      <a:pt x="1332" y="14937"/>
                    </a:lnTo>
                    <a:lnTo>
                      <a:pt x="29725" y="12829"/>
                    </a:lnTo>
                    <a:lnTo>
                      <a:pt x="29873"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 name="Google Shape;1046;p53">
                <a:extLst>
                  <a:ext uri="{FF2B5EF4-FFF2-40B4-BE49-F238E27FC236}">
                    <a16:creationId xmlns:a16="http://schemas.microsoft.com/office/drawing/2014/main" id="{06FE016D-39AD-4B9B-A5B9-8FBDC018FDF2}"/>
                  </a:ext>
                </a:extLst>
              </p:cNvPr>
              <p:cNvSpPr/>
              <p:nvPr/>
            </p:nvSpPr>
            <p:spPr>
              <a:xfrm>
                <a:off x="5903530" y="2055289"/>
                <a:ext cx="455208" cy="234372"/>
              </a:xfrm>
              <a:custGeom>
                <a:avLst/>
                <a:gdLst/>
                <a:ahLst/>
                <a:cxnLst/>
                <a:rect l="l" t="t" r="r" b="b"/>
                <a:pathLst>
                  <a:path w="24919" h="12830" extrusionOk="0">
                    <a:moveTo>
                      <a:pt x="24327" y="1"/>
                    </a:moveTo>
                    <a:lnTo>
                      <a:pt x="0" y="1739"/>
                    </a:lnTo>
                    <a:lnTo>
                      <a:pt x="592" y="12830"/>
                    </a:lnTo>
                    <a:lnTo>
                      <a:pt x="24918" y="11203"/>
                    </a:lnTo>
                    <a:lnTo>
                      <a:pt x="24327"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 name="Google Shape;1047;p53">
                <a:extLst>
                  <a:ext uri="{FF2B5EF4-FFF2-40B4-BE49-F238E27FC236}">
                    <a16:creationId xmlns:a16="http://schemas.microsoft.com/office/drawing/2014/main" id="{9B8F5F23-4638-4BFC-95B3-D64301FFFD1F}"/>
                  </a:ext>
                </a:extLst>
              </p:cNvPr>
              <p:cNvSpPr/>
              <p:nvPr/>
            </p:nvSpPr>
            <p:spPr>
              <a:xfrm>
                <a:off x="5920410" y="2571949"/>
                <a:ext cx="345804" cy="155347"/>
              </a:xfrm>
              <a:custGeom>
                <a:avLst/>
                <a:gdLst/>
                <a:ahLst/>
                <a:cxnLst/>
                <a:rect l="l" t="t" r="r" b="b"/>
                <a:pathLst>
                  <a:path w="18930" h="8504" extrusionOk="0">
                    <a:moveTo>
                      <a:pt x="18671" y="1"/>
                    </a:moveTo>
                    <a:lnTo>
                      <a:pt x="1" y="925"/>
                    </a:lnTo>
                    <a:lnTo>
                      <a:pt x="259" y="8504"/>
                    </a:lnTo>
                    <a:lnTo>
                      <a:pt x="18929" y="7653"/>
                    </a:lnTo>
                    <a:lnTo>
                      <a:pt x="18671"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 name="Google Shape;1048;p53">
                <a:extLst>
                  <a:ext uri="{FF2B5EF4-FFF2-40B4-BE49-F238E27FC236}">
                    <a16:creationId xmlns:a16="http://schemas.microsoft.com/office/drawing/2014/main" id="{FFE30D8F-709A-4910-A4C3-F7B24B85D11B}"/>
                  </a:ext>
                </a:extLst>
              </p:cNvPr>
              <p:cNvSpPr/>
              <p:nvPr/>
            </p:nvSpPr>
            <p:spPr>
              <a:xfrm>
                <a:off x="6993552" y="1864174"/>
                <a:ext cx="877991" cy="735486"/>
              </a:xfrm>
              <a:custGeom>
                <a:avLst/>
                <a:gdLst/>
                <a:ahLst/>
                <a:cxnLst/>
                <a:rect l="l" t="t" r="r" b="b"/>
                <a:pathLst>
                  <a:path w="48063" h="40262" extrusionOk="0">
                    <a:moveTo>
                      <a:pt x="47323" y="0"/>
                    </a:moveTo>
                    <a:lnTo>
                      <a:pt x="1" y="1442"/>
                    </a:lnTo>
                    <a:lnTo>
                      <a:pt x="1775" y="40261"/>
                    </a:lnTo>
                    <a:lnTo>
                      <a:pt x="48063" y="34716"/>
                    </a:lnTo>
                    <a:lnTo>
                      <a:pt x="47323"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 name="Google Shape;1049;p53">
                <a:extLst>
                  <a:ext uri="{FF2B5EF4-FFF2-40B4-BE49-F238E27FC236}">
                    <a16:creationId xmlns:a16="http://schemas.microsoft.com/office/drawing/2014/main" id="{9B065D56-BAB2-431E-B4BF-92354A2229A6}"/>
                  </a:ext>
                </a:extLst>
              </p:cNvPr>
              <p:cNvSpPr/>
              <p:nvPr/>
            </p:nvSpPr>
            <p:spPr>
              <a:xfrm>
                <a:off x="7050291" y="1899284"/>
                <a:ext cx="792207" cy="663896"/>
              </a:xfrm>
              <a:custGeom>
                <a:avLst/>
                <a:gdLst/>
                <a:ahLst/>
                <a:cxnLst/>
                <a:rect l="l" t="t" r="r" b="b"/>
                <a:pathLst>
                  <a:path w="43367" h="36343" extrusionOk="0">
                    <a:moveTo>
                      <a:pt x="42701" y="1"/>
                    </a:moveTo>
                    <a:lnTo>
                      <a:pt x="0" y="1295"/>
                    </a:lnTo>
                    <a:lnTo>
                      <a:pt x="1590" y="36343"/>
                    </a:lnTo>
                    <a:lnTo>
                      <a:pt x="43367" y="31352"/>
                    </a:lnTo>
                    <a:lnTo>
                      <a:pt x="42701"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 name="Google Shape;1050;p53">
                <a:extLst>
                  <a:ext uri="{FF2B5EF4-FFF2-40B4-BE49-F238E27FC236}">
                    <a16:creationId xmlns:a16="http://schemas.microsoft.com/office/drawing/2014/main" id="{61FEB06E-811F-4C1F-891E-66073454DA15}"/>
                  </a:ext>
                </a:extLst>
              </p:cNvPr>
              <p:cNvSpPr/>
              <p:nvPr/>
            </p:nvSpPr>
            <p:spPr>
              <a:xfrm>
                <a:off x="7467667" y="1959403"/>
                <a:ext cx="326221" cy="493022"/>
              </a:xfrm>
              <a:custGeom>
                <a:avLst/>
                <a:gdLst/>
                <a:ahLst/>
                <a:cxnLst/>
                <a:rect l="l" t="t" r="r" b="b"/>
                <a:pathLst>
                  <a:path w="17858" h="26989" extrusionOk="0">
                    <a:moveTo>
                      <a:pt x="16933" y="0"/>
                    </a:moveTo>
                    <a:lnTo>
                      <a:pt x="0" y="776"/>
                    </a:lnTo>
                    <a:lnTo>
                      <a:pt x="592" y="26989"/>
                    </a:lnTo>
                    <a:lnTo>
                      <a:pt x="17857" y="25584"/>
                    </a:lnTo>
                    <a:lnTo>
                      <a:pt x="16933"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 name="Google Shape;1051;p53">
                <a:extLst>
                  <a:ext uri="{FF2B5EF4-FFF2-40B4-BE49-F238E27FC236}">
                    <a16:creationId xmlns:a16="http://schemas.microsoft.com/office/drawing/2014/main" id="{1AE9AD55-A627-410F-B7DA-E5617B029185}"/>
                  </a:ext>
                </a:extLst>
              </p:cNvPr>
              <p:cNvSpPr/>
              <p:nvPr/>
            </p:nvSpPr>
            <p:spPr>
              <a:xfrm>
                <a:off x="7338662" y="2075566"/>
                <a:ext cx="107413" cy="80377"/>
              </a:xfrm>
              <a:custGeom>
                <a:avLst/>
                <a:gdLst/>
                <a:ahLst/>
                <a:cxnLst/>
                <a:rect l="l" t="t" r="r" b="b"/>
                <a:pathLst>
                  <a:path w="5880" h="4400" extrusionOk="0">
                    <a:moveTo>
                      <a:pt x="5768" y="0"/>
                    </a:moveTo>
                    <a:lnTo>
                      <a:pt x="1" y="333"/>
                    </a:lnTo>
                    <a:lnTo>
                      <a:pt x="186" y="4400"/>
                    </a:lnTo>
                    <a:lnTo>
                      <a:pt x="5879" y="4104"/>
                    </a:lnTo>
                    <a:lnTo>
                      <a:pt x="576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 name="Google Shape;1052;p53">
                <a:extLst>
                  <a:ext uri="{FF2B5EF4-FFF2-40B4-BE49-F238E27FC236}">
                    <a16:creationId xmlns:a16="http://schemas.microsoft.com/office/drawing/2014/main" id="{303C86E6-0586-498E-A028-DD315C2D3538}"/>
                  </a:ext>
                </a:extLst>
              </p:cNvPr>
              <p:cNvSpPr/>
              <p:nvPr/>
            </p:nvSpPr>
            <p:spPr>
              <a:xfrm>
                <a:off x="7209675" y="1978310"/>
                <a:ext cx="106719" cy="84432"/>
              </a:xfrm>
              <a:custGeom>
                <a:avLst/>
                <a:gdLst/>
                <a:ahLst/>
                <a:cxnLst/>
                <a:rect l="l" t="t" r="r" b="b"/>
                <a:pathLst>
                  <a:path w="5842" h="4622" extrusionOk="0">
                    <a:moveTo>
                      <a:pt x="5583" y="0"/>
                    </a:moveTo>
                    <a:lnTo>
                      <a:pt x="0" y="74"/>
                    </a:lnTo>
                    <a:lnTo>
                      <a:pt x="222" y="4622"/>
                    </a:lnTo>
                    <a:lnTo>
                      <a:pt x="5842" y="4326"/>
                    </a:lnTo>
                    <a:lnTo>
                      <a:pt x="558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 name="Google Shape;1053;p53">
                <a:extLst>
                  <a:ext uri="{FF2B5EF4-FFF2-40B4-BE49-F238E27FC236}">
                    <a16:creationId xmlns:a16="http://schemas.microsoft.com/office/drawing/2014/main" id="{DAD744AE-AD71-408B-9068-E872BBE25236}"/>
                  </a:ext>
                </a:extLst>
              </p:cNvPr>
              <p:cNvSpPr/>
              <p:nvPr/>
            </p:nvSpPr>
            <p:spPr>
              <a:xfrm>
                <a:off x="7215082" y="2082982"/>
                <a:ext cx="106719" cy="78368"/>
              </a:xfrm>
              <a:custGeom>
                <a:avLst/>
                <a:gdLst/>
                <a:ahLst/>
                <a:cxnLst/>
                <a:rect l="l" t="t" r="r" b="b"/>
                <a:pathLst>
                  <a:path w="5842" h="4290" extrusionOk="0">
                    <a:moveTo>
                      <a:pt x="5620" y="1"/>
                    </a:moveTo>
                    <a:lnTo>
                      <a:pt x="0" y="333"/>
                    </a:lnTo>
                    <a:lnTo>
                      <a:pt x="222" y="4289"/>
                    </a:lnTo>
                    <a:lnTo>
                      <a:pt x="5842" y="4031"/>
                    </a:lnTo>
                    <a:lnTo>
                      <a:pt x="5620"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 name="Google Shape;1054;p53">
                <a:extLst>
                  <a:ext uri="{FF2B5EF4-FFF2-40B4-BE49-F238E27FC236}">
                    <a16:creationId xmlns:a16="http://schemas.microsoft.com/office/drawing/2014/main" id="{4316376A-51D2-4D0F-9C58-068B7362948B}"/>
                  </a:ext>
                </a:extLst>
              </p:cNvPr>
              <p:cNvSpPr/>
              <p:nvPr/>
            </p:nvSpPr>
            <p:spPr>
              <a:xfrm>
                <a:off x="7220471" y="2182266"/>
                <a:ext cx="107413" cy="83756"/>
              </a:xfrm>
              <a:custGeom>
                <a:avLst/>
                <a:gdLst/>
                <a:ahLst/>
                <a:cxnLst/>
                <a:rect l="l" t="t" r="r" b="b"/>
                <a:pathLst>
                  <a:path w="5880" h="4585" extrusionOk="0">
                    <a:moveTo>
                      <a:pt x="5621" y="0"/>
                    </a:moveTo>
                    <a:lnTo>
                      <a:pt x="1" y="333"/>
                    </a:lnTo>
                    <a:lnTo>
                      <a:pt x="186" y="4585"/>
                    </a:lnTo>
                    <a:lnTo>
                      <a:pt x="5879" y="4326"/>
                    </a:lnTo>
                    <a:lnTo>
                      <a:pt x="5621"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 name="Google Shape;1055;p53">
                <a:extLst>
                  <a:ext uri="{FF2B5EF4-FFF2-40B4-BE49-F238E27FC236}">
                    <a16:creationId xmlns:a16="http://schemas.microsoft.com/office/drawing/2014/main" id="{EC5F2221-2557-4260-9A2E-13E514781DA1}"/>
                  </a:ext>
                </a:extLst>
              </p:cNvPr>
              <p:cNvSpPr/>
              <p:nvPr/>
            </p:nvSpPr>
            <p:spPr>
              <a:xfrm>
                <a:off x="7225202" y="2286263"/>
                <a:ext cx="113478" cy="186420"/>
              </a:xfrm>
              <a:custGeom>
                <a:avLst/>
                <a:gdLst/>
                <a:ahLst/>
                <a:cxnLst/>
                <a:rect l="l" t="t" r="r" b="b"/>
                <a:pathLst>
                  <a:path w="6212" h="10205" extrusionOk="0">
                    <a:moveTo>
                      <a:pt x="5694" y="1"/>
                    </a:moveTo>
                    <a:lnTo>
                      <a:pt x="1" y="371"/>
                    </a:lnTo>
                    <a:lnTo>
                      <a:pt x="518" y="10205"/>
                    </a:lnTo>
                    <a:lnTo>
                      <a:pt x="6212" y="9687"/>
                    </a:lnTo>
                    <a:lnTo>
                      <a:pt x="569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 name="Google Shape;1056;p53">
                <a:extLst>
                  <a:ext uri="{FF2B5EF4-FFF2-40B4-BE49-F238E27FC236}">
                    <a16:creationId xmlns:a16="http://schemas.microsoft.com/office/drawing/2014/main" id="{654EE103-4D87-4E58-8E5C-064E2DB06C8F}"/>
                  </a:ext>
                </a:extLst>
              </p:cNvPr>
              <p:cNvSpPr/>
              <p:nvPr/>
            </p:nvSpPr>
            <p:spPr>
              <a:xfrm>
                <a:off x="7114446" y="2090417"/>
                <a:ext cx="83756" cy="76340"/>
              </a:xfrm>
              <a:custGeom>
                <a:avLst/>
                <a:gdLst/>
                <a:ahLst/>
                <a:cxnLst/>
                <a:rect l="l" t="t" r="r" b="b"/>
                <a:pathLst>
                  <a:path w="4585" h="4179" extrusionOk="0">
                    <a:moveTo>
                      <a:pt x="4363" y="0"/>
                    </a:moveTo>
                    <a:lnTo>
                      <a:pt x="1" y="296"/>
                    </a:lnTo>
                    <a:lnTo>
                      <a:pt x="148" y="4178"/>
                    </a:lnTo>
                    <a:lnTo>
                      <a:pt x="4585" y="3956"/>
                    </a:lnTo>
                    <a:lnTo>
                      <a:pt x="4363"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 name="Google Shape;1057;p53">
                <a:extLst>
                  <a:ext uri="{FF2B5EF4-FFF2-40B4-BE49-F238E27FC236}">
                    <a16:creationId xmlns:a16="http://schemas.microsoft.com/office/drawing/2014/main" id="{98F9366E-DA4A-4EA5-9C03-680654CA3D53}"/>
                  </a:ext>
                </a:extLst>
              </p:cNvPr>
              <p:cNvSpPr/>
              <p:nvPr/>
            </p:nvSpPr>
            <p:spPr>
              <a:xfrm>
                <a:off x="7118502" y="2189701"/>
                <a:ext cx="85784" cy="81729"/>
              </a:xfrm>
              <a:custGeom>
                <a:avLst/>
                <a:gdLst/>
                <a:ahLst/>
                <a:cxnLst/>
                <a:rect l="l" t="t" r="r" b="b"/>
                <a:pathLst>
                  <a:path w="4696" h="4474" extrusionOk="0">
                    <a:moveTo>
                      <a:pt x="4474" y="0"/>
                    </a:moveTo>
                    <a:lnTo>
                      <a:pt x="0" y="259"/>
                    </a:lnTo>
                    <a:lnTo>
                      <a:pt x="185" y="4474"/>
                    </a:lnTo>
                    <a:lnTo>
                      <a:pt x="4696" y="4252"/>
                    </a:lnTo>
                    <a:lnTo>
                      <a:pt x="4474"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 name="Google Shape;1058;p53">
                <a:extLst>
                  <a:ext uri="{FF2B5EF4-FFF2-40B4-BE49-F238E27FC236}">
                    <a16:creationId xmlns:a16="http://schemas.microsoft.com/office/drawing/2014/main" id="{9798BC6C-280C-4C8F-B610-950BD6858E7F}"/>
                  </a:ext>
                </a:extLst>
              </p:cNvPr>
              <p:cNvSpPr/>
              <p:nvPr/>
            </p:nvSpPr>
            <p:spPr>
              <a:xfrm>
                <a:off x="7348800" y="2279522"/>
                <a:ext cx="104691" cy="181689"/>
              </a:xfrm>
              <a:custGeom>
                <a:avLst/>
                <a:gdLst/>
                <a:ahLst/>
                <a:cxnLst/>
                <a:rect l="l" t="t" r="r" b="b"/>
                <a:pathLst>
                  <a:path w="5731" h="9946" extrusionOk="0">
                    <a:moveTo>
                      <a:pt x="5509" y="0"/>
                    </a:moveTo>
                    <a:lnTo>
                      <a:pt x="0" y="333"/>
                    </a:lnTo>
                    <a:lnTo>
                      <a:pt x="481" y="9945"/>
                    </a:lnTo>
                    <a:lnTo>
                      <a:pt x="5731" y="9465"/>
                    </a:lnTo>
                    <a:lnTo>
                      <a:pt x="5509"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 name="Google Shape;1059;p53">
                <a:extLst>
                  <a:ext uri="{FF2B5EF4-FFF2-40B4-BE49-F238E27FC236}">
                    <a16:creationId xmlns:a16="http://schemas.microsoft.com/office/drawing/2014/main" id="{30088307-C81A-48CF-9863-00ACAF602599}"/>
                  </a:ext>
                </a:extLst>
              </p:cNvPr>
              <p:cNvSpPr/>
              <p:nvPr/>
            </p:nvSpPr>
            <p:spPr>
              <a:xfrm>
                <a:off x="7343393" y="2174831"/>
                <a:ext cx="105385" cy="85127"/>
              </a:xfrm>
              <a:custGeom>
                <a:avLst/>
                <a:gdLst/>
                <a:ahLst/>
                <a:cxnLst/>
                <a:rect l="l" t="t" r="r" b="b"/>
                <a:pathLst>
                  <a:path w="5769" h="4660" extrusionOk="0">
                    <a:moveTo>
                      <a:pt x="5657" y="1"/>
                    </a:moveTo>
                    <a:lnTo>
                      <a:pt x="1" y="333"/>
                    </a:lnTo>
                    <a:lnTo>
                      <a:pt x="222" y="4659"/>
                    </a:lnTo>
                    <a:lnTo>
                      <a:pt x="5768" y="4400"/>
                    </a:lnTo>
                    <a:lnTo>
                      <a:pt x="5657"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 name="Google Shape;1060;p53">
                <a:extLst>
                  <a:ext uri="{FF2B5EF4-FFF2-40B4-BE49-F238E27FC236}">
                    <a16:creationId xmlns:a16="http://schemas.microsoft.com/office/drawing/2014/main" id="{926AAB84-5149-49E4-96F5-C67159B0C856}"/>
                  </a:ext>
                </a:extLst>
              </p:cNvPr>
              <p:cNvSpPr/>
              <p:nvPr/>
            </p:nvSpPr>
            <p:spPr>
              <a:xfrm>
                <a:off x="7123233" y="2293698"/>
                <a:ext cx="92543" cy="187772"/>
              </a:xfrm>
              <a:custGeom>
                <a:avLst/>
                <a:gdLst/>
                <a:ahLst/>
                <a:cxnLst/>
                <a:rect l="l" t="t" r="r" b="b"/>
                <a:pathLst>
                  <a:path w="5066" h="10279" extrusionOk="0">
                    <a:moveTo>
                      <a:pt x="4511" y="1"/>
                    </a:moveTo>
                    <a:lnTo>
                      <a:pt x="0" y="296"/>
                    </a:lnTo>
                    <a:lnTo>
                      <a:pt x="444" y="10278"/>
                    </a:lnTo>
                    <a:lnTo>
                      <a:pt x="5065" y="9872"/>
                    </a:lnTo>
                    <a:lnTo>
                      <a:pt x="4511"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 name="Google Shape;1061;p53">
                <a:extLst>
                  <a:ext uri="{FF2B5EF4-FFF2-40B4-BE49-F238E27FC236}">
                    <a16:creationId xmlns:a16="http://schemas.microsoft.com/office/drawing/2014/main" id="{000DEE0F-2A60-4146-8B8F-97A6DBD45096}"/>
                  </a:ext>
                </a:extLst>
              </p:cNvPr>
              <p:cNvSpPr/>
              <p:nvPr/>
            </p:nvSpPr>
            <p:spPr>
              <a:xfrm>
                <a:off x="7109039" y="1979661"/>
                <a:ext cx="83775" cy="87812"/>
              </a:xfrm>
              <a:custGeom>
                <a:avLst/>
                <a:gdLst/>
                <a:ahLst/>
                <a:cxnLst/>
                <a:rect l="l" t="t" r="r" b="b"/>
                <a:pathLst>
                  <a:path w="4586" h="4807" extrusionOk="0">
                    <a:moveTo>
                      <a:pt x="4326" y="0"/>
                    </a:moveTo>
                    <a:lnTo>
                      <a:pt x="1" y="37"/>
                    </a:lnTo>
                    <a:lnTo>
                      <a:pt x="223" y="4806"/>
                    </a:lnTo>
                    <a:lnTo>
                      <a:pt x="4585" y="4585"/>
                    </a:lnTo>
                    <a:lnTo>
                      <a:pt x="432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 name="Google Shape;1062;p53">
                <a:extLst>
                  <a:ext uri="{FF2B5EF4-FFF2-40B4-BE49-F238E27FC236}">
                    <a16:creationId xmlns:a16="http://schemas.microsoft.com/office/drawing/2014/main" id="{19FC6B1E-2116-4424-8E04-30784054C31D}"/>
                  </a:ext>
                </a:extLst>
              </p:cNvPr>
              <p:cNvSpPr/>
              <p:nvPr/>
            </p:nvSpPr>
            <p:spPr>
              <a:xfrm>
                <a:off x="7333273" y="1976958"/>
                <a:ext cx="110098" cy="79701"/>
              </a:xfrm>
              <a:custGeom>
                <a:avLst/>
                <a:gdLst/>
                <a:ahLst/>
                <a:cxnLst/>
                <a:rect l="l" t="t" r="r" b="b"/>
                <a:pathLst>
                  <a:path w="6027" h="4363" extrusionOk="0">
                    <a:moveTo>
                      <a:pt x="5915" y="0"/>
                    </a:moveTo>
                    <a:lnTo>
                      <a:pt x="0" y="74"/>
                    </a:lnTo>
                    <a:lnTo>
                      <a:pt x="222" y="4363"/>
                    </a:lnTo>
                    <a:lnTo>
                      <a:pt x="6026" y="4067"/>
                    </a:lnTo>
                    <a:lnTo>
                      <a:pt x="5915"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 name="Google Shape;1063;p53">
                <a:extLst>
                  <a:ext uri="{FF2B5EF4-FFF2-40B4-BE49-F238E27FC236}">
                    <a16:creationId xmlns:a16="http://schemas.microsoft.com/office/drawing/2014/main" id="{3379F5CA-5DA8-4D9E-8C96-DB032EA92381}"/>
                  </a:ext>
                </a:extLst>
              </p:cNvPr>
              <p:cNvSpPr/>
              <p:nvPr/>
            </p:nvSpPr>
            <p:spPr>
              <a:xfrm>
                <a:off x="7479139" y="2038410"/>
                <a:ext cx="299203" cy="359998"/>
              </a:xfrm>
              <a:custGeom>
                <a:avLst/>
                <a:gdLst/>
                <a:ahLst/>
                <a:cxnLst/>
                <a:rect l="l" t="t" r="r" b="b"/>
                <a:pathLst>
                  <a:path w="16379" h="19707" extrusionOk="0">
                    <a:moveTo>
                      <a:pt x="12238" y="8689"/>
                    </a:moveTo>
                    <a:lnTo>
                      <a:pt x="14197" y="11425"/>
                    </a:lnTo>
                    <a:cubicBezTo>
                      <a:pt x="13495" y="12053"/>
                      <a:pt x="12867" y="12756"/>
                      <a:pt x="12275" y="13495"/>
                    </a:cubicBezTo>
                    <a:lnTo>
                      <a:pt x="12275" y="13532"/>
                    </a:lnTo>
                    <a:cubicBezTo>
                      <a:pt x="12238" y="13606"/>
                      <a:pt x="12201" y="13680"/>
                      <a:pt x="12127" y="13754"/>
                    </a:cubicBezTo>
                    <a:lnTo>
                      <a:pt x="11942" y="13199"/>
                    </a:lnTo>
                    <a:cubicBezTo>
                      <a:pt x="11794" y="12571"/>
                      <a:pt x="11720" y="11905"/>
                      <a:pt x="11757" y="11240"/>
                    </a:cubicBezTo>
                    <a:cubicBezTo>
                      <a:pt x="11831" y="10537"/>
                      <a:pt x="12238" y="8689"/>
                      <a:pt x="12238" y="8689"/>
                    </a:cubicBezTo>
                    <a:close/>
                    <a:moveTo>
                      <a:pt x="10389" y="1"/>
                    </a:moveTo>
                    <a:cubicBezTo>
                      <a:pt x="8504" y="38"/>
                      <a:pt x="7580" y="3254"/>
                      <a:pt x="8171" y="4548"/>
                    </a:cubicBezTo>
                    <a:cubicBezTo>
                      <a:pt x="7765" y="4733"/>
                      <a:pt x="7395" y="4955"/>
                      <a:pt x="7062" y="5214"/>
                    </a:cubicBezTo>
                    <a:cubicBezTo>
                      <a:pt x="6766" y="5435"/>
                      <a:pt x="6582" y="6138"/>
                      <a:pt x="6508" y="7210"/>
                    </a:cubicBezTo>
                    <a:cubicBezTo>
                      <a:pt x="6286" y="8430"/>
                      <a:pt x="5657" y="9539"/>
                      <a:pt x="4770" y="10389"/>
                    </a:cubicBezTo>
                    <a:cubicBezTo>
                      <a:pt x="4623" y="10536"/>
                      <a:pt x="4415" y="10594"/>
                      <a:pt x="4178" y="10594"/>
                    </a:cubicBezTo>
                    <a:cubicBezTo>
                      <a:pt x="3279" y="10594"/>
                      <a:pt x="1960" y="9761"/>
                      <a:pt x="1960" y="9761"/>
                    </a:cubicBezTo>
                    <a:cubicBezTo>
                      <a:pt x="1960" y="9761"/>
                      <a:pt x="1462" y="8889"/>
                      <a:pt x="865" y="8889"/>
                    </a:cubicBezTo>
                    <a:cubicBezTo>
                      <a:pt x="812" y="8889"/>
                      <a:pt x="758" y="8895"/>
                      <a:pt x="703" y="8911"/>
                    </a:cubicBezTo>
                    <a:cubicBezTo>
                      <a:pt x="1" y="9059"/>
                      <a:pt x="555" y="10759"/>
                      <a:pt x="629" y="10907"/>
                    </a:cubicBezTo>
                    <a:cubicBezTo>
                      <a:pt x="694" y="11036"/>
                      <a:pt x="3049" y="12721"/>
                      <a:pt x="5123" y="12721"/>
                    </a:cubicBezTo>
                    <a:cubicBezTo>
                      <a:pt x="5420" y="12721"/>
                      <a:pt x="5712" y="12686"/>
                      <a:pt x="5990" y="12608"/>
                    </a:cubicBezTo>
                    <a:cubicBezTo>
                      <a:pt x="6323" y="12534"/>
                      <a:pt x="6582" y="12386"/>
                      <a:pt x="6803" y="12201"/>
                    </a:cubicBezTo>
                    <a:lnTo>
                      <a:pt x="6803" y="12201"/>
                    </a:lnTo>
                    <a:cubicBezTo>
                      <a:pt x="6877" y="12719"/>
                      <a:pt x="5879" y="19706"/>
                      <a:pt x="5879" y="19706"/>
                    </a:cubicBezTo>
                    <a:lnTo>
                      <a:pt x="13236" y="17377"/>
                    </a:lnTo>
                    <a:lnTo>
                      <a:pt x="12867" y="16194"/>
                    </a:lnTo>
                    <a:cubicBezTo>
                      <a:pt x="13347" y="15565"/>
                      <a:pt x="13902" y="15048"/>
                      <a:pt x="14493" y="14604"/>
                    </a:cubicBezTo>
                    <a:cubicBezTo>
                      <a:pt x="15417" y="14013"/>
                      <a:pt x="16046" y="12608"/>
                      <a:pt x="16194" y="12053"/>
                    </a:cubicBezTo>
                    <a:cubicBezTo>
                      <a:pt x="16379" y="11499"/>
                      <a:pt x="15713" y="9502"/>
                      <a:pt x="14308" y="7062"/>
                    </a:cubicBezTo>
                    <a:cubicBezTo>
                      <a:pt x="12903" y="4622"/>
                      <a:pt x="13199" y="5435"/>
                      <a:pt x="12349" y="4881"/>
                    </a:cubicBezTo>
                    <a:cubicBezTo>
                      <a:pt x="11979" y="4622"/>
                      <a:pt x="11573" y="4437"/>
                      <a:pt x="11129" y="4326"/>
                    </a:cubicBezTo>
                    <a:lnTo>
                      <a:pt x="11055" y="3328"/>
                    </a:lnTo>
                    <a:cubicBezTo>
                      <a:pt x="11240" y="3069"/>
                      <a:pt x="11351" y="2810"/>
                      <a:pt x="11425" y="2515"/>
                    </a:cubicBezTo>
                    <a:cubicBezTo>
                      <a:pt x="11646" y="1553"/>
                      <a:pt x="11425" y="1"/>
                      <a:pt x="10389"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 name="Google Shape;1064;p53">
                <a:extLst>
                  <a:ext uri="{FF2B5EF4-FFF2-40B4-BE49-F238E27FC236}">
                    <a16:creationId xmlns:a16="http://schemas.microsoft.com/office/drawing/2014/main" id="{E69182F6-9CF0-4573-95F7-C4A45B9F5671}"/>
                  </a:ext>
                </a:extLst>
              </p:cNvPr>
              <p:cNvSpPr/>
              <p:nvPr/>
            </p:nvSpPr>
            <p:spPr>
              <a:xfrm>
                <a:off x="7529119" y="2315984"/>
                <a:ext cx="241131" cy="47970"/>
              </a:xfrm>
              <a:custGeom>
                <a:avLst/>
                <a:gdLst/>
                <a:ahLst/>
                <a:cxnLst/>
                <a:rect l="l" t="t" r="r" b="b"/>
                <a:pathLst>
                  <a:path w="13200" h="2626" extrusionOk="0">
                    <a:moveTo>
                      <a:pt x="13199" y="1"/>
                    </a:moveTo>
                    <a:lnTo>
                      <a:pt x="296" y="1258"/>
                    </a:lnTo>
                    <a:lnTo>
                      <a:pt x="1" y="2626"/>
                    </a:lnTo>
                    <a:lnTo>
                      <a:pt x="12940" y="1258"/>
                    </a:lnTo>
                    <a:lnTo>
                      <a:pt x="13199"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 name="Google Shape;1065;p53">
                <a:extLst>
                  <a:ext uri="{FF2B5EF4-FFF2-40B4-BE49-F238E27FC236}">
                    <a16:creationId xmlns:a16="http://schemas.microsoft.com/office/drawing/2014/main" id="{B3E6A9AA-BC2F-4288-8006-ACBFB879D2BA}"/>
                  </a:ext>
                </a:extLst>
              </p:cNvPr>
              <p:cNvSpPr/>
              <p:nvPr/>
            </p:nvSpPr>
            <p:spPr>
              <a:xfrm>
                <a:off x="7539257" y="2349761"/>
                <a:ext cx="222882" cy="45943"/>
              </a:xfrm>
              <a:custGeom>
                <a:avLst/>
                <a:gdLst/>
                <a:ahLst/>
                <a:cxnLst/>
                <a:rect l="l" t="t" r="r" b="b"/>
                <a:pathLst>
                  <a:path w="12201" h="2515" extrusionOk="0">
                    <a:moveTo>
                      <a:pt x="12200" y="0"/>
                    </a:moveTo>
                    <a:lnTo>
                      <a:pt x="259" y="1368"/>
                    </a:lnTo>
                    <a:lnTo>
                      <a:pt x="0" y="2514"/>
                    </a:lnTo>
                    <a:lnTo>
                      <a:pt x="11979" y="1257"/>
                    </a:lnTo>
                    <a:lnTo>
                      <a:pt x="12200"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 name="Google Shape;1066;p53">
                <a:extLst>
                  <a:ext uri="{FF2B5EF4-FFF2-40B4-BE49-F238E27FC236}">
                    <a16:creationId xmlns:a16="http://schemas.microsoft.com/office/drawing/2014/main" id="{B474B77F-906C-4343-9D90-8E48E2C76D3D}"/>
                  </a:ext>
                </a:extLst>
              </p:cNvPr>
              <p:cNvSpPr/>
              <p:nvPr/>
            </p:nvSpPr>
            <p:spPr>
              <a:xfrm>
                <a:off x="5133610" y="3063618"/>
                <a:ext cx="1381133" cy="432246"/>
              </a:xfrm>
              <a:custGeom>
                <a:avLst/>
                <a:gdLst/>
                <a:ahLst/>
                <a:cxnLst/>
                <a:rect l="l" t="t" r="r" b="b"/>
                <a:pathLst>
                  <a:path w="75606" h="23662" extrusionOk="0">
                    <a:moveTo>
                      <a:pt x="42813" y="0"/>
                    </a:moveTo>
                    <a:lnTo>
                      <a:pt x="1" y="7801"/>
                    </a:lnTo>
                    <a:lnTo>
                      <a:pt x="28579" y="23661"/>
                    </a:lnTo>
                    <a:lnTo>
                      <a:pt x="75606" y="14308"/>
                    </a:lnTo>
                    <a:lnTo>
                      <a:pt x="4281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 name="Google Shape;1067;p53">
                <a:extLst>
                  <a:ext uri="{FF2B5EF4-FFF2-40B4-BE49-F238E27FC236}">
                    <a16:creationId xmlns:a16="http://schemas.microsoft.com/office/drawing/2014/main" id="{D8642E3A-4FEC-4245-92E4-A33E064996CA}"/>
                  </a:ext>
                </a:extLst>
              </p:cNvPr>
              <p:cNvSpPr/>
              <p:nvPr/>
            </p:nvSpPr>
            <p:spPr>
              <a:xfrm>
                <a:off x="5649594" y="3324971"/>
                <a:ext cx="865149" cy="1280515"/>
              </a:xfrm>
              <a:custGeom>
                <a:avLst/>
                <a:gdLst/>
                <a:ahLst/>
                <a:cxnLst/>
                <a:rect l="l" t="t" r="r" b="b"/>
                <a:pathLst>
                  <a:path w="47360" h="70098" extrusionOk="0">
                    <a:moveTo>
                      <a:pt x="47360" y="1"/>
                    </a:moveTo>
                    <a:lnTo>
                      <a:pt x="333" y="9354"/>
                    </a:lnTo>
                    <a:lnTo>
                      <a:pt x="0" y="70097"/>
                    </a:lnTo>
                    <a:lnTo>
                      <a:pt x="47027" y="55346"/>
                    </a:lnTo>
                    <a:lnTo>
                      <a:pt x="47360"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 name="Google Shape;1068;p53">
                <a:extLst>
                  <a:ext uri="{FF2B5EF4-FFF2-40B4-BE49-F238E27FC236}">
                    <a16:creationId xmlns:a16="http://schemas.microsoft.com/office/drawing/2014/main" id="{C9201500-2B0B-481A-9C1F-1DBBBAA1A665}"/>
                  </a:ext>
                </a:extLst>
              </p:cNvPr>
              <p:cNvSpPr/>
              <p:nvPr/>
            </p:nvSpPr>
            <p:spPr>
              <a:xfrm>
                <a:off x="5127545" y="3206123"/>
                <a:ext cx="528150" cy="1399364"/>
              </a:xfrm>
              <a:custGeom>
                <a:avLst/>
                <a:gdLst/>
                <a:ahLst/>
                <a:cxnLst/>
                <a:rect l="l" t="t" r="r" b="b"/>
                <a:pathLst>
                  <a:path w="28912" h="76604" extrusionOk="0">
                    <a:moveTo>
                      <a:pt x="333" y="0"/>
                    </a:moveTo>
                    <a:lnTo>
                      <a:pt x="0" y="56380"/>
                    </a:lnTo>
                    <a:lnTo>
                      <a:pt x="28578" y="76603"/>
                    </a:lnTo>
                    <a:lnTo>
                      <a:pt x="28911" y="15860"/>
                    </a:lnTo>
                    <a:lnTo>
                      <a:pt x="33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 name="Google Shape;1069;p53">
                <a:extLst>
                  <a:ext uri="{FF2B5EF4-FFF2-40B4-BE49-F238E27FC236}">
                    <a16:creationId xmlns:a16="http://schemas.microsoft.com/office/drawing/2014/main" id="{44ABB957-267F-47C4-8915-AF3958E4A326}"/>
                  </a:ext>
                </a:extLst>
              </p:cNvPr>
              <p:cNvSpPr/>
              <p:nvPr/>
            </p:nvSpPr>
            <p:spPr>
              <a:xfrm>
                <a:off x="5653649" y="3636999"/>
                <a:ext cx="859066" cy="191151"/>
              </a:xfrm>
              <a:custGeom>
                <a:avLst/>
                <a:gdLst/>
                <a:ahLst/>
                <a:cxnLst/>
                <a:rect l="l" t="t" r="r" b="b"/>
                <a:pathLst>
                  <a:path w="47027" h="10464" fill="none" extrusionOk="0">
                    <a:moveTo>
                      <a:pt x="0" y="10463"/>
                    </a:moveTo>
                    <a:lnTo>
                      <a:pt x="47027" y="0"/>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 name="Google Shape;1070;p53">
                <a:extLst>
                  <a:ext uri="{FF2B5EF4-FFF2-40B4-BE49-F238E27FC236}">
                    <a16:creationId xmlns:a16="http://schemas.microsoft.com/office/drawing/2014/main" id="{742BF276-BE15-4DFB-A2BF-42C69507D9A0}"/>
                  </a:ext>
                </a:extLst>
              </p:cNvPr>
              <p:cNvSpPr/>
              <p:nvPr/>
            </p:nvSpPr>
            <p:spPr>
              <a:xfrm>
                <a:off x="5664445" y="3967933"/>
                <a:ext cx="841529" cy="212067"/>
              </a:xfrm>
              <a:custGeom>
                <a:avLst/>
                <a:gdLst/>
                <a:ahLst/>
                <a:cxnLst/>
                <a:rect l="l" t="t" r="r" b="b"/>
                <a:pathLst>
                  <a:path w="46067" h="11609" fill="none" extrusionOk="0">
                    <a:moveTo>
                      <a:pt x="1" y="11609"/>
                    </a:moveTo>
                    <a:lnTo>
                      <a:pt x="46066" y="0"/>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 name="Google Shape;1071;p53">
                <a:extLst>
                  <a:ext uri="{FF2B5EF4-FFF2-40B4-BE49-F238E27FC236}">
                    <a16:creationId xmlns:a16="http://schemas.microsoft.com/office/drawing/2014/main" id="{EC74B352-4D93-49EC-95A1-D1624C2FE3DE}"/>
                  </a:ext>
                </a:extLst>
              </p:cNvPr>
              <p:cNvSpPr/>
              <p:nvPr/>
            </p:nvSpPr>
            <p:spPr>
              <a:xfrm>
                <a:off x="5649594" y="3495846"/>
                <a:ext cx="6101" cy="1100854"/>
              </a:xfrm>
              <a:custGeom>
                <a:avLst/>
                <a:gdLst/>
                <a:ahLst/>
                <a:cxnLst/>
                <a:rect l="l" t="t" r="r" b="b"/>
                <a:pathLst>
                  <a:path w="334" h="60263" fill="none" extrusionOk="0">
                    <a:moveTo>
                      <a:pt x="333" y="0"/>
                    </a:moveTo>
                    <a:lnTo>
                      <a:pt x="0" y="60263"/>
                    </a:lnTo>
                  </a:path>
                </a:pathLst>
              </a:custGeom>
              <a:noFill/>
              <a:ln w="8325"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 name="Google Shape;1072;p53">
                <a:extLst>
                  <a:ext uri="{FF2B5EF4-FFF2-40B4-BE49-F238E27FC236}">
                    <a16:creationId xmlns:a16="http://schemas.microsoft.com/office/drawing/2014/main" id="{9F5784B3-3FF9-415A-AEA3-DBB3156CBA3B}"/>
                  </a:ext>
                </a:extLst>
              </p:cNvPr>
              <p:cNvSpPr/>
              <p:nvPr/>
            </p:nvSpPr>
            <p:spPr>
              <a:xfrm>
                <a:off x="5648918" y="3438431"/>
                <a:ext cx="859742" cy="1166380"/>
              </a:xfrm>
              <a:custGeom>
                <a:avLst/>
                <a:gdLst/>
                <a:ahLst/>
                <a:cxnLst/>
                <a:rect l="l" t="t" r="r" b="b"/>
                <a:pathLst>
                  <a:path w="47064" h="63850" extrusionOk="0">
                    <a:moveTo>
                      <a:pt x="16083" y="1"/>
                    </a:moveTo>
                    <a:lnTo>
                      <a:pt x="370" y="3107"/>
                    </a:lnTo>
                    <a:lnTo>
                      <a:pt x="0" y="63849"/>
                    </a:lnTo>
                    <a:lnTo>
                      <a:pt x="47064" y="49135"/>
                    </a:lnTo>
                    <a:lnTo>
                      <a:pt x="47064" y="47360"/>
                    </a:lnTo>
                    <a:cubicBezTo>
                      <a:pt x="45215" y="45993"/>
                      <a:pt x="42997" y="45216"/>
                      <a:pt x="40742" y="45142"/>
                    </a:cubicBezTo>
                    <a:cubicBezTo>
                      <a:pt x="40584" y="45137"/>
                      <a:pt x="40427" y="45135"/>
                      <a:pt x="40270" y="45135"/>
                    </a:cubicBezTo>
                    <a:cubicBezTo>
                      <a:pt x="34548" y="45135"/>
                      <a:pt x="29460" y="48338"/>
                      <a:pt x="23846" y="48950"/>
                    </a:cubicBezTo>
                    <a:cubicBezTo>
                      <a:pt x="23338" y="49008"/>
                      <a:pt x="22836" y="49037"/>
                      <a:pt x="22341" y="49037"/>
                    </a:cubicBezTo>
                    <a:cubicBezTo>
                      <a:pt x="18410" y="49037"/>
                      <a:pt x="14959" y="47222"/>
                      <a:pt x="12792" y="43774"/>
                    </a:cubicBezTo>
                    <a:cubicBezTo>
                      <a:pt x="10426" y="40040"/>
                      <a:pt x="9539" y="35493"/>
                      <a:pt x="9317" y="31130"/>
                    </a:cubicBezTo>
                    <a:cubicBezTo>
                      <a:pt x="9021" y="25954"/>
                      <a:pt x="9835" y="20852"/>
                      <a:pt x="11055" y="15824"/>
                    </a:cubicBezTo>
                    <a:cubicBezTo>
                      <a:pt x="12312" y="10427"/>
                      <a:pt x="14012" y="5140"/>
                      <a:pt x="16083"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 name="Google Shape;1073;p53">
                <a:extLst>
                  <a:ext uri="{FF2B5EF4-FFF2-40B4-BE49-F238E27FC236}">
                    <a16:creationId xmlns:a16="http://schemas.microsoft.com/office/drawing/2014/main" id="{762EA40D-6BB4-44EE-983B-3911396CDE35}"/>
                  </a:ext>
                </a:extLst>
              </p:cNvPr>
              <p:cNvSpPr/>
              <p:nvPr/>
            </p:nvSpPr>
            <p:spPr>
              <a:xfrm>
                <a:off x="5953510" y="3371572"/>
                <a:ext cx="326203" cy="107413"/>
              </a:xfrm>
              <a:custGeom>
                <a:avLst/>
                <a:gdLst/>
                <a:ahLst/>
                <a:cxnLst/>
                <a:rect l="l" t="t" r="r" b="b"/>
                <a:pathLst>
                  <a:path w="17857" h="5880" extrusionOk="0">
                    <a:moveTo>
                      <a:pt x="17857" y="1"/>
                    </a:moveTo>
                    <a:lnTo>
                      <a:pt x="0" y="3550"/>
                    </a:lnTo>
                    <a:lnTo>
                      <a:pt x="1627" y="5879"/>
                    </a:lnTo>
                    <a:lnTo>
                      <a:pt x="16896" y="2995"/>
                    </a:lnTo>
                    <a:lnTo>
                      <a:pt x="17857"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 name="Google Shape;1074;p53">
                <a:extLst>
                  <a:ext uri="{FF2B5EF4-FFF2-40B4-BE49-F238E27FC236}">
                    <a16:creationId xmlns:a16="http://schemas.microsoft.com/office/drawing/2014/main" id="{E46B75EA-B3CD-4DAC-9BCF-874985874BE8}"/>
                  </a:ext>
                </a:extLst>
              </p:cNvPr>
              <p:cNvSpPr/>
              <p:nvPr/>
            </p:nvSpPr>
            <p:spPr>
              <a:xfrm>
                <a:off x="5969714" y="3689006"/>
                <a:ext cx="326221" cy="116181"/>
              </a:xfrm>
              <a:custGeom>
                <a:avLst/>
                <a:gdLst/>
                <a:ahLst/>
                <a:cxnLst/>
                <a:rect l="l" t="t" r="r" b="b"/>
                <a:pathLst>
                  <a:path w="17858" h="6360" extrusionOk="0">
                    <a:moveTo>
                      <a:pt x="17857" y="0"/>
                    </a:moveTo>
                    <a:lnTo>
                      <a:pt x="0" y="4030"/>
                    </a:lnTo>
                    <a:lnTo>
                      <a:pt x="1627" y="6359"/>
                    </a:lnTo>
                    <a:lnTo>
                      <a:pt x="17081" y="2773"/>
                    </a:lnTo>
                    <a:lnTo>
                      <a:pt x="17857"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 name="Google Shape;1075;p53">
                <a:extLst>
                  <a:ext uri="{FF2B5EF4-FFF2-40B4-BE49-F238E27FC236}">
                    <a16:creationId xmlns:a16="http://schemas.microsoft.com/office/drawing/2014/main" id="{D2BE728C-319A-4CFB-BA93-5418F6962250}"/>
                  </a:ext>
                </a:extLst>
              </p:cNvPr>
              <p:cNvSpPr/>
              <p:nvPr/>
            </p:nvSpPr>
            <p:spPr>
              <a:xfrm>
                <a:off x="6007527" y="4017218"/>
                <a:ext cx="326221" cy="124292"/>
              </a:xfrm>
              <a:custGeom>
                <a:avLst/>
                <a:gdLst/>
                <a:ahLst/>
                <a:cxnLst/>
                <a:rect l="l" t="t" r="r" b="b"/>
                <a:pathLst>
                  <a:path w="17858" h="6804" extrusionOk="0">
                    <a:moveTo>
                      <a:pt x="17858" y="1"/>
                    </a:moveTo>
                    <a:lnTo>
                      <a:pt x="1" y="4474"/>
                    </a:lnTo>
                    <a:lnTo>
                      <a:pt x="1627" y="6803"/>
                    </a:lnTo>
                    <a:lnTo>
                      <a:pt x="17007" y="3180"/>
                    </a:lnTo>
                    <a:lnTo>
                      <a:pt x="1785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 name="Google Shape;1076;p53">
                <a:extLst>
                  <a:ext uri="{FF2B5EF4-FFF2-40B4-BE49-F238E27FC236}">
                    <a16:creationId xmlns:a16="http://schemas.microsoft.com/office/drawing/2014/main" id="{C8157E93-E7E4-408E-BC37-CB3AE604E195}"/>
                  </a:ext>
                </a:extLst>
              </p:cNvPr>
              <p:cNvSpPr/>
              <p:nvPr/>
            </p:nvSpPr>
            <p:spPr>
              <a:xfrm>
                <a:off x="5133610" y="3242585"/>
                <a:ext cx="522085" cy="312703"/>
              </a:xfrm>
              <a:custGeom>
                <a:avLst/>
                <a:gdLst/>
                <a:ahLst/>
                <a:cxnLst/>
                <a:rect l="l" t="t" r="r" b="b"/>
                <a:pathLst>
                  <a:path w="28580" h="17118" fill="none" extrusionOk="0">
                    <a:moveTo>
                      <a:pt x="1" y="0"/>
                    </a:moveTo>
                    <a:lnTo>
                      <a:pt x="28579" y="17118"/>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 name="Google Shape;1077;p53">
                <a:extLst>
                  <a:ext uri="{FF2B5EF4-FFF2-40B4-BE49-F238E27FC236}">
                    <a16:creationId xmlns:a16="http://schemas.microsoft.com/office/drawing/2014/main" id="{B7ECB33A-47E9-4D49-930F-AF8A36033788}"/>
                  </a:ext>
                </a:extLst>
              </p:cNvPr>
              <p:cNvSpPr/>
              <p:nvPr/>
            </p:nvSpPr>
            <p:spPr>
              <a:xfrm>
                <a:off x="5126869" y="3387793"/>
                <a:ext cx="528826" cy="1217693"/>
              </a:xfrm>
              <a:custGeom>
                <a:avLst/>
                <a:gdLst/>
                <a:ahLst/>
                <a:cxnLst/>
                <a:rect l="l" t="t" r="r" b="b"/>
                <a:pathLst>
                  <a:path w="28949" h="66659" extrusionOk="0">
                    <a:moveTo>
                      <a:pt x="18300" y="0"/>
                    </a:moveTo>
                    <a:cubicBezTo>
                      <a:pt x="18227" y="2625"/>
                      <a:pt x="18005" y="5287"/>
                      <a:pt x="17635" y="7838"/>
                    </a:cubicBezTo>
                    <a:cubicBezTo>
                      <a:pt x="16711" y="14493"/>
                      <a:pt x="14936" y="21887"/>
                      <a:pt x="10204" y="26915"/>
                    </a:cubicBezTo>
                    <a:cubicBezTo>
                      <a:pt x="8134" y="29170"/>
                      <a:pt x="5398" y="30760"/>
                      <a:pt x="2403" y="31425"/>
                    </a:cubicBezTo>
                    <a:cubicBezTo>
                      <a:pt x="1664" y="31573"/>
                      <a:pt x="887" y="31647"/>
                      <a:pt x="111" y="31721"/>
                    </a:cubicBezTo>
                    <a:lnTo>
                      <a:pt x="0" y="46472"/>
                    </a:lnTo>
                    <a:lnTo>
                      <a:pt x="28578" y="66658"/>
                    </a:lnTo>
                    <a:lnTo>
                      <a:pt x="28948" y="5915"/>
                    </a:lnTo>
                    <a:lnTo>
                      <a:pt x="18300"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 name="Google Shape;1078;p53">
                <a:extLst>
                  <a:ext uri="{FF2B5EF4-FFF2-40B4-BE49-F238E27FC236}">
                    <a16:creationId xmlns:a16="http://schemas.microsoft.com/office/drawing/2014/main" id="{9F4AEB7D-E26B-466A-93CB-EDACB5709205}"/>
                  </a:ext>
                </a:extLst>
              </p:cNvPr>
              <p:cNvSpPr/>
              <p:nvPr/>
            </p:nvSpPr>
            <p:spPr>
              <a:xfrm>
                <a:off x="5162655" y="3387793"/>
                <a:ext cx="428190" cy="1090040"/>
              </a:xfrm>
              <a:custGeom>
                <a:avLst/>
                <a:gdLst/>
                <a:ahLst/>
                <a:cxnLst/>
                <a:rect l="l" t="t" r="r" b="b"/>
                <a:pathLst>
                  <a:path w="23440" h="59671" fill="none" extrusionOk="0">
                    <a:moveTo>
                      <a:pt x="0" y="0"/>
                    </a:moveTo>
                    <a:lnTo>
                      <a:pt x="0" y="44328"/>
                    </a:lnTo>
                    <a:lnTo>
                      <a:pt x="23440" y="59671"/>
                    </a:lnTo>
                    <a:lnTo>
                      <a:pt x="23440" y="13494"/>
                    </a:lnTo>
                    <a:lnTo>
                      <a:pt x="0" y="0"/>
                    </a:lnTo>
                    <a:close/>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 name="Google Shape;1079;p53">
                <a:extLst>
                  <a:ext uri="{FF2B5EF4-FFF2-40B4-BE49-F238E27FC236}">
                    <a16:creationId xmlns:a16="http://schemas.microsoft.com/office/drawing/2014/main" id="{E2C99FE1-518A-4838-A023-779B81FC59DA}"/>
                  </a:ext>
                </a:extLst>
              </p:cNvPr>
              <p:cNvSpPr/>
              <p:nvPr/>
            </p:nvSpPr>
            <p:spPr>
              <a:xfrm>
                <a:off x="5297725" y="2267356"/>
                <a:ext cx="928647" cy="224252"/>
              </a:xfrm>
              <a:custGeom>
                <a:avLst/>
                <a:gdLst/>
                <a:ahLst/>
                <a:cxnLst/>
                <a:rect l="l" t="t" r="r" b="b"/>
                <a:pathLst>
                  <a:path w="50836" h="12276" extrusionOk="0">
                    <a:moveTo>
                      <a:pt x="20704" y="1"/>
                    </a:moveTo>
                    <a:lnTo>
                      <a:pt x="1" y="2441"/>
                    </a:lnTo>
                    <a:lnTo>
                      <a:pt x="25362" y="12275"/>
                    </a:lnTo>
                    <a:lnTo>
                      <a:pt x="50835" y="8874"/>
                    </a:lnTo>
                    <a:lnTo>
                      <a:pt x="2070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 name="Google Shape;1080;p53">
                <a:extLst>
                  <a:ext uri="{FF2B5EF4-FFF2-40B4-BE49-F238E27FC236}">
                    <a16:creationId xmlns:a16="http://schemas.microsoft.com/office/drawing/2014/main" id="{3EC2099C-C85C-4A38-8BD6-E5D791DA3260}"/>
                  </a:ext>
                </a:extLst>
              </p:cNvPr>
              <p:cNvSpPr/>
              <p:nvPr/>
            </p:nvSpPr>
            <p:spPr>
              <a:xfrm>
                <a:off x="5755618" y="2429444"/>
                <a:ext cx="470753" cy="991450"/>
              </a:xfrm>
              <a:custGeom>
                <a:avLst/>
                <a:gdLst/>
                <a:ahLst/>
                <a:cxnLst/>
                <a:rect l="l" t="t" r="r" b="b"/>
                <a:pathLst>
                  <a:path w="25770" h="54274" extrusionOk="0">
                    <a:moveTo>
                      <a:pt x="25769" y="1"/>
                    </a:moveTo>
                    <a:lnTo>
                      <a:pt x="296" y="3402"/>
                    </a:lnTo>
                    <a:lnTo>
                      <a:pt x="1" y="54274"/>
                    </a:lnTo>
                    <a:lnTo>
                      <a:pt x="25473" y="48950"/>
                    </a:lnTo>
                    <a:lnTo>
                      <a:pt x="25769" y="1"/>
                    </a:lnTo>
                    <a:close/>
                  </a:path>
                </a:pathLst>
              </a:custGeom>
              <a:solidFill>
                <a:srgbClr val="2C004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 name="Google Shape;1081;p53">
                <a:extLst>
                  <a:ext uri="{FF2B5EF4-FFF2-40B4-BE49-F238E27FC236}">
                    <a16:creationId xmlns:a16="http://schemas.microsoft.com/office/drawing/2014/main" id="{A247EE5E-4683-453A-92F7-EDBC170F21CA}"/>
                  </a:ext>
                </a:extLst>
              </p:cNvPr>
              <p:cNvSpPr/>
              <p:nvPr/>
            </p:nvSpPr>
            <p:spPr>
              <a:xfrm>
                <a:off x="5292318" y="2311929"/>
                <a:ext cx="468726" cy="1108965"/>
              </a:xfrm>
              <a:custGeom>
                <a:avLst/>
                <a:gdLst/>
                <a:ahLst/>
                <a:cxnLst/>
                <a:rect l="l" t="t" r="r" b="b"/>
                <a:pathLst>
                  <a:path w="25659" h="60707" extrusionOk="0">
                    <a:moveTo>
                      <a:pt x="297" y="1"/>
                    </a:moveTo>
                    <a:lnTo>
                      <a:pt x="1" y="47360"/>
                    </a:lnTo>
                    <a:lnTo>
                      <a:pt x="25363" y="60707"/>
                    </a:lnTo>
                    <a:lnTo>
                      <a:pt x="25658" y="9835"/>
                    </a:lnTo>
                    <a:lnTo>
                      <a:pt x="297"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 name="Google Shape;1082;p53">
                <a:extLst>
                  <a:ext uri="{FF2B5EF4-FFF2-40B4-BE49-F238E27FC236}">
                    <a16:creationId xmlns:a16="http://schemas.microsoft.com/office/drawing/2014/main" id="{1D8C5D61-2075-4C35-BF09-6E6011B84127}"/>
                  </a:ext>
                </a:extLst>
              </p:cNvPr>
              <p:cNvSpPr/>
              <p:nvPr/>
            </p:nvSpPr>
            <p:spPr>
              <a:xfrm>
                <a:off x="5827885" y="2478072"/>
                <a:ext cx="352563" cy="175605"/>
              </a:xfrm>
              <a:custGeom>
                <a:avLst/>
                <a:gdLst/>
                <a:ahLst/>
                <a:cxnLst/>
                <a:rect l="l" t="t" r="r" b="b"/>
                <a:pathLst>
                  <a:path w="19300" h="9613" fill="none" extrusionOk="0">
                    <a:moveTo>
                      <a:pt x="38" y="3143"/>
                    </a:moveTo>
                    <a:lnTo>
                      <a:pt x="1" y="9613"/>
                    </a:lnTo>
                    <a:lnTo>
                      <a:pt x="19262" y="6544"/>
                    </a:lnTo>
                    <a:lnTo>
                      <a:pt x="19299" y="1"/>
                    </a:lnTo>
                    <a:close/>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 name="Google Shape;1083;p53">
                <a:extLst>
                  <a:ext uri="{FF2B5EF4-FFF2-40B4-BE49-F238E27FC236}">
                    <a16:creationId xmlns:a16="http://schemas.microsoft.com/office/drawing/2014/main" id="{ABD9E8B7-C5E9-4D1C-A078-39939C63EDC7}"/>
                  </a:ext>
                </a:extLst>
              </p:cNvPr>
              <p:cNvSpPr/>
              <p:nvPr/>
            </p:nvSpPr>
            <p:spPr>
              <a:xfrm>
                <a:off x="5823829" y="2625308"/>
                <a:ext cx="355266" cy="713876"/>
              </a:xfrm>
              <a:custGeom>
                <a:avLst/>
                <a:gdLst/>
                <a:ahLst/>
                <a:cxnLst/>
                <a:rect l="l" t="t" r="r" b="b"/>
                <a:pathLst>
                  <a:path w="19448" h="39079" extrusionOk="0">
                    <a:moveTo>
                      <a:pt x="19447" y="0"/>
                    </a:moveTo>
                    <a:lnTo>
                      <a:pt x="223" y="3291"/>
                    </a:lnTo>
                    <a:lnTo>
                      <a:pt x="1" y="39078"/>
                    </a:lnTo>
                    <a:lnTo>
                      <a:pt x="19262" y="35455"/>
                    </a:lnTo>
                    <a:lnTo>
                      <a:pt x="19447"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 name="Google Shape;1084;p53">
                <a:extLst>
                  <a:ext uri="{FF2B5EF4-FFF2-40B4-BE49-F238E27FC236}">
                    <a16:creationId xmlns:a16="http://schemas.microsoft.com/office/drawing/2014/main" id="{19D0CE9E-B04E-4B90-91D9-FA397A42977A}"/>
                  </a:ext>
                </a:extLst>
              </p:cNvPr>
              <p:cNvSpPr/>
              <p:nvPr/>
            </p:nvSpPr>
            <p:spPr>
              <a:xfrm>
                <a:off x="5869754" y="2717833"/>
                <a:ext cx="236400" cy="218826"/>
              </a:xfrm>
              <a:custGeom>
                <a:avLst/>
                <a:gdLst/>
                <a:ahLst/>
                <a:cxnLst/>
                <a:rect l="l" t="t" r="r" b="b"/>
                <a:pathLst>
                  <a:path w="12941" h="11979" extrusionOk="0">
                    <a:moveTo>
                      <a:pt x="6508" y="0"/>
                    </a:moveTo>
                    <a:cubicBezTo>
                      <a:pt x="2921" y="0"/>
                      <a:pt x="38" y="2662"/>
                      <a:pt x="38" y="5952"/>
                    </a:cubicBezTo>
                    <a:cubicBezTo>
                      <a:pt x="1" y="9243"/>
                      <a:pt x="2847" y="11942"/>
                      <a:pt x="6434" y="11979"/>
                    </a:cubicBezTo>
                    <a:cubicBezTo>
                      <a:pt x="9983" y="11979"/>
                      <a:pt x="12903" y="9317"/>
                      <a:pt x="12903" y="6026"/>
                    </a:cubicBezTo>
                    <a:cubicBezTo>
                      <a:pt x="12940" y="2736"/>
                      <a:pt x="10057" y="37"/>
                      <a:pt x="6508"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 name="Google Shape;1085;p53">
                <a:extLst>
                  <a:ext uri="{FF2B5EF4-FFF2-40B4-BE49-F238E27FC236}">
                    <a16:creationId xmlns:a16="http://schemas.microsoft.com/office/drawing/2014/main" id="{85BFBF16-F707-488E-A1E4-8EEE336D541E}"/>
                  </a:ext>
                </a:extLst>
              </p:cNvPr>
              <p:cNvSpPr/>
              <p:nvPr/>
            </p:nvSpPr>
            <p:spPr>
              <a:xfrm>
                <a:off x="5907586" y="2766443"/>
                <a:ext cx="155456" cy="130996"/>
              </a:xfrm>
              <a:custGeom>
                <a:avLst/>
                <a:gdLst/>
                <a:ahLst/>
                <a:cxnLst/>
                <a:rect l="l" t="t" r="r" b="b"/>
                <a:pathLst>
                  <a:path w="8510" h="7171" extrusionOk="0">
                    <a:moveTo>
                      <a:pt x="4912" y="0"/>
                    </a:moveTo>
                    <a:cubicBezTo>
                      <a:pt x="4889" y="0"/>
                      <a:pt x="4866" y="1"/>
                      <a:pt x="4843" y="1"/>
                    </a:cubicBezTo>
                    <a:cubicBezTo>
                      <a:pt x="1590" y="1"/>
                      <a:pt x="0" y="3957"/>
                      <a:pt x="2366" y="6175"/>
                    </a:cubicBezTo>
                    <a:cubicBezTo>
                      <a:pt x="3089" y="6864"/>
                      <a:pt x="3950" y="7170"/>
                      <a:pt x="4790" y="7170"/>
                    </a:cubicBezTo>
                    <a:cubicBezTo>
                      <a:pt x="6702" y="7170"/>
                      <a:pt x="8510" y="5588"/>
                      <a:pt x="8355" y="3328"/>
                    </a:cubicBezTo>
                    <a:cubicBezTo>
                      <a:pt x="8319" y="1466"/>
                      <a:pt x="6767" y="0"/>
                      <a:pt x="491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 name="Google Shape;1086;p53">
                <a:extLst>
                  <a:ext uri="{FF2B5EF4-FFF2-40B4-BE49-F238E27FC236}">
                    <a16:creationId xmlns:a16="http://schemas.microsoft.com/office/drawing/2014/main" id="{FA1C2741-5076-40C4-ACDE-D52624259B32}"/>
                  </a:ext>
                </a:extLst>
              </p:cNvPr>
              <p:cNvSpPr/>
              <p:nvPr/>
            </p:nvSpPr>
            <p:spPr>
              <a:xfrm>
                <a:off x="5939517" y="2788729"/>
                <a:ext cx="98955" cy="82934"/>
              </a:xfrm>
              <a:custGeom>
                <a:avLst/>
                <a:gdLst/>
                <a:ahLst/>
                <a:cxnLst/>
                <a:rect l="l" t="t" r="r" b="b"/>
                <a:pathLst>
                  <a:path w="5417" h="4540" extrusionOk="0">
                    <a:moveTo>
                      <a:pt x="3126" y="0"/>
                    </a:moveTo>
                    <a:cubicBezTo>
                      <a:pt x="3104" y="0"/>
                      <a:pt x="3081" y="0"/>
                      <a:pt x="3058" y="1"/>
                    </a:cubicBezTo>
                    <a:cubicBezTo>
                      <a:pt x="3043" y="1"/>
                      <a:pt x="3029" y="1"/>
                      <a:pt x="3014" y="1"/>
                    </a:cubicBezTo>
                    <a:cubicBezTo>
                      <a:pt x="974" y="1"/>
                      <a:pt x="1" y="2525"/>
                      <a:pt x="1505" y="3920"/>
                    </a:cubicBezTo>
                    <a:cubicBezTo>
                      <a:pt x="1957" y="4349"/>
                      <a:pt x="2501" y="4540"/>
                      <a:pt x="3035" y="4540"/>
                    </a:cubicBezTo>
                    <a:cubicBezTo>
                      <a:pt x="4251" y="4540"/>
                      <a:pt x="5416" y="3547"/>
                      <a:pt x="5313" y="2108"/>
                    </a:cubicBezTo>
                    <a:cubicBezTo>
                      <a:pt x="5277" y="947"/>
                      <a:pt x="4315" y="0"/>
                      <a:pt x="3126"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 name="Google Shape;1087;p53">
                <a:extLst>
                  <a:ext uri="{FF2B5EF4-FFF2-40B4-BE49-F238E27FC236}">
                    <a16:creationId xmlns:a16="http://schemas.microsoft.com/office/drawing/2014/main" id="{117D6072-D6AC-47AF-8D54-C34CFE53EE1E}"/>
                  </a:ext>
                </a:extLst>
              </p:cNvPr>
              <p:cNvSpPr/>
              <p:nvPr/>
            </p:nvSpPr>
            <p:spPr>
              <a:xfrm>
                <a:off x="5875837" y="2985945"/>
                <a:ext cx="235724" cy="218169"/>
              </a:xfrm>
              <a:custGeom>
                <a:avLst/>
                <a:gdLst/>
                <a:ahLst/>
                <a:cxnLst/>
                <a:rect l="l" t="t" r="r" b="b"/>
                <a:pathLst>
                  <a:path w="12904" h="11943" extrusionOk="0">
                    <a:moveTo>
                      <a:pt x="6397" y="0"/>
                    </a:moveTo>
                    <a:cubicBezTo>
                      <a:pt x="2882" y="0"/>
                      <a:pt x="37" y="2648"/>
                      <a:pt x="0" y="5953"/>
                    </a:cubicBezTo>
                    <a:cubicBezTo>
                      <a:pt x="0" y="9243"/>
                      <a:pt x="2847" y="11905"/>
                      <a:pt x="6396" y="11942"/>
                    </a:cubicBezTo>
                    <a:cubicBezTo>
                      <a:pt x="6421" y="11942"/>
                      <a:pt x="6446" y="11943"/>
                      <a:pt x="6470" y="11943"/>
                    </a:cubicBezTo>
                    <a:cubicBezTo>
                      <a:pt x="10022" y="11943"/>
                      <a:pt x="12866" y="9294"/>
                      <a:pt x="12866" y="5990"/>
                    </a:cubicBezTo>
                    <a:cubicBezTo>
                      <a:pt x="12903" y="2699"/>
                      <a:pt x="10056" y="1"/>
                      <a:pt x="6470" y="1"/>
                    </a:cubicBezTo>
                    <a:cubicBezTo>
                      <a:pt x="6446" y="0"/>
                      <a:pt x="6422" y="0"/>
                      <a:pt x="6397"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 name="Google Shape;1088;p53">
                <a:extLst>
                  <a:ext uri="{FF2B5EF4-FFF2-40B4-BE49-F238E27FC236}">
                    <a16:creationId xmlns:a16="http://schemas.microsoft.com/office/drawing/2014/main" id="{14057EED-6EF3-498E-B3DE-0163188EF55A}"/>
                  </a:ext>
                </a:extLst>
              </p:cNvPr>
              <p:cNvSpPr/>
              <p:nvPr/>
            </p:nvSpPr>
            <p:spPr>
              <a:xfrm>
                <a:off x="5913176" y="3034518"/>
                <a:ext cx="155950" cy="130740"/>
              </a:xfrm>
              <a:custGeom>
                <a:avLst/>
                <a:gdLst/>
                <a:ahLst/>
                <a:cxnLst/>
                <a:rect l="l" t="t" r="r" b="b"/>
                <a:pathLst>
                  <a:path w="8537" h="7157" extrusionOk="0">
                    <a:moveTo>
                      <a:pt x="4968" y="1"/>
                    </a:moveTo>
                    <a:cubicBezTo>
                      <a:pt x="4923" y="1"/>
                      <a:pt x="4878" y="2"/>
                      <a:pt x="4833" y="3"/>
                    </a:cubicBezTo>
                    <a:cubicBezTo>
                      <a:pt x="4818" y="3"/>
                      <a:pt x="4803" y="3"/>
                      <a:pt x="4788" y="3"/>
                    </a:cubicBezTo>
                    <a:cubicBezTo>
                      <a:pt x="1565" y="3"/>
                      <a:pt x="1" y="3933"/>
                      <a:pt x="2356" y="6178"/>
                    </a:cubicBezTo>
                    <a:cubicBezTo>
                      <a:pt x="3078" y="6854"/>
                      <a:pt x="3941" y="7156"/>
                      <a:pt x="4786" y="7156"/>
                    </a:cubicBezTo>
                    <a:cubicBezTo>
                      <a:pt x="6709" y="7156"/>
                      <a:pt x="8536" y="5592"/>
                      <a:pt x="8382" y="3331"/>
                    </a:cubicBezTo>
                    <a:cubicBezTo>
                      <a:pt x="8310" y="1490"/>
                      <a:pt x="6828" y="1"/>
                      <a:pt x="496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 name="Google Shape;1089;p53">
                <a:extLst>
                  <a:ext uri="{FF2B5EF4-FFF2-40B4-BE49-F238E27FC236}">
                    <a16:creationId xmlns:a16="http://schemas.microsoft.com/office/drawing/2014/main" id="{9B7425F2-5E3C-4B26-8F81-BB5329E375B7}"/>
                  </a:ext>
                </a:extLst>
              </p:cNvPr>
              <p:cNvSpPr/>
              <p:nvPr/>
            </p:nvSpPr>
            <p:spPr>
              <a:xfrm>
                <a:off x="5945400" y="3056165"/>
                <a:ext cx="99138" cy="83263"/>
              </a:xfrm>
              <a:custGeom>
                <a:avLst/>
                <a:gdLst/>
                <a:ahLst/>
                <a:cxnLst/>
                <a:rect l="l" t="t" r="r" b="b"/>
                <a:pathLst>
                  <a:path w="5427" h="4558" extrusionOk="0">
                    <a:moveTo>
                      <a:pt x="3137" y="1"/>
                    </a:moveTo>
                    <a:cubicBezTo>
                      <a:pt x="3114" y="1"/>
                      <a:pt x="3092" y="1"/>
                      <a:pt x="3069" y="2"/>
                    </a:cubicBezTo>
                    <a:cubicBezTo>
                      <a:pt x="999" y="2"/>
                      <a:pt x="0" y="2516"/>
                      <a:pt x="1479" y="3920"/>
                    </a:cubicBezTo>
                    <a:cubicBezTo>
                      <a:pt x="1944" y="4362"/>
                      <a:pt x="2498" y="4558"/>
                      <a:pt x="3040" y="4558"/>
                    </a:cubicBezTo>
                    <a:cubicBezTo>
                      <a:pt x="4266" y="4558"/>
                      <a:pt x="5427" y="3556"/>
                      <a:pt x="5324" y="2146"/>
                    </a:cubicBezTo>
                    <a:cubicBezTo>
                      <a:pt x="5288" y="949"/>
                      <a:pt x="4326" y="1"/>
                      <a:pt x="313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 name="Google Shape;1090;p53">
                <a:extLst>
                  <a:ext uri="{FF2B5EF4-FFF2-40B4-BE49-F238E27FC236}">
                    <a16:creationId xmlns:a16="http://schemas.microsoft.com/office/drawing/2014/main" id="{3352695D-C2E9-4205-8804-25A5988B7E03}"/>
                  </a:ext>
                </a:extLst>
              </p:cNvPr>
              <p:cNvSpPr/>
              <p:nvPr/>
            </p:nvSpPr>
            <p:spPr>
              <a:xfrm>
                <a:off x="5756294" y="2736064"/>
                <a:ext cx="174272" cy="603120"/>
              </a:xfrm>
              <a:custGeom>
                <a:avLst/>
                <a:gdLst/>
                <a:ahLst/>
                <a:cxnLst/>
                <a:rect l="l" t="t" r="r" b="b"/>
                <a:pathLst>
                  <a:path w="9540" h="33016" extrusionOk="0">
                    <a:moveTo>
                      <a:pt x="186" y="0"/>
                    </a:moveTo>
                    <a:lnTo>
                      <a:pt x="1" y="33015"/>
                    </a:lnTo>
                    <a:lnTo>
                      <a:pt x="9428" y="20334"/>
                    </a:lnTo>
                    <a:lnTo>
                      <a:pt x="9539" y="4954"/>
                    </a:lnTo>
                    <a:lnTo>
                      <a:pt x="18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 name="Google Shape;1091;p53">
                <a:extLst>
                  <a:ext uri="{FF2B5EF4-FFF2-40B4-BE49-F238E27FC236}">
                    <a16:creationId xmlns:a16="http://schemas.microsoft.com/office/drawing/2014/main" id="{83552460-D41F-4BBF-AD02-072362267D25}"/>
                  </a:ext>
                </a:extLst>
              </p:cNvPr>
              <p:cNvSpPr/>
              <p:nvPr/>
            </p:nvSpPr>
            <p:spPr>
              <a:xfrm>
                <a:off x="6079794" y="2690139"/>
                <a:ext cx="141847" cy="603120"/>
              </a:xfrm>
              <a:custGeom>
                <a:avLst/>
                <a:gdLst/>
                <a:ahLst/>
                <a:cxnLst/>
                <a:rect l="l" t="t" r="r" b="b"/>
                <a:pathLst>
                  <a:path w="7765" h="33016" extrusionOk="0">
                    <a:moveTo>
                      <a:pt x="7764" y="0"/>
                    </a:moveTo>
                    <a:lnTo>
                      <a:pt x="1" y="5398"/>
                    </a:lnTo>
                    <a:lnTo>
                      <a:pt x="407" y="21961"/>
                    </a:lnTo>
                    <a:lnTo>
                      <a:pt x="7580" y="33015"/>
                    </a:lnTo>
                    <a:lnTo>
                      <a:pt x="7764"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 name="Google Shape;1092;p53">
                <a:extLst>
                  <a:ext uri="{FF2B5EF4-FFF2-40B4-BE49-F238E27FC236}">
                    <a16:creationId xmlns:a16="http://schemas.microsoft.com/office/drawing/2014/main" id="{ECAF641C-1224-41AB-89D0-ED5A31470DE1}"/>
                  </a:ext>
                </a:extLst>
              </p:cNvPr>
              <p:cNvSpPr/>
              <p:nvPr/>
            </p:nvSpPr>
            <p:spPr>
              <a:xfrm>
                <a:off x="5755618" y="2491590"/>
                <a:ext cx="5425" cy="921888"/>
              </a:xfrm>
              <a:custGeom>
                <a:avLst/>
                <a:gdLst/>
                <a:ahLst/>
                <a:cxnLst/>
                <a:rect l="l" t="t" r="r" b="b"/>
                <a:pathLst>
                  <a:path w="297" h="50466" fill="none" extrusionOk="0">
                    <a:moveTo>
                      <a:pt x="296" y="0"/>
                    </a:moveTo>
                    <a:lnTo>
                      <a:pt x="1" y="50465"/>
                    </a:lnTo>
                  </a:path>
                </a:pathLst>
              </a:custGeom>
              <a:noFill/>
              <a:ln w="8325"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 name="Google Shape;1093;p53">
                <a:extLst>
                  <a:ext uri="{FF2B5EF4-FFF2-40B4-BE49-F238E27FC236}">
                    <a16:creationId xmlns:a16="http://schemas.microsoft.com/office/drawing/2014/main" id="{980AF086-76C8-428F-8B2F-02E4D896A3F4}"/>
                  </a:ext>
                </a:extLst>
              </p:cNvPr>
              <p:cNvSpPr/>
              <p:nvPr/>
            </p:nvSpPr>
            <p:spPr>
              <a:xfrm>
                <a:off x="5799515" y="2790775"/>
                <a:ext cx="104709" cy="432921"/>
              </a:xfrm>
              <a:custGeom>
                <a:avLst/>
                <a:gdLst/>
                <a:ahLst/>
                <a:cxnLst/>
                <a:rect l="l" t="t" r="r" b="b"/>
                <a:pathLst>
                  <a:path w="5732" h="23699" fill="none" extrusionOk="0">
                    <a:moveTo>
                      <a:pt x="1" y="23698"/>
                    </a:moveTo>
                    <a:lnTo>
                      <a:pt x="5657" y="17339"/>
                    </a:lnTo>
                    <a:lnTo>
                      <a:pt x="5731" y="2958"/>
                    </a:lnTo>
                    <a:lnTo>
                      <a:pt x="149" y="0"/>
                    </a:lnTo>
                    <a:close/>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 name="Google Shape;1094;p53">
                <a:extLst>
                  <a:ext uri="{FF2B5EF4-FFF2-40B4-BE49-F238E27FC236}">
                    <a16:creationId xmlns:a16="http://schemas.microsoft.com/office/drawing/2014/main" id="{FBF17C01-506B-479C-85FD-81F93FBD65FF}"/>
                  </a:ext>
                </a:extLst>
              </p:cNvPr>
              <p:cNvSpPr/>
              <p:nvPr/>
            </p:nvSpPr>
            <p:spPr>
              <a:xfrm>
                <a:off x="6105459" y="2738767"/>
                <a:ext cx="101330" cy="464670"/>
              </a:xfrm>
              <a:custGeom>
                <a:avLst/>
                <a:gdLst/>
                <a:ahLst/>
                <a:cxnLst/>
                <a:rect l="l" t="t" r="r" b="b"/>
                <a:pathLst>
                  <a:path w="5547" h="25437" fill="none" extrusionOk="0">
                    <a:moveTo>
                      <a:pt x="0" y="3623"/>
                    </a:moveTo>
                    <a:lnTo>
                      <a:pt x="333" y="17820"/>
                    </a:lnTo>
                    <a:lnTo>
                      <a:pt x="5361" y="25436"/>
                    </a:lnTo>
                    <a:lnTo>
                      <a:pt x="5546" y="0"/>
                    </a:lnTo>
                    <a:close/>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 name="Google Shape;1095;p53">
                <a:extLst>
                  <a:ext uri="{FF2B5EF4-FFF2-40B4-BE49-F238E27FC236}">
                    <a16:creationId xmlns:a16="http://schemas.microsoft.com/office/drawing/2014/main" id="{5141EB99-F97B-4A8D-B938-E47F58DF9F73}"/>
                  </a:ext>
                </a:extLst>
              </p:cNvPr>
              <p:cNvSpPr/>
              <p:nvPr/>
            </p:nvSpPr>
            <p:spPr>
              <a:xfrm>
                <a:off x="5844088" y="2881948"/>
                <a:ext cx="305962" cy="78349"/>
              </a:xfrm>
              <a:custGeom>
                <a:avLst/>
                <a:gdLst/>
                <a:ahLst/>
                <a:cxnLst/>
                <a:rect l="l" t="t" r="r" b="b"/>
                <a:pathLst>
                  <a:path w="16749" h="4289" extrusionOk="0">
                    <a:moveTo>
                      <a:pt x="16749" y="0"/>
                    </a:moveTo>
                    <a:lnTo>
                      <a:pt x="1" y="1886"/>
                    </a:lnTo>
                    <a:lnTo>
                      <a:pt x="1" y="4289"/>
                    </a:lnTo>
                    <a:lnTo>
                      <a:pt x="16712" y="2440"/>
                    </a:lnTo>
                    <a:lnTo>
                      <a:pt x="1674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 name="Google Shape;1096;p53">
                <a:extLst>
                  <a:ext uri="{FF2B5EF4-FFF2-40B4-BE49-F238E27FC236}">
                    <a16:creationId xmlns:a16="http://schemas.microsoft.com/office/drawing/2014/main" id="{75129223-16CC-48B0-ABEF-5E5A5A8A3531}"/>
                  </a:ext>
                </a:extLst>
              </p:cNvPr>
              <p:cNvSpPr/>
              <p:nvPr/>
            </p:nvSpPr>
            <p:spPr>
              <a:xfrm>
                <a:off x="5843412" y="2951511"/>
                <a:ext cx="305962" cy="78349"/>
              </a:xfrm>
              <a:custGeom>
                <a:avLst/>
                <a:gdLst/>
                <a:ahLst/>
                <a:cxnLst/>
                <a:rect l="l" t="t" r="r" b="b"/>
                <a:pathLst>
                  <a:path w="16749" h="4289" extrusionOk="0">
                    <a:moveTo>
                      <a:pt x="16749" y="0"/>
                    </a:moveTo>
                    <a:lnTo>
                      <a:pt x="38" y="1886"/>
                    </a:lnTo>
                    <a:lnTo>
                      <a:pt x="1" y="4289"/>
                    </a:lnTo>
                    <a:lnTo>
                      <a:pt x="1" y="4289"/>
                    </a:lnTo>
                    <a:lnTo>
                      <a:pt x="16749" y="2440"/>
                    </a:lnTo>
                    <a:lnTo>
                      <a:pt x="1674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 name="Google Shape;1097;p53">
                <a:extLst>
                  <a:ext uri="{FF2B5EF4-FFF2-40B4-BE49-F238E27FC236}">
                    <a16:creationId xmlns:a16="http://schemas.microsoft.com/office/drawing/2014/main" id="{87E04B4E-A5BF-469C-98AF-D4B84A1C194D}"/>
                  </a:ext>
                </a:extLst>
              </p:cNvPr>
              <p:cNvSpPr/>
              <p:nvPr/>
            </p:nvSpPr>
            <p:spPr>
              <a:xfrm>
                <a:off x="5874485" y="3239206"/>
                <a:ext cx="278269" cy="156699"/>
              </a:xfrm>
              <a:custGeom>
                <a:avLst/>
                <a:gdLst/>
                <a:ahLst/>
                <a:cxnLst/>
                <a:rect l="l" t="t" r="r" b="b"/>
                <a:pathLst>
                  <a:path w="15233" h="8578" extrusionOk="0">
                    <a:moveTo>
                      <a:pt x="11092" y="1"/>
                    </a:moveTo>
                    <a:lnTo>
                      <a:pt x="3328" y="1369"/>
                    </a:lnTo>
                    <a:lnTo>
                      <a:pt x="1" y="8578"/>
                    </a:lnTo>
                    <a:lnTo>
                      <a:pt x="15232" y="5398"/>
                    </a:lnTo>
                    <a:lnTo>
                      <a:pt x="1109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 name="Google Shape;1098;p53">
                <a:extLst>
                  <a:ext uri="{FF2B5EF4-FFF2-40B4-BE49-F238E27FC236}">
                    <a16:creationId xmlns:a16="http://schemas.microsoft.com/office/drawing/2014/main" id="{7B071825-AA49-460C-84D5-83F462B87A3D}"/>
                  </a:ext>
                </a:extLst>
              </p:cNvPr>
              <p:cNvSpPr/>
              <p:nvPr/>
            </p:nvSpPr>
            <p:spPr>
              <a:xfrm>
                <a:off x="5316632" y="2397713"/>
                <a:ext cx="395784" cy="940795"/>
              </a:xfrm>
              <a:custGeom>
                <a:avLst/>
                <a:gdLst/>
                <a:ahLst/>
                <a:cxnLst/>
                <a:rect l="l" t="t" r="r" b="b"/>
                <a:pathLst>
                  <a:path w="21666" h="51501" fill="none" extrusionOk="0">
                    <a:moveTo>
                      <a:pt x="1591" y="0"/>
                    </a:moveTo>
                    <a:lnTo>
                      <a:pt x="19595" y="7320"/>
                    </a:lnTo>
                    <a:lnTo>
                      <a:pt x="21666" y="10759"/>
                    </a:lnTo>
                    <a:lnTo>
                      <a:pt x="21444" y="50502"/>
                    </a:lnTo>
                    <a:lnTo>
                      <a:pt x="19336" y="51500"/>
                    </a:lnTo>
                    <a:lnTo>
                      <a:pt x="1" y="4125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 name="Google Shape;1099;p53">
                <a:extLst>
                  <a:ext uri="{FF2B5EF4-FFF2-40B4-BE49-F238E27FC236}">
                    <a16:creationId xmlns:a16="http://schemas.microsoft.com/office/drawing/2014/main" id="{DDA84F84-C829-43D7-9DC4-45FFC3626EB2}"/>
                  </a:ext>
                </a:extLst>
              </p:cNvPr>
              <p:cNvSpPr/>
              <p:nvPr/>
            </p:nvSpPr>
            <p:spPr>
              <a:xfrm>
                <a:off x="5532079" y="3173698"/>
                <a:ext cx="20953" cy="42563"/>
              </a:xfrm>
              <a:custGeom>
                <a:avLst/>
                <a:gdLst/>
                <a:ahLst/>
                <a:cxnLst/>
                <a:rect l="l" t="t" r="r" b="b"/>
                <a:pathLst>
                  <a:path w="1147" h="2330" fill="none" extrusionOk="0">
                    <a:moveTo>
                      <a:pt x="0" y="0"/>
                    </a:moveTo>
                    <a:lnTo>
                      <a:pt x="1146"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 name="Google Shape;1100;p53">
                <a:extLst>
                  <a:ext uri="{FF2B5EF4-FFF2-40B4-BE49-F238E27FC236}">
                    <a16:creationId xmlns:a16="http://schemas.microsoft.com/office/drawing/2014/main" id="{D09CBEBB-61DB-4CD7-974B-304C68884CB5}"/>
                  </a:ext>
                </a:extLst>
              </p:cNvPr>
              <p:cNvSpPr/>
              <p:nvPr/>
            </p:nvSpPr>
            <p:spPr>
              <a:xfrm>
                <a:off x="5532079" y="3136560"/>
                <a:ext cx="20277" cy="42563"/>
              </a:xfrm>
              <a:custGeom>
                <a:avLst/>
                <a:gdLst/>
                <a:ahLst/>
                <a:cxnLst/>
                <a:rect l="l" t="t" r="r" b="b"/>
                <a:pathLst>
                  <a:path w="1110" h="2330" fill="none" extrusionOk="0">
                    <a:moveTo>
                      <a:pt x="0" y="0"/>
                    </a:moveTo>
                    <a:lnTo>
                      <a:pt x="1110" y="232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 name="Google Shape;1101;p53">
                <a:extLst>
                  <a:ext uri="{FF2B5EF4-FFF2-40B4-BE49-F238E27FC236}">
                    <a16:creationId xmlns:a16="http://schemas.microsoft.com/office/drawing/2014/main" id="{BA6107C2-B6FE-4767-A583-8D38D21AA5CB}"/>
                  </a:ext>
                </a:extLst>
              </p:cNvPr>
              <p:cNvSpPr/>
              <p:nvPr/>
            </p:nvSpPr>
            <p:spPr>
              <a:xfrm>
                <a:off x="5531403" y="3098728"/>
                <a:ext cx="20953" cy="42563"/>
              </a:xfrm>
              <a:custGeom>
                <a:avLst/>
                <a:gdLst/>
                <a:ahLst/>
                <a:cxnLst/>
                <a:rect l="l" t="t" r="r" b="b"/>
                <a:pathLst>
                  <a:path w="1147" h="2330" fill="none" extrusionOk="0">
                    <a:moveTo>
                      <a:pt x="0" y="1"/>
                    </a:moveTo>
                    <a:lnTo>
                      <a:pt x="1147"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 name="Google Shape;1102;p53">
                <a:extLst>
                  <a:ext uri="{FF2B5EF4-FFF2-40B4-BE49-F238E27FC236}">
                    <a16:creationId xmlns:a16="http://schemas.microsoft.com/office/drawing/2014/main" id="{4AFF7B2B-7F7E-45DF-9170-12FE87B73820}"/>
                  </a:ext>
                </a:extLst>
              </p:cNvPr>
              <p:cNvSpPr/>
              <p:nvPr/>
            </p:nvSpPr>
            <p:spPr>
              <a:xfrm>
                <a:off x="5530727" y="3060915"/>
                <a:ext cx="20953" cy="43239"/>
              </a:xfrm>
              <a:custGeom>
                <a:avLst/>
                <a:gdLst/>
                <a:ahLst/>
                <a:cxnLst/>
                <a:rect l="l" t="t" r="r" b="b"/>
                <a:pathLst>
                  <a:path w="1147" h="2367" fill="none" extrusionOk="0">
                    <a:moveTo>
                      <a:pt x="0"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 name="Google Shape;1103;p53">
                <a:extLst>
                  <a:ext uri="{FF2B5EF4-FFF2-40B4-BE49-F238E27FC236}">
                    <a16:creationId xmlns:a16="http://schemas.microsoft.com/office/drawing/2014/main" id="{F32714A9-BFF1-4615-A274-89EDE0BE3271}"/>
                  </a:ext>
                </a:extLst>
              </p:cNvPr>
              <p:cNvSpPr/>
              <p:nvPr/>
            </p:nvSpPr>
            <p:spPr>
              <a:xfrm>
                <a:off x="5530727" y="3023759"/>
                <a:ext cx="20277" cy="43257"/>
              </a:xfrm>
              <a:custGeom>
                <a:avLst/>
                <a:gdLst/>
                <a:ahLst/>
                <a:cxnLst/>
                <a:rect l="l" t="t" r="r" b="b"/>
                <a:pathLst>
                  <a:path w="1110" h="2368" fill="none" extrusionOk="0">
                    <a:moveTo>
                      <a:pt x="0" y="1"/>
                    </a:moveTo>
                    <a:lnTo>
                      <a:pt x="1110" y="2367"/>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 name="Google Shape;1104;p53">
                <a:extLst>
                  <a:ext uri="{FF2B5EF4-FFF2-40B4-BE49-F238E27FC236}">
                    <a16:creationId xmlns:a16="http://schemas.microsoft.com/office/drawing/2014/main" id="{45E7C374-9F97-4880-93BC-6AE31476CC69}"/>
                  </a:ext>
                </a:extLst>
              </p:cNvPr>
              <p:cNvSpPr/>
              <p:nvPr/>
            </p:nvSpPr>
            <p:spPr>
              <a:xfrm>
                <a:off x="5530051" y="2986621"/>
                <a:ext cx="20277" cy="42563"/>
              </a:xfrm>
              <a:custGeom>
                <a:avLst/>
                <a:gdLst/>
                <a:ahLst/>
                <a:cxnLst/>
                <a:rect l="l" t="t" r="r" b="b"/>
                <a:pathLst>
                  <a:path w="1110" h="2330" fill="none" extrusionOk="0">
                    <a:moveTo>
                      <a:pt x="0" y="1"/>
                    </a:moveTo>
                    <a:lnTo>
                      <a:pt x="1110"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 name="Google Shape;1105;p53">
                <a:extLst>
                  <a:ext uri="{FF2B5EF4-FFF2-40B4-BE49-F238E27FC236}">
                    <a16:creationId xmlns:a16="http://schemas.microsoft.com/office/drawing/2014/main" id="{00512B3D-02FB-45BC-BDA3-6D3119431DF3}"/>
                  </a:ext>
                </a:extLst>
              </p:cNvPr>
              <p:cNvSpPr/>
              <p:nvPr/>
            </p:nvSpPr>
            <p:spPr>
              <a:xfrm>
                <a:off x="5529375" y="2948807"/>
                <a:ext cx="20953" cy="43239"/>
              </a:xfrm>
              <a:custGeom>
                <a:avLst/>
                <a:gdLst/>
                <a:ahLst/>
                <a:cxnLst/>
                <a:rect l="l" t="t" r="r" b="b"/>
                <a:pathLst>
                  <a:path w="1147" h="2367" fill="none" extrusionOk="0">
                    <a:moveTo>
                      <a:pt x="1"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 name="Google Shape;1106;p53">
                <a:extLst>
                  <a:ext uri="{FF2B5EF4-FFF2-40B4-BE49-F238E27FC236}">
                    <a16:creationId xmlns:a16="http://schemas.microsoft.com/office/drawing/2014/main" id="{C5B8D211-FC0A-486C-BDD5-98C8CFEDD165}"/>
                  </a:ext>
                </a:extLst>
              </p:cNvPr>
              <p:cNvSpPr/>
              <p:nvPr/>
            </p:nvSpPr>
            <p:spPr>
              <a:xfrm>
                <a:off x="5570569" y="3198688"/>
                <a:ext cx="20277" cy="42563"/>
              </a:xfrm>
              <a:custGeom>
                <a:avLst/>
                <a:gdLst/>
                <a:ahLst/>
                <a:cxnLst/>
                <a:rect l="l" t="t" r="r" b="b"/>
                <a:pathLst>
                  <a:path w="1110" h="2330" fill="none" extrusionOk="0">
                    <a:moveTo>
                      <a:pt x="1" y="0"/>
                    </a:moveTo>
                    <a:lnTo>
                      <a:pt x="1110"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 name="Google Shape;1107;p53">
                <a:extLst>
                  <a:ext uri="{FF2B5EF4-FFF2-40B4-BE49-F238E27FC236}">
                    <a16:creationId xmlns:a16="http://schemas.microsoft.com/office/drawing/2014/main" id="{09036413-8BEE-4204-B25C-8120823FE997}"/>
                  </a:ext>
                </a:extLst>
              </p:cNvPr>
              <p:cNvSpPr/>
              <p:nvPr/>
            </p:nvSpPr>
            <p:spPr>
              <a:xfrm>
                <a:off x="5569893" y="3160875"/>
                <a:ext cx="20953" cy="43239"/>
              </a:xfrm>
              <a:custGeom>
                <a:avLst/>
                <a:gdLst/>
                <a:ahLst/>
                <a:cxnLst/>
                <a:rect l="l" t="t" r="r" b="b"/>
                <a:pathLst>
                  <a:path w="1147" h="2367" fill="none" extrusionOk="0">
                    <a:moveTo>
                      <a:pt x="1"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 name="Google Shape;1108;p53">
                <a:extLst>
                  <a:ext uri="{FF2B5EF4-FFF2-40B4-BE49-F238E27FC236}">
                    <a16:creationId xmlns:a16="http://schemas.microsoft.com/office/drawing/2014/main" id="{FD6BD4B6-B922-4734-ABFF-9235D2C4D449}"/>
                  </a:ext>
                </a:extLst>
              </p:cNvPr>
              <p:cNvSpPr/>
              <p:nvPr/>
            </p:nvSpPr>
            <p:spPr>
              <a:xfrm>
                <a:off x="5569217" y="3123718"/>
                <a:ext cx="20953" cy="43239"/>
              </a:xfrm>
              <a:custGeom>
                <a:avLst/>
                <a:gdLst/>
                <a:ahLst/>
                <a:cxnLst/>
                <a:rect l="l" t="t" r="r" b="b"/>
                <a:pathLst>
                  <a:path w="1147" h="2367" fill="none" extrusionOk="0">
                    <a:moveTo>
                      <a:pt x="1" y="1"/>
                    </a:moveTo>
                    <a:lnTo>
                      <a:pt x="1147" y="2367"/>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 name="Google Shape;1109;p53">
                <a:extLst>
                  <a:ext uri="{FF2B5EF4-FFF2-40B4-BE49-F238E27FC236}">
                    <a16:creationId xmlns:a16="http://schemas.microsoft.com/office/drawing/2014/main" id="{604125C6-1E42-4F97-B168-3DDA527BE0E9}"/>
                  </a:ext>
                </a:extLst>
              </p:cNvPr>
              <p:cNvSpPr/>
              <p:nvPr/>
            </p:nvSpPr>
            <p:spPr>
              <a:xfrm>
                <a:off x="5568541" y="3085905"/>
                <a:ext cx="20953" cy="43239"/>
              </a:xfrm>
              <a:custGeom>
                <a:avLst/>
                <a:gdLst/>
                <a:ahLst/>
                <a:cxnLst/>
                <a:rect l="l" t="t" r="r" b="b"/>
                <a:pathLst>
                  <a:path w="1147" h="2367" fill="none" extrusionOk="0">
                    <a:moveTo>
                      <a:pt x="1"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 name="Google Shape;1110;p53">
                <a:extLst>
                  <a:ext uri="{FF2B5EF4-FFF2-40B4-BE49-F238E27FC236}">
                    <a16:creationId xmlns:a16="http://schemas.microsoft.com/office/drawing/2014/main" id="{8A869D1C-B935-43CD-A058-C49AE07FE994}"/>
                  </a:ext>
                </a:extLst>
              </p:cNvPr>
              <p:cNvSpPr/>
              <p:nvPr/>
            </p:nvSpPr>
            <p:spPr>
              <a:xfrm>
                <a:off x="5568541" y="3048749"/>
                <a:ext cx="20277" cy="43239"/>
              </a:xfrm>
              <a:custGeom>
                <a:avLst/>
                <a:gdLst/>
                <a:ahLst/>
                <a:cxnLst/>
                <a:rect l="l" t="t" r="r" b="b"/>
                <a:pathLst>
                  <a:path w="1110" h="2367" fill="none" extrusionOk="0">
                    <a:moveTo>
                      <a:pt x="1" y="1"/>
                    </a:moveTo>
                    <a:lnTo>
                      <a:pt x="1110" y="2367"/>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 name="Google Shape;1111;p53">
                <a:extLst>
                  <a:ext uri="{FF2B5EF4-FFF2-40B4-BE49-F238E27FC236}">
                    <a16:creationId xmlns:a16="http://schemas.microsoft.com/office/drawing/2014/main" id="{B81DA6C8-8495-4D2D-A3F9-0C84B7587DCB}"/>
                  </a:ext>
                </a:extLst>
              </p:cNvPr>
              <p:cNvSpPr/>
              <p:nvPr/>
            </p:nvSpPr>
            <p:spPr>
              <a:xfrm>
                <a:off x="5567865" y="3011611"/>
                <a:ext cx="20953" cy="42563"/>
              </a:xfrm>
              <a:custGeom>
                <a:avLst/>
                <a:gdLst/>
                <a:ahLst/>
                <a:cxnLst/>
                <a:rect l="l" t="t" r="r" b="b"/>
                <a:pathLst>
                  <a:path w="1147" h="2330" fill="none" extrusionOk="0">
                    <a:moveTo>
                      <a:pt x="1" y="0"/>
                    </a:moveTo>
                    <a:lnTo>
                      <a:pt x="1147"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 name="Google Shape;1112;p53">
                <a:extLst>
                  <a:ext uri="{FF2B5EF4-FFF2-40B4-BE49-F238E27FC236}">
                    <a16:creationId xmlns:a16="http://schemas.microsoft.com/office/drawing/2014/main" id="{1B69FF27-3D92-492B-ACAA-B06B4DB7B4D5}"/>
                  </a:ext>
                </a:extLst>
              </p:cNvPr>
              <p:cNvSpPr/>
              <p:nvPr/>
            </p:nvSpPr>
            <p:spPr>
              <a:xfrm>
                <a:off x="5567189" y="2973797"/>
                <a:ext cx="20953" cy="43239"/>
              </a:xfrm>
              <a:custGeom>
                <a:avLst/>
                <a:gdLst/>
                <a:ahLst/>
                <a:cxnLst/>
                <a:rect l="l" t="t" r="r" b="b"/>
                <a:pathLst>
                  <a:path w="1147" h="2367" fill="none" extrusionOk="0">
                    <a:moveTo>
                      <a:pt x="1" y="0"/>
                    </a:moveTo>
                    <a:lnTo>
                      <a:pt x="1147" y="2366"/>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 name="Google Shape;1113;p53">
                <a:extLst>
                  <a:ext uri="{FF2B5EF4-FFF2-40B4-BE49-F238E27FC236}">
                    <a16:creationId xmlns:a16="http://schemas.microsoft.com/office/drawing/2014/main" id="{91D6797B-BA0E-404D-99FC-712AFE0B8E29}"/>
                  </a:ext>
                </a:extLst>
              </p:cNvPr>
              <p:cNvSpPr/>
              <p:nvPr/>
            </p:nvSpPr>
            <p:spPr>
              <a:xfrm>
                <a:off x="5607049" y="3218271"/>
                <a:ext cx="20953" cy="42563"/>
              </a:xfrm>
              <a:custGeom>
                <a:avLst/>
                <a:gdLst/>
                <a:ahLst/>
                <a:cxnLst/>
                <a:rect l="l" t="t" r="r" b="b"/>
                <a:pathLst>
                  <a:path w="1147" h="2330" fill="none" extrusionOk="0">
                    <a:moveTo>
                      <a:pt x="0" y="1"/>
                    </a:moveTo>
                    <a:lnTo>
                      <a:pt x="1146"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 name="Google Shape;1114;p53">
                <a:extLst>
                  <a:ext uri="{FF2B5EF4-FFF2-40B4-BE49-F238E27FC236}">
                    <a16:creationId xmlns:a16="http://schemas.microsoft.com/office/drawing/2014/main" id="{13EB1E55-4034-4E7C-992C-EF0912325AA2}"/>
                  </a:ext>
                </a:extLst>
              </p:cNvPr>
              <p:cNvSpPr/>
              <p:nvPr/>
            </p:nvSpPr>
            <p:spPr>
              <a:xfrm>
                <a:off x="5607049" y="3180457"/>
                <a:ext cx="20277" cy="43239"/>
              </a:xfrm>
              <a:custGeom>
                <a:avLst/>
                <a:gdLst/>
                <a:ahLst/>
                <a:cxnLst/>
                <a:rect l="l" t="t" r="r" b="b"/>
                <a:pathLst>
                  <a:path w="1110" h="2367" fill="none" extrusionOk="0">
                    <a:moveTo>
                      <a:pt x="0" y="0"/>
                    </a:moveTo>
                    <a:lnTo>
                      <a:pt x="1109" y="2366"/>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 name="Google Shape;1115;p53">
                <a:extLst>
                  <a:ext uri="{FF2B5EF4-FFF2-40B4-BE49-F238E27FC236}">
                    <a16:creationId xmlns:a16="http://schemas.microsoft.com/office/drawing/2014/main" id="{A7F34405-5238-4B8C-8E65-ACF709E4A794}"/>
                  </a:ext>
                </a:extLst>
              </p:cNvPr>
              <p:cNvSpPr/>
              <p:nvPr/>
            </p:nvSpPr>
            <p:spPr>
              <a:xfrm>
                <a:off x="5606373" y="3143301"/>
                <a:ext cx="20277" cy="42563"/>
              </a:xfrm>
              <a:custGeom>
                <a:avLst/>
                <a:gdLst/>
                <a:ahLst/>
                <a:cxnLst/>
                <a:rect l="l" t="t" r="r" b="b"/>
                <a:pathLst>
                  <a:path w="1110" h="2330" fill="none" extrusionOk="0">
                    <a:moveTo>
                      <a:pt x="0" y="1"/>
                    </a:moveTo>
                    <a:lnTo>
                      <a:pt x="1109"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 name="Google Shape;1116;p53">
                <a:extLst>
                  <a:ext uri="{FF2B5EF4-FFF2-40B4-BE49-F238E27FC236}">
                    <a16:creationId xmlns:a16="http://schemas.microsoft.com/office/drawing/2014/main" id="{7E397A49-AA1E-4F24-86D5-4E0ABFDE9CB1}"/>
                  </a:ext>
                </a:extLst>
              </p:cNvPr>
              <p:cNvSpPr/>
              <p:nvPr/>
            </p:nvSpPr>
            <p:spPr>
              <a:xfrm>
                <a:off x="5605697" y="3105487"/>
                <a:ext cx="20953" cy="43239"/>
              </a:xfrm>
              <a:custGeom>
                <a:avLst/>
                <a:gdLst/>
                <a:ahLst/>
                <a:cxnLst/>
                <a:rect l="l" t="t" r="r" b="b"/>
                <a:pathLst>
                  <a:path w="1147" h="2367" fill="none" extrusionOk="0">
                    <a:moveTo>
                      <a:pt x="0" y="0"/>
                    </a:moveTo>
                    <a:lnTo>
                      <a:pt x="1146"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 name="Google Shape;1117;p53">
                <a:extLst>
                  <a:ext uri="{FF2B5EF4-FFF2-40B4-BE49-F238E27FC236}">
                    <a16:creationId xmlns:a16="http://schemas.microsoft.com/office/drawing/2014/main" id="{5A5CB2A8-4464-41E2-A6A5-CA14E7CC1291}"/>
                  </a:ext>
                </a:extLst>
              </p:cNvPr>
              <p:cNvSpPr/>
              <p:nvPr/>
            </p:nvSpPr>
            <p:spPr>
              <a:xfrm>
                <a:off x="5605021" y="3068350"/>
                <a:ext cx="20953" cy="42563"/>
              </a:xfrm>
              <a:custGeom>
                <a:avLst/>
                <a:gdLst/>
                <a:ahLst/>
                <a:cxnLst/>
                <a:rect l="l" t="t" r="r" b="b"/>
                <a:pathLst>
                  <a:path w="1147" h="2330" fill="none" extrusionOk="0">
                    <a:moveTo>
                      <a:pt x="0" y="0"/>
                    </a:moveTo>
                    <a:lnTo>
                      <a:pt x="1146" y="232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 name="Google Shape;1118;p53">
                <a:extLst>
                  <a:ext uri="{FF2B5EF4-FFF2-40B4-BE49-F238E27FC236}">
                    <a16:creationId xmlns:a16="http://schemas.microsoft.com/office/drawing/2014/main" id="{547B439E-531B-431E-91D0-CD4F68563F16}"/>
                  </a:ext>
                </a:extLst>
              </p:cNvPr>
              <p:cNvSpPr/>
              <p:nvPr/>
            </p:nvSpPr>
            <p:spPr>
              <a:xfrm>
                <a:off x="5605021" y="3030518"/>
                <a:ext cx="20277" cy="43239"/>
              </a:xfrm>
              <a:custGeom>
                <a:avLst/>
                <a:gdLst/>
                <a:ahLst/>
                <a:cxnLst/>
                <a:rect l="l" t="t" r="r" b="b"/>
                <a:pathLst>
                  <a:path w="1110" h="2367" fill="none" extrusionOk="0">
                    <a:moveTo>
                      <a:pt x="0" y="1"/>
                    </a:moveTo>
                    <a:lnTo>
                      <a:pt x="1109"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 name="Google Shape;1119;p53">
                <a:extLst>
                  <a:ext uri="{FF2B5EF4-FFF2-40B4-BE49-F238E27FC236}">
                    <a16:creationId xmlns:a16="http://schemas.microsoft.com/office/drawing/2014/main" id="{8A5C0E21-20BA-44A8-9E4E-BB668465E333}"/>
                  </a:ext>
                </a:extLst>
              </p:cNvPr>
              <p:cNvSpPr/>
              <p:nvPr/>
            </p:nvSpPr>
            <p:spPr>
              <a:xfrm>
                <a:off x="5604345" y="2993380"/>
                <a:ext cx="20277" cy="42563"/>
              </a:xfrm>
              <a:custGeom>
                <a:avLst/>
                <a:gdLst/>
                <a:ahLst/>
                <a:cxnLst/>
                <a:rect l="l" t="t" r="r" b="b"/>
                <a:pathLst>
                  <a:path w="1110" h="2330" fill="none" extrusionOk="0">
                    <a:moveTo>
                      <a:pt x="0" y="0"/>
                    </a:moveTo>
                    <a:lnTo>
                      <a:pt x="1109" y="232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 name="Google Shape;1120;p53">
                <a:extLst>
                  <a:ext uri="{FF2B5EF4-FFF2-40B4-BE49-F238E27FC236}">
                    <a16:creationId xmlns:a16="http://schemas.microsoft.com/office/drawing/2014/main" id="{04F45168-98A4-4C10-AEFC-F119A728576C}"/>
                  </a:ext>
                </a:extLst>
              </p:cNvPr>
              <p:cNvSpPr/>
              <p:nvPr/>
            </p:nvSpPr>
            <p:spPr>
              <a:xfrm>
                <a:off x="5647566" y="3236502"/>
                <a:ext cx="20277" cy="43239"/>
              </a:xfrm>
              <a:custGeom>
                <a:avLst/>
                <a:gdLst/>
                <a:ahLst/>
                <a:cxnLst/>
                <a:rect l="l" t="t" r="r" b="b"/>
                <a:pathLst>
                  <a:path w="1110" h="2367" fill="none" extrusionOk="0">
                    <a:moveTo>
                      <a:pt x="0" y="1"/>
                    </a:moveTo>
                    <a:lnTo>
                      <a:pt x="1110"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 name="Google Shape;1121;p53">
                <a:extLst>
                  <a:ext uri="{FF2B5EF4-FFF2-40B4-BE49-F238E27FC236}">
                    <a16:creationId xmlns:a16="http://schemas.microsoft.com/office/drawing/2014/main" id="{B045F116-1EA1-48D2-BD94-E6AE4B8FC73D}"/>
                  </a:ext>
                </a:extLst>
              </p:cNvPr>
              <p:cNvSpPr/>
              <p:nvPr/>
            </p:nvSpPr>
            <p:spPr>
              <a:xfrm>
                <a:off x="5646890" y="3199364"/>
                <a:ext cx="20953" cy="42563"/>
              </a:xfrm>
              <a:custGeom>
                <a:avLst/>
                <a:gdLst/>
                <a:ahLst/>
                <a:cxnLst/>
                <a:rect l="l" t="t" r="r" b="b"/>
                <a:pathLst>
                  <a:path w="1147" h="2330" fill="none" extrusionOk="0">
                    <a:moveTo>
                      <a:pt x="0" y="0"/>
                    </a:moveTo>
                    <a:lnTo>
                      <a:pt x="1147" y="232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 name="Google Shape;1122;p53">
                <a:extLst>
                  <a:ext uri="{FF2B5EF4-FFF2-40B4-BE49-F238E27FC236}">
                    <a16:creationId xmlns:a16="http://schemas.microsoft.com/office/drawing/2014/main" id="{AB83D80A-EFB4-477A-97DB-E1EF9F16DD97}"/>
                  </a:ext>
                </a:extLst>
              </p:cNvPr>
              <p:cNvSpPr/>
              <p:nvPr/>
            </p:nvSpPr>
            <p:spPr>
              <a:xfrm>
                <a:off x="5646214" y="3161532"/>
                <a:ext cx="20953" cy="43257"/>
              </a:xfrm>
              <a:custGeom>
                <a:avLst/>
                <a:gdLst/>
                <a:ahLst/>
                <a:cxnLst/>
                <a:rect l="l" t="t" r="r" b="b"/>
                <a:pathLst>
                  <a:path w="1147" h="2368" fill="none" extrusionOk="0">
                    <a:moveTo>
                      <a:pt x="0" y="1"/>
                    </a:moveTo>
                    <a:lnTo>
                      <a:pt x="1147"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 name="Google Shape;1123;p53">
                <a:extLst>
                  <a:ext uri="{FF2B5EF4-FFF2-40B4-BE49-F238E27FC236}">
                    <a16:creationId xmlns:a16="http://schemas.microsoft.com/office/drawing/2014/main" id="{91A693BA-0D8F-4086-9ABA-9C3406EA83FA}"/>
                  </a:ext>
                </a:extLst>
              </p:cNvPr>
              <p:cNvSpPr/>
              <p:nvPr/>
            </p:nvSpPr>
            <p:spPr>
              <a:xfrm>
                <a:off x="5646214" y="3124394"/>
                <a:ext cx="20277" cy="42563"/>
              </a:xfrm>
              <a:custGeom>
                <a:avLst/>
                <a:gdLst/>
                <a:ahLst/>
                <a:cxnLst/>
                <a:rect l="l" t="t" r="r" b="b"/>
                <a:pathLst>
                  <a:path w="1110" h="2330" fill="none" extrusionOk="0">
                    <a:moveTo>
                      <a:pt x="0" y="1"/>
                    </a:moveTo>
                    <a:lnTo>
                      <a:pt x="1110"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 name="Google Shape;1124;p53">
                <a:extLst>
                  <a:ext uri="{FF2B5EF4-FFF2-40B4-BE49-F238E27FC236}">
                    <a16:creationId xmlns:a16="http://schemas.microsoft.com/office/drawing/2014/main" id="{97330014-5444-4669-9927-CF51EB279C74}"/>
                  </a:ext>
                </a:extLst>
              </p:cNvPr>
              <p:cNvSpPr/>
              <p:nvPr/>
            </p:nvSpPr>
            <p:spPr>
              <a:xfrm>
                <a:off x="5645539" y="3086581"/>
                <a:ext cx="20277" cy="43239"/>
              </a:xfrm>
              <a:custGeom>
                <a:avLst/>
                <a:gdLst/>
                <a:ahLst/>
                <a:cxnLst/>
                <a:rect l="l" t="t" r="r" b="b"/>
                <a:pathLst>
                  <a:path w="1110" h="2367" fill="none" extrusionOk="0">
                    <a:moveTo>
                      <a:pt x="0" y="0"/>
                    </a:moveTo>
                    <a:lnTo>
                      <a:pt x="1110" y="2366"/>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 name="Google Shape;1125;p53">
                <a:extLst>
                  <a:ext uri="{FF2B5EF4-FFF2-40B4-BE49-F238E27FC236}">
                    <a16:creationId xmlns:a16="http://schemas.microsoft.com/office/drawing/2014/main" id="{0924249A-72CF-4A02-AA98-7C27C8624682}"/>
                  </a:ext>
                </a:extLst>
              </p:cNvPr>
              <p:cNvSpPr/>
              <p:nvPr/>
            </p:nvSpPr>
            <p:spPr>
              <a:xfrm>
                <a:off x="5644863" y="3049424"/>
                <a:ext cx="20953" cy="42563"/>
              </a:xfrm>
              <a:custGeom>
                <a:avLst/>
                <a:gdLst/>
                <a:ahLst/>
                <a:cxnLst/>
                <a:rect l="l" t="t" r="r" b="b"/>
                <a:pathLst>
                  <a:path w="1147" h="2330" fill="none" extrusionOk="0">
                    <a:moveTo>
                      <a:pt x="1" y="1"/>
                    </a:moveTo>
                    <a:lnTo>
                      <a:pt x="1147"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 name="Google Shape;1126;p53">
                <a:extLst>
                  <a:ext uri="{FF2B5EF4-FFF2-40B4-BE49-F238E27FC236}">
                    <a16:creationId xmlns:a16="http://schemas.microsoft.com/office/drawing/2014/main" id="{3D090ADF-8181-408D-9AA0-22F2646398C6}"/>
                  </a:ext>
                </a:extLst>
              </p:cNvPr>
              <p:cNvSpPr/>
              <p:nvPr/>
            </p:nvSpPr>
            <p:spPr>
              <a:xfrm>
                <a:off x="5644187" y="3012287"/>
                <a:ext cx="20953" cy="42563"/>
              </a:xfrm>
              <a:custGeom>
                <a:avLst/>
                <a:gdLst/>
                <a:ahLst/>
                <a:cxnLst/>
                <a:rect l="l" t="t" r="r" b="b"/>
                <a:pathLst>
                  <a:path w="1147" h="2330" fill="none" extrusionOk="0">
                    <a:moveTo>
                      <a:pt x="1" y="0"/>
                    </a:moveTo>
                    <a:lnTo>
                      <a:pt x="1147"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 name="Google Shape;1127;p53">
                <a:extLst>
                  <a:ext uri="{FF2B5EF4-FFF2-40B4-BE49-F238E27FC236}">
                    <a16:creationId xmlns:a16="http://schemas.microsoft.com/office/drawing/2014/main" id="{40531E7F-3D06-47AE-B8B7-B63278F17D9D}"/>
                  </a:ext>
                </a:extLst>
              </p:cNvPr>
              <p:cNvSpPr/>
              <p:nvPr/>
            </p:nvSpPr>
            <p:spPr>
              <a:xfrm>
                <a:off x="5355816" y="2601652"/>
                <a:ext cx="215447" cy="238446"/>
              </a:xfrm>
              <a:custGeom>
                <a:avLst/>
                <a:gdLst/>
                <a:ahLst/>
                <a:cxnLst/>
                <a:rect l="l" t="t" r="r" b="b"/>
                <a:pathLst>
                  <a:path w="11794" h="13053" extrusionOk="0">
                    <a:moveTo>
                      <a:pt x="5892" y="1"/>
                    </a:moveTo>
                    <a:cubicBezTo>
                      <a:pt x="2666" y="1"/>
                      <a:pt x="37" y="2944"/>
                      <a:pt x="0" y="6508"/>
                    </a:cubicBezTo>
                    <a:cubicBezTo>
                      <a:pt x="0" y="10094"/>
                      <a:pt x="2588" y="13052"/>
                      <a:pt x="5841" y="13052"/>
                    </a:cubicBezTo>
                    <a:cubicBezTo>
                      <a:pt x="5862" y="13052"/>
                      <a:pt x="5882" y="13052"/>
                      <a:pt x="5903" y="13052"/>
                    </a:cubicBezTo>
                    <a:cubicBezTo>
                      <a:pt x="9129" y="13052"/>
                      <a:pt x="11794" y="10146"/>
                      <a:pt x="11794" y="6582"/>
                    </a:cubicBezTo>
                    <a:cubicBezTo>
                      <a:pt x="11794" y="2959"/>
                      <a:pt x="9169" y="1"/>
                      <a:pt x="5952" y="1"/>
                    </a:cubicBezTo>
                    <a:cubicBezTo>
                      <a:pt x="5932" y="1"/>
                      <a:pt x="5912" y="1"/>
                      <a:pt x="589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 name="Google Shape;1128;p53">
                <a:extLst>
                  <a:ext uri="{FF2B5EF4-FFF2-40B4-BE49-F238E27FC236}">
                    <a16:creationId xmlns:a16="http://schemas.microsoft.com/office/drawing/2014/main" id="{D3FA78FA-77C2-43B7-98B7-FF0D4A2B45EF}"/>
                  </a:ext>
                </a:extLst>
              </p:cNvPr>
              <p:cNvSpPr/>
              <p:nvPr/>
            </p:nvSpPr>
            <p:spPr>
              <a:xfrm>
                <a:off x="5415916" y="2664473"/>
                <a:ext cx="95247" cy="112802"/>
              </a:xfrm>
              <a:custGeom>
                <a:avLst/>
                <a:gdLst/>
                <a:ahLst/>
                <a:cxnLst/>
                <a:rect l="l" t="t" r="r" b="b"/>
                <a:pathLst>
                  <a:path w="5214" h="6175" extrusionOk="0">
                    <a:moveTo>
                      <a:pt x="2625" y="1"/>
                    </a:moveTo>
                    <a:cubicBezTo>
                      <a:pt x="1184" y="1"/>
                      <a:pt x="0" y="1368"/>
                      <a:pt x="0" y="3069"/>
                    </a:cubicBezTo>
                    <a:cubicBezTo>
                      <a:pt x="0" y="4807"/>
                      <a:pt x="1147" y="6175"/>
                      <a:pt x="2588" y="6175"/>
                    </a:cubicBezTo>
                    <a:cubicBezTo>
                      <a:pt x="4030" y="6175"/>
                      <a:pt x="5213" y="4807"/>
                      <a:pt x="5213" y="3106"/>
                    </a:cubicBezTo>
                    <a:cubicBezTo>
                      <a:pt x="5213" y="1405"/>
                      <a:pt x="4067" y="37"/>
                      <a:pt x="2625"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 name="Google Shape;1129;p53">
                <a:extLst>
                  <a:ext uri="{FF2B5EF4-FFF2-40B4-BE49-F238E27FC236}">
                    <a16:creationId xmlns:a16="http://schemas.microsoft.com/office/drawing/2014/main" id="{6737B00F-29A2-49DF-A80E-284C3F14E5F1}"/>
                  </a:ext>
                </a:extLst>
              </p:cNvPr>
              <p:cNvSpPr/>
              <p:nvPr/>
            </p:nvSpPr>
            <p:spPr>
              <a:xfrm>
                <a:off x="5424027" y="2601670"/>
                <a:ext cx="25008" cy="119561"/>
              </a:xfrm>
              <a:custGeom>
                <a:avLst/>
                <a:gdLst/>
                <a:ahLst/>
                <a:cxnLst/>
                <a:rect l="l" t="t" r="r" b="b"/>
                <a:pathLst>
                  <a:path w="1369" h="6545" extrusionOk="0">
                    <a:moveTo>
                      <a:pt x="703" y="0"/>
                    </a:moveTo>
                    <a:lnTo>
                      <a:pt x="0" y="444"/>
                    </a:lnTo>
                    <a:lnTo>
                      <a:pt x="555" y="6507"/>
                    </a:lnTo>
                    <a:lnTo>
                      <a:pt x="1368" y="6544"/>
                    </a:lnTo>
                    <a:lnTo>
                      <a:pt x="70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 name="Google Shape;1130;p53">
                <a:extLst>
                  <a:ext uri="{FF2B5EF4-FFF2-40B4-BE49-F238E27FC236}">
                    <a16:creationId xmlns:a16="http://schemas.microsoft.com/office/drawing/2014/main" id="{E095B66B-74C1-44C4-9056-054B7ECDC704}"/>
                  </a:ext>
                </a:extLst>
              </p:cNvPr>
              <p:cNvSpPr/>
              <p:nvPr/>
            </p:nvSpPr>
            <p:spPr>
              <a:xfrm>
                <a:off x="5494265" y="2696222"/>
                <a:ext cx="76998" cy="38508"/>
              </a:xfrm>
              <a:custGeom>
                <a:avLst/>
                <a:gdLst/>
                <a:ahLst/>
                <a:cxnLst/>
                <a:rect l="l" t="t" r="r" b="b"/>
                <a:pathLst>
                  <a:path w="4215" h="2108" extrusionOk="0">
                    <a:moveTo>
                      <a:pt x="4215" y="0"/>
                    </a:moveTo>
                    <a:lnTo>
                      <a:pt x="0" y="1035"/>
                    </a:lnTo>
                    <a:lnTo>
                      <a:pt x="0" y="2107"/>
                    </a:lnTo>
                    <a:lnTo>
                      <a:pt x="4215" y="1405"/>
                    </a:lnTo>
                    <a:lnTo>
                      <a:pt x="4215" y="0"/>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 name="Google Shape;1131;p53">
                <a:extLst>
                  <a:ext uri="{FF2B5EF4-FFF2-40B4-BE49-F238E27FC236}">
                    <a16:creationId xmlns:a16="http://schemas.microsoft.com/office/drawing/2014/main" id="{0FA77F80-D9EF-4149-8C31-84F157A2104E}"/>
                  </a:ext>
                </a:extLst>
              </p:cNvPr>
              <p:cNvSpPr/>
              <p:nvPr/>
            </p:nvSpPr>
            <p:spPr>
              <a:xfrm>
                <a:off x="5374723" y="2744850"/>
                <a:ext cx="74312" cy="57415"/>
              </a:xfrm>
              <a:custGeom>
                <a:avLst/>
                <a:gdLst/>
                <a:ahLst/>
                <a:cxnLst/>
                <a:rect l="l" t="t" r="r" b="b"/>
                <a:pathLst>
                  <a:path w="4068" h="3143" extrusionOk="0">
                    <a:moveTo>
                      <a:pt x="3365" y="0"/>
                    </a:moveTo>
                    <a:lnTo>
                      <a:pt x="0" y="2403"/>
                    </a:lnTo>
                    <a:lnTo>
                      <a:pt x="555" y="3143"/>
                    </a:lnTo>
                    <a:lnTo>
                      <a:pt x="4067" y="887"/>
                    </a:lnTo>
                    <a:lnTo>
                      <a:pt x="336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 name="Google Shape;1132;p53">
                <a:extLst>
                  <a:ext uri="{FF2B5EF4-FFF2-40B4-BE49-F238E27FC236}">
                    <a16:creationId xmlns:a16="http://schemas.microsoft.com/office/drawing/2014/main" id="{6C48D86E-E8F9-4F94-857C-DCEBB0DA0363}"/>
                  </a:ext>
                </a:extLst>
              </p:cNvPr>
              <p:cNvSpPr/>
              <p:nvPr/>
            </p:nvSpPr>
            <p:spPr>
              <a:xfrm>
                <a:off x="5296374" y="2311929"/>
                <a:ext cx="463994" cy="1108965"/>
              </a:xfrm>
              <a:custGeom>
                <a:avLst/>
                <a:gdLst/>
                <a:ahLst/>
                <a:cxnLst/>
                <a:rect l="l" t="t" r="r" b="b"/>
                <a:pathLst>
                  <a:path w="25400" h="60707" extrusionOk="0">
                    <a:moveTo>
                      <a:pt x="75" y="1"/>
                    </a:moveTo>
                    <a:lnTo>
                      <a:pt x="1" y="11166"/>
                    </a:lnTo>
                    <a:cubicBezTo>
                      <a:pt x="2995" y="14235"/>
                      <a:pt x="6101" y="17229"/>
                      <a:pt x="8541" y="20778"/>
                    </a:cubicBezTo>
                    <a:cubicBezTo>
                      <a:pt x="11646" y="25252"/>
                      <a:pt x="13347" y="30354"/>
                      <a:pt x="14567" y="35641"/>
                    </a:cubicBezTo>
                    <a:cubicBezTo>
                      <a:pt x="15861" y="41186"/>
                      <a:pt x="16600" y="46880"/>
                      <a:pt x="16711" y="52610"/>
                    </a:cubicBezTo>
                    <a:cubicBezTo>
                      <a:pt x="16711" y="53830"/>
                      <a:pt x="16711" y="55050"/>
                      <a:pt x="16674" y="56270"/>
                    </a:cubicBezTo>
                    <a:lnTo>
                      <a:pt x="25104" y="60707"/>
                    </a:lnTo>
                    <a:lnTo>
                      <a:pt x="25399" y="9835"/>
                    </a:lnTo>
                    <a:lnTo>
                      <a:pt x="75" y="1"/>
                    </a:lnTo>
                    <a:close/>
                  </a:path>
                </a:pathLst>
              </a:custGeom>
              <a:solidFill>
                <a:schemeClr val="dk1"/>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 name="Google Shape;1133;p53">
                <a:extLst>
                  <a:ext uri="{FF2B5EF4-FFF2-40B4-BE49-F238E27FC236}">
                    <a16:creationId xmlns:a16="http://schemas.microsoft.com/office/drawing/2014/main" id="{F24C7D89-7981-4310-B5FD-7BB5AD86EAA6}"/>
                  </a:ext>
                </a:extLst>
              </p:cNvPr>
              <p:cNvSpPr/>
              <p:nvPr/>
            </p:nvSpPr>
            <p:spPr>
              <a:xfrm>
                <a:off x="5430092" y="2318012"/>
                <a:ext cx="374173" cy="144551"/>
              </a:xfrm>
              <a:custGeom>
                <a:avLst/>
                <a:gdLst/>
                <a:ahLst/>
                <a:cxnLst/>
                <a:rect l="l" t="t" r="r" b="b"/>
                <a:pathLst>
                  <a:path w="20483" h="7913" extrusionOk="0">
                    <a:moveTo>
                      <a:pt x="1960" y="1"/>
                    </a:moveTo>
                    <a:lnTo>
                      <a:pt x="1" y="370"/>
                    </a:lnTo>
                    <a:lnTo>
                      <a:pt x="18153" y="7912"/>
                    </a:lnTo>
                    <a:lnTo>
                      <a:pt x="20483" y="7432"/>
                    </a:lnTo>
                    <a:lnTo>
                      <a:pt x="1960"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 name="Google Shape;1134;p53">
                <a:extLst>
                  <a:ext uri="{FF2B5EF4-FFF2-40B4-BE49-F238E27FC236}">
                    <a16:creationId xmlns:a16="http://schemas.microsoft.com/office/drawing/2014/main" id="{6ED49CA9-B975-40E2-9BCA-E497E479EC51}"/>
                  </a:ext>
                </a:extLst>
              </p:cNvPr>
              <p:cNvSpPr/>
              <p:nvPr/>
            </p:nvSpPr>
            <p:spPr>
              <a:xfrm>
                <a:off x="5647566" y="2292346"/>
                <a:ext cx="474791" cy="131709"/>
              </a:xfrm>
              <a:custGeom>
                <a:avLst/>
                <a:gdLst/>
                <a:ahLst/>
                <a:cxnLst/>
                <a:rect l="l" t="t" r="r" b="b"/>
                <a:pathLst>
                  <a:path w="25991" h="7210" extrusionOk="0">
                    <a:moveTo>
                      <a:pt x="2847" y="1"/>
                    </a:moveTo>
                    <a:lnTo>
                      <a:pt x="0" y="112"/>
                    </a:lnTo>
                    <a:lnTo>
                      <a:pt x="21443" y="7173"/>
                    </a:lnTo>
                    <a:lnTo>
                      <a:pt x="25991" y="7210"/>
                    </a:lnTo>
                    <a:lnTo>
                      <a:pt x="25991" y="7210"/>
                    </a:lnTo>
                    <a:lnTo>
                      <a:pt x="2847"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 name="Google Shape;1135;p53">
                <a:extLst>
                  <a:ext uri="{FF2B5EF4-FFF2-40B4-BE49-F238E27FC236}">
                    <a16:creationId xmlns:a16="http://schemas.microsoft.com/office/drawing/2014/main" id="{844D40A0-1FBF-4DCA-8D31-A372CB8C65AC}"/>
                  </a:ext>
                </a:extLst>
              </p:cNvPr>
              <p:cNvSpPr/>
              <p:nvPr/>
            </p:nvSpPr>
            <p:spPr>
              <a:xfrm>
                <a:off x="5554365" y="2305188"/>
                <a:ext cx="394432" cy="137116"/>
              </a:xfrm>
              <a:custGeom>
                <a:avLst/>
                <a:gdLst/>
                <a:ahLst/>
                <a:cxnLst/>
                <a:rect l="l" t="t" r="r" b="b"/>
                <a:pathLst>
                  <a:path w="21592" h="7506" extrusionOk="0">
                    <a:moveTo>
                      <a:pt x="1775" y="0"/>
                    </a:moveTo>
                    <a:lnTo>
                      <a:pt x="0" y="370"/>
                    </a:lnTo>
                    <a:lnTo>
                      <a:pt x="18412" y="7505"/>
                    </a:lnTo>
                    <a:lnTo>
                      <a:pt x="21591" y="7062"/>
                    </a:lnTo>
                    <a:lnTo>
                      <a:pt x="1775"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 name="Google Shape;1136;p53">
                <a:extLst>
                  <a:ext uri="{FF2B5EF4-FFF2-40B4-BE49-F238E27FC236}">
                    <a16:creationId xmlns:a16="http://schemas.microsoft.com/office/drawing/2014/main" id="{8998A18C-02E3-4410-98A6-1B74754CB512}"/>
                  </a:ext>
                </a:extLst>
              </p:cNvPr>
              <p:cNvSpPr/>
              <p:nvPr/>
            </p:nvSpPr>
            <p:spPr>
              <a:xfrm>
                <a:off x="5297725" y="2267356"/>
                <a:ext cx="447115" cy="73636"/>
              </a:xfrm>
              <a:custGeom>
                <a:avLst/>
                <a:gdLst/>
                <a:ahLst/>
                <a:cxnLst/>
                <a:rect l="l" t="t" r="r" b="b"/>
                <a:pathLst>
                  <a:path w="24476" h="4031" extrusionOk="0">
                    <a:moveTo>
                      <a:pt x="20704" y="1"/>
                    </a:moveTo>
                    <a:lnTo>
                      <a:pt x="1" y="2441"/>
                    </a:lnTo>
                    <a:lnTo>
                      <a:pt x="4437" y="4031"/>
                    </a:lnTo>
                    <a:lnTo>
                      <a:pt x="24475" y="1110"/>
                    </a:lnTo>
                    <a:lnTo>
                      <a:pt x="2070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 name="Google Shape;1137;p53">
                <a:extLst>
                  <a:ext uri="{FF2B5EF4-FFF2-40B4-BE49-F238E27FC236}">
                    <a16:creationId xmlns:a16="http://schemas.microsoft.com/office/drawing/2014/main" id="{B3FF1B14-32D6-42DA-B4CE-1DEC3A99A370}"/>
                  </a:ext>
                </a:extLst>
              </p:cNvPr>
              <p:cNvSpPr/>
              <p:nvPr/>
            </p:nvSpPr>
            <p:spPr>
              <a:xfrm>
                <a:off x="5652297" y="2392982"/>
                <a:ext cx="574074" cy="98626"/>
              </a:xfrm>
              <a:custGeom>
                <a:avLst/>
                <a:gdLst/>
                <a:ahLst/>
                <a:cxnLst/>
                <a:rect l="l" t="t" r="r" b="b"/>
                <a:pathLst>
                  <a:path w="31426" h="5399" extrusionOk="0">
                    <a:moveTo>
                      <a:pt x="24031" y="0"/>
                    </a:moveTo>
                    <a:lnTo>
                      <a:pt x="0" y="3254"/>
                    </a:lnTo>
                    <a:lnTo>
                      <a:pt x="5952" y="5398"/>
                    </a:lnTo>
                    <a:lnTo>
                      <a:pt x="31425" y="1997"/>
                    </a:lnTo>
                    <a:lnTo>
                      <a:pt x="2403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 name="Google Shape;1138;p53">
                <a:extLst>
                  <a:ext uri="{FF2B5EF4-FFF2-40B4-BE49-F238E27FC236}">
                    <a16:creationId xmlns:a16="http://schemas.microsoft.com/office/drawing/2014/main" id="{4600F91F-E21A-45D2-9B00-1B274778C849}"/>
                  </a:ext>
                </a:extLst>
              </p:cNvPr>
              <p:cNvSpPr/>
              <p:nvPr/>
            </p:nvSpPr>
            <p:spPr>
              <a:xfrm>
                <a:off x="7686475" y="2361909"/>
                <a:ext cx="311370" cy="319553"/>
              </a:xfrm>
              <a:custGeom>
                <a:avLst/>
                <a:gdLst/>
                <a:ahLst/>
                <a:cxnLst/>
                <a:rect l="l" t="t" r="r" b="b"/>
                <a:pathLst>
                  <a:path w="17045" h="17493" extrusionOk="0">
                    <a:moveTo>
                      <a:pt x="10398" y="1"/>
                    </a:moveTo>
                    <a:cubicBezTo>
                      <a:pt x="10036" y="1"/>
                      <a:pt x="9675" y="25"/>
                      <a:pt x="9317" y="75"/>
                    </a:cubicBezTo>
                    <a:cubicBezTo>
                      <a:pt x="8837" y="149"/>
                      <a:pt x="8134" y="38"/>
                      <a:pt x="7654" y="259"/>
                    </a:cubicBezTo>
                    <a:cubicBezTo>
                      <a:pt x="7284" y="444"/>
                      <a:pt x="3846" y="444"/>
                      <a:pt x="2219" y="7469"/>
                    </a:cubicBezTo>
                    <a:cubicBezTo>
                      <a:pt x="1960" y="8541"/>
                      <a:pt x="1" y="11018"/>
                      <a:pt x="1443" y="11499"/>
                    </a:cubicBezTo>
                    <a:cubicBezTo>
                      <a:pt x="2367" y="11794"/>
                      <a:pt x="2626" y="11203"/>
                      <a:pt x="2847" y="12460"/>
                    </a:cubicBezTo>
                    <a:cubicBezTo>
                      <a:pt x="2958" y="13199"/>
                      <a:pt x="2958" y="13939"/>
                      <a:pt x="3069" y="14641"/>
                    </a:cubicBezTo>
                    <a:cubicBezTo>
                      <a:pt x="3328" y="15935"/>
                      <a:pt x="3735" y="17044"/>
                      <a:pt x="5140" y="17414"/>
                    </a:cubicBezTo>
                    <a:cubicBezTo>
                      <a:pt x="5330" y="17468"/>
                      <a:pt x="5603" y="17492"/>
                      <a:pt x="5936" y="17492"/>
                    </a:cubicBezTo>
                    <a:cubicBezTo>
                      <a:pt x="8124" y="17492"/>
                      <a:pt x="12902" y="16427"/>
                      <a:pt x="13865" y="15528"/>
                    </a:cubicBezTo>
                    <a:cubicBezTo>
                      <a:pt x="15565" y="13865"/>
                      <a:pt x="15824" y="11683"/>
                      <a:pt x="16342" y="9280"/>
                    </a:cubicBezTo>
                    <a:cubicBezTo>
                      <a:pt x="17044" y="5879"/>
                      <a:pt x="15787" y="1406"/>
                      <a:pt x="12534" y="296"/>
                    </a:cubicBezTo>
                    <a:cubicBezTo>
                      <a:pt x="11844" y="99"/>
                      <a:pt x="11121" y="1"/>
                      <a:pt x="10398" y="1"/>
                    </a:cubicBez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 name="Google Shape;1139;p53">
                <a:extLst>
                  <a:ext uri="{FF2B5EF4-FFF2-40B4-BE49-F238E27FC236}">
                    <a16:creationId xmlns:a16="http://schemas.microsoft.com/office/drawing/2014/main" id="{37CD288F-3FC1-43F1-8310-AB2A4BDF6B4D}"/>
                  </a:ext>
                </a:extLst>
              </p:cNvPr>
              <p:cNvSpPr/>
              <p:nvPr/>
            </p:nvSpPr>
            <p:spPr>
              <a:xfrm>
                <a:off x="7806693" y="2599642"/>
                <a:ext cx="162782" cy="168865"/>
              </a:xfrm>
              <a:custGeom>
                <a:avLst/>
                <a:gdLst/>
                <a:ahLst/>
                <a:cxnLst/>
                <a:rect l="l" t="t" r="r" b="b"/>
                <a:pathLst>
                  <a:path w="8911" h="9244" extrusionOk="0">
                    <a:moveTo>
                      <a:pt x="8134" y="0"/>
                    </a:moveTo>
                    <a:lnTo>
                      <a:pt x="592" y="1960"/>
                    </a:lnTo>
                    <a:lnTo>
                      <a:pt x="0" y="9243"/>
                    </a:lnTo>
                    <a:cubicBezTo>
                      <a:pt x="0" y="9243"/>
                      <a:pt x="3919" y="9243"/>
                      <a:pt x="6101" y="8651"/>
                    </a:cubicBezTo>
                    <a:cubicBezTo>
                      <a:pt x="6988" y="8393"/>
                      <a:pt x="7949" y="8208"/>
                      <a:pt x="8910" y="8097"/>
                    </a:cubicBezTo>
                    <a:cubicBezTo>
                      <a:pt x="8467" y="6618"/>
                      <a:pt x="8208" y="5065"/>
                      <a:pt x="8097" y="3513"/>
                    </a:cubicBezTo>
                    <a:cubicBezTo>
                      <a:pt x="7986" y="2329"/>
                      <a:pt x="8023" y="1146"/>
                      <a:pt x="8134" y="0"/>
                    </a:cubicBez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 name="Google Shape;1140;p53">
                <a:extLst>
                  <a:ext uri="{FF2B5EF4-FFF2-40B4-BE49-F238E27FC236}">
                    <a16:creationId xmlns:a16="http://schemas.microsoft.com/office/drawing/2014/main" id="{E883B136-E27D-451A-8E50-6A33DA59B243}"/>
                  </a:ext>
                </a:extLst>
              </p:cNvPr>
              <p:cNvSpPr/>
              <p:nvPr/>
            </p:nvSpPr>
            <p:spPr>
              <a:xfrm>
                <a:off x="7747945" y="2342746"/>
                <a:ext cx="372127" cy="382394"/>
              </a:xfrm>
              <a:custGeom>
                <a:avLst/>
                <a:gdLst/>
                <a:ahLst/>
                <a:cxnLst/>
                <a:rect l="l" t="t" r="r" b="b"/>
                <a:pathLst>
                  <a:path w="20371" h="20933" extrusionOk="0">
                    <a:moveTo>
                      <a:pt x="6658" y="0"/>
                    </a:moveTo>
                    <a:cubicBezTo>
                      <a:pt x="6287" y="0"/>
                      <a:pt x="5926" y="39"/>
                      <a:pt x="5583" y="125"/>
                    </a:cubicBezTo>
                    <a:cubicBezTo>
                      <a:pt x="4584" y="347"/>
                      <a:pt x="3512" y="495"/>
                      <a:pt x="2662" y="1050"/>
                    </a:cubicBezTo>
                    <a:cubicBezTo>
                      <a:pt x="1959" y="1493"/>
                      <a:pt x="1294" y="2307"/>
                      <a:pt x="592" y="2639"/>
                    </a:cubicBezTo>
                    <a:lnTo>
                      <a:pt x="629" y="2676"/>
                    </a:lnTo>
                    <a:cubicBezTo>
                      <a:pt x="185" y="3083"/>
                      <a:pt x="0" y="3712"/>
                      <a:pt x="222" y="4303"/>
                    </a:cubicBezTo>
                    <a:cubicBezTo>
                      <a:pt x="592" y="5006"/>
                      <a:pt x="1220" y="4821"/>
                      <a:pt x="1812" y="5042"/>
                    </a:cubicBezTo>
                    <a:cubicBezTo>
                      <a:pt x="3032" y="5486"/>
                      <a:pt x="2625" y="7113"/>
                      <a:pt x="3401" y="8074"/>
                    </a:cubicBezTo>
                    <a:cubicBezTo>
                      <a:pt x="4252" y="9109"/>
                      <a:pt x="5804" y="9146"/>
                      <a:pt x="4880" y="10810"/>
                    </a:cubicBezTo>
                    <a:cubicBezTo>
                      <a:pt x="4178" y="12030"/>
                      <a:pt x="3882" y="13398"/>
                      <a:pt x="4954" y="14507"/>
                    </a:cubicBezTo>
                    <a:cubicBezTo>
                      <a:pt x="6359" y="15986"/>
                      <a:pt x="4732" y="17206"/>
                      <a:pt x="5102" y="18943"/>
                    </a:cubicBezTo>
                    <a:cubicBezTo>
                      <a:pt x="5250" y="19794"/>
                      <a:pt x="5841" y="20459"/>
                      <a:pt x="6655" y="20792"/>
                    </a:cubicBezTo>
                    <a:cubicBezTo>
                      <a:pt x="6901" y="20891"/>
                      <a:pt x="7086" y="20932"/>
                      <a:pt x="7249" y="20932"/>
                    </a:cubicBezTo>
                    <a:cubicBezTo>
                      <a:pt x="7575" y="20932"/>
                      <a:pt x="7813" y="20767"/>
                      <a:pt x="8281" y="20570"/>
                    </a:cubicBezTo>
                    <a:cubicBezTo>
                      <a:pt x="8578" y="20433"/>
                      <a:pt x="8873" y="20380"/>
                      <a:pt x="9169" y="20380"/>
                    </a:cubicBezTo>
                    <a:cubicBezTo>
                      <a:pt x="10130" y="20380"/>
                      <a:pt x="11102" y="20932"/>
                      <a:pt x="12170" y="20932"/>
                    </a:cubicBezTo>
                    <a:cubicBezTo>
                      <a:pt x="12456" y="20932"/>
                      <a:pt x="12749" y="20893"/>
                      <a:pt x="13051" y="20792"/>
                    </a:cubicBezTo>
                    <a:cubicBezTo>
                      <a:pt x="14234" y="20348"/>
                      <a:pt x="14677" y="19609"/>
                      <a:pt x="15417" y="18685"/>
                    </a:cubicBezTo>
                    <a:cubicBezTo>
                      <a:pt x="16082" y="17871"/>
                      <a:pt x="16970" y="17908"/>
                      <a:pt x="17894" y="17539"/>
                    </a:cubicBezTo>
                    <a:cubicBezTo>
                      <a:pt x="18818" y="17206"/>
                      <a:pt x="19558" y="16540"/>
                      <a:pt x="19964" y="15616"/>
                    </a:cubicBezTo>
                    <a:cubicBezTo>
                      <a:pt x="20371" y="14618"/>
                      <a:pt x="19816" y="14470"/>
                      <a:pt x="19594" y="13657"/>
                    </a:cubicBezTo>
                    <a:cubicBezTo>
                      <a:pt x="19410" y="12843"/>
                      <a:pt x="20371" y="12104"/>
                      <a:pt x="20149" y="11143"/>
                    </a:cubicBezTo>
                    <a:cubicBezTo>
                      <a:pt x="19927" y="10144"/>
                      <a:pt x="18892" y="9368"/>
                      <a:pt x="18116" y="8850"/>
                    </a:cubicBezTo>
                    <a:cubicBezTo>
                      <a:pt x="16711" y="7778"/>
                      <a:pt x="15565" y="6410"/>
                      <a:pt x="14751" y="4821"/>
                    </a:cubicBezTo>
                    <a:cubicBezTo>
                      <a:pt x="14123" y="3675"/>
                      <a:pt x="13199" y="2676"/>
                      <a:pt x="12052" y="1974"/>
                    </a:cubicBezTo>
                    <a:cubicBezTo>
                      <a:pt x="10634" y="987"/>
                      <a:pt x="8521" y="0"/>
                      <a:pt x="6658"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 name="Google Shape;1141;p53">
                <a:extLst>
                  <a:ext uri="{FF2B5EF4-FFF2-40B4-BE49-F238E27FC236}">
                    <a16:creationId xmlns:a16="http://schemas.microsoft.com/office/drawing/2014/main" id="{2923A32B-325E-43A9-9C54-C44B07BCDEE8}"/>
                  </a:ext>
                </a:extLst>
              </p:cNvPr>
              <p:cNvSpPr/>
              <p:nvPr/>
            </p:nvSpPr>
            <p:spPr>
              <a:xfrm>
                <a:off x="7779676" y="2480775"/>
                <a:ext cx="146578" cy="125772"/>
              </a:xfrm>
              <a:custGeom>
                <a:avLst/>
                <a:gdLst/>
                <a:ahLst/>
                <a:cxnLst/>
                <a:rect l="l" t="t" r="r" b="b"/>
                <a:pathLst>
                  <a:path w="8024" h="6885" extrusionOk="0">
                    <a:moveTo>
                      <a:pt x="4548" y="0"/>
                    </a:moveTo>
                    <a:cubicBezTo>
                      <a:pt x="1553" y="0"/>
                      <a:pt x="1" y="3624"/>
                      <a:pt x="2071" y="5805"/>
                    </a:cubicBezTo>
                    <a:cubicBezTo>
                      <a:pt x="2777" y="6549"/>
                      <a:pt x="3669" y="6884"/>
                      <a:pt x="4544" y="6884"/>
                    </a:cubicBezTo>
                    <a:cubicBezTo>
                      <a:pt x="6234" y="6884"/>
                      <a:pt x="7865" y="5634"/>
                      <a:pt x="7986" y="3661"/>
                    </a:cubicBezTo>
                    <a:cubicBezTo>
                      <a:pt x="8023" y="1701"/>
                      <a:pt x="6507" y="74"/>
                      <a:pt x="454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 name="Google Shape;1142;p53">
                <a:extLst>
                  <a:ext uri="{FF2B5EF4-FFF2-40B4-BE49-F238E27FC236}">
                    <a16:creationId xmlns:a16="http://schemas.microsoft.com/office/drawing/2014/main" id="{64C6A152-A57B-4F6A-AFAF-A6A1BEF6C9C0}"/>
                  </a:ext>
                </a:extLst>
              </p:cNvPr>
              <p:cNvSpPr/>
              <p:nvPr/>
            </p:nvSpPr>
            <p:spPr>
              <a:xfrm>
                <a:off x="7816832" y="2482803"/>
                <a:ext cx="108071" cy="129005"/>
              </a:xfrm>
              <a:custGeom>
                <a:avLst/>
                <a:gdLst/>
                <a:ahLst/>
                <a:cxnLst/>
                <a:rect l="l" t="t" r="r" b="b"/>
                <a:pathLst>
                  <a:path w="5916" h="7062" extrusionOk="0">
                    <a:moveTo>
                      <a:pt x="3512" y="0"/>
                    </a:moveTo>
                    <a:lnTo>
                      <a:pt x="3512" y="0"/>
                    </a:lnTo>
                    <a:cubicBezTo>
                      <a:pt x="4141" y="666"/>
                      <a:pt x="4473" y="1590"/>
                      <a:pt x="4473" y="2514"/>
                    </a:cubicBezTo>
                    <a:cubicBezTo>
                      <a:pt x="4547" y="4474"/>
                      <a:pt x="2995" y="6101"/>
                      <a:pt x="1072" y="6138"/>
                    </a:cubicBezTo>
                    <a:cubicBezTo>
                      <a:pt x="702" y="6138"/>
                      <a:pt x="333" y="6101"/>
                      <a:pt x="0" y="5990"/>
                    </a:cubicBezTo>
                    <a:lnTo>
                      <a:pt x="0" y="5990"/>
                    </a:lnTo>
                    <a:cubicBezTo>
                      <a:pt x="629" y="6655"/>
                      <a:pt x="1516" y="7062"/>
                      <a:pt x="2440" y="7062"/>
                    </a:cubicBezTo>
                    <a:cubicBezTo>
                      <a:pt x="4400" y="7025"/>
                      <a:pt x="5915" y="5398"/>
                      <a:pt x="5878" y="3439"/>
                    </a:cubicBezTo>
                    <a:cubicBezTo>
                      <a:pt x="5915" y="1923"/>
                      <a:pt x="4954" y="518"/>
                      <a:pt x="351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 name="Google Shape;1143;p53">
                <a:extLst>
                  <a:ext uri="{FF2B5EF4-FFF2-40B4-BE49-F238E27FC236}">
                    <a16:creationId xmlns:a16="http://schemas.microsoft.com/office/drawing/2014/main" id="{24C4A16E-EA50-4EDE-960D-ECC950D81F84}"/>
                  </a:ext>
                </a:extLst>
              </p:cNvPr>
              <p:cNvSpPr/>
              <p:nvPr/>
            </p:nvSpPr>
            <p:spPr>
              <a:xfrm>
                <a:off x="7820869" y="2518589"/>
                <a:ext cx="49322" cy="42417"/>
              </a:xfrm>
              <a:custGeom>
                <a:avLst/>
                <a:gdLst/>
                <a:ahLst/>
                <a:cxnLst/>
                <a:rect l="l" t="t" r="r" b="b"/>
                <a:pathLst>
                  <a:path w="2700" h="2322" extrusionOk="0">
                    <a:moveTo>
                      <a:pt x="1554" y="1"/>
                    </a:moveTo>
                    <a:cubicBezTo>
                      <a:pt x="518" y="1"/>
                      <a:pt x="1" y="1258"/>
                      <a:pt x="740" y="1997"/>
                    </a:cubicBezTo>
                    <a:cubicBezTo>
                      <a:pt x="976" y="2221"/>
                      <a:pt x="1260" y="2321"/>
                      <a:pt x="1538" y="2321"/>
                    </a:cubicBezTo>
                    <a:cubicBezTo>
                      <a:pt x="2133" y="2321"/>
                      <a:pt x="2700" y="1864"/>
                      <a:pt x="2700" y="1184"/>
                    </a:cubicBezTo>
                    <a:cubicBezTo>
                      <a:pt x="2700" y="518"/>
                      <a:pt x="2182" y="1"/>
                      <a:pt x="1554"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 name="Google Shape;1144;p53">
                <a:extLst>
                  <a:ext uri="{FF2B5EF4-FFF2-40B4-BE49-F238E27FC236}">
                    <a16:creationId xmlns:a16="http://schemas.microsoft.com/office/drawing/2014/main" id="{C9BB3B98-A16F-4E8F-9760-5619C9B4827C}"/>
                  </a:ext>
                </a:extLst>
              </p:cNvPr>
              <p:cNvSpPr/>
              <p:nvPr/>
            </p:nvSpPr>
            <p:spPr>
              <a:xfrm>
                <a:off x="7787111" y="2343002"/>
                <a:ext cx="83081" cy="143875"/>
              </a:xfrm>
              <a:custGeom>
                <a:avLst/>
                <a:gdLst/>
                <a:ahLst/>
                <a:cxnLst/>
                <a:rect l="l" t="t" r="r" b="b"/>
                <a:pathLst>
                  <a:path w="4548" h="7876" extrusionOk="0">
                    <a:moveTo>
                      <a:pt x="4548" y="0"/>
                    </a:moveTo>
                    <a:cubicBezTo>
                      <a:pt x="3586" y="111"/>
                      <a:pt x="2625" y="296"/>
                      <a:pt x="1701" y="555"/>
                    </a:cubicBezTo>
                    <a:cubicBezTo>
                      <a:pt x="0" y="962"/>
                      <a:pt x="296" y="1664"/>
                      <a:pt x="296" y="1664"/>
                    </a:cubicBezTo>
                    <a:lnTo>
                      <a:pt x="2773" y="7875"/>
                    </a:lnTo>
                    <a:lnTo>
                      <a:pt x="4548" y="7653"/>
                    </a:lnTo>
                    <a:lnTo>
                      <a:pt x="4548"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 name="Google Shape;1145;p53">
                <a:extLst>
                  <a:ext uri="{FF2B5EF4-FFF2-40B4-BE49-F238E27FC236}">
                    <a16:creationId xmlns:a16="http://schemas.microsoft.com/office/drawing/2014/main" id="{EA9E08A2-B63F-434C-B20F-8EC732425FF2}"/>
                  </a:ext>
                </a:extLst>
              </p:cNvPr>
              <p:cNvSpPr/>
              <p:nvPr/>
            </p:nvSpPr>
            <p:spPr>
              <a:xfrm>
                <a:off x="7013811" y="2929900"/>
                <a:ext cx="183040" cy="183716"/>
              </a:xfrm>
              <a:custGeom>
                <a:avLst/>
                <a:gdLst/>
                <a:ahLst/>
                <a:cxnLst/>
                <a:rect l="l" t="t" r="r" b="b"/>
                <a:pathLst>
                  <a:path w="10020" h="10057" extrusionOk="0">
                    <a:moveTo>
                      <a:pt x="2478" y="0"/>
                    </a:moveTo>
                    <a:lnTo>
                      <a:pt x="2478" y="0"/>
                    </a:lnTo>
                    <a:cubicBezTo>
                      <a:pt x="1923" y="1146"/>
                      <a:pt x="3439" y="2144"/>
                      <a:pt x="3772" y="3106"/>
                    </a:cubicBezTo>
                    <a:cubicBezTo>
                      <a:pt x="3414" y="2780"/>
                      <a:pt x="1882" y="766"/>
                      <a:pt x="1218" y="766"/>
                    </a:cubicBezTo>
                    <a:cubicBezTo>
                      <a:pt x="1127" y="766"/>
                      <a:pt x="1052" y="803"/>
                      <a:pt x="999" y="887"/>
                    </a:cubicBezTo>
                    <a:cubicBezTo>
                      <a:pt x="666" y="1442"/>
                      <a:pt x="2478" y="3364"/>
                      <a:pt x="2700" y="3808"/>
                    </a:cubicBezTo>
                    <a:cubicBezTo>
                      <a:pt x="1886" y="2995"/>
                      <a:pt x="1480" y="1701"/>
                      <a:pt x="223" y="1442"/>
                    </a:cubicBezTo>
                    <a:lnTo>
                      <a:pt x="223" y="1442"/>
                    </a:lnTo>
                    <a:cubicBezTo>
                      <a:pt x="1" y="2588"/>
                      <a:pt x="1886" y="4510"/>
                      <a:pt x="2663" y="5213"/>
                    </a:cubicBezTo>
                    <a:cubicBezTo>
                      <a:pt x="2219" y="4880"/>
                      <a:pt x="1480" y="4547"/>
                      <a:pt x="1295" y="4363"/>
                    </a:cubicBezTo>
                    <a:cubicBezTo>
                      <a:pt x="1114" y="4155"/>
                      <a:pt x="860" y="3912"/>
                      <a:pt x="686" y="3912"/>
                    </a:cubicBezTo>
                    <a:cubicBezTo>
                      <a:pt x="611" y="3912"/>
                      <a:pt x="552" y="3956"/>
                      <a:pt x="519" y="4067"/>
                    </a:cubicBezTo>
                    <a:cubicBezTo>
                      <a:pt x="186" y="5028"/>
                      <a:pt x="2663" y="6803"/>
                      <a:pt x="3550" y="7394"/>
                    </a:cubicBezTo>
                    <a:cubicBezTo>
                      <a:pt x="5140" y="8503"/>
                      <a:pt x="6212" y="9391"/>
                      <a:pt x="7617" y="10056"/>
                    </a:cubicBezTo>
                    <a:lnTo>
                      <a:pt x="7358" y="9908"/>
                    </a:lnTo>
                    <a:cubicBezTo>
                      <a:pt x="7839" y="9575"/>
                      <a:pt x="8319" y="9206"/>
                      <a:pt x="8763" y="8836"/>
                    </a:cubicBezTo>
                    <a:cubicBezTo>
                      <a:pt x="9244" y="8318"/>
                      <a:pt x="9650" y="7764"/>
                      <a:pt x="10020" y="7135"/>
                    </a:cubicBezTo>
                    <a:cubicBezTo>
                      <a:pt x="9170" y="6026"/>
                      <a:pt x="8024" y="4991"/>
                      <a:pt x="7469" y="3697"/>
                    </a:cubicBezTo>
                    <a:cubicBezTo>
                      <a:pt x="7284" y="3216"/>
                      <a:pt x="7136" y="1738"/>
                      <a:pt x="6582" y="1516"/>
                    </a:cubicBezTo>
                    <a:cubicBezTo>
                      <a:pt x="6517" y="1494"/>
                      <a:pt x="6460" y="1484"/>
                      <a:pt x="6408" y="1484"/>
                    </a:cubicBezTo>
                    <a:cubicBezTo>
                      <a:pt x="5840" y="1484"/>
                      <a:pt x="6024" y="2702"/>
                      <a:pt x="5990" y="3143"/>
                    </a:cubicBezTo>
                    <a:cubicBezTo>
                      <a:pt x="4622" y="3143"/>
                      <a:pt x="3809" y="444"/>
                      <a:pt x="2478" y="0"/>
                    </a:cubicBez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 name="Google Shape;1146;p53">
                <a:extLst>
                  <a:ext uri="{FF2B5EF4-FFF2-40B4-BE49-F238E27FC236}">
                    <a16:creationId xmlns:a16="http://schemas.microsoft.com/office/drawing/2014/main" id="{21545725-3B41-4642-9D9B-2E2D7D8B1CA3}"/>
                  </a:ext>
                </a:extLst>
              </p:cNvPr>
              <p:cNvSpPr/>
              <p:nvPr/>
            </p:nvSpPr>
            <p:spPr>
              <a:xfrm>
                <a:off x="7118502" y="3896836"/>
                <a:ext cx="289741" cy="170217"/>
              </a:xfrm>
              <a:custGeom>
                <a:avLst/>
                <a:gdLst/>
                <a:ahLst/>
                <a:cxnLst/>
                <a:rect l="l" t="t" r="r" b="b"/>
                <a:pathLst>
                  <a:path w="15861" h="9318" extrusionOk="0">
                    <a:moveTo>
                      <a:pt x="10642" y="0"/>
                    </a:moveTo>
                    <a:cubicBezTo>
                      <a:pt x="10570" y="0"/>
                      <a:pt x="10498" y="4"/>
                      <a:pt x="10426" y="10"/>
                    </a:cubicBezTo>
                    <a:cubicBezTo>
                      <a:pt x="9798" y="84"/>
                      <a:pt x="9280" y="602"/>
                      <a:pt x="8799" y="1045"/>
                    </a:cubicBezTo>
                    <a:cubicBezTo>
                      <a:pt x="6581" y="3005"/>
                      <a:pt x="3661" y="3855"/>
                      <a:pt x="1147" y="5371"/>
                    </a:cubicBezTo>
                    <a:cubicBezTo>
                      <a:pt x="888" y="5482"/>
                      <a:pt x="666" y="5667"/>
                      <a:pt x="481" y="5888"/>
                    </a:cubicBezTo>
                    <a:cubicBezTo>
                      <a:pt x="0" y="6554"/>
                      <a:pt x="259" y="7552"/>
                      <a:pt x="814" y="8144"/>
                    </a:cubicBezTo>
                    <a:cubicBezTo>
                      <a:pt x="1600" y="8995"/>
                      <a:pt x="2720" y="9318"/>
                      <a:pt x="3895" y="9318"/>
                    </a:cubicBezTo>
                    <a:cubicBezTo>
                      <a:pt x="4709" y="9318"/>
                      <a:pt x="5550" y="9162"/>
                      <a:pt x="6322" y="8920"/>
                    </a:cubicBezTo>
                    <a:cubicBezTo>
                      <a:pt x="8103" y="8396"/>
                      <a:pt x="9883" y="7543"/>
                      <a:pt x="11726" y="7543"/>
                    </a:cubicBezTo>
                    <a:cubicBezTo>
                      <a:pt x="11835" y="7543"/>
                      <a:pt x="11944" y="7546"/>
                      <a:pt x="12053" y="7552"/>
                    </a:cubicBezTo>
                    <a:cubicBezTo>
                      <a:pt x="12334" y="7595"/>
                      <a:pt x="12616" y="7613"/>
                      <a:pt x="12897" y="7613"/>
                    </a:cubicBezTo>
                    <a:cubicBezTo>
                      <a:pt x="13097" y="7613"/>
                      <a:pt x="13296" y="7604"/>
                      <a:pt x="13495" y="7589"/>
                    </a:cubicBezTo>
                    <a:cubicBezTo>
                      <a:pt x="14715" y="7330"/>
                      <a:pt x="15380" y="5962"/>
                      <a:pt x="15602" y="4705"/>
                    </a:cubicBezTo>
                    <a:cubicBezTo>
                      <a:pt x="15861" y="3264"/>
                      <a:pt x="15824" y="1785"/>
                      <a:pt x="15417" y="343"/>
                    </a:cubicBezTo>
                    <a:cubicBezTo>
                      <a:pt x="14934" y="428"/>
                      <a:pt x="14451" y="470"/>
                      <a:pt x="13968" y="470"/>
                    </a:cubicBezTo>
                    <a:cubicBezTo>
                      <a:pt x="13194" y="470"/>
                      <a:pt x="12420" y="363"/>
                      <a:pt x="11646" y="158"/>
                    </a:cubicBezTo>
                    <a:cubicBezTo>
                      <a:pt x="11312" y="67"/>
                      <a:pt x="10977" y="0"/>
                      <a:pt x="10642"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 name="Google Shape;1147;p53">
                <a:extLst>
                  <a:ext uri="{FF2B5EF4-FFF2-40B4-BE49-F238E27FC236}">
                    <a16:creationId xmlns:a16="http://schemas.microsoft.com/office/drawing/2014/main" id="{71C8ED73-A5B7-4D67-A1B6-C2418202A8F2}"/>
                  </a:ext>
                </a:extLst>
              </p:cNvPr>
              <p:cNvSpPr/>
              <p:nvPr/>
            </p:nvSpPr>
            <p:spPr>
              <a:xfrm>
                <a:off x="7189416" y="3280362"/>
                <a:ext cx="563936" cy="699737"/>
              </a:xfrm>
              <a:custGeom>
                <a:avLst/>
                <a:gdLst/>
                <a:ahLst/>
                <a:cxnLst/>
                <a:rect l="l" t="t" r="r" b="b"/>
                <a:pathLst>
                  <a:path w="30871" h="38305" extrusionOk="0">
                    <a:moveTo>
                      <a:pt x="9224" y="0"/>
                    </a:moveTo>
                    <a:cubicBezTo>
                      <a:pt x="9144" y="0"/>
                      <a:pt x="9064" y="1"/>
                      <a:pt x="8984" y="3"/>
                    </a:cubicBezTo>
                    <a:cubicBezTo>
                      <a:pt x="1664" y="77"/>
                      <a:pt x="0" y="8950"/>
                      <a:pt x="481" y="14643"/>
                    </a:cubicBezTo>
                    <a:cubicBezTo>
                      <a:pt x="703" y="17416"/>
                      <a:pt x="1368" y="20189"/>
                      <a:pt x="1627" y="22962"/>
                    </a:cubicBezTo>
                    <a:cubicBezTo>
                      <a:pt x="1886" y="25771"/>
                      <a:pt x="1923" y="31428"/>
                      <a:pt x="2366" y="34164"/>
                    </a:cubicBezTo>
                    <a:cubicBezTo>
                      <a:pt x="2847" y="36937"/>
                      <a:pt x="10537" y="38046"/>
                      <a:pt x="13088" y="38304"/>
                    </a:cubicBezTo>
                    <a:cubicBezTo>
                      <a:pt x="14530" y="30319"/>
                      <a:pt x="13421" y="20374"/>
                      <a:pt x="13679" y="12425"/>
                    </a:cubicBezTo>
                    <a:lnTo>
                      <a:pt x="13679" y="12425"/>
                    </a:lnTo>
                    <a:cubicBezTo>
                      <a:pt x="17559" y="12523"/>
                      <a:pt x="21928" y="16071"/>
                      <a:pt x="26076" y="16071"/>
                    </a:cubicBezTo>
                    <a:cubicBezTo>
                      <a:pt x="26631" y="16071"/>
                      <a:pt x="27182" y="16007"/>
                      <a:pt x="27728" y="15863"/>
                    </a:cubicBezTo>
                    <a:cubicBezTo>
                      <a:pt x="30871" y="15013"/>
                      <a:pt x="30723" y="8173"/>
                      <a:pt x="29688" y="5918"/>
                    </a:cubicBezTo>
                    <a:lnTo>
                      <a:pt x="29688" y="5918"/>
                    </a:lnTo>
                    <a:cubicBezTo>
                      <a:pt x="29688" y="5918"/>
                      <a:pt x="29687" y="5918"/>
                      <a:pt x="29687" y="5918"/>
                    </a:cubicBezTo>
                    <a:cubicBezTo>
                      <a:pt x="29605" y="5918"/>
                      <a:pt x="22788" y="2919"/>
                      <a:pt x="18966" y="2110"/>
                    </a:cubicBezTo>
                    <a:cubicBezTo>
                      <a:pt x="15900" y="1425"/>
                      <a:pt x="12446" y="0"/>
                      <a:pt x="9224"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 name="Google Shape;1148;p53">
                <a:extLst>
                  <a:ext uri="{FF2B5EF4-FFF2-40B4-BE49-F238E27FC236}">
                    <a16:creationId xmlns:a16="http://schemas.microsoft.com/office/drawing/2014/main" id="{CC206E36-757D-468C-839A-F1EA9B136E15}"/>
                  </a:ext>
                </a:extLst>
              </p:cNvPr>
              <p:cNvSpPr/>
              <p:nvPr/>
            </p:nvSpPr>
            <p:spPr>
              <a:xfrm>
                <a:off x="6690330" y="4283321"/>
                <a:ext cx="314731" cy="276132"/>
              </a:xfrm>
              <a:custGeom>
                <a:avLst/>
                <a:gdLst/>
                <a:ahLst/>
                <a:cxnLst/>
                <a:rect l="l" t="t" r="r" b="b"/>
                <a:pathLst>
                  <a:path w="17229" h="15116" extrusionOk="0">
                    <a:moveTo>
                      <a:pt x="15084" y="0"/>
                    </a:moveTo>
                    <a:cubicBezTo>
                      <a:pt x="13753" y="740"/>
                      <a:pt x="12237" y="1183"/>
                      <a:pt x="10722" y="1294"/>
                    </a:cubicBezTo>
                    <a:cubicBezTo>
                      <a:pt x="10241" y="1294"/>
                      <a:pt x="9723" y="1405"/>
                      <a:pt x="9280" y="1590"/>
                    </a:cubicBezTo>
                    <a:cubicBezTo>
                      <a:pt x="8577" y="1960"/>
                      <a:pt x="8208" y="2736"/>
                      <a:pt x="7838" y="3439"/>
                    </a:cubicBezTo>
                    <a:cubicBezTo>
                      <a:pt x="6100" y="6507"/>
                      <a:pt x="3106" y="8651"/>
                      <a:pt x="850" y="11350"/>
                    </a:cubicBezTo>
                    <a:cubicBezTo>
                      <a:pt x="629" y="11609"/>
                      <a:pt x="444" y="11905"/>
                      <a:pt x="296" y="12238"/>
                    </a:cubicBezTo>
                    <a:cubicBezTo>
                      <a:pt x="0" y="13162"/>
                      <a:pt x="739" y="14160"/>
                      <a:pt x="1553" y="14641"/>
                    </a:cubicBezTo>
                    <a:cubicBezTo>
                      <a:pt x="2184" y="14973"/>
                      <a:pt x="2854" y="15116"/>
                      <a:pt x="3535" y="15116"/>
                    </a:cubicBezTo>
                    <a:cubicBezTo>
                      <a:pt x="5131" y="15116"/>
                      <a:pt x="6787" y="14331"/>
                      <a:pt x="8134" y="13347"/>
                    </a:cubicBezTo>
                    <a:cubicBezTo>
                      <a:pt x="10056" y="11979"/>
                      <a:pt x="11831" y="10167"/>
                      <a:pt x="14086" y="9539"/>
                    </a:cubicBezTo>
                    <a:cubicBezTo>
                      <a:pt x="14640" y="9428"/>
                      <a:pt x="15195" y="9243"/>
                      <a:pt x="15750" y="8984"/>
                    </a:cubicBezTo>
                    <a:cubicBezTo>
                      <a:pt x="17007" y="8245"/>
                      <a:pt x="17228" y="6396"/>
                      <a:pt x="17007" y="4917"/>
                    </a:cubicBezTo>
                    <a:cubicBezTo>
                      <a:pt x="16711" y="3143"/>
                      <a:pt x="16082" y="1516"/>
                      <a:pt x="15084" y="37"/>
                    </a:cubicBezTo>
                    <a:lnTo>
                      <a:pt x="15084"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 name="Google Shape;1149;p53">
                <a:extLst>
                  <a:ext uri="{FF2B5EF4-FFF2-40B4-BE49-F238E27FC236}">
                    <a16:creationId xmlns:a16="http://schemas.microsoft.com/office/drawing/2014/main" id="{BDBA7D82-5A7B-445F-875E-7841A512C812}"/>
                  </a:ext>
                </a:extLst>
              </p:cNvPr>
              <p:cNvSpPr/>
              <p:nvPr/>
            </p:nvSpPr>
            <p:spPr>
              <a:xfrm>
                <a:off x="6822696" y="3428804"/>
                <a:ext cx="1142723" cy="941653"/>
              </a:xfrm>
              <a:custGeom>
                <a:avLst/>
                <a:gdLst/>
                <a:ahLst/>
                <a:cxnLst/>
                <a:rect l="l" t="t" r="r" b="b"/>
                <a:pathLst>
                  <a:path w="62555" h="51548" extrusionOk="0">
                    <a:moveTo>
                      <a:pt x="52155" y="1"/>
                    </a:moveTo>
                    <a:cubicBezTo>
                      <a:pt x="47722" y="1"/>
                      <a:pt x="23759" y="1452"/>
                      <a:pt x="20334" y="2229"/>
                    </a:cubicBezTo>
                    <a:cubicBezTo>
                      <a:pt x="16193" y="3153"/>
                      <a:pt x="13716" y="8883"/>
                      <a:pt x="11942" y="12617"/>
                    </a:cubicBezTo>
                    <a:cubicBezTo>
                      <a:pt x="7986" y="20825"/>
                      <a:pt x="7653" y="24929"/>
                      <a:pt x="4252" y="35465"/>
                    </a:cubicBezTo>
                    <a:cubicBezTo>
                      <a:pt x="3180" y="38793"/>
                      <a:pt x="0" y="47850"/>
                      <a:pt x="111" y="48997"/>
                    </a:cubicBezTo>
                    <a:cubicBezTo>
                      <a:pt x="185" y="50549"/>
                      <a:pt x="9871" y="50734"/>
                      <a:pt x="11276" y="51548"/>
                    </a:cubicBezTo>
                    <a:cubicBezTo>
                      <a:pt x="13532" y="49366"/>
                      <a:pt x="22404" y="23191"/>
                      <a:pt x="24031" y="20381"/>
                    </a:cubicBezTo>
                    <a:cubicBezTo>
                      <a:pt x="24695" y="19211"/>
                      <a:pt x="26219" y="18866"/>
                      <a:pt x="27965" y="18866"/>
                    </a:cubicBezTo>
                    <a:cubicBezTo>
                      <a:pt x="30300" y="18866"/>
                      <a:pt x="33034" y="19483"/>
                      <a:pt x="34642" y="19568"/>
                    </a:cubicBezTo>
                    <a:cubicBezTo>
                      <a:pt x="40519" y="19889"/>
                      <a:pt x="46173" y="21940"/>
                      <a:pt x="52112" y="21940"/>
                    </a:cubicBezTo>
                    <a:cubicBezTo>
                      <a:pt x="53010" y="21940"/>
                      <a:pt x="53915" y="21893"/>
                      <a:pt x="54828" y="21786"/>
                    </a:cubicBezTo>
                    <a:cubicBezTo>
                      <a:pt x="62555" y="20862"/>
                      <a:pt x="60965" y="9992"/>
                      <a:pt x="58562" y="4964"/>
                    </a:cubicBezTo>
                    <a:lnTo>
                      <a:pt x="52646" y="10"/>
                    </a:lnTo>
                    <a:cubicBezTo>
                      <a:pt x="52529" y="4"/>
                      <a:pt x="52363" y="1"/>
                      <a:pt x="52155"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 name="Google Shape;1150;p53">
                <a:extLst>
                  <a:ext uri="{FF2B5EF4-FFF2-40B4-BE49-F238E27FC236}">
                    <a16:creationId xmlns:a16="http://schemas.microsoft.com/office/drawing/2014/main" id="{FC833AAE-C1A9-43F2-96AA-E04D120ED9CE}"/>
                  </a:ext>
                </a:extLst>
              </p:cNvPr>
              <p:cNvSpPr/>
              <p:nvPr/>
            </p:nvSpPr>
            <p:spPr>
              <a:xfrm>
                <a:off x="6942915" y="3448569"/>
                <a:ext cx="1021829" cy="922564"/>
              </a:xfrm>
              <a:custGeom>
                <a:avLst/>
                <a:gdLst/>
                <a:ahLst/>
                <a:cxnLst/>
                <a:rect l="l" t="t" r="r" b="b"/>
                <a:pathLst>
                  <a:path w="55937" h="50503" extrusionOk="0">
                    <a:moveTo>
                      <a:pt x="35122" y="1"/>
                    </a:moveTo>
                    <a:cubicBezTo>
                      <a:pt x="35936" y="1110"/>
                      <a:pt x="33865" y="3698"/>
                      <a:pt x="34568" y="4881"/>
                    </a:cubicBezTo>
                    <a:cubicBezTo>
                      <a:pt x="35307" y="6175"/>
                      <a:pt x="36194" y="7949"/>
                      <a:pt x="35640" y="9502"/>
                    </a:cubicBezTo>
                    <a:cubicBezTo>
                      <a:pt x="34974" y="11277"/>
                      <a:pt x="32978" y="12164"/>
                      <a:pt x="31203" y="12386"/>
                    </a:cubicBezTo>
                    <a:cubicBezTo>
                      <a:pt x="30912" y="12424"/>
                      <a:pt x="30618" y="12441"/>
                      <a:pt x="30324" y="12441"/>
                    </a:cubicBezTo>
                    <a:cubicBezTo>
                      <a:pt x="28606" y="12441"/>
                      <a:pt x="26861" y="11850"/>
                      <a:pt x="25251" y="11314"/>
                    </a:cubicBezTo>
                    <a:cubicBezTo>
                      <a:pt x="23385" y="10657"/>
                      <a:pt x="21357" y="9710"/>
                      <a:pt x="19319" y="9710"/>
                    </a:cubicBezTo>
                    <a:cubicBezTo>
                      <a:pt x="19177" y="9710"/>
                      <a:pt x="19034" y="9714"/>
                      <a:pt x="18892" y="9724"/>
                    </a:cubicBezTo>
                    <a:cubicBezTo>
                      <a:pt x="16045" y="9909"/>
                      <a:pt x="14456" y="12386"/>
                      <a:pt x="13827" y="14974"/>
                    </a:cubicBezTo>
                    <a:cubicBezTo>
                      <a:pt x="13162" y="17931"/>
                      <a:pt x="13014" y="20963"/>
                      <a:pt x="12274" y="23884"/>
                    </a:cubicBezTo>
                    <a:cubicBezTo>
                      <a:pt x="11424" y="27174"/>
                      <a:pt x="10278" y="30353"/>
                      <a:pt x="8873" y="33422"/>
                    </a:cubicBezTo>
                    <a:cubicBezTo>
                      <a:pt x="7431" y="36491"/>
                      <a:pt x="5915" y="39522"/>
                      <a:pt x="4363" y="42480"/>
                    </a:cubicBezTo>
                    <a:cubicBezTo>
                      <a:pt x="3106" y="44957"/>
                      <a:pt x="1664" y="47323"/>
                      <a:pt x="0" y="49504"/>
                    </a:cubicBezTo>
                    <a:cubicBezTo>
                      <a:pt x="2107" y="49837"/>
                      <a:pt x="4067" y="50133"/>
                      <a:pt x="4658" y="50503"/>
                    </a:cubicBezTo>
                    <a:cubicBezTo>
                      <a:pt x="6914" y="48284"/>
                      <a:pt x="15787" y="22109"/>
                      <a:pt x="17413" y="19299"/>
                    </a:cubicBezTo>
                    <a:cubicBezTo>
                      <a:pt x="18080" y="18140"/>
                      <a:pt x="19612" y="17799"/>
                      <a:pt x="21369" y="17799"/>
                    </a:cubicBezTo>
                    <a:cubicBezTo>
                      <a:pt x="23705" y="17799"/>
                      <a:pt x="26436" y="18402"/>
                      <a:pt x="28061" y="18486"/>
                    </a:cubicBezTo>
                    <a:cubicBezTo>
                      <a:pt x="33914" y="18806"/>
                      <a:pt x="39518" y="20869"/>
                      <a:pt x="45448" y="20869"/>
                    </a:cubicBezTo>
                    <a:cubicBezTo>
                      <a:pt x="46372" y="20869"/>
                      <a:pt x="47304" y="20819"/>
                      <a:pt x="48247" y="20704"/>
                    </a:cubicBezTo>
                    <a:cubicBezTo>
                      <a:pt x="55937" y="19780"/>
                      <a:pt x="54347" y="8910"/>
                      <a:pt x="51944" y="3919"/>
                    </a:cubicBezTo>
                    <a:cubicBezTo>
                      <a:pt x="52018" y="3661"/>
                      <a:pt x="52203" y="3735"/>
                      <a:pt x="52350" y="3513"/>
                    </a:cubicBezTo>
                    <a:lnTo>
                      <a:pt x="51685" y="3513"/>
                    </a:lnTo>
                    <a:cubicBezTo>
                      <a:pt x="49652" y="3217"/>
                      <a:pt x="47840" y="2404"/>
                      <a:pt x="45696" y="2293"/>
                    </a:cubicBezTo>
                    <a:cubicBezTo>
                      <a:pt x="43958" y="2219"/>
                      <a:pt x="40483" y="185"/>
                      <a:pt x="3512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 name="Google Shape;1151;p53">
                <a:extLst>
                  <a:ext uri="{FF2B5EF4-FFF2-40B4-BE49-F238E27FC236}">
                    <a16:creationId xmlns:a16="http://schemas.microsoft.com/office/drawing/2014/main" id="{1AB54602-6AEC-4696-9BEF-FEDC85C921BA}"/>
                  </a:ext>
                </a:extLst>
              </p:cNvPr>
              <p:cNvSpPr/>
              <p:nvPr/>
            </p:nvSpPr>
            <p:spPr>
              <a:xfrm>
                <a:off x="7229934" y="3722089"/>
                <a:ext cx="35147" cy="41887"/>
              </a:xfrm>
              <a:custGeom>
                <a:avLst/>
                <a:gdLst/>
                <a:ahLst/>
                <a:cxnLst/>
                <a:rect l="l" t="t" r="r" b="b"/>
                <a:pathLst>
                  <a:path w="1924" h="2293" fill="none" extrusionOk="0">
                    <a:moveTo>
                      <a:pt x="1" y="1"/>
                    </a:moveTo>
                    <a:lnTo>
                      <a:pt x="1923" y="2293"/>
                    </a:ln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 name="Google Shape;1152;p53">
                <a:extLst>
                  <a:ext uri="{FF2B5EF4-FFF2-40B4-BE49-F238E27FC236}">
                    <a16:creationId xmlns:a16="http://schemas.microsoft.com/office/drawing/2014/main" id="{1F1CAA1A-2EC5-4A63-BF86-42122FDC63B2}"/>
                  </a:ext>
                </a:extLst>
              </p:cNvPr>
              <p:cNvSpPr/>
              <p:nvPr/>
            </p:nvSpPr>
            <p:spPr>
              <a:xfrm>
                <a:off x="7256951" y="3702506"/>
                <a:ext cx="8787" cy="40536"/>
              </a:xfrm>
              <a:custGeom>
                <a:avLst/>
                <a:gdLst/>
                <a:ahLst/>
                <a:cxnLst/>
                <a:rect l="l" t="t" r="r" b="b"/>
                <a:pathLst>
                  <a:path w="481" h="2219" fill="none" extrusionOk="0">
                    <a:moveTo>
                      <a:pt x="0" y="1"/>
                    </a:moveTo>
                    <a:lnTo>
                      <a:pt x="481" y="2219"/>
                    </a:ln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 name="Google Shape;1153;p53">
                <a:extLst>
                  <a:ext uri="{FF2B5EF4-FFF2-40B4-BE49-F238E27FC236}">
                    <a16:creationId xmlns:a16="http://schemas.microsoft.com/office/drawing/2014/main" id="{6A5ED226-A343-4B05-AEFB-BA14C529D82F}"/>
                  </a:ext>
                </a:extLst>
              </p:cNvPr>
              <p:cNvSpPr/>
              <p:nvPr/>
            </p:nvSpPr>
            <p:spPr>
              <a:xfrm>
                <a:off x="7276534" y="3713996"/>
                <a:ext cx="2046" cy="41211"/>
              </a:xfrm>
              <a:custGeom>
                <a:avLst/>
                <a:gdLst/>
                <a:ahLst/>
                <a:cxnLst/>
                <a:rect l="l" t="t" r="r" b="b"/>
                <a:pathLst>
                  <a:path w="112" h="2256" fill="none" extrusionOk="0">
                    <a:moveTo>
                      <a:pt x="111" y="0"/>
                    </a:moveTo>
                    <a:lnTo>
                      <a:pt x="1" y="2255"/>
                    </a:ln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 name="Google Shape;1154;p53">
                <a:extLst>
                  <a:ext uri="{FF2B5EF4-FFF2-40B4-BE49-F238E27FC236}">
                    <a16:creationId xmlns:a16="http://schemas.microsoft.com/office/drawing/2014/main" id="{72285BB0-44B5-4A39-98DC-613DC8965B24}"/>
                  </a:ext>
                </a:extLst>
              </p:cNvPr>
              <p:cNvSpPr/>
              <p:nvPr/>
            </p:nvSpPr>
            <p:spPr>
              <a:xfrm>
                <a:off x="7054346" y="3658609"/>
                <a:ext cx="60794" cy="25684"/>
              </a:xfrm>
              <a:custGeom>
                <a:avLst/>
                <a:gdLst/>
                <a:ahLst/>
                <a:cxnLst/>
                <a:rect l="l" t="t" r="r" b="b"/>
                <a:pathLst>
                  <a:path w="3328" h="1406" fill="none" extrusionOk="0">
                    <a:moveTo>
                      <a:pt x="0" y="0"/>
                    </a:moveTo>
                    <a:cubicBezTo>
                      <a:pt x="1109" y="1110"/>
                      <a:pt x="1849" y="1405"/>
                      <a:pt x="3328" y="0"/>
                    </a:cubicBez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 name="Google Shape;1155;p53">
                <a:extLst>
                  <a:ext uri="{FF2B5EF4-FFF2-40B4-BE49-F238E27FC236}">
                    <a16:creationId xmlns:a16="http://schemas.microsoft.com/office/drawing/2014/main" id="{AC4708E7-69E0-443E-A71F-7214222CE12A}"/>
                  </a:ext>
                </a:extLst>
              </p:cNvPr>
              <p:cNvSpPr/>
              <p:nvPr/>
            </p:nvSpPr>
            <p:spPr>
              <a:xfrm>
                <a:off x="7116474" y="2749892"/>
                <a:ext cx="768587" cy="519217"/>
              </a:xfrm>
              <a:custGeom>
                <a:avLst/>
                <a:gdLst/>
                <a:ahLst/>
                <a:cxnLst/>
                <a:rect l="l" t="t" r="r" b="b"/>
                <a:pathLst>
                  <a:path w="42074" h="28423" extrusionOk="0">
                    <a:moveTo>
                      <a:pt x="35971" y="0"/>
                    </a:moveTo>
                    <a:cubicBezTo>
                      <a:pt x="29046" y="0"/>
                      <a:pt x="24533" y="6243"/>
                      <a:pt x="21517" y="10556"/>
                    </a:cubicBezTo>
                    <a:cubicBezTo>
                      <a:pt x="19817" y="12997"/>
                      <a:pt x="17525" y="14623"/>
                      <a:pt x="14604" y="15991"/>
                    </a:cubicBezTo>
                    <a:cubicBezTo>
                      <a:pt x="13345" y="16608"/>
                      <a:pt x="12496" y="16885"/>
                      <a:pt x="11376" y="16885"/>
                    </a:cubicBezTo>
                    <a:cubicBezTo>
                      <a:pt x="10884" y="16885"/>
                      <a:pt x="10340" y="16832"/>
                      <a:pt x="9687" y="16731"/>
                    </a:cubicBezTo>
                    <a:cubicBezTo>
                      <a:pt x="7986" y="16435"/>
                      <a:pt x="6286" y="15178"/>
                      <a:pt x="4622" y="15067"/>
                    </a:cubicBezTo>
                    <a:cubicBezTo>
                      <a:pt x="4459" y="15056"/>
                      <a:pt x="4297" y="15052"/>
                      <a:pt x="4135" y="15052"/>
                    </a:cubicBezTo>
                    <a:cubicBezTo>
                      <a:pt x="3742" y="15052"/>
                      <a:pt x="3350" y="15078"/>
                      <a:pt x="2958" y="15104"/>
                    </a:cubicBezTo>
                    <a:cubicBezTo>
                      <a:pt x="1812" y="16657"/>
                      <a:pt x="1110" y="18468"/>
                      <a:pt x="1" y="20021"/>
                    </a:cubicBezTo>
                    <a:cubicBezTo>
                      <a:pt x="1184" y="21315"/>
                      <a:pt x="10278" y="27674"/>
                      <a:pt x="18079" y="28339"/>
                    </a:cubicBezTo>
                    <a:cubicBezTo>
                      <a:pt x="18749" y="28395"/>
                      <a:pt x="19418" y="28423"/>
                      <a:pt x="20086" y="28423"/>
                    </a:cubicBezTo>
                    <a:cubicBezTo>
                      <a:pt x="23402" y="28423"/>
                      <a:pt x="26679" y="27740"/>
                      <a:pt x="29725" y="26417"/>
                    </a:cubicBezTo>
                    <a:cubicBezTo>
                      <a:pt x="33607" y="24679"/>
                      <a:pt x="36269" y="21574"/>
                      <a:pt x="38709" y="18505"/>
                    </a:cubicBezTo>
                    <a:cubicBezTo>
                      <a:pt x="41297" y="15215"/>
                      <a:pt x="42073" y="11259"/>
                      <a:pt x="41703" y="7303"/>
                    </a:cubicBezTo>
                    <a:cubicBezTo>
                      <a:pt x="41555" y="5602"/>
                      <a:pt x="40853" y="4013"/>
                      <a:pt x="39707" y="2719"/>
                    </a:cubicBezTo>
                    <a:cubicBezTo>
                      <a:pt x="39337" y="2275"/>
                      <a:pt x="38820" y="1905"/>
                      <a:pt x="38376" y="1425"/>
                    </a:cubicBezTo>
                    <a:cubicBezTo>
                      <a:pt x="37378" y="279"/>
                      <a:pt x="37156" y="353"/>
                      <a:pt x="37378" y="279"/>
                    </a:cubicBezTo>
                    <a:lnTo>
                      <a:pt x="37119" y="57"/>
                    </a:lnTo>
                    <a:cubicBezTo>
                      <a:pt x="36729" y="19"/>
                      <a:pt x="36346" y="0"/>
                      <a:pt x="35971"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 name="Google Shape;1156;p53">
                <a:extLst>
                  <a:ext uri="{FF2B5EF4-FFF2-40B4-BE49-F238E27FC236}">
                    <a16:creationId xmlns:a16="http://schemas.microsoft.com/office/drawing/2014/main" id="{B5C603C6-90E8-49F1-8A35-6C5B6BBBF254}"/>
                  </a:ext>
                </a:extLst>
              </p:cNvPr>
              <p:cNvSpPr/>
              <p:nvPr/>
            </p:nvSpPr>
            <p:spPr>
              <a:xfrm>
                <a:off x="7602061" y="2705667"/>
                <a:ext cx="666599" cy="974078"/>
              </a:xfrm>
              <a:custGeom>
                <a:avLst/>
                <a:gdLst/>
                <a:ahLst/>
                <a:cxnLst/>
                <a:rect l="l" t="t" r="r" b="b"/>
                <a:pathLst>
                  <a:path w="36491" h="53323" extrusionOk="0">
                    <a:moveTo>
                      <a:pt x="22089" y="80"/>
                    </a:moveTo>
                    <a:cubicBezTo>
                      <a:pt x="21367" y="80"/>
                      <a:pt x="20653" y="112"/>
                      <a:pt x="20001" y="112"/>
                    </a:cubicBezTo>
                    <a:cubicBezTo>
                      <a:pt x="20001" y="149"/>
                      <a:pt x="12829" y="1"/>
                      <a:pt x="10537" y="703"/>
                    </a:cubicBezTo>
                    <a:cubicBezTo>
                      <a:pt x="8023" y="1517"/>
                      <a:pt x="4807" y="2071"/>
                      <a:pt x="3291" y="4992"/>
                    </a:cubicBezTo>
                    <a:cubicBezTo>
                      <a:pt x="1849" y="7765"/>
                      <a:pt x="2477" y="12238"/>
                      <a:pt x="2219" y="15418"/>
                    </a:cubicBezTo>
                    <a:cubicBezTo>
                      <a:pt x="1886" y="18782"/>
                      <a:pt x="518" y="22220"/>
                      <a:pt x="518" y="25584"/>
                    </a:cubicBezTo>
                    <a:cubicBezTo>
                      <a:pt x="518" y="28875"/>
                      <a:pt x="1627" y="32165"/>
                      <a:pt x="1738" y="35567"/>
                    </a:cubicBezTo>
                    <a:cubicBezTo>
                      <a:pt x="1886" y="39264"/>
                      <a:pt x="407" y="41852"/>
                      <a:pt x="259" y="45327"/>
                    </a:cubicBezTo>
                    <a:cubicBezTo>
                      <a:pt x="0" y="49948"/>
                      <a:pt x="555" y="51797"/>
                      <a:pt x="4659" y="52795"/>
                    </a:cubicBezTo>
                    <a:cubicBezTo>
                      <a:pt x="6448" y="53216"/>
                      <a:pt x="8379" y="53304"/>
                      <a:pt x="10324" y="53304"/>
                    </a:cubicBezTo>
                    <a:cubicBezTo>
                      <a:pt x="11724" y="53304"/>
                      <a:pt x="13132" y="53258"/>
                      <a:pt x="14501" y="53258"/>
                    </a:cubicBezTo>
                    <a:cubicBezTo>
                      <a:pt x="15239" y="53258"/>
                      <a:pt x="15966" y="53272"/>
                      <a:pt x="16674" y="53313"/>
                    </a:cubicBezTo>
                    <a:cubicBezTo>
                      <a:pt x="16884" y="53319"/>
                      <a:pt x="17093" y="53322"/>
                      <a:pt x="17302" y="53322"/>
                    </a:cubicBezTo>
                    <a:cubicBezTo>
                      <a:pt x="20706" y="53322"/>
                      <a:pt x="24030" y="52473"/>
                      <a:pt x="27026" y="50835"/>
                    </a:cubicBezTo>
                    <a:cubicBezTo>
                      <a:pt x="33902" y="46769"/>
                      <a:pt x="36490" y="34938"/>
                      <a:pt x="35936" y="26620"/>
                    </a:cubicBezTo>
                    <a:cubicBezTo>
                      <a:pt x="35455" y="19299"/>
                      <a:pt x="33163" y="11092"/>
                      <a:pt x="29207" y="5251"/>
                    </a:cubicBezTo>
                    <a:cubicBezTo>
                      <a:pt x="28172" y="3661"/>
                      <a:pt x="27174" y="1406"/>
                      <a:pt x="25510" y="629"/>
                    </a:cubicBezTo>
                    <a:cubicBezTo>
                      <a:pt x="24517" y="167"/>
                      <a:pt x="23292" y="80"/>
                      <a:pt x="22089" y="8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 name="Google Shape;1157;p53">
                <a:extLst>
                  <a:ext uri="{FF2B5EF4-FFF2-40B4-BE49-F238E27FC236}">
                    <a16:creationId xmlns:a16="http://schemas.microsoft.com/office/drawing/2014/main" id="{DA0E851C-3957-475D-B0EB-6B88C3C92EC3}"/>
                  </a:ext>
                </a:extLst>
              </p:cNvPr>
              <p:cNvSpPr/>
              <p:nvPr/>
            </p:nvSpPr>
            <p:spPr>
              <a:xfrm>
                <a:off x="7117150" y="2707420"/>
                <a:ext cx="1152186" cy="972982"/>
              </a:xfrm>
              <a:custGeom>
                <a:avLst/>
                <a:gdLst/>
                <a:ahLst/>
                <a:cxnLst/>
                <a:rect l="l" t="t" r="r" b="b"/>
                <a:pathLst>
                  <a:path w="63073" h="53263" extrusionOk="0">
                    <a:moveTo>
                      <a:pt x="48703" y="1"/>
                    </a:moveTo>
                    <a:cubicBezTo>
                      <a:pt x="48108" y="1"/>
                      <a:pt x="47514" y="20"/>
                      <a:pt x="46951" y="20"/>
                    </a:cubicBezTo>
                    <a:cubicBezTo>
                      <a:pt x="46814" y="20"/>
                      <a:pt x="46679" y="18"/>
                      <a:pt x="46546" y="16"/>
                    </a:cubicBezTo>
                    <a:cubicBezTo>
                      <a:pt x="46546" y="16"/>
                      <a:pt x="46038" y="6"/>
                      <a:pt x="45248" y="6"/>
                    </a:cubicBezTo>
                    <a:cubicBezTo>
                      <a:pt x="44458" y="6"/>
                      <a:pt x="43386" y="16"/>
                      <a:pt x="42258" y="53"/>
                    </a:cubicBezTo>
                    <a:cubicBezTo>
                      <a:pt x="40520" y="348"/>
                      <a:pt x="38820" y="940"/>
                      <a:pt x="37267" y="1790"/>
                    </a:cubicBezTo>
                    <a:cubicBezTo>
                      <a:pt x="34753" y="3232"/>
                      <a:pt x="32756" y="5672"/>
                      <a:pt x="30982" y="7890"/>
                    </a:cubicBezTo>
                    <a:cubicBezTo>
                      <a:pt x="29022" y="10367"/>
                      <a:pt x="27211" y="12955"/>
                      <a:pt x="25288" y="15432"/>
                    </a:cubicBezTo>
                    <a:cubicBezTo>
                      <a:pt x="24475" y="16652"/>
                      <a:pt x="23477" y="17725"/>
                      <a:pt x="22368" y="18686"/>
                    </a:cubicBezTo>
                    <a:cubicBezTo>
                      <a:pt x="21443" y="19351"/>
                      <a:pt x="20408" y="19943"/>
                      <a:pt x="19336" y="20387"/>
                    </a:cubicBezTo>
                    <a:cubicBezTo>
                      <a:pt x="17968" y="21052"/>
                      <a:pt x="16748" y="21680"/>
                      <a:pt x="15824" y="22864"/>
                    </a:cubicBezTo>
                    <a:cubicBezTo>
                      <a:pt x="15417" y="23418"/>
                      <a:pt x="14900" y="24121"/>
                      <a:pt x="14197" y="24268"/>
                    </a:cubicBezTo>
                    <a:cubicBezTo>
                      <a:pt x="14026" y="24304"/>
                      <a:pt x="13867" y="24321"/>
                      <a:pt x="13719" y="24321"/>
                    </a:cubicBezTo>
                    <a:cubicBezTo>
                      <a:pt x="11715" y="24321"/>
                      <a:pt x="11607" y="21283"/>
                      <a:pt x="9576" y="20904"/>
                    </a:cubicBezTo>
                    <a:cubicBezTo>
                      <a:pt x="6988" y="20497"/>
                      <a:pt x="4474" y="19758"/>
                      <a:pt x="2071" y="18760"/>
                    </a:cubicBezTo>
                    <a:cubicBezTo>
                      <a:pt x="1368" y="19943"/>
                      <a:pt x="777" y="21200"/>
                      <a:pt x="0" y="22309"/>
                    </a:cubicBezTo>
                    <a:cubicBezTo>
                      <a:pt x="1147" y="23603"/>
                      <a:pt x="10241" y="29962"/>
                      <a:pt x="18042" y="30627"/>
                    </a:cubicBezTo>
                    <a:cubicBezTo>
                      <a:pt x="18704" y="30681"/>
                      <a:pt x="19367" y="30707"/>
                      <a:pt x="20027" y="30707"/>
                    </a:cubicBezTo>
                    <a:cubicBezTo>
                      <a:pt x="22575" y="30707"/>
                      <a:pt x="25099" y="30311"/>
                      <a:pt x="27507" y="29518"/>
                    </a:cubicBezTo>
                    <a:cubicBezTo>
                      <a:pt x="27876" y="31478"/>
                      <a:pt x="28135" y="33474"/>
                      <a:pt x="28283" y="35471"/>
                    </a:cubicBezTo>
                    <a:cubicBezTo>
                      <a:pt x="28431" y="39168"/>
                      <a:pt x="26952" y="41756"/>
                      <a:pt x="26804" y="45231"/>
                    </a:cubicBezTo>
                    <a:cubicBezTo>
                      <a:pt x="26545" y="49852"/>
                      <a:pt x="27100" y="51701"/>
                      <a:pt x="31204" y="52699"/>
                    </a:cubicBezTo>
                    <a:cubicBezTo>
                      <a:pt x="33011" y="53138"/>
                      <a:pt x="34943" y="53226"/>
                      <a:pt x="36885" y="53226"/>
                    </a:cubicBezTo>
                    <a:cubicBezTo>
                      <a:pt x="38210" y="53226"/>
                      <a:pt x="39539" y="53185"/>
                      <a:pt x="40836" y="53185"/>
                    </a:cubicBezTo>
                    <a:cubicBezTo>
                      <a:pt x="41646" y="53185"/>
                      <a:pt x="42443" y="53201"/>
                      <a:pt x="43219" y="53253"/>
                    </a:cubicBezTo>
                    <a:cubicBezTo>
                      <a:pt x="43421" y="53260"/>
                      <a:pt x="43624" y="53263"/>
                      <a:pt x="43826" y="53263"/>
                    </a:cubicBezTo>
                    <a:cubicBezTo>
                      <a:pt x="47241" y="53263"/>
                      <a:pt x="50604" y="52382"/>
                      <a:pt x="53571" y="50776"/>
                    </a:cubicBezTo>
                    <a:cubicBezTo>
                      <a:pt x="60484" y="46710"/>
                      <a:pt x="63072" y="34879"/>
                      <a:pt x="62518" y="26561"/>
                    </a:cubicBezTo>
                    <a:cubicBezTo>
                      <a:pt x="62000" y="19203"/>
                      <a:pt x="59745" y="11033"/>
                      <a:pt x="55789" y="5155"/>
                    </a:cubicBezTo>
                    <a:cubicBezTo>
                      <a:pt x="54717" y="3565"/>
                      <a:pt x="53719" y="1310"/>
                      <a:pt x="52055" y="533"/>
                    </a:cubicBezTo>
                    <a:cubicBezTo>
                      <a:pt x="51096" y="77"/>
                      <a:pt x="49898" y="1"/>
                      <a:pt x="48703"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 name="Google Shape;1158;p53">
                <a:extLst>
                  <a:ext uri="{FF2B5EF4-FFF2-40B4-BE49-F238E27FC236}">
                    <a16:creationId xmlns:a16="http://schemas.microsoft.com/office/drawing/2014/main" id="{C2D8A2CF-7D9B-491A-A53E-E7CDEC06545A}"/>
                  </a:ext>
                </a:extLst>
              </p:cNvPr>
              <p:cNvSpPr/>
              <p:nvPr/>
            </p:nvSpPr>
            <p:spPr>
              <a:xfrm>
                <a:off x="7360948" y="3061591"/>
                <a:ext cx="18268" cy="37832"/>
              </a:xfrm>
              <a:custGeom>
                <a:avLst/>
                <a:gdLst/>
                <a:ahLst/>
                <a:cxnLst/>
                <a:rect l="l" t="t" r="r" b="b"/>
                <a:pathLst>
                  <a:path w="1000" h="2071" fill="none" extrusionOk="0">
                    <a:moveTo>
                      <a:pt x="999" y="2071"/>
                    </a:moveTo>
                    <a:cubicBezTo>
                      <a:pt x="629" y="1405"/>
                      <a:pt x="334" y="703"/>
                      <a:pt x="1" y="0"/>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 name="Google Shape;1159;p53">
                <a:extLst>
                  <a:ext uri="{FF2B5EF4-FFF2-40B4-BE49-F238E27FC236}">
                    <a16:creationId xmlns:a16="http://schemas.microsoft.com/office/drawing/2014/main" id="{C1A9DAF3-B58B-4569-A39E-545A80D3E485}"/>
                  </a:ext>
                </a:extLst>
              </p:cNvPr>
              <p:cNvSpPr/>
              <p:nvPr/>
            </p:nvSpPr>
            <p:spPr>
              <a:xfrm>
                <a:off x="7349476" y="3074414"/>
                <a:ext cx="14870" cy="39202"/>
              </a:xfrm>
              <a:custGeom>
                <a:avLst/>
                <a:gdLst/>
                <a:ahLst/>
                <a:cxnLst/>
                <a:rect l="l" t="t" r="r" b="b"/>
                <a:pathLst>
                  <a:path w="814" h="2146" fill="none" extrusionOk="0">
                    <a:moveTo>
                      <a:pt x="703" y="1849"/>
                    </a:moveTo>
                    <a:cubicBezTo>
                      <a:pt x="814" y="2145"/>
                      <a:pt x="518" y="1332"/>
                      <a:pt x="444" y="1147"/>
                    </a:cubicBezTo>
                    <a:cubicBezTo>
                      <a:pt x="296" y="777"/>
                      <a:pt x="185" y="370"/>
                      <a:pt x="0" y="1"/>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 name="Google Shape;1160;p53">
                <a:extLst>
                  <a:ext uri="{FF2B5EF4-FFF2-40B4-BE49-F238E27FC236}">
                    <a16:creationId xmlns:a16="http://schemas.microsoft.com/office/drawing/2014/main" id="{6485E691-92FB-4FDB-AFA3-119D4BCD3BC1}"/>
                  </a:ext>
                </a:extLst>
              </p:cNvPr>
              <p:cNvSpPr/>
              <p:nvPr/>
            </p:nvSpPr>
            <p:spPr>
              <a:xfrm>
                <a:off x="7375818" y="3060239"/>
                <a:ext cx="16897" cy="14194"/>
              </a:xfrm>
              <a:custGeom>
                <a:avLst/>
                <a:gdLst/>
                <a:ahLst/>
                <a:cxnLst/>
                <a:rect l="l" t="t" r="r" b="b"/>
                <a:pathLst>
                  <a:path w="925" h="777" fill="none" extrusionOk="0">
                    <a:moveTo>
                      <a:pt x="0" y="0"/>
                    </a:moveTo>
                    <a:cubicBezTo>
                      <a:pt x="222" y="333"/>
                      <a:pt x="740" y="407"/>
                      <a:pt x="924" y="777"/>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 name="Google Shape;1161;p53">
                <a:extLst>
                  <a:ext uri="{FF2B5EF4-FFF2-40B4-BE49-F238E27FC236}">
                    <a16:creationId xmlns:a16="http://schemas.microsoft.com/office/drawing/2014/main" id="{5735EF5A-6389-4B88-9FE0-43D4BCEC60C6}"/>
                  </a:ext>
                </a:extLst>
              </p:cNvPr>
              <p:cNvSpPr/>
              <p:nvPr/>
            </p:nvSpPr>
            <p:spPr>
              <a:xfrm>
                <a:off x="7625699" y="3082525"/>
                <a:ext cx="80377" cy="158726"/>
              </a:xfrm>
              <a:custGeom>
                <a:avLst/>
                <a:gdLst/>
                <a:ahLst/>
                <a:cxnLst/>
                <a:rect l="l" t="t" r="r" b="b"/>
                <a:pathLst>
                  <a:path w="4400" h="8689" fill="none" extrusionOk="0">
                    <a:moveTo>
                      <a:pt x="0" y="8689"/>
                    </a:moveTo>
                    <a:cubicBezTo>
                      <a:pt x="1294" y="7505"/>
                      <a:pt x="2293" y="6064"/>
                      <a:pt x="2921" y="4474"/>
                    </a:cubicBezTo>
                    <a:cubicBezTo>
                      <a:pt x="3254" y="3734"/>
                      <a:pt x="4030" y="703"/>
                      <a:pt x="4400" y="0"/>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 name="Google Shape;1162;p53">
                <a:extLst>
                  <a:ext uri="{FF2B5EF4-FFF2-40B4-BE49-F238E27FC236}">
                    <a16:creationId xmlns:a16="http://schemas.microsoft.com/office/drawing/2014/main" id="{5F0FF140-1F2E-4B47-B6DE-75B1CDA950F7}"/>
                  </a:ext>
                </a:extLst>
              </p:cNvPr>
              <p:cNvSpPr/>
              <p:nvPr/>
            </p:nvSpPr>
            <p:spPr>
              <a:xfrm>
                <a:off x="7707410" y="3041332"/>
                <a:ext cx="41211" cy="98608"/>
              </a:xfrm>
              <a:custGeom>
                <a:avLst/>
                <a:gdLst/>
                <a:ahLst/>
                <a:cxnLst/>
                <a:rect l="l" t="t" r="r" b="b"/>
                <a:pathLst>
                  <a:path w="2256" h="5398" fill="none" extrusionOk="0">
                    <a:moveTo>
                      <a:pt x="1" y="5398"/>
                    </a:moveTo>
                    <a:cubicBezTo>
                      <a:pt x="407" y="3475"/>
                      <a:pt x="1886" y="1812"/>
                      <a:pt x="2256" y="0"/>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 name="Google Shape;1163;p53">
                <a:extLst>
                  <a:ext uri="{FF2B5EF4-FFF2-40B4-BE49-F238E27FC236}">
                    <a16:creationId xmlns:a16="http://schemas.microsoft.com/office/drawing/2014/main" id="{9E2A75D1-08FA-4D83-937E-C297609CE1FC}"/>
                  </a:ext>
                </a:extLst>
              </p:cNvPr>
              <p:cNvSpPr/>
              <p:nvPr/>
            </p:nvSpPr>
            <p:spPr>
              <a:xfrm>
                <a:off x="7698641" y="3141949"/>
                <a:ext cx="86460" cy="129699"/>
              </a:xfrm>
              <a:custGeom>
                <a:avLst/>
                <a:gdLst/>
                <a:ahLst/>
                <a:cxnLst/>
                <a:rect l="l" t="t" r="r" b="b"/>
                <a:pathLst>
                  <a:path w="4733" h="7100" fill="none" extrusionOk="0">
                    <a:moveTo>
                      <a:pt x="0" y="7099"/>
                    </a:moveTo>
                    <a:cubicBezTo>
                      <a:pt x="518" y="5731"/>
                      <a:pt x="2071" y="4881"/>
                      <a:pt x="2958" y="3735"/>
                    </a:cubicBezTo>
                    <a:cubicBezTo>
                      <a:pt x="3512" y="3143"/>
                      <a:pt x="3956" y="2441"/>
                      <a:pt x="4326" y="1701"/>
                    </a:cubicBezTo>
                    <a:cubicBezTo>
                      <a:pt x="4511" y="1184"/>
                      <a:pt x="4622" y="408"/>
                      <a:pt x="4732" y="1"/>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 name="Google Shape;1164;p53">
                <a:extLst>
                  <a:ext uri="{FF2B5EF4-FFF2-40B4-BE49-F238E27FC236}">
                    <a16:creationId xmlns:a16="http://schemas.microsoft.com/office/drawing/2014/main" id="{56EEE1B3-B71B-44B5-A849-586E19626E51}"/>
                  </a:ext>
                </a:extLst>
              </p:cNvPr>
              <p:cNvSpPr/>
              <p:nvPr/>
            </p:nvSpPr>
            <p:spPr>
              <a:xfrm>
                <a:off x="7760093" y="3235826"/>
                <a:ext cx="20277" cy="19601"/>
              </a:xfrm>
              <a:custGeom>
                <a:avLst/>
                <a:gdLst/>
                <a:ahLst/>
                <a:cxnLst/>
                <a:rect l="l" t="t" r="r" b="b"/>
                <a:pathLst>
                  <a:path w="1110" h="1073" fill="none" extrusionOk="0">
                    <a:moveTo>
                      <a:pt x="1" y="1073"/>
                    </a:moveTo>
                    <a:cubicBezTo>
                      <a:pt x="259" y="629"/>
                      <a:pt x="740" y="370"/>
                      <a:pt x="1110" y="1"/>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 name="Google Shape;1165;p53">
                <a:extLst>
                  <a:ext uri="{FF2B5EF4-FFF2-40B4-BE49-F238E27FC236}">
                    <a16:creationId xmlns:a16="http://schemas.microsoft.com/office/drawing/2014/main" id="{F686BA01-792F-49FC-8DDC-3C75A7B32DF5}"/>
                  </a:ext>
                </a:extLst>
              </p:cNvPr>
              <p:cNvSpPr/>
              <p:nvPr/>
            </p:nvSpPr>
            <p:spPr>
              <a:xfrm>
                <a:off x="7802638" y="3739644"/>
                <a:ext cx="102006" cy="364729"/>
              </a:xfrm>
              <a:custGeom>
                <a:avLst/>
                <a:gdLst/>
                <a:ahLst/>
                <a:cxnLst/>
                <a:rect l="l" t="t" r="r" b="b"/>
                <a:pathLst>
                  <a:path w="5584" h="19966" extrusionOk="0">
                    <a:moveTo>
                      <a:pt x="112" y="1"/>
                    </a:moveTo>
                    <a:lnTo>
                      <a:pt x="1" y="19965"/>
                    </a:lnTo>
                    <a:lnTo>
                      <a:pt x="5472" y="19965"/>
                    </a:lnTo>
                    <a:lnTo>
                      <a:pt x="5583" y="38"/>
                    </a:lnTo>
                    <a:lnTo>
                      <a:pt x="112"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 name="Google Shape;1166;p53">
                <a:extLst>
                  <a:ext uri="{FF2B5EF4-FFF2-40B4-BE49-F238E27FC236}">
                    <a16:creationId xmlns:a16="http://schemas.microsoft.com/office/drawing/2014/main" id="{53B55E8E-FDE5-4513-B4F4-6C598CEB8BD3}"/>
                  </a:ext>
                </a:extLst>
              </p:cNvPr>
              <p:cNvSpPr/>
              <p:nvPr/>
            </p:nvSpPr>
            <p:spPr>
              <a:xfrm>
                <a:off x="7804666" y="3739644"/>
                <a:ext cx="100654" cy="178327"/>
              </a:xfrm>
              <a:custGeom>
                <a:avLst/>
                <a:gdLst/>
                <a:ahLst/>
                <a:cxnLst/>
                <a:rect l="l" t="t" r="r" b="b"/>
                <a:pathLst>
                  <a:path w="5510" h="9762" extrusionOk="0">
                    <a:moveTo>
                      <a:pt x="38" y="1"/>
                    </a:moveTo>
                    <a:lnTo>
                      <a:pt x="1" y="6175"/>
                    </a:lnTo>
                    <a:cubicBezTo>
                      <a:pt x="367" y="6059"/>
                      <a:pt x="720" y="6004"/>
                      <a:pt x="1060" y="6004"/>
                    </a:cubicBezTo>
                    <a:cubicBezTo>
                      <a:pt x="2877" y="6004"/>
                      <a:pt x="4314" y="7581"/>
                      <a:pt x="5435" y="9761"/>
                    </a:cubicBezTo>
                    <a:lnTo>
                      <a:pt x="5509" y="38"/>
                    </a:lnTo>
                    <a:lnTo>
                      <a:pt x="38"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 name="Google Shape;1167;p53">
                <a:extLst>
                  <a:ext uri="{FF2B5EF4-FFF2-40B4-BE49-F238E27FC236}">
                    <a16:creationId xmlns:a16="http://schemas.microsoft.com/office/drawing/2014/main" id="{F1075D56-8477-405F-AF95-00AF8E1E89E2}"/>
                  </a:ext>
                </a:extLst>
              </p:cNvPr>
              <p:cNvSpPr/>
              <p:nvPr/>
            </p:nvSpPr>
            <p:spPr>
              <a:xfrm>
                <a:off x="7799934" y="4023977"/>
                <a:ext cx="105385" cy="426857"/>
              </a:xfrm>
              <a:custGeom>
                <a:avLst/>
                <a:gdLst/>
                <a:ahLst/>
                <a:cxnLst/>
                <a:rect l="l" t="t" r="r" b="b"/>
                <a:pathLst>
                  <a:path w="5769" h="23367" extrusionOk="0">
                    <a:moveTo>
                      <a:pt x="1" y="1"/>
                    </a:moveTo>
                    <a:lnTo>
                      <a:pt x="1849" y="22996"/>
                    </a:lnTo>
                    <a:lnTo>
                      <a:pt x="4326" y="23366"/>
                    </a:lnTo>
                    <a:lnTo>
                      <a:pt x="5768" y="38"/>
                    </a:lnTo>
                    <a:lnTo>
                      <a:pt x="1"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 name="Google Shape;1168;p53">
                <a:extLst>
                  <a:ext uri="{FF2B5EF4-FFF2-40B4-BE49-F238E27FC236}">
                    <a16:creationId xmlns:a16="http://schemas.microsoft.com/office/drawing/2014/main" id="{CE97C0CC-DE2E-46B3-809C-F81DDC8B3DD1}"/>
                  </a:ext>
                </a:extLst>
              </p:cNvPr>
              <p:cNvSpPr/>
              <p:nvPr/>
            </p:nvSpPr>
            <p:spPr>
              <a:xfrm>
                <a:off x="7763472" y="4403539"/>
                <a:ext cx="151967" cy="130229"/>
              </a:xfrm>
              <a:custGeom>
                <a:avLst/>
                <a:gdLst/>
                <a:ahLst/>
                <a:cxnLst/>
                <a:rect l="l" t="t" r="r" b="b"/>
                <a:pathLst>
                  <a:path w="8319" h="7129" extrusionOk="0">
                    <a:moveTo>
                      <a:pt x="4770" y="0"/>
                    </a:moveTo>
                    <a:cubicBezTo>
                      <a:pt x="1590" y="0"/>
                      <a:pt x="0" y="3771"/>
                      <a:pt x="2182" y="6026"/>
                    </a:cubicBezTo>
                    <a:cubicBezTo>
                      <a:pt x="2918" y="6787"/>
                      <a:pt x="3834" y="7129"/>
                      <a:pt x="4730" y="7129"/>
                    </a:cubicBezTo>
                    <a:cubicBezTo>
                      <a:pt x="6533" y="7129"/>
                      <a:pt x="8257" y="5747"/>
                      <a:pt x="8282" y="3623"/>
                    </a:cubicBezTo>
                    <a:cubicBezTo>
                      <a:pt x="8319" y="1664"/>
                      <a:pt x="6729" y="37"/>
                      <a:pt x="4770"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 name="Google Shape;1169;p53">
                <a:extLst>
                  <a:ext uri="{FF2B5EF4-FFF2-40B4-BE49-F238E27FC236}">
                    <a16:creationId xmlns:a16="http://schemas.microsoft.com/office/drawing/2014/main" id="{A6F313FB-AEE1-44EC-ADDC-411A9D126058}"/>
                  </a:ext>
                </a:extLst>
              </p:cNvPr>
              <p:cNvSpPr/>
              <p:nvPr/>
            </p:nvSpPr>
            <p:spPr>
              <a:xfrm>
                <a:off x="7294765" y="3996284"/>
                <a:ext cx="558547" cy="303259"/>
              </a:xfrm>
              <a:custGeom>
                <a:avLst/>
                <a:gdLst/>
                <a:ahLst/>
                <a:cxnLst/>
                <a:rect l="l" t="t" r="r" b="b"/>
                <a:pathLst>
                  <a:path w="30576" h="16601" extrusionOk="0">
                    <a:moveTo>
                      <a:pt x="29651" y="1"/>
                    </a:moveTo>
                    <a:cubicBezTo>
                      <a:pt x="29651" y="1"/>
                      <a:pt x="17266" y="3735"/>
                      <a:pt x="8615" y="6692"/>
                    </a:cubicBezTo>
                    <a:cubicBezTo>
                      <a:pt x="1" y="9650"/>
                      <a:pt x="1221" y="16601"/>
                      <a:pt x="1221" y="16601"/>
                    </a:cubicBezTo>
                    <a:cubicBezTo>
                      <a:pt x="1221" y="16601"/>
                      <a:pt x="4770" y="11499"/>
                      <a:pt x="14678" y="9465"/>
                    </a:cubicBezTo>
                    <a:cubicBezTo>
                      <a:pt x="24549" y="7469"/>
                      <a:pt x="30575" y="5916"/>
                      <a:pt x="30575" y="5916"/>
                    </a:cubicBezTo>
                    <a:lnTo>
                      <a:pt x="29651"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 name="Google Shape;1170;p53">
                <a:extLst>
                  <a:ext uri="{FF2B5EF4-FFF2-40B4-BE49-F238E27FC236}">
                    <a16:creationId xmlns:a16="http://schemas.microsoft.com/office/drawing/2014/main" id="{FF7A6263-3978-49DE-B4C2-AA7FACB62F11}"/>
                  </a:ext>
                </a:extLst>
              </p:cNvPr>
              <p:cNvSpPr/>
              <p:nvPr/>
            </p:nvSpPr>
            <p:spPr>
              <a:xfrm>
                <a:off x="7294765" y="4213758"/>
                <a:ext cx="160754" cy="137171"/>
              </a:xfrm>
              <a:custGeom>
                <a:avLst/>
                <a:gdLst/>
                <a:ahLst/>
                <a:cxnLst/>
                <a:rect l="l" t="t" r="r" b="b"/>
                <a:pathLst>
                  <a:path w="8800" h="7509" extrusionOk="0">
                    <a:moveTo>
                      <a:pt x="5029" y="0"/>
                    </a:moveTo>
                    <a:cubicBezTo>
                      <a:pt x="1701" y="0"/>
                      <a:pt x="1" y="3919"/>
                      <a:pt x="2256" y="6322"/>
                    </a:cubicBezTo>
                    <a:cubicBezTo>
                      <a:pt x="3024" y="7140"/>
                      <a:pt x="3997" y="7509"/>
                      <a:pt x="4954" y="7509"/>
                    </a:cubicBezTo>
                    <a:cubicBezTo>
                      <a:pt x="6809" y="7509"/>
                      <a:pt x="8604" y="6126"/>
                      <a:pt x="8726" y="3956"/>
                    </a:cubicBezTo>
                    <a:cubicBezTo>
                      <a:pt x="8800" y="1849"/>
                      <a:pt x="7136" y="74"/>
                      <a:pt x="502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 name="Google Shape;1171;p53">
                <a:extLst>
                  <a:ext uri="{FF2B5EF4-FFF2-40B4-BE49-F238E27FC236}">
                    <a16:creationId xmlns:a16="http://schemas.microsoft.com/office/drawing/2014/main" id="{9E6789CD-F938-42AD-AFF4-127618779F85}"/>
                  </a:ext>
                </a:extLst>
              </p:cNvPr>
              <p:cNvSpPr/>
              <p:nvPr/>
            </p:nvSpPr>
            <p:spPr>
              <a:xfrm>
                <a:off x="7317051" y="4213758"/>
                <a:ext cx="133060" cy="134412"/>
              </a:xfrm>
              <a:custGeom>
                <a:avLst/>
                <a:gdLst/>
                <a:ahLst/>
                <a:cxnLst/>
                <a:rect l="l" t="t" r="r" b="b"/>
                <a:pathLst>
                  <a:path w="7284" h="7358" extrusionOk="0">
                    <a:moveTo>
                      <a:pt x="3809" y="0"/>
                    </a:moveTo>
                    <a:cubicBezTo>
                      <a:pt x="1664" y="37"/>
                      <a:pt x="1" y="1812"/>
                      <a:pt x="1" y="3919"/>
                    </a:cubicBezTo>
                    <a:cubicBezTo>
                      <a:pt x="1" y="5324"/>
                      <a:pt x="740" y="6655"/>
                      <a:pt x="1923" y="7358"/>
                    </a:cubicBezTo>
                    <a:cubicBezTo>
                      <a:pt x="1849" y="7247"/>
                      <a:pt x="1775" y="7136"/>
                      <a:pt x="1701" y="7025"/>
                    </a:cubicBezTo>
                    <a:cubicBezTo>
                      <a:pt x="1036" y="5620"/>
                      <a:pt x="1369" y="3956"/>
                      <a:pt x="2552" y="2921"/>
                    </a:cubicBezTo>
                    <a:cubicBezTo>
                      <a:pt x="3444" y="2184"/>
                      <a:pt x="4315" y="1875"/>
                      <a:pt x="5145" y="1875"/>
                    </a:cubicBezTo>
                    <a:cubicBezTo>
                      <a:pt x="5898" y="1875"/>
                      <a:pt x="6616" y="2129"/>
                      <a:pt x="7284" y="2551"/>
                    </a:cubicBezTo>
                    <a:cubicBezTo>
                      <a:pt x="6766" y="1072"/>
                      <a:pt x="5362" y="37"/>
                      <a:pt x="380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 name="Google Shape;1172;p53">
                <a:extLst>
                  <a:ext uri="{FF2B5EF4-FFF2-40B4-BE49-F238E27FC236}">
                    <a16:creationId xmlns:a16="http://schemas.microsoft.com/office/drawing/2014/main" id="{BE46E370-EDA5-420B-9227-E7B31112F2C7}"/>
                  </a:ext>
                </a:extLst>
              </p:cNvPr>
              <p:cNvSpPr/>
              <p:nvPr/>
            </p:nvSpPr>
            <p:spPr>
              <a:xfrm>
                <a:off x="7852618" y="3996284"/>
                <a:ext cx="557195" cy="309342"/>
              </a:xfrm>
              <a:custGeom>
                <a:avLst/>
                <a:gdLst/>
                <a:ahLst/>
                <a:cxnLst/>
                <a:rect l="l" t="t" r="r" b="b"/>
                <a:pathLst>
                  <a:path w="30502" h="16934" extrusionOk="0">
                    <a:moveTo>
                      <a:pt x="962" y="1"/>
                    </a:moveTo>
                    <a:lnTo>
                      <a:pt x="0" y="5916"/>
                    </a:lnTo>
                    <a:cubicBezTo>
                      <a:pt x="0" y="5916"/>
                      <a:pt x="5990" y="7543"/>
                      <a:pt x="15861" y="9687"/>
                    </a:cubicBezTo>
                    <a:cubicBezTo>
                      <a:pt x="25732" y="11794"/>
                      <a:pt x="29170" y="16933"/>
                      <a:pt x="29170" y="16933"/>
                    </a:cubicBezTo>
                    <a:cubicBezTo>
                      <a:pt x="29170" y="16933"/>
                      <a:pt x="30501" y="10020"/>
                      <a:pt x="21887" y="6988"/>
                    </a:cubicBezTo>
                    <a:cubicBezTo>
                      <a:pt x="13273" y="3920"/>
                      <a:pt x="962" y="1"/>
                      <a:pt x="96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 name="Google Shape;1173;p53">
                <a:extLst>
                  <a:ext uri="{FF2B5EF4-FFF2-40B4-BE49-F238E27FC236}">
                    <a16:creationId xmlns:a16="http://schemas.microsoft.com/office/drawing/2014/main" id="{1FD24CD9-B2C5-4BE0-9B09-DB6A24DF027B}"/>
                  </a:ext>
                </a:extLst>
              </p:cNvPr>
              <p:cNvSpPr/>
              <p:nvPr/>
            </p:nvSpPr>
            <p:spPr>
              <a:xfrm>
                <a:off x="8248383" y="4219841"/>
                <a:ext cx="160078" cy="136513"/>
              </a:xfrm>
              <a:custGeom>
                <a:avLst/>
                <a:gdLst/>
                <a:ahLst/>
                <a:cxnLst/>
                <a:rect l="l" t="t" r="r" b="b"/>
                <a:pathLst>
                  <a:path w="8763" h="7473" extrusionOk="0">
                    <a:moveTo>
                      <a:pt x="3808" y="0"/>
                    </a:moveTo>
                    <a:cubicBezTo>
                      <a:pt x="1701" y="37"/>
                      <a:pt x="0" y="1775"/>
                      <a:pt x="37" y="3882"/>
                    </a:cubicBezTo>
                    <a:cubicBezTo>
                      <a:pt x="136" y="6069"/>
                      <a:pt x="1933" y="7472"/>
                      <a:pt x="3800" y="7472"/>
                    </a:cubicBezTo>
                    <a:cubicBezTo>
                      <a:pt x="4742" y="7472"/>
                      <a:pt x="5702" y="7115"/>
                      <a:pt x="6470" y="6322"/>
                    </a:cubicBezTo>
                    <a:cubicBezTo>
                      <a:pt x="8762" y="3956"/>
                      <a:pt x="7099" y="0"/>
                      <a:pt x="3808"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 name="Google Shape;1174;p53">
                <a:extLst>
                  <a:ext uri="{FF2B5EF4-FFF2-40B4-BE49-F238E27FC236}">
                    <a16:creationId xmlns:a16="http://schemas.microsoft.com/office/drawing/2014/main" id="{D444764D-E0D2-42F5-A322-A04AE3A9B35F}"/>
                  </a:ext>
                </a:extLst>
              </p:cNvPr>
              <p:cNvSpPr/>
              <p:nvPr/>
            </p:nvSpPr>
            <p:spPr>
              <a:xfrm>
                <a:off x="8253790" y="4219841"/>
                <a:ext cx="133060" cy="134412"/>
              </a:xfrm>
              <a:custGeom>
                <a:avLst/>
                <a:gdLst/>
                <a:ahLst/>
                <a:cxnLst/>
                <a:rect l="l" t="t" r="r" b="b"/>
                <a:pathLst>
                  <a:path w="7284" h="7358" extrusionOk="0">
                    <a:moveTo>
                      <a:pt x="3512" y="0"/>
                    </a:moveTo>
                    <a:cubicBezTo>
                      <a:pt x="1923" y="0"/>
                      <a:pt x="518" y="998"/>
                      <a:pt x="0" y="2477"/>
                    </a:cubicBezTo>
                    <a:cubicBezTo>
                      <a:pt x="657" y="2080"/>
                      <a:pt x="1362" y="1836"/>
                      <a:pt x="2100" y="1836"/>
                    </a:cubicBezTo>
                    <a:cubicBezTo>
                      <a:pt x="2941" y="1836"/>
                      <a:pt x="3826" y="2153"/>
                      <a:pt x="4732" y="2921"/>
                    </a:cubicBezTo>
                    <a:cubicBezTo>
                      <a:pt x="5878" y="3956"/>
                      <a:pt x="6211" y="5620"/>
                      <a:pt x="5509" y="7025"/>
                    </a:cubicBezTo>
                    <a:cubicBezTo>
                      <a:pt x="5435" y="7135"/>
                      <a:pt x="5361" y="7246"/>
                      <a:pt x="5287" y="7357"/>
                    </a:cubicBezTo>
                    <a:cubicBezTo>
                      <a:pt x="6507" y="6655"/>
                      <a:pt x="7246" y="5361"/>
                      <a:pt x="7246" y="3956"/>
                    </a:cubicBezTo>
                    <a:cubicBezTo>
                      <a:pt x="7283" y="1812"/>
                      <a:pt x="5620" y="37"/>
                      <a:pt x="3512"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 name="Google Shape;1175;p53">
                <a:extLst>
                  <a:ext uri="{FF2B5EF4-FFF2-40B4-BE49-F238E27FC236}">
                    <a16:creationId xmlns:a16="http://schemas.microsoft.com/office/drawing/2014/main" id="{D9337B55-AA85-42F6-8080-E5F3879EC098}"/>
                  </a:ext>
                </a:extLst>
              </p:cNvPr>
              <p:cNvSpPr/>
              <p:nvPr/>
            </p:nvSpPr>
            <p:spPr>
              <a:xfrm>
                <a:off x="7258979" y="3611205"/>
                <a:ext cx="875287" cy="315535"/>
              </a:xfrm>
              <a:custGeom>
                <a:avLst/>
                <a:gdLst/>
                <a:ahLst/>
                <a:cxnLst/>
                <a:rect l="l" t="t" r="r" b="b"/>
                <a:pathLst>
                  <a:path w="47915" h="17273" extrusionOk="0">
                    <a:moveTo>
                      <a:pt x="10057" y="0"/>
                    </a:moveTo>
                    <a:cubicBezTo>
                      <a:pt x="7502" y="0"/>
                      <a:pt x="5189" y="542"/>
                      <a:pt x="3771" y="2152"/>
                    </a:cubicBezTo>
                    <a:cubicBezTo>
                      <a:pt x="1331" y="4925"/>
                      <a:pt x="0" y="10137"/>
                      <a:pt x="4437" y="12060"/>
                    </a:cubicBezTo>
                    <a:cubicBezTo>
                      <a:pt x="12459" y="15461"/>
                      <a:pt x="24955" y="16164"/>
                      <a:pt x="33754" y="17051"/>
                    </a:cubicBezTo>
                    <a:cubicBezTo>
                      <a:pt x="35061" y="17187"/>
                      <a:pt x="36679" y="17273"/>
                      <a:pt x="38387" y="17273"/>
                    </a:cubicBezTo>
                    <a:cubicBezTo>
                      <a:pt x="41802" y="17273"/>
                      <a:pt x="45573" y="16928"/>
                      <a:pt x="47914" y="15942"/>
                    </a:cubicBezTo>
                    <a:lnTo>
                      <a:pt x="45141" y="8696"/>
                    </a:lnTo>
                    <a:cubicBezTo>
                      <a:pt x="42997" y="7919"/>
                      <a:pt x="40816" y="7513"/>
                      <a:pt x="38524" y="6958"/>
                    </a:cubicBezTo>
                    <a:cubicBezTo>
                      <a:pt x="32682" y="5479"/>
                      <a:pt x="26878" y="3335"/>
                      <a:pt x="21000" y="1893"/>
                    </a:cubicBezTo>
                    <a:cubicBezTo>
                      <a:pt x="18290" y="1227"/>
                      <a:pt x="13901" y="0"/>
                      <a:pt x="10057"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 name="Google Shape;1176;p53">
                <a:extLst>
                  <a:ext uri="{FF2B5EF4-FFF2-40B4-BE49-F238E27FC236}">
                    <a16:creationId xmlns:a16="http://schemas.microsoft.com/office/drawing/2014/main" id="{5DD28943-F039-4088-822E-DBF2CFDEECC6}"/>
                  </a:ext>
                </a:extLst>
              </p:cNvPr>
              <p:cNvSpPr/>
              <p:nvPr/>
            </p:nvSpPr>
            <p:spPr>
              <a:xfrm>
                <a:off x="7296793" y="3638022"/>
                <a:ext cx="788170" cy="199572"/>
              </a:xfrm>
              <a:custGeom>
                <a:avLst/>
                <a:gdLst/>
                <a:ahLst/>
                <a:cxnLst/>
                <a:rect l="l" t="t" r="r" b="b"/>
                <a:pathLst>
                  <a:path w="43146" h="10925" extrusionOk="0">
                    <a:moveTo>
                      <a:pt x="7244" y="1"/>
                    </a:moveTo>
                    <a:cubicBezTo>
                      <a:pt x="4676" y="1"/>
                      <a:pt x="2348" y="546"/>
                      <a:pt x="925" y="2163"/>
                    </a:cubicBezTo>
                    <a:cubicBezTo>
                      <a:pt x="592" y="2532"/>
                      <a:pt x="259" y="2976"/>
                      <a:pt x="1" y="3420"/>
                    </a:cubicBezTo>
                    <a:cubicBezTo>
                      <a:pt x="1477" y="2440"/>
                      <a:pt x="3492" y="2086"/>
                      <a:pt x="5684" y="2086"/>
                    </a:cubicBezTo>
                    <a:cubicBezTo>
                      <a:pt x="9860" y="2086"/>
                      <a:pt x="14678" y="3369"/>
                      <a:pt x="17636" y="4048"/>
                    </a:cubicBezTo>
                    <a:cubicBezTo>
                      <a:pt x="23958" y="5564"/>
                      <a:pt x="30206" y="7745"/>
                      <a:pt x="36491" y="9261"/>
                    </a:cubicBezTo>
                    <a:cubicBezTo>
                      <a:pt x="38783" y="9816"/>
                      <a:pt x="41001" y="10222"/>
                      <a:pt x="43145" y="10925"/>
                    </a:cubicBezTo>
                    <a:lnTo>
                      <a:pt x="42295" y="8706"/>
                    </a:lnTo>
                    <a:cubicBezTo>
                      <a:pt x="40151" y="7930"/>
                      <a:pt x="37969" y="7523"/>
                      <a:pt x="35677" y="6932"/>
                    </a:cubicBezTo>
                    <a:cubicBezTo>
                      <a:pt x="29836" y="5453"/>
                      <a:pt x="24032" y="3309"/>
                      <a:pt x="18153" y="1904"/>
                    </a:cubicBezTo>
                    <a:cubicBezTo>
                      <a:pt x="15452" y="1217"/>
                      <a:pt x="11080" y="1"/>
                      <a:pt x="7244"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 name="Google Shape;1177;p53">
                <a:extLst>
                  <a:ext uri="{FF2B5EF4-FFF2-40B4-BE49-F238E27FC236}">
                    <a16:creationId xmlns:a16="http://schemas.microsoft.com/office/drawing/2014/main" id="{3973958D-BFF2-4C48-A01A-2744562D95F0}"/>
                  </a:ext>
                </a:extLst>
              </p:cNvPr>
              <p:cNvSpPr/>
              <p:nvPr/>
            </p:nvSpPr>
            <p:spPr>
              <a:xfrm>
                <a:off x="7620292" y="2247445"/>
                <a:ext cx="1090058" cy="1685542"/>
              </a:xfrm>
              <a:custGeom>
                <a:avLst/>
                <a:gdLst/>
                <a:ahLst/>
                <a:cxnLst/>
                <a:rect l="l" t="t" r="r" b="b"/>
                <a:pathLst>
                  <a:path w="59672" h="92270" extrusionOk="0">
                    <a:moveTo>
                      <a:pt x="43955" y="0"/>
                    </a:moveTo>
                    <a:cubicBezTo>
                      <a:pt x="40892" y="0"/>
                      <a:pt x="37249" y="846"/>
                      <a:pt x="33607" y="3974"/>
                    </a:cubicBezTo>
                    <a:cubicBezTo>
                      <a:pt x="26767" y="9853"/>
                      <a:pt x="24068" y="23347"/>
                      <a:pt x="20445" y="27192"/>
                    </a:cubicBezTo>
                    <a:cubicBezTo>
                      <a:pt x="16970" y="30926"/>
                      <a:pt x="11942" y="35030"/>
                      <a:pt x="10722" y="39984"/>
                    </a:cubicBezTo>
                    <a:cubicBezTo>
                      <a:pt x="9354" y="45640"/>
                      <a:pt x="12423" y="48191"/>
                      <a:pt x="14419" y="52776"/>
                    </a:cubicBezTo>
                    <a:cubicBezTo>
                      <a:pt x="16416" y="57360"/>
                      <a:pt x="14900" y="59357"/>
                      <a:pt x="11720" y="63460"/>
                    </a:cubicBezTo>
                    <a:cubicBezTo>
                      <a:pt x="6249" y="70559"/>
                      <a:pt x="1" y="79654"/>
                      <a:pt x="8467" y="86604"/>
                    </a:cubicBezTo>
                    <a:cubicBezTo>
                      <a:pt x="13233" y="90492"/>
                      <a:pt x="20205" y="92270"/>
                      <a:pt x="27075" y="92270"/>
                    </a:cubicBezTo>
                    <a:cubicBezTo>
                      <a:pt x="29744" y="92270"/>
                      <a:pt x="32398" y="92001"/>
                      <a:pt x="34901" y="91484"/>
                    </a:cubicBezTo>
                    <a:cubicBezTo>
                      <a:pt x="46805" y="89044"/>
                      <a:pt x="43589" y="80467"/>
                      <a:pt x="42887" y="72518"/>
                    </a:cubicBezTo>
                    <a:cubicBezTo>
                      <a:pt x="42147" y="63682"/>
                      <a:pt x="47508" y="56880"/>
                      <a:pt x="50392" y="48339"/>
                    </a:cubicBezTo>
                    <a:cubicBezTo>
                      <a:pt x="53312" y="39503"/>
                      <a:pt x="53941" y="33847"/>
                      <a:pt x="54902" y="21683"/>
                    </a:cubicBezTo>
                    <a:cubicBezTo>
                      <a:pt x="55567" y="13032"/>
                      <a:pt x="59671" y="3235"/>
                      <a:pt x="49061" y="684"/>
                    </a:cubicBezTo>
                    <a:cubicBezTo>
                      <a:pt x="47715" y="362"/>
                      <a:pt x="45959" y="0"/>
                      <a:pt x="4395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 name="Google Shape;1178;p53">
                <a:extLst>
                  <a:ext uri="{FF2B5EF4-FFF2-40B4-BE49-F238E27FC236}">
                    <a16:creationId xmlns:a16="http://schemas.microsoft.com/office/drawing/2014/main" id="{2B7C4E1A-4E0A-40B7-AA50-86EF543E6896}"/>
                  </a:ext>
                </a:extLst>
              </p:cNvPr>
              <p:cNvSpPr/>
              <p:nvPr/>
            </p:nvSpPr>
            <p:spPr>
              <a:xfrm>
                <a:off x="7635819" y="2247408"/>
                <a:ext cx="984034" cy="1682035"/>
              </a:xfrm>
              <a:custGeom>
                <a:avLst/>
                <a:gdLst/>
                <a:ahLst/>
                <a:cxnLst/>
                <a:rect l="l" t="t" r="r" b="b"/>
                <a:pathLst>
                  <a:path w="53868" h="92078" extrusionOk="0">
                    <a:moveTo>
                      <a:pt x="43548" y="1"/>
                    </a:moveTo>
                    <a:cubicBezTo>
                      <a:pt x="40487" y="1"/>
                      <a:pt x="36878" y="929"/>
                      <a:pt x="33201" y="4087"/>
                    </a:cubicBezTo>
                    <a:cubicBezTo>
                      <a:pt x="26361" y="9966"/>
                      <a:pt x="23625" y="23460"/>
                      <a:pt x="20039" y="27305"/>
                    </a:cubicBezTo>
                    <a:cubicBezTo>
                      <a:pt x="16527" y="31039"/>
                      <a:pt x="11499" y="35143"/>
                      <a:pt x="10279" y="40097"/>
                    </a:cubicBezTo>
                    <a:cubicBezTo>
                      <a:pt x="8911" y="45753"/>
                      <a:pt x="12016" y="48304"/>
                      <a:pt x="13976" y="52889"/>
                    </a:cubicBezTo>
                    <a:cubicBezTo>
                      <a:pt x="15972" y="57473"/>
                      <a:pt x="14456" y="59506"/>
                      <a:pt x="11277" y="63573"/>
                    </a:cubicBezTo>
                    <a:cubicBezTo>
                      <a:pt x="5842" y="70672"/>
                      <a:pt x="1" y="80580"/>
                      <a:pt x="8504" y="87530"/>
                    </a:cubicBezTo>
                    <a:cubicBezTo>
                      <a:pt x="12201" y="90525"/>
                      <a:pt x="17192" y="91412"/>
                      <a:pt x="22479" y="92078"/>
                    </a:cubicBezTo>
                    <a:cubicBezTo>
                      <a:pt x="21444" y="91486"/>
                      <a:pt x="20002" y="90895"/>
                      <a:pt x="19115" y="90155"/>
                    </a:cubicBezTo>
                    <a:cubicBezTo>
                      <a:pt x="10611" y="83205"/>
                      <a:pt x="16896" y="74110"/>
                      <a:pt x="22368" y="67012"/>
                    </a:cubicBezTo>
                    <a:cubicBezTo>
                      <a:pt x="25511" y="62908"/>
                      <a:pt x="27063" y="60911"/>
                      <a:pt x="25067" y="56327"/>
                    </a:cubicBezTo>
                    <a:cubicBezTo>
                      <a:pt x="23071" y="51743"/>
                      <a:pt x="19965" y="49192"/>
                      <a:pt x="21370" y="43535"/>
                    </a:cubicBezTo>
                    <a:cubicBezTo>
                      <a:pt x="22590" y="38581"/>
                      <a:pt x="27581" y="34477"/>
                      <a:pt x="31093" y="30743"/>
                    </a:cubicBezTo>
                    <a:cubicBezTo>
                      <a:pt x="34716" y="26898"/>
                      <a:pt x="37415" y="13404"/>
                      <a:pt x="44255" y="7526"/>
                    </a:cubicBezTo>
                    <a:cubicBezTo>
                      <a:pt x="47582" y="4679"/>
                      <a:pt x="50983" y="4161"/>
                      <a:pt x="53867" y="4050"/>
                    </a:cubicBezTo>
                    <a:cubicBezTo>
                      <a:pt x="52684" y="2202"/>
                      <a:pt x="50983" y="1536"/>
                      <a:pt x="48617" y="797"/>
                    </a:cubicBezTo>
                    <a:cubicBezTo>
                      <a:pt x="47234" y="379"/>
                      <a:pt x="45503" y="1"/>
                      <a:pt x="4354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 name="Google Shape;1179;p53">
                <a:extLst>
                  <a:ext uri="{FF2B5EF4-FFF2-40B4-BE49-F238E27FC236}">
                    <a16:creationId xmlns:a16="http://schemas.microsoft.com/office/drawing/2014/main" id="{AC4D7263-29F0-47D7-A5EA-AD39D4AFE71C}"/>
                  </a:ext>
                </a:extLst>
              </p:cNvPr>
              <p:cNvSpPr/>
              <p:nvPr/>
            </p:nvSpPr>
            <p:spPr>
              <a:xfrm>
                <a:off x="7743890" y="2287615"/>
                <a:ext cx="714552" cy="1612107"/>
              </a:xfrm>
              <a:custGeom>
                <a:avLst/>
                <a:gdLst/>
                <a:ahLst/>
                <a:cxnLst/>
                <a:rect l="l" t="t" r="r" b="b"/>
                <a:pathLst>
                  <a:path w="39116" h="88250" extrusionOk="0">
                    <a:moveTo>
                      <a:pt x="39115" y="1"/>
                    </a:moveTo>
                    <a:lnTo>
                      <a:pt x="39115" y="1"/>
                    </a:lnTo>
                    <a:cubicBezTo>
                      <a:pt x="37119" y="703"/>
                      <a:pt x="35270" y="1812"/>
                      <a:pt x="33717" y="3254"/>
                    </a:cubicBezTo>
                    <a:cubicBezTo>
                      <a:pt x="26878" y="9317"/>
                      <a:pt x="24142" y="23182"/>
                      <a:pt x="20556" y="27137"/>
                    </a:cubicBezTo>
                    <a:cubicBezTo>
                      <a:pt x="17044" y="30982"/>
                      <a:pt x="12016" y="35197"/>
                      <a:pt x="10796" y="40299"/>
                    </a:cubicBezTo>
                    <a:cubicBezTo>
                      <a:pt x="9428" y="46140"/>
                      <a:pt x="12496" y="48765"/>
                      <a:pt x="14493" y="53461"/>
                    </a:cubicBezTo>
                    <a:cubicBezTo>
                      <a:pt x="16489" y="58193"/>
                      <a:pt x="14973" y="60263"/>
                      <a:pt x="11794" y="64478"/>
                    </a:cubicBezTo>
                    <a:cubicBezTo>
                      <a:pt x="6396" y="71687"/>
                      <a:pt x="0" y="81115"/>
                      <a:pt x="8208" y="88250"/>
                    </a:cubicBezTo>
                    <a:cubicBezTo>
                      <a:pt x="7986" y="87917"/>
                      <a:pt x="7579" y="87437"/>
                      <a:pt x="7320" y="87141"/>
                    </a:cubicBezTo>
                    <a:cubicBezTo>
                      <a:pt x="1442" y="79414"/>
                      <a:pt x="6914" y="71317"/>
                      <a:pt x="12127" y="64367"/>
                    </a:cubicBezTo>
                    <a:cubicBezTo>
                      <a:pt x="15269" y="60152"/>
                      <a:pt x="16822" y="58082"/>
                      <a:pt x="14825" y="53387"/>
                    </a:cubicBezTo>
                    <a:cubicBezTo>
                      <a:pt x="12829" y="48654"/>
                      <a:pt x="9760" y="46029"/>
                      <a:pt x="11128" y="40225"/>
                    </a:cubicBezTo>
                    <a:cubicBezTo>
                      <a:pt x="12348" y="35123"/>
                      <a:pt x="17376" y="30908"/>
                      <a:pt x="20889" y="27063"/>
                    </a:cubicBezTo>
                    <a:cubicBezTo>
                      <a:pt x="24475" y="23108"/>
                      <a:pt x="27211" y="9207"/>
                      <a:pt x="34013" y="3143"/>
                    </a:cubicBezTo>
                    <a:cubicBezTo>
                      <a:pt x="35529" y="1812"/>
                      <a:pt x="37230" y="740"/>
                      <a:pt x="39115"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 name="Google Shape;1180;p53">
                <a:extLst>
                  <a:ext uri="{FF2B5EF4-FFF2-40B4-BE49-F238E27FC236}">
                    <a16:creationId xmlns:a16="http://schemas.microsoft.com/office/drawing/2014/main" id="{E4AEF164-9095-40F2-851D-C8BD1C8262EC}"/>
                  </a:ext>
                </a:extLst>
              </p:cNvPr>
              <p:cNvSpPr/>
              <p:nvPr/>
            </p:nvSpPr>
            <p:spPr>
              <a:xfrm>
                <a:off x="7616912" y="2246951"/>
                <a:ext cx="803021" cy="1619688"/>
              </a:xfrm>
              <a:custGeom>
                <a:avLst/>
                <a:gdLst/>
                <a:ahLst/>
                <a:cxnLst/>
                <a:rect l="l" t="t" r="r" b="b"/>
                <a:pathLst>
                  <a:path w="43959" h="88665" extrusionOk="0">
                    <a:moveTo>
                      <a:pt x="43496" y="0"/>
                    </a:moveTo>
                    <a:cubicBezTo>
                      <a:pt x="40442" y="0"/>
                      <a:pt x="36783" y="1061"/>
                      <a:pt x="33089" y="4297"/>
                    </a:cubicBezTo>
                    <a:cubicBezTo>
                      <a:pt x="26361" y="10139"/>
                      <a:pt x="23699" y="23596"/>
                      <a:pt x="20150" y="27441"/>
                    </a:cubicBezTo>
                    <a:cubicBezTo>
                      <a:pt x="16711" y="31175"/>
                      <a:pt x="11757" y="35279"/>
                      <a:pt x="10574" y="40196"/>
                    </a:cubicBezTo>
                    <a:cubicBezTo>
                      <a:pt x="9206" y="45852"/>
                      <a:pt x="12238" y="48403"/>
                      <a:pt x="14197" y="52951"/>
                    </a:cubicBezTo>
                    <a:cubicBezTo>
                      <a:pt x="16194" y="57535"/>
                      <a:pt x="14641" y="59531"/>
                      <a:pt x="11573" y="63635"/>
                    </a:cubicBezTo>
                    <a:cubicBezTo>
                      <a:pt x="6175" y="70697"/>
                      <a:pt x="1" y="79791"/>
                      <a:pt x="8393" y="86705"/>
                    </a:cubicBezTo>
                    <a:cubicBezTo>
                      <a:pt x="9243" y="87407"/>
                      <a:pt x="10131" y="88073"/>
                      <a:pt x="11055" y="88664"/>
                    </a:cubicBezTo>
                    <a:cubicBezTo>
                      <a:pt x="9835" y="87629"/>
                      <a:pt x="8763" y="86409"/>
                      <a:pt x="7875" y="85041"/>
                    </a:cubicBezTo>
                    <a:cubicBezTo>
                      <a:pt x="3032" y="77277"/>
                      <a:pt x="7765" y="70142"/>
                      <a:pt x="12719" y="63635"/>
                    </a:cubicBezTo>
                    <a:cubicBezTo>
                      <a:pt x="15824" y="59568"/>
                      <a:pt x="17340" y="57535"/>
                      <a:pt x="15381" y="52988"/>
                    </a:cubicBezTo>
                    <a:cubicBezTo>
                      <a:pt x="13421" y="48403"/>
                      <a:pt x="10389" y="45889"/>
                      <a:pt x="11720" y="40233"/>
                    </a:cubicBezTo>
                    <a:cubicBezTo>
                      <a:pt x="12903" y="35279"/>
                      <a:pt x="17858" y="31175"/>
                      <a:pt x="21333" y="27441"/>
                    </a:cubicBezTo>
                    <a:cubicBezTo>
                      <a:pt x="24882" y="23633"/>
                      <a:pt x="27544" y="10176"/>
                      <a:pt x="34273" y="4297"/>
                    </a:cubicBezTo>
                    <a:cubicBezTo>
                      <a:pt x="37674" y="1303"/>
                      <a:pt x="41297" y="637"/>
                      <a:pt x="43959" y="9"/>
                    </a:cubicBezTo>
                    <a:cubicBezTo>
                      <a:pt x="43806" y="3"/>
                      <a:pt x="43652" y="0"/>
                      <a:pt x="43496"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 name="Google Shape;1181;p53">
                <a:extLst>
                  <a:ext uri="{FF2B5EF4-FFF2-40B4-BE49-F238E27FC236}">
                    <a16:creationId xmlns:a16="http://schemas.microsoft.com/office/drawing/2014/main" id="{2C134F57-C3C3-4ACA-AC1F-5BB18F71DBAF}"/>
                  </a:ext>
                </a:extLst>
              </p:cNvPr>
              <p:cNvSpPr/>
              <p:nvPr/>
            </p:nvSpPr>
            <p:spPr>
              <a:xfrm>
                <a:off x="8052519" y="2826945"/>
                <a:ext cx="520733" cy="1101658"/>
              </a:xfrm>
              <a:custGeom>
                <a:avLst/>
                <a:gdLst/>
                <a:ahLst/>
                <a:cxnLst/>
                <a:rect l="l" t="t" r="r" b="b"/>
                <a:pathLst>
                  <a:path w="28506" h="60307" extrusionOk="0">
                    <a:moveTo>
                      <a:pt x="18204" y="0"/>
                    </a:moveTo>
                    <a:cubicBezTo>
                      <a:pt x="17919" y="0"/>
                      <a:pt x="17665" y="29"/>
                      <a:pt x="17451" y="90"/>
                    </a:cubicBezTo>
                    <a:cubicBezTo>
                      <a:pt x="6249" y="3233"/>
                      <a:pt x="8726" y="26783"/>
                      <a:pt x="8726" y="26783"/>
                    </a:cubicBezTo>
                    <a:cubicBezTo>
                      <a:pt x="8689" y="33068"/>
                      <a:pt x="6249" y="38022"/>
                      <a:pt x="4252" y="43864"/>
                    </a:cubicBezTo>
                    <a:cubicBezTo>
                      <a:pt x="2921" y="47672"/>
                      <a:pt x="1" y="55953"/>
                      <a:pt x="4068" y="58948"/>
                    </a:cubicBezTo>
                    <a:cubicBezTo>
                      <a:pt x="5357" y="59898"/>
                      <a:pt x="6691" y="60306"/>
                      <a:pt x="7974" y="60306"/>
                    </a:cubicBezTo>
                    <a:cubicBezTo>
                      <a:pt x="11584" y="60306"/>
                      <a:pt x="14780" y="57069"/>
                      <a:pt x="15381" y="53550"/>
                    </a:cubicBezTo>
                    <a:cubicBezTo>
                      <a:pt x="16305" y="48078"/>
                      <a:pt x="15824" y="42015"/>
                      <a:pt x="15861" y="36396"/>
                    </a:cubicBezTo>
                    <a:cubicBezTo>
                      <a:pt x="15898" y="25785"/>
                      <a:pt x="28505" y="14065"/>
                      <a:pt x="25178" y="3418"/>
                    </a:cubicBezTo>
                    <a:cubicBezTo>
                      <a:pt x="24685" y="1840"/>
                      <a:pt x="20482" y="0"/>
                      <a:pt x="1820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 name="Google Shape;1182;p53">
                <a:extLst>
                  <a:ext uri="{FF2B5EF4-FFF2-40B4-BE49-F238E27FC236}">
                    <a16:creationId xmlns:a16="http://schemas.microsoft.com/office/drawing/2014/main" id="{200F8AA0-FDC8-4181-ACCE-3D68E717D3C4}"/>
                  </a:ext>
                </a:extLst>
              </p:cNvPr>
              <p:cNvSpPr/>
              <p:nvPr/>
            </p:nvSpPr>
            <p:spPr>
              <a:xfrm>
                <a:off x="7372438" y="3233616"/>
                <a:ext cx="481550" cy="194713"/>
              </a:xfrm>
              <a:custGeom>
                <a:avLst/>
                <a:gdLst/>
                <a:ahLst/>
                <a:cxnLst/>
                <a:rect l="l" t="t" r="r" b="b"/>
                <a:pathLst>
                  <a:path w="26361" h="10659" extrusionOk="0">
                    <a:moveTo>
                      <a:pt x="3426" y="0"/>
                    </a:moveTo>
                    <a:cubicBezTo>
                      <a:pt x="2710" y="0"/>
                      <a:pt x="2099" y="87"/>
                      <a:pt x="1701" y="307"/>
                    </a:cubicBezTo>
                    <a:cubicBezTo>
                      <a:pt x="814" y="861"/>
                      <a:pt x="222" y="1711"/>
                      <a:pt x="0" y="2747"/>
                    </a:cubicBezTo>
                    <a:lnTo>
                      <a:pt x="1257" y="2747"/>
                    </a:lnTo>
                    <a:cubicBezTo>
                      <a:pt x="2182" y="2821"/>
                      <a:pt x="3106" y="2968"/>
                      <a:pt x="4030" y="3190"/>
                    </a:cubicBezTo>
                    <a:cubicBezTo>
                      <a:pt x="5102" y="3412"/>
                      <a:pt x="6174" y="3671"/>
                      <a:pt x="7247" y="3930"/>
                    </a:cubicBezTo>
                    <a:cubicBezTo>
                      <a:pt x="9058" y="4373"/>
                      <a:pt x="10870" y="4669"/>
                      <a:pt x="12718" y="5076"/>
                    </a:cubicBezTo>
                    <a:cubicBezTo>
                      <a:pt x="14789" y="5556"/>
                      <a:pt x="16859" y="6074"/>
                      <a:pt x="18855" y="6740"/>
                    </a:cubicBezTo>
                    <a:cubicBezTo>
                      <a:pt x="20741" y="7294"/>
                      <a:pt x="22515" y="8070"/>
                      <a:pt x="24179" y="9032"/>
                    </a:cubicBezTo>
                    <a:cubicBezTo>
                      <a:pt x="24919" y="9401"/>
                      <a:pt x="25510" y="9956"/>
                      <a:pt x="25917" y="10658"/>
                    </a:cubicBezTo>
                    <a:cubicBezTo>
                      <a:pt x="26360" y="9069"/>
                      <a:pt x="25843" y="6444"/>
                      <a:pt x="24105" y="5335"/>
                    </a:cubicBezTo>
                    <a:cubicBezTo>
                      <a:pt x="23588" y="5002"/>
                      <a:pt x="19632" y="3893"/>
                      <a:pt x="18264" y="3486"/>
                    </a:cubicBezTo>
                    <a:cubicBezTo>
                      <a:pt x="15232" y="2599"/>
                      <a:pt x="12164" y="1638"/>
                      <a:pt x="9095" y="898"/>
                    </a:cubicBezTo>
                    <a:cubicBezTo>
                      <a:pt x="7717" y="554"/>
                      <a:pt x="5238" y="0"/>
                      <a:pt x="3426"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 name="Google Shape;1183;p53">
                <a:extLst>
                  <a:ext uri="{FF2B5EF4-FFF2-40B4-BE49-F238E27FC236}">
                    <a16:creationId xmlns:a16="http://schemas.microsoft.com/office/drawing/2014/main" id="{65E72154-4F55-43D5-A288-E871350FF2C7}"/>
                  </a:ext>
                </a:extLst>
              </p:cNvPr>
              <p:cNvSpPr/>
              <p:nvPr/>
            </p:nvSpPr>
            <p:spPr>
              <a:xfrm>
                <a:off x="7368383" y="3281751"/>
                <a:ext cx="477494" cy="187425"/>
              </a:xfrm>
              <a:custGeom>
                <a:avLst/>
                <a:gdLst/>
                <a:ahLst/>
                <a:cxnLst/>
                <a:rect l="l" t="t" r="r" b="b"/>
                <a:pathLst>
                  <a:path w="26139" h="10260" extrusionOk="0">
                    <a:moveTo>
                      <a:pt x="185" y="1"/>
                    </a:moveTo>
                    <a:cubicBezTo>
                      <a:pt x="1" y="777"/>
                      <a:pt x="148" y="1554"/>
                      <a:pt x="592" y="2182"/>
                    </a:cubicBezTo>
                    <a:cubicBezTo>
                      <a:pt x="2071" y="4031"/>
                      <a:pt x="6766" y="5251"/>
                      <a:pt x="9280" y="6138"/>
                    </a:cubicBezTo>
                    <a:cubicBezTo>
                      <a:pt x="12718" y="7284"/>
                      <a:pt x="16268" y="8652"/>
                      <a:pt x="19743" y="9724"/>
                    </a:cubicBezTo>
                    <a:cubicBezTo>
                      <a:pt x="20867" y="10073"/>
                      <a:pt x="21874" y="10259"/>
                      <a:pt x="22748" y="10259"/>
                    </a:cubicBezTo>
                    <a:cubicBezTo>
                      <a:pt x="24373" y="10259"/>
                      <a:pt x="25538" y="9614"/>
                      <a:pt x="26139" y="8171"/>
                    </a:cubicBezTo>
                    <a:lnTo>
                      <a:pt x="26139" y="8134"/>
                    </a:lnTo>
                    <a:cubicBezTo>
                      <a:pt x="25584" y="6249"/>
                      <a:pt x="21333" y="4733"/>
                      <a:pt x="19114" y="4031"/>
                    </a:cubicBezTo>
                    <a:cubicBezTo>
                      <a:pt x="17118" y="3365"/>
                      <a:pt x="15048" y="2811"/>
                      <a:pt x="12977" y="2367"/>
                    </a:cubicBezTo>
                    <a:cubicBezTo>
                      <a:pt x="11129" y="1960"/>
                      <a:pt x="9280" y="1664"/>
                      <a:pt x="7469" y="1184"/>
                    </a:cubicBezTo>
                    <a:cubicBezTo>
                      <a:pt x="5472" y="740"/>
                      <a:pt x="3328" y="112"/>
                      <a:pt x="1295"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 name="Google Shape;1184;p53">
                <a:extLst>
                  <a:ext uri="{FF2B5EF4-FFF2-40B4-BE49-F238E27FC236}">
                    <a16:creationId xmlns:a16="http://schemas.microsoft.com/office/drawing/2014/main" id="{24277B2D-8914-4596-8AC5-779CDFCE36B0}"/>
                  </a:ext>
                </a:extLst>
              </p:cNvPr>
              <p:cNvSpPr/>
              <p:nvPr/>
            </p:nvSpPr>
            <p:spPr>
              <a:xfrm>
                <a:off x="7383234" y="3239881"/>
                <a:ext cx="229093" cy="58474"/>
              </a:xfrm>
              <a:custGeom>
                <a:avLst/>
                <a:gdLst/>
                <a:ahLst/>
                <a:cxnLst/>
                <a:rect l="l" t="t" r="r" b="b"/>
                <a:pathLst>
                  <a:path w="12541" h="3201" extrusionOk="0">
                    <a:moveTo>
                      <a:pt x="1110" y="1"/>
                    </a:moveTo>
                    <a:cubicBezTo>
                      <a:pt x="703" y="333"/>
                      <a:pt x="334" y="666"/>
                      <a:pt x="1" y="1036"/>
                    </a:cubicBezTo>
                    <a:cubicBezTo>
                      <a:pt x="61" y="1024"/>
                      <a:pt x="142" y="1018"/>
                      <a:pt x="241" y="1018"/>
                    </a:cubicBezTo>
                    <a:cubicBezTo>
                      <a:pt x="1970" y="1018"/>
                      <a:pt x="9285" y="2754"/>
                      <a:pt x="10648" y="3069"/>
                    </a:cubicBezTo>
                    <a:cubicBezTo>
                      <a:pt x="11036" y="3160"/>
                      <a:pt x="11363" y="3201"/>
                      <a:pt x="11619" y="3201"/>
                    </a:cubicBezTo>
                    <a:cubicBezTo>
                      <a:pt x="12510" y="3201"/>
                      <a:pt x="12541" y="2703"/>
                      <a:pt x="11277" y="2071"/>
                    </a:cubicBezTo>
                    <a:cubicBezTo>
                      <a:pt x="9613" y="1258"/>
                      <a:pt x="1110" y="1"/>
                      <a:pt x="1110"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 name="Google Shape;1185;p53">
                <a:extLst>
                  <a:ext uri="{FF2B5EF4-FFF2-40B4-BE49-F238E27FC236}">
                    <a16:creationId xmlns:a16="http://schemas.microsoft.com/office/drawing/2014/main" id="{7245C363-696F-4220-8A39-FE62FEA088A6}"/>
                  </a:ext>
                </a:extLst>
              </p:cNvPr>
              <p:cNvSpPr/>
              <p:nvPr/>
            </p:nvSpPr>
            <p:spPr>
              <a:xfrm>
                <a:off x="7442001" y="3375627"/>
                <a:ext cx="238409" cy="461492"/>
              </a:xfrm>
              <a:custGeom>
                <a:avLst/>
                <a:gdLst/>
                <a:ahLst/>
                <a:cxnLst/>
                <a:rect l="l" t="t" r="r" b="b"/>
                <a:pathLst>
                  <a:path w="13051" h="25263" extrusionOk="0">
                    <a:moveTo>
                      <a:pt x="8097" y="1"/>
                    </a:moveTo>
                    <a:cubicBezTo>
                      <a:pt x="8097" y="1"/>
                      <a:pt x="666" y="21555"/>
                      <a:pt x="0" y="23070"/>
                    </a:cubicBezTo>
                    <a:cubicBezTo>
                      <a:pt x="1522" y="24408"/>
                      <a:pt x="3565" y="25262"/>
                      <a:pt x="5482" y="25262"/>
                    </a:cubicBezTo>
                    <a:cubicBezTo>
                      <a:pt x="6266" y="25262"/>
                      <a:pt x="7029" y="25119"/>
                      <a:pt x="7727" y="24808"/>
                    </a:cubicBezTo>
                    <a:cubicBezTo>
                      <a:pt x="10352" y="16564"/>
                      <a:pt x="13051" y="1184"/>
                      <a:pt x="13051" y="1184"/>
                    </a:cubicBezTo>
                    <a:lnTo>
                      <a:pt x="8097"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87" name="Google Shape;789;p51">
            <a:extLst>
              <a:ext uri="{FF2B5EF4-FFF2-40B4-BE49-F238E27FC236}">
                <a16:creationId xmlns:a16="http://schemas.microsoft.com/office/drawing/2014/main" id="{08A4F56E-C3F2-4B33-AD58-B0918364123D}"/>
              </a:ext>
            </a:extLst>
          </p:cNvPr>
          <p:cNvSpPr txBox="1">
            <a:spLocks/>
          </p:cNvSpPr>
          <p:nvPr/>
        </p:nvSpPr>
        <p:spPr>
          <a:xfrm>
            <a:off x="2032433" y="3831356"/>
            <a:ext cx="3962492" cy="80407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l-GR" sz="2000" b="1" kern="0" dirty="0">
                <a:solidFill>
                  <a:srgbClr val="FFFFFF"/>
                </a:solidFill>
                <a:latin typeface="Arial" panose="020B0604020202020204" pitchFamily="34" charset="0"/>
                <a:cs typeface="Arial" panose="020B0604020202020204" pitchFamily="34" charset="0"/>
              </a:rPr>
              <a:t>Έρευνα για το </a:t>
            </a:r>
            <a:r>
              <a:rPr lang="en-US" sz="2000" b="1" kern="0" dirty="0">
                <a:solidFill>
                  <a:srgbClr val="FFFFFF"/>
                </a:solidFill>
                <a:latin typeface="Arial" panose="020B0604020202020204" pitchFamily="34" charset="0"/>
                <a:cs typeface="Arial" panose="020B0604020202020204" pitchFamily="34" charset="0"/>
              </a:rPr>
              <a:t>metaverse</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AV/VR </a:t>
            </a:r>
            <a:r>
              <a:rPr kumimoji="0" lang="el-GR"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στην κοινωνία</a:t>
            </a:r>
            <a:endParaRPr kumimoji="0" lang="en-US"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sz="2000" b="1" kern="0" dirty="0">
                <a:solidFill>
                  <a:srgbClr val="FFFFFF"/>
                </a:solidFill>
                <a:latin typeface="Arial" panose="020B0604020202020204" pitchFamily="34" charset="0"/>
                <a:cs typeface="Arial" panose="020B0604020202020204" pitchFamily="34" charset="0"/>
              </a:rPr>
              <a:t>Gameplay Mechanics</a:t>
            </a:r>
            <a:endParaRPr kumimoji="0" lang="en-US"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sp>
        <p:nvSpPr>
          <p:cNvPr id="688" name="Google Shape;5593;p92">
            <a:extLst>
              <a:ext uri="{FF2B5EF4-FFF2-40B4-BE49-F238E27FC236}">
                <a16:creationId xmlns:a16="http://schemas.microsoft.com/office/drawing/2014/main" id="{C4591271-3880-43F6-BB87-94A3BA420AFB}"/>
              </a:ext>
            </a:extLst>
          </p:cNvPr>
          <p:cNvSpPr/>
          <p:nvPr/>
        </p:nvSpPr>
        <p:spPr>
          <a:xfrm>
            <a:off x="2035049" y="3869263"/>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 name="Google Shape;5593;p92">
            <a:extLst>
              <a:ext uri="{FF2B5EF4-FFF2-40B4-BE49-F238E27FC236}">
                <a16:creationId xmlns:a16="http://schemas.microsoft.com/office/drawing/2014/main" id="{90DA3FD3-8020-482E-99B3-E8EE4EF110A6}"/>
              </a:ext>
            </a:extLst>
          </p:cNvPr>
          <p:cNvSpPr/>
          <p:nvPr/>
        </p:nvSpPr>
        <p:spPr>
          <a:xfrm>
            <a:off x="2035049" y="4132100"/>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 name="Google Shape;5593;p92">
            <a:extLst>
              <a:ext uri="{FF2B5EF4-FFF2-40B4-BE49-F238E27FC236}">
                <a16:creationId xmlns:a16="http://schemas.microsoft.com/office/drawing/2014/main" id="{A60105B6-0CF5-4149-BFA6-17AD38B93BDD}"/>
              </a:ext>
            </a:extLst>
          </p:cNvPr>
          <p:cNvSpPr/>
          <p:nvPr/>
        </p:nvSpPr>
        <p:spPr>
          <a:xfrm>
            <a:off x="2035049" y="439493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0292510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1;p2">
            <a:extLst>
              <a:ext uri="{FF2B5EF4-FFF2-40B4-BE49-F238E27FC236}">
                <a16:creationId xmlns:a16="http://schemas.microsoft.com/office/drawing/2014/main" id="{BA15C80B-26EA-4133-A988-D7BAF12320EE}"/>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5F91BEEC-DCF9-486F-B06D-435AD084A4FE}"/>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1229;p54">
            <a:extLst>
              <a:ext uri="{FF2B5EF4-FFF2-40B4-BE49-F238E27FC236}">
                <a16:creationId xmlns:a16="http://schemas.microsoft.com/office/drawing/2014/main" id="{74E8B88E-F870-451E-9CDE-4F6800FF1F9E}"/>
              </a:ext>
            </a:extLst>
          </p:cNvPr>
          <p:cNvSpPr txBox="1">
            <a:spLocks/>
          </p:cNvSpPr>
          <p:nvPr/>
        </p:nvSpPr>
        <p:spPr>
          <a:xfrm>
            <a:off x="1678320" y="598452"/>
            <a:ext cx="7709100" cy="58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35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aira SemiCondensed ExtraBold"/>
              </a:rPr>
              <a:t>Τι ερευνήθηκε?</a:t>
            </a:r>
            <a:endParaRPr kumimoji="0" lang="en-US" sz="35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aira SemiCondensed ExtraBold"/>
            </a:endParaRPr>
          </a:p>
        </p:txBody>
      </p:sp>
      <p:sp>
        <p:nvSpPr>
          <p:cNvPr id="6" name="Google Shape;1231;p54">
            <a:extLst>
              <a:ext uri="{FF2B5EF4-FFF2-40B4-BE49-F238E27FC236}">
                <a16:creationId xmlns:a16="http://schemas.microsoft.com/office/drawing/2014/main" id="{EF6F2BE8-91AE-4540-A0FB-0CBE84E4BC08}"/>
              </a:ext>
            </a:extLst>
          </p:cNvPr>
          <p:cNvSpPr txBox="1">
            <a:spLocks/>
          </p:cNvSpPr>
          <p:nvPr/>
        </p:nvSpPr>
        <p:spPr>
          <a:xfrm>
            <a:off x="1686917" y="3086741"/>
            <a:ext cx="1947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rgbClr val="F7743C"/>
                </a:solidFill>
                <a:effectLst/>
                <a:uLnTx/>
                <a:uFillTx/>
                <a:latin typeface="Saira SemiCondensed ExtraBold"/>
                <a:sym typeface="Saira SemiCondensed ExtraBold"/>
              </a:rPr>
              <a:t>Metaverse</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grpSp>
        <p:nvGrpSpPr>
          <p:cNvPr id="8" name="Google Shape;1253;p54">
            <a:extLst>
              <a:ext uri="{FF2B5EF4-FFF2-40B4-BE49-F238E27FC236}">
                <a16:creationId xmlns:a16="http://schemas.microsoft.com/office/drawing/2014/main" id="{750E4BE5-1F3D-45D9-9A37-C5008F1B9EF7}"/>
              </a:ext>
            </a:extLst>
          </p:cNvPr>
          <p:cNvGrpSpPr/>
          <p:nvPr/>
        </p:nvGrpSpPr>
        <p:grpSpPr>
          <a:xfrm rot="14053952">
            <a:off x="10328691" y="5537433"/>
            <a:ext cx="153345" cy="608809"/>
            <a:chOff x="7004550" y="3676293"/>
            <a:chExt cx="161700" cy="641982"/>
          </a:xfrm>
        </p:grpSpPr>
        <p:sp>
          <p:nvSpPr>
            <p:cNvPr id="40" name="Google Shape;1254;p54">
              <a:extLst>
                <a:ext uri="{FF2B5EF4-FFF2-40B4-BE49-F238E27FC236}">
                  <a16:creationId xmlns:a16="http://schemas.microsoft.com/office/drawing/2014/main" id="{13E1DBAA-9A88-40CB-A6F3-D20C4227D021}"/>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255;p54">
              <a:extLst>
                <a:ext uri="{FF2B5EF4-FFF2-40B4-BE49-F238E27FC236}">
                  <a16:creationId xmlns:a16="http://schemas.microsoft.com/office/drawing/2014/main" id="{CA6C7C25-B40D-4CBE-81D1-20F3FD299033}"/>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256;p54">
              <a:extLst>
                <a:ext uri="{FF2B5EF4-FFF2-40B4-BE49-F238E27FC236}">
                  <a16:creationId xmlns:a16="http://schemas.microsoft.com/office/drawing/2014/main" id="{4C8E61DA-26F5-4ACC-9FBF-D8E7E1D1F912}"/>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257;p54">
              <a:extLst>
                <a:ext uri="{FF2B5EF4-FFF2-40B4-BE49-F238E27FC236}">
                  <a16:creationId xmlns:a16="http://schemas.microsoft.com/office/drawing/2014/main" id="{919E50BC-AFDC-48FC-9BBE-B12AFB6631C5}"/>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 name="Google Shape;1258;p54">
            <a:extLst>
              <a:ext uri="{FF2B5EF4-FFF2-40B4-BE49-F238E27FC236}">
                <a16:creationId xmlns:a16="http://schemas.microsoft.com/office/drawing/2014/main" id="{5C2B5F34-BB95-4680-85FC-BF3741A66270}"/>
              </a:ext>
            </a:extLst>
          </p:cNvPr>
          <p:cNvSpPr/>
          <p:nvPr/>
        </p:nvSpPr>
        <p:spPr>
          <a:xfrm>
            <a:off x="2412520" y="5599155"/>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259;p54">
            <a:extLst>
              <a:ext uri="{FF2B5EF4-FFF2-40B4-BE49-F238E27FC236}">
                <a16:creationId xmlns:a16="http://schemas.microsoft.com/office/drawing/2014/main" id="{41EB35A9-92C4-46E6-AD5B-0F23A7AFEFC0}"/>
              </a:ext>
            </a:extLst>
          </p:cNvPr>
          <p:cNvSpPr/>
          <p:nvPr/>
        </p:nvSpPr>
        <p:spPr>
          <a:xfrm>
            <a:off x="8334460" y="2487216"/>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260;p54">
            <a:extLst>
              <a:ext uri="{FF2B5EF4-FFF2-40B4-BE49-F238E27FC236}">
                <a16:creationId xmlns:a16="http://schemas.microsoft.com/office/drawing/2014/main" id="{14E35BC8-47A8-4C81-A754-256146631079}"/>
              </a:ext>
            </a:extLst>
          </p:cNvPr>
          <p:cNvSpPr/>
          <p:nvPr/>
        </p:nvSpPr>
        <p:spPr>
          <a:xfrm>
            <a:off x="981140" y="2710202"/>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1261;p54">
            <a:extLst>
              <a:ext uri="{FF2B5EF4-FFF2-40B4-BE49-F238E27FC236}">
                <a16:creationId xmlns:a16="http://schemas.microsoft.com/office/drawing/2014/main" id="{F5060EE4-13CE-4CED-A05D-86B869364405}"/>
              </a:ext>
            </a:extLst>
          </p:cNvPr>
          <p:cNvSpPr/>
          <p:nvPr/>
        </p:nvSpPr>
        <p:spPr>
          <a:xfrm>
            <a:off x="6948590" y="486250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262;p54">
            <a:extLst>
              <a:ext uri="{FF2B5EF4-FFF2-40B4-BE49-F238E27FC236}">
                <a16:creationId xmlns:a16="http://schemas.microsoft.com/office/drawing/2014/main" id="{582F584E-567D-42A1-9493-CC9F2D77C37A}"/>
              </a:ext>
            </a:extLst>
          </p:cNvPr>
          <p:cNvSpPr/>
          <p:nvPr/>
        </p:nvSpPr>
        <p:spPr>
          <a:xfrm>
            <a:off x="6764903" y="157754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5349;p86">
            <a:extLst>
              <a:ext uri="{FF2B5EF4-FFF2-40B4-BE49-F238E27FC236}">
                <a16:creationId xmlns:a16="http://schemas.microsoft.com/office/drawing/2014/main" id="{D2AC13D4-9D1B-4B77-AE9C-EAF75C833D35}"/>
              </a:ext>
            </a:extLst>
          </p:cNvPr>
          <p:cNvSpPr/>
          <p:nvPr/>
        </p:nvSpPr>
        <p:spPr>
          <a:xfrm>
            <a:off x="1780788" y="2487074"/>
            <a:ext cx="479963" cy="479963"/>
          </a:xfrm>
          <a:custGeom>
            <a:avLst/>
            <a:gdLst/>
            <a:ahLst/>
            <a:cxnLst/>
            <a:rect l="l" t="t" r="r" b="b"/>
            <a:pathLst>
              <a:path w="209134" h="209134" extrusionOk="0">
                <a:moveTo>
                  <a:pt x="6127" y="0"/>
                </a:moveTo>
                <a:cubicBezTo>
                  <a:pt x="2745" y="0"/>
                  <a:pt x="0" y="2745"/>
                  <a:pt x="0" y="6127"/>
                </a:cubicBezTo>
                <a:lnTo>
                  <a:pt x="0" y="203006"/>
                </a:lnTo>
                <a:cubicBezTo>
                  <a:pt x="0" y="206388"/>
                  <a:pt x="2745" y="209133"/>
                  <a:pt x="6127" y="209133"/>
                </a:cubicBezTo>
                <a:lnTo>
                  <a:pt x="32033" y="209133"/>
                </a:lnTo>
                <a:lnTo>
                  <a:pt x="32033" y="38160"/>
                </a:lnTo>
                <a:cubicBezTo>
                  <a:pt x="32033" y="34778"/>
                  <a:pt x="34778" y="32033"/>
                  <a:pt x="38160" y="32033"/>
                </a:cubicBezTo>
                <a:cubicBezTo>
                  <a:pt x="41542" y="32033"/>
                  <a:pt x="44287" y="34778"/>
                  <a:pt x="44287" y="38160"/>
                </a:cubicBezTo>
                <a:lnTo>
                  <a:pt x="44287" y="120583"/>
                </a:lnTo>
                <a:lnTo>
                  <a:pt x="170998" y="120583"/>
                </a:lnTo>
                <a:cubicBezTo>
                  <a:pt x="174380" y="120583"/>
                  <a:pt x="177125" y="123328"/>
                  <a:pt x="177125" y="126710"/>
                </a:cubicBezTo>
                <a:cubicBezTo>
                  <a:pt x="177125" y="130093"/>
                  <a:pt x="174380" y="132838"/>
                  <a:pt x="170998" y="132838"/>
                </a:cubicBezTo>
                <a:lnTo>
                  <a:pt x="44287" y="132838"/>
                </a:lnTo>
                <a:lnTo>
                  <a:pt x="44287" y="209133"/>
                </a:lnTo>
                <a:lnTo>
                  <a:pt x="203006" y="209133"/>
                </a:lnTo>
                <a:cubicBezTo>
                  <a:pt x="206388" y="209133"/>
                  <a:pt x="209133" y="206388"/>
                  <a:pt x="209133" y="203006"/>
                </a:cubicBezTo>
                <a:lnTo>
                  <a:pt x="209133" y="177125"/>
                </a:lnTo>
                <a:lnTo>
                  <a:pt x="82423" y="177125"/>
                </a:lnTo>
                <a:cubicBezTo>
                  <a:pt x="79041" y="177125"/>
                  <a:pt x="76296" y="174380"/>
                  <a:pt x="76296" y="170998"/>
                </a:cubicBezTo>
                <a:cubicBezTo>
                  <a:pt x="76296" y="167615"/>
                  <a:pt x="79041" y="164871"/>
                  <a:pt x="82423" y="164871"/>
                </a:cubicBezTo>
                <a:lnTo>
                  <a:pt x="209133" y="164871"/>
                </a:lnTo>
                <a:lnTo>
                  <a:pt x="209133" y="44287"/>
                </a:lnTo>
                <a:lnTo>
                  <a:pt x="132838" y="44287"/>
                </a:lnTo>
                <a:lnTo>
                  <a:pt x="132838" y="76296"/>
                </a:lnTo>
                <a:lnTo>
                  <a:pt x="170998" y="76296"/>
                </a:lnTo>
                <a:cubicBezTo>
                  <a:pt x="174380" y="76296"/>
                  <a:pt x="177125" y="79041"/>
                  <a:pt x="177125" y="82423"/>
                </a:cubicBezTo>
                <a:cubicBezTo>
                  <a:pt x="177125" y="85805"/>
                  <a:pt x="174380" y="88550"/>
                  <a:pt x="170998" y="88550"/>
                </a:cubicBezTo>
                <a:lnTo>
                  <a:pt x="126710" y="88550"/>
                </a:lnTo>
                <a:cubicBezTo>
                  <a:pt x="123328" y="88550"/>
                  <a:pt x="120583" y="85805"/>
                  <a:pt x="120583" y="82423"/>
                </a:cubicBezTo>
                <a:lnTo>
                  <a:pt x="120583" y="38160"/>
                </a:lnTo>
                <a:cubicBezTo>
                  <a:pt x="120583" y="34778"/>
                  <a:pt x="123328" y="32033"/>
                  <a:pt x="126710" y="32033"/>
                </a:cubicBezTo>
                <a:lnTo>
                  <a:pt x="209133" y="32033"/>
                </a:lnTo>
                <a:lnTo>
                  <a:pt x="209133" y="6127"/>
                </a:lnTo>
                <a:cubicBezTo>
                  <a:pt x="209133" y="2745"/>
                  <a:pt x="206388" y="0"/>
                  <a:pt x="203006" y="0"/>
                </a:cubicBezTo>
                <a:lnTo>
                  <a:pt x="88550" y="0"/>
                </a:lnTo>
                <a:lnTo>
                  <a:pt x="88550" y="82423"/>
                </a:lnTo>
                <a:cubicBezTo>
                  <a:pt x="88550" y="85805"/>
                  <a:pt x="85805" y="88550"/>
                  <a:pt x="82423" y="88550"/>
                </a:cubicBezTo>
                <a:cubicBezTo>
                  <a:pt x="79041" y="88550"/>
                  <a:pt x="76296" y="85805"/>
                  <a:pt x="76296" y="82423"/>
                </a:cubicBezTo>
                <a:lnTo>
                  <a:pt x="7629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5" name="Google Shape;5201;p86">
            <a:extLst>
              <a:ext uri="{FF2B5EF4-FFF2-40B4-BE49-F238E27FC236}">
                <a16:creationId xmlns:a16="http://schemas.microsoft.com/office/drawing/2014/main" id="{DEE8D9E8-329C-472B-A37E-EDC3585CF1E2}"/>
              </a:ext>
            </a:extLst>
          </p:cNvPr>
          <p:cNvGrpSpPr/>
          <p:nvPr/>
        </p:nvGrpSpPr>
        <p:grpSpPr>
          <a:xfrm>
            <a:off x="7452046" y="2588390"/>
            <a:ext cx="479963" cy="389629"/>
            <a:chOff x="1190625" y="728300"/>
            <a:chExt cx="5228350" cy="4244325"/>
          </a:xfrm>
        </p:grpSpPr>
        <p:sp>
          <p:nvSpPr>
            <p:cNvPr id="46" name="Google Shape;5202;p86">
              <a:extLst>
                <a:ext uri="{FF2B5EF4-FFF2-40B4-BE49-F238E27FC236}">
                  <a16:creationId xmlns:a16="http://schemas.microsoft.com/office/drawing/2014/main" id="{29CBC86C-AB6F-4B68-8928-C980B771F154}"/>
                </a:ext>
              </a:extLst>
            </p:cNvPr>
            <p:cNvSpPr/>
            <p:nvPr/>
          </p:nvSpPr>
          <p:spPr>
            <a:xfrm>
              <a:off x="1803325" y="4173600"/>
              <a:ext cx="185675" cy="186300"/>
            </a:xfrm>
            <a:custGeom>
              <a:avLst/>
              <a:gdLst/>
              <a:ahLst/>
              <a:cxnLst/>
              <a:rect l="l" t="t" r="r" b="b"/>
              <a:pathLst>
                <a:path w="7427" h="7452" extrusionOk="0">
                  <a:moveTo>
                    <a:pt x="3726" y="1"/>
                  </a:moveTo>
                  <a:cubicBezTo>
                    <a:pt x="1667" y="1"/>
                    <a:pt x="1" y="1667"/>
                    <a:pt x="1" y="3726"/>
                  </a:cubicBezTo>
                  <a:cubicBezTo>
                    <a:pt x="1" y="5785"/>
                    <a:pt x="1667" y="7452"/>
                    <a:pt x="3726" y="7452"/>
                  </a:cubicBezTo>
                  <a:cubicBezTo>
                    <a:pt x="5760" y="7452"/>
                    <a:pt x="7427" y="5785"/>
                    <a:pt x="7427" y="3726"/>
                  </a:cubicBezTo>
                  <a:cubicBezTo>
                    <a:pt x="7427" y="1667"/>
                    <a:pt x="5760" y="1"/>
                    <a:pt x="3726"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5203;p86">
              <a:extLst>
                <a:ext uri="{FF2B5EF4-FFF2-40B4-BE49-F238E27FC236}">
                  <a16:creationId xmlns:a16="http://schemas.microsoft.com/office/drawing/2014/main" id="{8BDF94FB-DF38-4F7B-AE02-31094B564C5C}"/>
                </a:ext>
              </a:extLst>
            </p:cNvPr>
            <p:cNvSpPr/>
            <p:nvPr/>
          </p:nvSpPr>
          <p:spPr>
            <a:xfrm>
              <a:off x="1190625" y="728300"/>
              <a:ext cx="1783025" cy="4244325"/>
            </a:xfrm>
            <a:custGeom>
              <a:avLst/>
              <a:gdLst/>
              <a:ahLst/>
              <a:cxnLst/>
              <a:rect l="l" t="t" r="r" b="b"/>
              <a:pathLst>
                <a:path w="71321" h="169773" extrusionOk="0">
                  <a:moveTo>
                    <a:pt x="18382" y="105878"/>
                  </a:moveTo>
                  <a:cubicBezTo>
                    <a:pt x="21764" y="105878"/>
                    <a:pt x="24509" y="108623"/>
                    <a:pt x="24509" y="112005"/>
                  </a:cubicBezTo>
                  <a:cubicBezTo>
                    <a:pt x="24509" y="115387"/>
                    <a:pt x="21764" y="118132"/>
                    <a:pt x="18382" y="118132"/>
                  </a:cubicBezTo>
                  <a:cubicBezTo>
                    <a:pt x="14999" y="118132"/>
                    <a:pt x="12254" y="115387"/>
                    <a:pt x="12254" y="112005"/>
                  </a:cubicBezTo>
                  <a:cubicBezTo>
                    <a:pt x="12254" y="108623"/>
                    <a:pt x="14999" y="105878"/>
                    <a:pt x="18382" y="105878"/>
                  </a:cubicBezTo>
                  <a:close/>
                  <a:moveTo>
                    <a:pt x="28234" y="125558"/>
                  </a:moveTo>
                  <a:cubicBezTo>
                    <a:pt x="37033" y="125558"/>
                    <a:pt x="44189" y="132740"/>
                    <a:pt x="44189" y="141538"/>
                  </a:cubicBezTo>
                  <a:cubicBezTo>
                    <a:pt x="44189" y="150337"/>
                    <a:pt x="37033" y="157518"/>
                    <a:pt x="28234" y="157518"/>
                  </a:cubicBezTo>
                  <a:cubicBezTo>
                    <a:pt x="19411" y="157518"/>
                    <a:pt x="12254" y="150337"/>
                    <a:pt x="12254" y="141538"/>
                  </a:cubicBezTo>
                  <a:cubicBezTo>
                    <a:pt x="12254" y="132740"/>
                    <a:pt x="19411" y="125558"/>
                    <a:pt x="28234" y="125558"/>
                  </a:cubicBezTo>
                  <a:close/>
                  <a:moveTo>
                    <a:pt x="6127" y="0"/>
                  </a:moveTo>
                  <a:cubicBezTo>
                    <a:pt x="2745" y="0"/>
                    <a:pt x="0" y="2745"/>
                    <a:pt x="0" y="6127"/>
                  </a:cubicBezTo>
                  <a:lnTo>
                    <a:pt x="0" y="163645"/>
                  </a:lnTo>
                  <a:cubicBezTo>
                    <a:pt x="0" y="167027"/>
                    <a:pt x="2745" y="169772"/>
                    <a:pt x="6127" y="169772"/>
                  </a:cubicBezTo>
                  <a:lnTo>
                    <a:pt x="65193" y="169772"/>
                  </a:lnTo>
                  <a:cubicBezTo>
                    <a:pt x="68576" y="169772"/>
                    <a:pt x="71321" y="167027"/>
                    <a:pt x="71321" y="163645"/>
                  </a:cubicBezTo>
                  <a:lnTo>
                    <a:pt x="71321" y="147469"/>
                  </a:lnTo>
                  <a:cubicBezTo>
                    <a:pt x="48944" y="135534"/>
                    <a:pt x="33675" y="111956"/>
                    <a:pt x="33675" y="84874"/>
                  </a:cubicBezTo>
                  <a:cubicBezTo>
                    <a:pt x="33675" y="57816"/>
                    <a:pt x="48944" y="34239"/>
                    <a:pt x="71321" y="22303"/>
                  </a:cubicBezTo>
                  <a:lnTo>
                    <a:pt x="71321" y="6127"/>
                  </a:lnTo>
                  <a:cubicBezTo>
                    <a:pt x="71321" y="2745"/>
                    <a:pt x="68576" y="0"/>
                    <a:pt x="65193"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5204;p86">
              <a:extLst>
                <a:ext uri="{FF2B5EF4-FFF2-40B4-BE49-F238E27FC236}">
                  <a16:creationId xmlns:a16="http://schemas.microsoft.com/office/drawing/2014/main" id="{C4A8EBB2-FAE5-4645-9F25-4DBE24E88334}"/>
                </a:ext>
              </a:extLst>
            </p:cNvPr>
            <p:cNvSpPr/>
            <p:nvPr/>
          </p:nvSpPr>
          <p:spPr>
            <a:xfrm>
              <a:off x="4635925" y="728300"/>
              <a:ext cx="1783050" cy="4244325"/>
            </a:xfrm>
            <a:custGeom>
              <a:avLst/>
              <a:gdLst/>
              <a:ahLst/>
              <a:cxnLst/>
              <a:rect l="l" t="t" r="r" b="b"/>
              <a:pathLst>
                <a:path w="71322" h="169773" extrusionOk="0">
                  <a:moveTo>
                    <a:pt x="43112" y="125558"/>
                  </a:moveTo>
                  <a:cubicBezTo>
                    <a:pt x="51910" y="125558"/>
                    <a:pt x="59067" y="132740"/>
                    <a:pt x="59067" y="141538"/>
                  </a:cubicBezTo>
                  <a:cubicBezTo>
                    <a:pt x="59067" y="150337"/>
                    <a:pt x="51910" y="157518"/>
                    <a:pt x="43112" y="157518"/>
                  </a:cubicBezTo>
                  <a:cubicBezTo>
                    <a:pt x="34289" y="157518"/>
                    <a:pt x="27132" y="150337"/>
                    <a:pt x="27132" y="141538"/>
                  </a:cubicBezTo>
                  <a:cubicBezTo>
                    <a:pt x="27132" y="132740"/>
                    <a:pt x="34289" y="125558"/>
                    <a:pt x="43112" y="125558"/>
                  </a:cubicBezTo>
                  <a:close/>
                  <a:moveTo>
                    <a:pt x="6128" y="0"/>
                  </a:moveTo>
                  <a:cubicBezTo>
                    <a:pt x="2746" y="0"/>
                    <a:pt x="1" y="2745"/>
                    <a:pt x="1" y="6127"/>
                  </a:cubicBezTo>
                  <a:lnTo>
                    <a:pt x="1" y="22303"/>
                  </a:lnTo>
                  <a:cubicBezTo>
                    <a:pt x="22377" y="34239"/>
                    <a:pt x="37646" y="57816"/>
                    <a:pt x="37646" y="84874"/>
                  </a:cubicBezTo>
                  <a:cubicBezTo>
                    <a:pt x="37646" y="111956"/>
                    <a:pt x="22377" y="135534"/>
                    <a:pt x="1" y="147469"/>
                  </a:cubicBezTo>
                  <a:lnTo>
                    <a:pt x="1" y="163645"/>
                  </a:lnTo>
                  <a:cubicBezTo>
                    <a:pt x="1" y="167027"/>
                    <a:pt x="2746" y="169772"/>
                    <a:pt x="6128" y="169772"/>
                  </a:cubicBezTo>
                  <a:lnTo>
                    <a:pt x="65194" y="169772"/>
                  </a:lnTo>
                  <a:cubicBezTo>
                    <a:pt x="68576" y="169772"/>
                    <a:pt x="71321" y="167027"/>
                    <a:pt x="71321" y="163645"/>
                  </a:cubicBezTo>
                  <a:lnTo>
                    <a:pt x="71321" y="6127"/>
                  </a:lnTo>
                  <a:cubicBezTo>
                    <a:pt x="71321" y="2745"/>
                    <a:pt x="68576" y="0"/>
                    <a:pt x="65194"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05;p86">
              <a:extLst>
                <a:ext uri="{FF2B5EF4-FFF2-40B4-BE49-F238E27FC236}">
                  <a16:creationId xmlns:a16="http://schemas.microsoft.com/office/drawing/2014/main" id="{8345D510-E473-43B2-9DF0-ACE157E7D1B5}"/>
                </a:ext>
              </a:extLst>
            </p:cNvPr>
            <p:cNvSpPr/>
            <p:nvPr/>
          </p:nvSpPr>
          <p:spPr>
            <a:xfrm>
              <a:off x="5620575" y="4173600"/>
              <a:ext cx="185675" cy="186300"/>
            </a:xfrm>
            <a:custGeom>
              <a:avLst/>
              <a:gdLst/>
              <a:ahLst/>
              <a:cxnLst/>
              <a:rect l="l" t="t" r="r" b="b"/>
              <a:pathLst>
                <a:path w="7427" h="7452" extrusionOk="0">
                  <a:moveTo>
                    <a:pt x="3726" y="1"/>
                  </a:moveTo>
                  <a:cubicBezTo>
                    <a:pt x="1667" y="1"/>
                    <a:pt x="0" y="1667"/>
                    <a:pt x="0" y="3726"/>
                  </a:cubicBezTo>
                  <a:cubicBezTo>
                    <a:pt x="0" y="5785"/>
                    <a:pt x="1667" y="7452"/>
                    <a:pt x="3726" y="7452"/>
                  </a:cubicBezTo>
                  <a:cubicBezTo>
                    <a:pt x="5760" y="7452"/>
                    <a:pt x="7427" y="5785"/>
                    <a:pt x="7427" y="3726"/>
                  </a:cubicBezTo>
                  <a:cubicBezTo>
                    <a:pt x="7427" y="1667"/>
                    <a:pt x="5760" y="1"/>
                    <a:pt x="3726"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06;p86">
              <a:extLst>
                <a:ext uri="{FF2B5EF4-FFF2-40B4-BE49-F238E27FC236}">
                  <a16:creationId xmlns:a16="http://schemas.microsoft.com/office/drawing/2014/main" id="{9DDF1062-C104-44F6-AC59-0B2A5C6A6B12}"/>
                </a:ext>
              </a:extLst>
            </p:cNvPr>
            <p:cNvSpPr/>
            <p:nvPr/>
          </p:nvSpPr>
          <p:spPr>
            <a:xfrm>
              <a:off x="2338850" y="1384500"/>
              <a:ext cx="2931875" cy="2931900"/>
            </a:xfrm>
            <a:custGeom>
              <a:avLst/>
              <a:gdLst/>
              <a:ahLst/>
              <a:cxnLst/>
              <a:rect l="l" t="t" r="r" b="b"/>
              <a:pathLst>
                <a:path w="117275" h="117276" extrusionOk="0">
                  <a:moveTo>
                    <a:pt x="65194" y="22966"/>
                  </a:moveTo>
                  <a:cubicBezTo>
                    <a:pt x="68600" y="22966"/>
                    <a:pt x="71321" y="25711"/>
                    <a:pt x="71321" y="29093"/>
                  </a:cubicBezTo>
                  <a:cubicBezTo>
                    <a:pt x="71321" y="32475"/>
                    <a:pt x="68600" y="35220"/>
                    <a:pt x="65194" y="35220"/>
                  </a:cubicBezTo>
                  <a:lnTo>
                    <a:pt x="52082" y="35220"/>
                  </a:lnTo>
                  <a:cubicBezTo>
                    <a:pt x="48699" y="35220"/>
                    <a:pt x="45954" y="32475"/>
                    <a:pt x="45954" y="29093"/>
                  </a:cubicBezTo>
                  <a:cubicBezTo>
                    <a:pt x="45954" y="25711"/>
                    <a:pt x="48699" y="22966"/>
                    <a:pt x="52082" y="22966"/>
                  </a:cubicBezTo>
                  <a:close/>
                  <a:moveTo>
                    <a:pt x="71762" y="78748"/>
                  </a:moveTo>
                  <a:cubicBezTo>
                    <a:pt x="75144" y="78748"/>
                    <a:pt x="77889" y="81493"/>
                    <a:pt x="77889" y="84875"/>
                  </a:cubicBezTo>
                  <a:cubicBezTo>
                    <a:pt x="77889" y="88282"/>
                    <a:pt x="75144" y="91002"/>
                    <a:pt x="71762" y="91002"/>
                  </a:cubicBezTo>
                  <a:lnTo>
                    <a:pt x="45513" y="91002"/>
                  </a:lnTo>
                  <a:cubicBezTo>
                    <a:pt x="42131" y="91002"/>
                    <a:pt x="39386" y="88282"/>
                    <a:pt x="39386" y="84875"/>
                  </a:cubicBezTo>
                  <a:cubicBezTo>
                    <a:pt x="39386" y="81493"/>
                    <a:pt x="42131" y="78748"/>
                    <a:pt x="45513" y="78748"/>
                  </a:cubicBezTo>
                  <a:close/>
                  <a:moveTo>
                    <a:pt x="58650" y="1"/>
                  </a:moveTo>
                  <a:cubicBezTo>
                    <a:pt x="26323" y="1"/>
                    <a:pt x="0" y="26299"/>
                    <a:pt x="0" y="58626"/>
                  </a:cubicBezTo>
                  <a:cubicBezTo>
                    <a:pt x="0" y="90953"/>
                    <a:pt x="26323" y="117275"/>
                    <a:pt x="58650" y="117275"/>
                  </a:cubicBezTo>
                  <a:cubicBezTo>
                    <a:pt x="90977" y="117275"/>
                    <a:pt x="117275" y="90953"/>
                    <a:pt x="117275" y="58626"/>
                  </a:cubicBezTo>
                  <a:cubicBezTo>
                    <a:pt x="117275" y="26299"/>
                    <a:pt x="90977" y="1"/>
                    <a:pt x="5865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07;p86">
              <a:extLst>
                <a:ext uri="{FF2B5EF4-FFF2-40B4-BE49-F238E27FC236}">
                  <a16:creationId xmlns:a16="http://schemas.microsoft.com/office/drawing/2014/main" id="{89655945-6E69-451F-92AA-62CDBBEA78C5}"/>
                </a:ext>
              </a:extLst>
            </p:cNvPr>
            <p:cNvSpPr/>
            <p:nvPr/>
          </p:nvSpPr>
          <p:spPr>
            <a:xfrm>
              <a:off x="3279975" y="892500"/>
              <a:ext cx="1049625" cy="265325"/>
            </a:xfrm>
            <a:custGeom>
              <a:avLst/>
              <a:gdLst/>
              <a:ahLst/>
              <a:cxnLst/>
              <a:rect l="l" t="t" r="r" b="b"/>
              <a:pathLst>
                <a:path w="41985" h="10613" extrusionOk="0">
                  <a:moveTo>
                    <a:pt x="1" y="0"/>
                  </a:moveTo>
                  <a:lnTo>
                    <a:pt x="1" y="10613"/>
                  </a:lnTo>
                  <a:cubicBezTo>
                    <a:pt x="6643" y="8529"/>
                    <a:pt x="13701" y="7427"/>
                    <a:pt x="21005" y="7427"/>
                  </a:cubicBezTo>
                  <a:cubicBezTo>
                    <a:pt x="28309" y="7427"/>
                    <a:pt x="35367" y="8529"/>
                    <a:pt x="41984" y="10613"/>
                  </a:cubicBezTo>
                  <a:lnTo>
                    <a:pt x="41984"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08;p86">
              <a:extLst>
                <a:ext uri="{FF2B5EF4-FFF2-40B4-BE49-F238E27FC236}">
                  <a16:creationId xmlns:a16="http://schemas.microsoft.com/office/drawing/2014/main" id="{268DF141-E921-4747-943B-B91E81CB5A22}"/>
                </a:ext>
              </a:extLst>
            </p:cNvPr>
            <p:cNvSpPr/>
            <p:nvPr/>
          </p:nvSpPr>
          <p:spPr>
            <a:xfrm>
              <a:off x="3279975" y="4543075"/>
              <a:ext cx="1049625" cy="265325"/>
            </a:xfrm>
            <a:custGeom>
              <a:avLst/>
              <a:gdLst/>
              <a:ahLst/>
              <a:cxnLst/>
              <a:rect l="l" t="t" r="r" b="b"/>
              <a:pathLst>
                <a:path w="41985" h="10613" extrusionOk="0">
                  <a:moveTo>
                    <a:pt x="1" y="1"/>
                  </a:moveTo>
                  <a:lnTo>
                    <a:pt x="1" y="10613"/>
                  </a:lnTo>
                  <a:lnTo>
                    <a:pt x="41984" y="10613"/>
                  </a:lnTo>
                  <a:lnTo>
                    <a:pt x="41984" y="1"/>
                  </a:lnTo>
                  <a:cubicBezTo>
                    <a:pt x="35367" y="2059"/>
                    <a:pt x="28309" y="3187"/>
                    <a:pt x="21005" y="3187"/>
                  </a:cubicBezTo>
                  <a:cubicBezTo>
                    <a:pt x="13701" y="3187"/>
                    <a:pt x="6643" y="2059"/>
                    <a:pt x="1"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3" name="Google Shape;5291;p86">
            <a:extLst>
              <a:ext uri="{FF2B5EF4-FFF2-40B4-BE49-F238E27FC236}">
                <a16:creationId xmlns:a16="http://schemas.microsoft.com/office/drawing/2014/main" id="{03B83B92-5DC8-4E96-B5BA-2A584B18A77D}"/>
              </a:ext>
            </a:extLst>
          </p:cNvPr>
          <p:cNvGrpSpPr/>
          <p:nvPr/>
        </p:nvGrpSpPr>
        <p:grpSpPr>
          <a:xfrm>
            <a:off x="4803602" y="2505624"/>
            <a:ext cx="479963" cy="479963"/>
            <a:chOff x="1190625" y="238125"/>
            <a:chExt cx="5228350" cy="5228350"/>
          </a:xfrm>
        </p:grpSpPr>
        <p:sp>
          <p:nvSpPr>
            <p:cNvPr id="54" name="Google Shape;5292;p86">
              <a:extLst>
                <a:ext uri="{FF2B5EF4-FFF2-40B4-BE49-F238E27FC236}">
                  <a16:creationId xmlns:a16="http://schemas.microsoft.com/office/drawing/2014/main" id="{88BC8764-7B82-44B0-B55B-3AC15EC654CE}"/>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293;p86">
              <a:extLst>
                <a:ext uri="{FF2B5EF4-FFF2-40B4-BE49-F238E27FC236}">
                  <a16:creationId xmlns:a16="http://schemas.microsoft.com/office/drawing/2014/main" id="{2C00A6A2-A05C-484D-A496-4A61486EACEC}"/>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294;p86">
              <a:extLst>
                <a:ext uri="{FF2B5EF4-FFF2-40B4-BE49-F238E27FC236}">
                  <a16:creationId xmlns:a16="http://schemas.microsoft.com/office/drawing/2014/main" id="{D5A92EE8-BB6C-4DBC-A624-85C316CBAB9B}"/>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5295;p86">
              <a:extLst>
                <a:ext uri="{FF2B5EF4-FFF2-40B4-BE49-F238E27FC236}">
                  <a16:creationId xmlns:a16="http://schemas.microsoft.com/office/drawing/2014/main" id="{1343DAA2-1B97-46D9-9F23-E5E66DBEEB99}"/>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5296;p86">
              <a:extLst>
                <a:ext uri="{FF2B5EF4-FFF2-40B4-BE49-F238E27FC236}">
                  <a16:creationId xmlns:a16="http://schemas.microsoft.com/office/drawing/2014/main" id="{1649A469-D5CB-405E-BAB2-0C79893125D8}"/>
                </a:ext>
              </a:extLst>
            </p:cNvPr>
            <p:cNvSpPr/>
            <p:nvPr/>
          </p:nvSpPr>
          <p:spPr>
            <a:xfrm>
              <a:off x="2891527" y="2841554"/>
              <a:ext cx="1827155" cy="1979726"/>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5297;p86">
              <a:extLst>
                <a:ext uri="{FF2B5EF4-FFF2-40B4-BE49-F238E27FC236}">
                  <a16:creationId xmlns:a16="http://schemas.microsoft.com/office/drawing/2014/main" id="{3A1CA12A-5C7B-427C-96F5-521315F16B73}"/>
                </a:ext>
              </a:extLst>
            </p:cNvPr>
            <p:cNvSpPr/>
            <p:nvPr/>
          </p:nvSpPr>
          <p:spPr>
            <a:xfrm>
              <a:off x="4271374" y="2841554"/>
              <a:ext cx="1569802"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0" name="Google Shape;5298;p86">
              <a:extLst>
                <a:ext uri="{FF2B5EF4-FFF2-40B4-BE49-F238E27FC236}">
                  <a16:creationId xmlns:a16="http://schemas.microsoft.com/office/drawing/2014/main" id="{C8A247D3-307F-4B4E-A2A4-14EAB58C13A6}"/>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5299;p86">
              <a:extLst>
                <a:ext uri="{FF2B5EF4-FFF2-40B4-BE49-F238E27FC236}">
                  <a16:creationId xmlns:a16="http://schemas.microsoft.com/office/drawing/2014/main" id="{EBA14F65-40F8-4EC2-868E-80F54E18A5C7}"/>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5300;p86">
              <a:extLst>
                <a:ext uri="{FF2B5EF4-FFF2-40B4-BE49-F238E27FC236}">
                  <a16:creationId xmlns:a16="http://schemas.microsoft.com/office/drawing/2014/main" id="{E07EDB21-78EA-40A9-8085-BF611D38C261}"/>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5301;p86">
              <a:extLst>
                <a:ext uri="{FF2B5EF4-FFF2-40B4-BE49-F238E27FC236}">
                  <a16:creationId xmlns:a16="http://schemas.microsoft.com/office/drawing/2014/main" id="{2FB7C908-4BF1-4D30-B683-73F84CF94CB0}"/>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4" name="Google Shape;1231;p54">
            <a:extLst>
              <a:ext uri="{FF2B5EF4-FFF2-40B4-BE49-F238E27FC236}">
                <a16:creationId xmlns:a16="http://schemas.microsoft.com/office/drawing/2014/main" id="{65F3C6D9-7BEE-4416-A2A4-EE3185E09B11}"/>
              </a:ext>
            </a:extLst>
          </p:cNvPr>
          <p:cNvSpPr txBox="1">
            <a:spLocks/>
          </p:cNvSpPr>
          <p:nvPr/>
        </p:nvSpPr>
        <p:spPr>
          <a:xfrm>
            <a:off x="4750342" y="3094280"/>
            <a:ext cx="1947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rgbClr val="F7743C"/>
                </a:solidFill>
                <a:effectLst/>
                <a:uLnTx/>
                <a:uFillTx/>
                <a:latin typeface="Saira SemiCondensed ExtraBold"/>
                <a:sym typeface="Saira SemiCondensed ExtraBold"/>
              </a:rPr>
              <a:t>AR/VR</a:t>
            </a:r>
          </a:p>
        </p:txBody>
      </p:sp>
      <p:sp>
        <p:nvSpPr>
          <p:cNvPr id="65" name="Google Shape;1231;p54">
            <a:extLst>
              <a:ext uri="{FF2B5EF4-FFF2-40B4-BE49-F238E27FC236}">
                <a16:creationId xmlns:a16="http://schemas.microsoft.com/office/drawing/2014/main" id="{4080912F-300F-4AD1-8758-063B1893F2AD}"/>
              </a:ext>
            </a:extLst>
          </p:cNvPr>
          <p:cNvSpPr txBox="1">
            <a:spLocks/>
          </p:cNvSpPr>
          <p:nvPr/>
        </p:nvSpPr>
        <p:spPr>
          <a:xfrm>
            <a:off x="7347313" y="3052422"/>
            <a:ext cx="3508714"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rgbClr val="F7743C"/>
                </a:solidFill>
                <a:effectLst/>
                <a:uLnTx/>
                <a:uFillTx/>
                <a:latin typeface="Saira SemiCondensed ExtraBold"/>
                <a:sym typeface="Saira SemiCondensed ExtraBold"/>
              </a:rPr>
              <a:t>Gameplay Mechanics</a:t>
            </a:r>
          </a:p>
        </p:txBody>
      </p:sp>
      <p:sp>
        <p:nvSpPr>
          <p:cNvPr id="67" name="Google Shape;1230;p54">
            <a:extLst>
              <a:ext uri="{FF2B5EF4-FFF2-40B4-BE49-F238E27FC236}">
                <a16:creationId xmlns:a16="http://schemas.microsoft.com/office/drawing/2014/main" id="{EA9E1A81-5F73-4486-A1F5-FAD802E8D0B4}"/>
              </a:ext>
            </a:extLst>
          </p:cNvPr>
          <p:cNvSpPr txBox="1">
            <a:spLocks/>
          </p:cNvSpPr>
          <p:nvPr/>
        </p:nvSpPr>
        <p:spPr>
          <a:xfrm>
            <a:off x="1673874" y="3663685"/>
            <a:ext cx="3089222" cy="171066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1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Το μέλλον της εξέλιξης του Διαδικτύου, γνωστό ως δεύτερη ζωή, επεκτείνεται σε προσομοιώσεις λογισμικού πολλαπλών ζωών σε φυσικό και εικονικό κόσμο</a:t>
            </a:r>
            <a:endParaRPr kumimoji="0" lang="en-US" sz="1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sp>
        <p:nvSpPr>
          <p:cNvPr id="68" name="Google Shape;1233;p54">
            <a:extLst>
              <a:ext uri="{FF2B5EF4-FFF2-40B4-BE49-F238E27FC236}">
                <a16:creationId xmlns:a16="http://schemas.microsoft.com/office/drawing/2014/main" id="{9EC28865-D84F-4975-81EA-C4DF1872E8D5}"/>
              </a:ext>
            </a:extLst>
          </p:cNvPr>
          <p:cNvSpPr txBox="1">
            <a:spLocks/>
          </p:cNvSpPr>
          <p:nvPr/>
        </p:nvSpPr>
        <p:spPr>
          <a:xfrm>
            <a:off x="4673907" y="3524458"/>
            <a:ext cx="2762594" cy="145866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l-GR" sz="1800" kern="0" dirty="0" err="1">
                <a:solidFill>
                  <a:srgbClr val="FFFFFF"/>
                </a:solidFill>
                <a:latin typeface="Arial" panose="020B0604020202020204" pitchFamily="34" charset="0"/>
                <a:cs typeface="Arial" panose="020B0604020202020204" pitchFamily="34" charset="0"/>
              </a:rPr>
              <a:t>Διεπαφές</a:t>
            </a:r>
            <a:r>
              <a:rPr lang="el-GR" sz="1800" kern="0" dirty="0">
                <a:solidFill>
                  <a:srgbClr val="FFFFFF"/>
                </a:solidFill>
                <a:latin typeface="Arial" panose="020B0604020202020204" pitchFamily="34" charset="0"/>
                <a:cs typeface="Arial" panose="020B0604020202020204" pitchFamily="34" charset="0"/>
              </a:rPr>
              <a:t> υλικού για αλληλεπίδραση με τους καθηλωτικούς κόσμους που προσομοιώνουν την καθημερινή ζωή</a:t>
            </a:r>
            <a:endParaRPr kumimoji="0" lang="en-US" sz="1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sp>
        <p:nvSpPr>
          <p:cNvPr id="69" name="Google Shape;1235;p54">
            <a:extLst>
              <a:ext uri="{FF2B5EF4-FFF2-40B4-BE49-F238E27FC236}">
                <a16:creationId xmlns:a16="http://schemas.microsoft.com/office/drawing/2014/main" id="{2BDCC4C9-8F95-47BD-9480-C92EA3C3E3FD}"/>
              </a:ext>
            </a:extLst>
          </p:cNvPr>
          <p:cNvSpPr txBox="1">
            <a:spLocks/>
          </p:cNvSpPr>
          <p:nvPr/>
        </p:nvSpPr>
        <p:spPr>
          <a:xfrm>
            <a:off x="7347313" y="3592476"/>
            <a:ext cx="4080214" cy="113192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1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Τα API λογισμικού του AR/VR</a:t>
            </a:r>
            <a:r>
              <a:rPr kumimoji="0" lang="en-US" sz="1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classic</a:t>
            </a:r>
            <a:r>
              <a:rPr kumimoji="0" lang="el-GR" sz="1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για τη γεφύρωση του υλικού με την αλληλεπίδραση χρήστη λογισμικού μέσα στο </a:t>
            </a:r>
            <a:r>
              <a:rPr kumimoji="0" lang="el-GR" sz="1800" b="0" i="0" u="none" strike="noStrike" kern="0" cap="none" spc="0" normalizeH="0" baseline="0" noProof="0" dirty="0" err="1">
                <a:ln>
                  <a:noFill/>
                </a:ln>
                <a:solidFill>
                  <a:srgbClr val="FFFFFF"/>
                </a:solidFill>
                <a:effectLst/>
                <a:uLnTx/>
                <a:uFillTx/>
                <a:latin typeface="Arial" panose="020B0604020202020204" pitchFamily="34" charset="0"/>
                <a:cs typeface="Arial" panose="020B0604020202020204" pitchFamily="34" charset="0"/>
                <a:sym typeface="Sora"/>
              </a:rPr>
              <a:t>metaverse</a:t>
            </a:r>
            <a:r>
              <a:rPr kumimoji="0" lang="el-GR" sz="1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a:t>
            </a:r>
            <a:r>
              <a:rPr kumimoji="0" lang="en-US" sz="1800" b="0" i="0" u="none" strike="noStrike" kern="0" cap="none" spc="0" normalizeH="0" baseline="0" noProof="0" dirty="0">
                <a:ln>
                  <a:noFill/>
                </a:ln>
                <a:solidFill>
                  <a:srgbClr val="FFC000"/>
                </a:solidFill>
                <a:effectLst/>
                <a:uLnTx/>
                <a:uFillTx/>
                <a:latin typeface="Arial" panose="020B0604020202020204" pitchFamily="34" charset="0"/>
                <a:cs typeface="Arial" panose="020B0604020202020204" pitchFamily="34" charset="0"/>
                <a:sym typeface="Sora"/>
              </a:rPr>
              <a:t>plus</a:t>
            </a:r>
            <a:r>
              <a:rPr kumimoji="0" lang="en-US" sz="1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a:t>
            </a:r>
            <a:r>
              <a:rPr kumimoji="0" lang="en-US" sz="1800" b="0" i="0" u="none" strike="noStrike" kern="0" cap="none" spc="0" normalizeH="0" baseline="0" noProof="0" dirty="0">
                <a:ln>
                  <a:noFill/>
                </a:ln>
                <a:solidFill>
                  <a:srgbClr val="448B91"/>
                </a:solidFill>
                <a:effectLst/>
                <a:uLnTx/>
                <a:uFillTx/>
                <a:latin typeface="Arial" panose="020B0604020202020204" pitchFamily="34" charset="0"/>
                <a:cs typeface="Arial" panose="020B0604020202020204" pitchFamily="34" charset="0"/>
                <a:sym typeface="Sora"/>
              </a:rPr>
              <a:t>way</a:t>
            </a:r>
            <a:r>
              <a:rPr kumimoji="0" lang="en-US" sz="1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a:t>
            </a:r>
            <a:r>
              <a:rPr kumimoji="0" lang="en-US" sz="1800" b="0"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rPr>
              <a:t>more</a:t>
            </a:r>
          </a:p>
        </p:txBody>
      </p:sp>
      <p:sp>
        <p:nvSpPr>
          <p:cNvPr id="70" name="Google Shape;1262;p54">
            <a:extLst>
              <a:ext uri="{FF2B5EF4-FFF2-40B4-BE49-F238E27FC236}">
                <a16:creationId xmlns:a16="http://schemas.microsoft.com/office/drawing/2014/main" id="{9316998F-6EE1-449A-B6FC-A5A1432CDF4A}"/>
              </a:ext>
            </a:extLst>
          </p:cNvPr>
          <p:cNvSpPr/>
          <p:nvPr/>
        </p:nvSpPr>
        <p:spPr>
          <a:xfrm>
            <a:off x="9719175" y="1187052"/>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50" name="Group 149">
            <a:extLst>
              <a:ext uri="{FF2B5EF4-FFF2-40B4-BE49-F238E27FC236}">
                <a16:creationId xmlns:a16="http://schemas.microsoft.com/office/drawing/2014/main" id="{7A5566D1-2F84-4DD2-988C-886621A40AA5}"/>
              </a:ext>
            </a:extLst>
          </p:cNvPr>
          <p:cNvGrpSpPr/>
          <p:nvPr/>
        </p:nvGrpSpPr>
        <p:grpSpPr>
          <a:xfrm>
            <a:off x="5433821" y="5139990"/>
            <a:ext cx="1187582" cy="1104265"/>
            <a:chOff x="9379963" y="4497336"/>
            <a:chExt cx="1187582" cy="1104265"/>
          </a:xfrm>
        </p:grpSpPr>
        <p:grpSp>
          <p:nvGrpSpPr>
            <p:cNvPr id="151" name="Google Shape;802;p51">
              <a:extLst>
                <a:ext uri="{FF2B5EF4-FFF2-40B4-BE49-F238E27FC236}">
                  <a16:creationId xmlns:a16="http://schemas.microsoft.com/office/drawing/2014/main" id="{CAC2292B-6338-444D-81D6-7E5ADC08AA19}"/>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178" name="Google Shape;803;p51">
                <a:extLst>
                  <a:ext uri="{FF2B5EF4-FFF2-40B4-BE49-F238E27FC236}">
                    <a16:creationId xmlns:a16="http://schemas.microsoft.com/office/drawing/2014/main" id="{ED869739-938B-4C19-922F-056A442E00E4}"/>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79" name="Google Shape;804;p51">
                <a:extLst>
                  <a:ext uri="{FF2B5EF4-FFF2-40B4-BE49-F238E27FC236}">
                    <a16:creationId xmlns:a16="http://schemas.microsoft.com/office/drawing/2014/main" id="{06BD6824-83E8-4C74-B2CB-3A85F4A0BA88}"/>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0" name="Google Shape;805;p51">
                <a:extLst>
                  <a:ext uri="{FF2B5EF4-FFF2-40B4-BE49-F238E27FC236}">
                    <a16:creationId xmlns:a16="http://schemas.microsoft.com/office/drawing/2014/main" id="{D4AD92BA-F049-4FB0-A79C-D43BDDBEB44C}"/>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1" name="Google Shape;806;p51">
                <a:extLst>
                  <a:ext uri="{FF2B5EF4-FFF2-40B4-BE49-F238E27FC236}">
                    <a16:creationId xmlns:a16="http://schemas.microsoft.com/office/drawing/2014/main" id="{9453C49E-AF43-411D-8C58-007510E9CCF0}"/>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2" name="Google Shape;807;p51">
                <a:extLst>
                  <a:ext uri="{FF2B5EF4-FFF2-40B4-BE49-F238E27FC236}">
                    <a16:creationId xmlns:a16="http://schemas.microsoft.com/office/drawing/2014/main" id="{B878BF82-C809-40E7-BADA-AD3D66D4F6B2}"/>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3" name="Google Shape;808;p51">
                <a:extLst>
                  <a:ext uri="{FF2B5EF4-FFF2-40B4-BE49-F238E27FC236}">
                    <a16:creationId xmlns:a16="http://schemas.microsoft.com/office/drawing/2014/main" id="{A7515493-2EE5-4C35-8C77-00086D7595E8}"/>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4" name="Google Shape;809;p51">
                <a:extLst>
                  <a:ext uri="{FF2B5EF4-FFF2-40B4-BE49-F238E27FC236}">
                    <a16:creationId xmlns:a16="http://schemas.microsoft.com/office/drawing/2014/main" id="{2D9036E8-83C1-4B35-A4A7-C6D305CB7592}"/>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5" name="Google Shape;810;p51">
                <a:extLst>
                  <a:ext uri="{FF2B5EF4-FFF2-40B4-BE49-F238E27FC236}">
                    <a16:creationId xmlns:a16="http://schemas.microsoft.com/office/drawing/2014/main" id="{449042BC-AD2C-4274-A8F8-DDD25B65B2FB}"/>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6" name="Google Shape;811;p51">
                <a:extLst>
                  <a:ext uri="{FF2B5EF4-FFF2-40B4-BE49-F238E27FC236}">
                    <a16:creationId xmlns:a16="http://schemas.microsoft.com/office/drawing/2014/main" id="{6FB6EC87-BF5F-421E-9448-FCA6C1321A1A}"/>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7" name="Google Shape;812;p51">
                <a:extLst>
                  <a:ext uri="{FF2B5EF4-FFF2-40B4-BE49-F238E27FC236}">
                    <a16:creationId xmlns:a16="http://schemas.microsoft.com/office/drawing/2014/main" id="{3376A71C-C5B3-4A5A-9013-FE834FFA5E59}"/>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8" name="Google Shape;813;p51">
                <a:extLst>
                  <a:ext uri="{FF2B5EF4-FFF2-40B4-BE49-F238E27FC236}">
                    <a16:creationId xmlns:a16="http://schemas.microsoft.com/office/drawing/2014/main" id="{AE430A8D-6711-4FA5-943F-901F0D4F9902}"/>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9" name="Google Shape;814;p51">
                <a:extLst>
                  <a:ext uri="{FF2B5EF4-FFF2-40B4-BE49-F238E27FC236}">
                    <a16:creationId xmlns:a16="http://schemas.microsoft.com/office/drawing/2014/main" id="{A8A8589A-14ED-407C-8144-24349CFE8B11}"/>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0" name="Google Shape;815;p51">
                <a:extLst>
                  <a:ext uri="{FF2B5EF4-FFF2-40B4-BE49-F238E27FC236}">
                    <a16:creationId xmlns:a16="http://schemas.microsoft.com/office/drawing/2014/main" id="{17F1860F-BC42-47D5-909E-B4C9BDB81EB6}"/>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1" name="Google Shape;816;p51">
                <a:extLst>
                  <a:ext uri="{FF2B5EF4-FFF2-40B4-BE49-F238E27FC236}">
                    <a16:creationId xmlns:a16="http://schemas.microsoft.com/office/drawing/2014/main" id="{14A06DE7-887E-41FB-9659-7DC60C00409D}"/>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2" name="Google Shape;817;p51">
                <a:extLst>
                  <a:ext uri="{FF2B5EF4-FFF2-40B4-BE49-F238E27FC236}">
                    <a16:creationId xmlns:a16="http://schemas.microsoft.com/office/drawing/2014/main" id="{E8371AA5-6116-43B0-A75F-ABA42882F90D}"/>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3" name="Google Shape;818;p51">
                <a:extLst>
                  <a:ext uri="{FF2B5EF4-FFF2-40B4-BE49-F238E27FC236}">
                    <a16:creationId xmlns:a16="http://schemas.microsoft.com/office/drawing/2014/main" id="{5BF88F4F-0148-49B9-91AC-3294D4C55235}"/>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4" name="Google Shape;819;p51">
                <a:extLst>
                  <a:ext uri="{FF2B5EF4-FFF2-40B4-BE49-F238E27FC236}">
                    <a16:creationId xmlns:a16="http://schemas.microsoft.com/office/drawing/2014/main" id="{9AB2B0BE-FE7B-4537-8A26-63EC7AF62C4C}"/>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5" name="Google Shape;820;p51">
                <a:extLst>
                  <a:ext uri="{FF2B5EF4-FFF2-40B4-BE49-F238E27FC236}">
                    <a16:creationId xmlns:a16="http://schemas.microsoft.com/office/drawing/2014/main" id="{44928E43-D685-4B2B-81E0-0781F123C83B}"/>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6" name="Google Shape;821;p51">
                <a:extLst>
                  <a:ext uri="{FF2B5EF4-FFF2-40B4-BE49-F238E27FC236}">
                    <a16:creationId xmlns:a16="http://schemas.microsoft.com/office/drawing/2014/main" id="{7ADDDE7E-58FB-4C3B-A0C3-ADFCB30F123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7" name="Google Shape;822;p51">
                <a:extLst>
                  <a:ext uri="{FF2B5EF4-FFF2-40B4-BE49-F238E27FC236}">
                    <a16:creationId xmlns:a16="http://schemas.microsoft.com/office/drawing/2014/main" id="{6547F0ED-A294-4A9D-85E5-7E554A600075}"/>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8" name="Google Shape;823;p51">
                <a:extLst>
                  <a:ext uri="{FF2B5EF4-FFF2-40B4-BE49-F238E27FC236}">
                    <a16:creationId xmlns:a16="http://schemas.microsoft.com/office/drawing/2014/main" id="{97F28E2D-0F14-4DA4-9907-765D2D75C1B1}"/>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9" name="Google Shape;824;p51">
                <a:extLst>
                  <a:ext uri="{FF2B5EF4-FFF2-40B4-BE49-F238E27FC236}">
                    <a16:creationId xmlns:a16="http://schemas.microsoft.com/office/drawing/2014/main" id="{CF466B91-5DDA-49F7-A163-06CFA0F1FD4F}"/>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0" name="Google Shape;825;p51">
                <a:extLst>
                  <a:ext uri="{FF2B5EF4-FFF2-40B4-BE49-F238E27FC236}">
                    <a16:creationId xmlns:a16="http://schemas.microsoft.com/office/drawing/2014/main" id="{F9A3045C-96C8-4150-BE22-2DBDF5DF1FFD}"/>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1" name="Google Shape;826;p51">
                <a:extLst>
                  <a:ext uri="{FF2B5EF4-FFF2-40B4-BE49-F238E27FC236}">
                    <a16:creationId xmlns:a16="http://schemas.microsoft.com/office/drawing/2014/main" id="{CF55655A-052F-4305-973E-ABF76AB32A31}"/>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2" name="Google Shape;827;p51">
                <a:extLst>
                  <a:ext uri="{FF2B5EF4-FFF2-40B4-BE49-F238E27FC236}">
                    <a16:creationId xmlns:a16="http://schemas.microsoft.com/office/drawing/2014/main" id="{95138D86-AEE7-4E9A-BB0C-540D22FBB15D}"/>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52" name="Group 151">
              <a:extLst>
                <a:ext uri="{FF2B5EF4-FFF2-40B4-BE49-F238E27FC236}">
                  <a16:creationId xmlns:a16="http://schemas.microsoft.com/office/drawing/2014/main" id="{B0ABFC8C-74A8-4643-9E46-C57F1E8F8482}"/>
                </a:ext>
              </a:extLst>
            </p:cNvPr>
            <p:cNvGrpSpPr/>
            <p:nvPr/>
          </p:nvGrpSpPr>
          <p:grpSpPr>
            <a:xfrm>
              <a:off x="9459173" y="4651735"/>
              <a:ext cx="965465" cy="814701"/>
              <a:chOff x="2122052" y="4430998"/>
              <a:chExt cx="516998" cy="436265"/>
            </a:xfrm>
          </p:grpSpPr>
          <p:sp>
            <p:nvSpPr>
              <p:cNvPr id="153" name="Google Shape;663;p48">
                <a:extLst>
                  <a:ext uri="{FF2B5EF4-FFF2-40B4-BE49-F238E27FC236}">
                    <a16:creationId xmlns:a16="http://schemas.microsoft.com/office/drawing/2014/main" id="{F89EB417-7107-4C93-A222-45A5635AA20F}"/>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664;p48">
                <a:extLst>
                  <a:ext uri="{FF2B5EF4-FFF2-40B4-BE49-F238E27FC236}">
                    <a16:creationId xmlns:a16="http://schemas.microsoft.com/office/drawing/2014/main" id="{9F92E3D1-65BC-4EBE-A44A-65CEDBF43B97}"/>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 name="Google Shape;665;p48">
                <a:extLst>
                  <a:ext uri="{FF2B5EF4-FFF2-40B4-BE49-F238E27FC236}">
                    <a16:creationId xmlns:a16="http://schemas.microsoft.com/office/drawing/2014/main" id="{C83CB793-08C1-4222-B26D-88F376F89CA2}"/>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666;p48">
                <a:extLst>
                  <a:ext uri="{FF2B5EF4-FFF2-40B4-BE49-F238E27FC236}">
                    <a16:creationId xmlns:a16="http://schemas.microsoft.com/office/drawing/2014/main" id="{7D4545A2-5CD3-48B7-B9EA-B37E4F1967D7}"/>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667;p48">
                <a:extLst>
                  <a:ext uri="{FF2B5EF4-FFF2-40B4-BE49-F238E27FC236}">
                    <a16:creationId xmlns:a16="http://schemas.microsoft.com/office/drawing/2014/main" id="{A6B38238-63F7-43F3-953A-8B00F5E99521}"/>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 name="Google Shape;668;p48">
                <a:extLst>
                  <a:ext uri="{FF2B5EF4-FFF2-40B4-BE49-F238E27FC236}">
                    <a16:creationId xmlns:a16="http://schemas.microsoft.com/office/drawing/2014/main" id="{B7DF47CA-42DF-40A2-992E-42DA3387EA14}"/>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59" name="Google Shape;669;p48">
                <a:extLst>
                  <a:ext uri="{FF2B5EF4-FFF2-40B4-BE49-F238E27FC236}">
                    <a16:creationId xmlns:a16="http://schemas.microsoft.com/office/drawing/2014/main" id="{1DDEE096-39ED-47DF-A817-0E76BB709B83}"/>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670;p48">
                <a:extLst>
                  <a:ext uri="{FF2B5EF4-FFF2-40B4-BE49-F238E27FC236}">
                    <a16:creationId xmlns:a16="http://schemas.microsoft.com/office/drawing/2014/main" id="{3EDC1D4A-1D83-402E-89BF-C5E7D5F9A314}"/>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 name="Google Shape;671;p48">
                <a:extLst>
                  <a:ext uri="{FF2B5EF4-FFF2-40B4-BE49-F238E27FC236}">
                    <a16:creationId xmlns:a16="http://schemas.microsoft.com/office/drawing/2014/main" id="{95CB799A-4D86-4CA9-BAF1-435083BACEA5}"/>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672;p48">
                <a:extLst>
                  <a:ext uri="{FF2B5EF4-FFF2-40B4-BE49-F238E27FC236}">
                    <a16:creationId xmlns:a16="http://schemas.microsoft.com/office/drawing/2014/main" id="{76DEC090-50A9-42C4-B8BA-D62729CA8F42}"/>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673;p48">
                <a:extLst>
                  <a:ext uri="{FF2B5EF4-FFF2-40B4-BE49-F238E27FC236}">
                    <a16:creationId xmlns:a16="http://schemas.microsoft.com/office/drawing/2014/main" id="{985A86E9-3017-4E67-8C76-F974DEA811F9}"/>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674;p48">
                <a:extLst>
                  <a:ext uri="{FF2B5EF4-FFF2-40B4-BE49-F238E27FC236}">
                    <a16:creationId xmlns:a16="http://schemas.microsoft.com/office/drawing/2014/main" id="{52713BB8-D520-42CD-AE9D-B6C4CA60A6B4}"/>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675;p48">
                <a:extLst>
                  <a:ext uri="{FF2B5EF4-FFF2-40B4-BE49-F238E27FC236}">
                    <a16:creationId xmlns:a16="http://schemas.microsoft.com/office/drawing/2014/main" id="{FEB6B647-D46E-4140-82CF-4BEEEB1CF023}"/>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676;p48">
                <a:extLst>
                  <a:ext uri="{FF2B5EF4-FFF2-40B4-BE49-F238E27FC236}">
                    <a16:creationId xmlns:a16="http://schemas.microsoft.com/office/drawing/2014/main" id="{13F8294B-54C8-4C65-A63D-3748DA1F1F3F}"/>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 name="Google Shape;677;p48">
                <a:extLst>
                  <a:ext uri="{FF2B5EF4-FFF2-40B4-BE49-F238E27FC236}">
                    <a16:creationId xmlns:a16="http://schemas.microsoft.com/office/drawing/2014/main" id="{60B9F45B-E151-4AFD-A22C-FF029C254563}"/>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678;p48">
                <a:extLst>
                  <a:ext uri="{FF2B5EF4-FFF2-40B4-BE49-F238E27FC236}">
                    <a16:creationId xmlns:a16="http://schemas.microsoft.com/office/drawing/2014/main" id="{62C8EF84-ED80-4D7D-A870-D5F452D94998}"/>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 name="Google Shape;679;p48">
                <a:extLst>
                  <a:ext uri="{FF2B5EF4-FFF2-40B4-BE49-F238E27FC236}">
                    <a16:creationId xmlns:a16="http://schemas.microsoft.com/office/drawing/2014/main" id="{7D60CE6F-1206-4E65-9DD8-51F45F0325D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 name="Google Shape;680;p48">
                <a:extLst>
                  <a:ext uri="{FF2B5EF4-FFF2-40B4-BE49-F238E27FC236}">
                    <a16:creationId xmlns:a16="http://schemas.microsoft.com/office/drawing/2014/main" id="{8010ED02-6AC0-4C65-A3B8-36ED5EE774F9}"/>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 name="Google Shape;681;p48">
                <a:extLst>
                  <a:ext uri="{FF2B5EF4-FFF2-40B4-BE49-F238E27FC236}">
                    <a16:creationId xmlns:a16="http://schemas.microsoft.com/office/drawing/2014/main" id="{E529FD31-6FCF-4FE3-AC5D-149614F86907}"/>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 name="Google Shape;682;p48">
                <a:extLst>
                  <a:ext uri="{FF2B5EF4-FFF2-40B4-BE49-F238E27FC236}">
                    <a16:creationId xmlns:a16="http://schemas.microsoft.com/office/drawing/2014/main" id="{48D4DDE2-4E47-4CE1-BB1F-A6D97D20E959}"/>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683;p48">
                <a:extLst>
                  <a:ext uri="{FF2B5EF4-FFF2-40B4-BE49-F238E27FC236}">
                    <a16:creationId xmlns:a16="http://schemas.microsoft.com/office/drawing/2014/main" id="{7B94EF2A-3DC7-43DC-97BF-EA72997E0DD2}"/>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74" name="Google Shape;684;p48">
                <a:extLst>
                  <a:ext uri="{FF2B5EF4-FFF2-40B4-BE49-F238E27FC236}">
                    <a16:creationId xmlns:a16="http://schemas.microsoft.com/office/drawing/2014/main" id="{E92964F0-C95F-4590-89AD-1D8C66D5C31F}"/>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685;p48">
                <a:extLst>
                  <a:ext uri="{FF2B5EF4-FFF2-40B4-BE49-F238E27FC236}">
                    <a16:creationId xmlns:a16="http://schemas.microsoft.com/office/drawing/2014/main" id="{64C3E675-1A63-44CE-BEAA-FDA918A99F16}"/>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686;p48">
                <a:extLst>
                  <a:ext uri="{FF2B5EF4-FFF2-40B4-BE49-F238E27FC236}">
                    <a16:creationId xmlns:a16="http://schemas.microsoft.com/office/drawing/2014/main" id="{C3B58882-FA6E-46C6-9170-F7469CC08FFE}"/>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 name="Google Shape;687;p48">
                <a:extLst>
                  <a:ext uri="{FF2B5EF4-FFF2-40B4-BE49-F238E27FC236}">
                    <a16:creationId xmlns:a16="http://schemas.microsoft.com/office/drawing/2014/main" id="{AF563A59-2A63-40D3-BDF5-9B5C0AABAA3C}"/>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5" name="Google Shape;9301;p96">
            <a:extLst>
              <a:ext uri="{FF2B5EF4-FFF2-40B4-BE49-F238E27FC236}">
                <a16:creationId xmlns:a16="http://schemas.microsoft.com/office/drawing/2014/main" id="{FBC02023-1B95-4FB3-B7B7-3B5CBC5CD15B}"/>
              </a:ext>
            </a:extLst>
          </p:cNvPr>
          <p:cNvGrpSpPr/>
          <p:nvPr/>
        </p:nvGrpSpPr>
        <p:grpSpPr>
          <a:xfrm>
            <a:off x="2448604" y="2370061"/>
            <a:ext cx="749840" cy="677795"/>
            <a:chOff x="7636443" y="1204988"/>
            <a:chExt cx="749840" cy="677795"/>
          </a:xfrm>
        </p:grpSpPr>
        <p:sp>
          <p:nvSpPr>
            <p:cNvPr id="106" name="Google Shape;9303;p96">
              <a:extLst>
                <a:ext uri="{FF2B5EF4-FFF2-40B4-BE49-F238E27FC236}">
                  <a16:creationId xmlns:a16="http://schemas.microsoft.com/office/drawing/2014/main" id="{28BC12F1-A6E3-4EDB-BB58-262C09AD4952}"/>
                </a:ext>
              </a:extLst>
            </p:cNvPr>
            <p:cNvSpPr/>
            <p:nvPr/>
          </p:nvSpPr>
          <p:spPr>
            <a:xfrm>
              <a:off x="7636443" y="1509705"/>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C2D18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4" name="Google Shape;9306;p96">
              <a:extLst>
                <a:ext uri="{FF2B5EF4-FFF2-40B4-BE49-F238E27FC236}">
                  <a16:creationId xmlns:a16="http://schemas.microsoft.com/office/drawing/2014/main" id="{49054B97-7414-4379-AE22-41651CD230D6}"/>
                </a:ext>
              </a:extLst>
            </p:cNvPr>
            <p:cNvSpPr/>
            <p:nvPr/>
          </p:nvSpPr>
          <p:spPr>
            <a:xfrm>
              <a:off x="7636443" y="1408133"/>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BAC48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2" name="Google Shape;9309;p96">
              <a:extLst>
                <a:ext uri="{FF2B5EF4-FFF2-40B4-BE49-F238E27FC236}">
                  <a16:creationId xmlns:a16="http://schemas.microsoft.com/office/drawing/2014/main" id="{D67A0471-E0E6-4844-B47E-0739404FFBB9}"/>
                </a:ext>
              </a:extLst>
            </p:cNvPr>
            <p:cNvSpPr/>
            <p:nvPr/>
          </p:nvSpPr>
          <p:spPr>
            <a:xfrm>
              <a:off x="7636443" y="1306560"/>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B1B69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0" name="Google Shape;9312;p96">
              <a:extLst>
                <a:ext uri="{FF2B5EF4-FFF2-40B4-BE49-F238E27FC236}">
                  <a16:creationId xmlns:a16="http://schemas.microsoft.com/office/drawing/2014/main" id="{784A3644-494F-40A9-A031-6341F334A202}"/>
                </a:ext>
              </a:extLst>
            </p:cNvPr>
            <p:cNvSpPr/>
            <p:nvPr/>
          </p:nvSpPr>
          <p:spPr>
            <a:xfrm>
              <a:off x="7636443" y="1204988"/>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6736157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4" name="Oval 3">
            <a:extLst>
              <a:ext uri="{FF2B5EF4-FFF2-40B4-BE49-F238E27FC236}">
                <a16:creationId xmlns:a16="http://schemas.microsoft.com/office/drawing/2014/main" id="{185A6D08-6A73-423B-A64C-9890E22975A8}"/>
              </a:ext>
            </a:extLst>
          </p:cNvPr>
          <p:cNvSpPr/>
          <p:nvPr/>
        </p:nvSpPr>
        <p:spPr>
          <a:xfrm>
            <a:off x="3087467" y="1872849"/>
            <a:ext cx="3070048" cy="2934776"/>
          </a:xfrm>
          <a:prstGeom prst="ellipse">
            <a:avLst/>
          </a:prstGeom>
          <a:solidFill>
            <a:schemeClr val="bg2">
              <a:alpha val="24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Oval 108">
            <a:extLst>
              <a:ext uri="{FF2B5EF4-FFF2-40B4-BE49-F238E27FC236}">
                <a16:creationId xmlns:a16="http://schemas.microsoft.com/office/drawing/2014/main" id="{3B27F250-64F0-40C7-9B8D-63316402191B}"/>
              </a:ext>
            </a:extLst>
          </p:cNvPr>
          <p:cNvSpPr/>
          <p:nvPr/>
        </p:nvSpPr>
        <p:spPr>
          <a:xfrm>
            <a:off x="5320463" y="1872849"/>
            <a:ext cx="3070048" cy="2934776"/>
          </a:xfrm>
          <a:prstGeom prst="ellipse">
            <a:avLst/>
          </a:prstGeom>
          <a:solidFill>
            <a:srgbClr val="448B91">
              <a:alpha val="24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Oval 107">
            <a:extLst>
              <a:ext uri="{FF2B5EF4-FFF2-40B4-BE49-F238E27FC236}">
                <a16:creationId xmlns:a16="http://schemas.microsoft.com/office/drawing/2014/main" id="{87B141FB-7FC3-4EA9-B4FE-1C009C14D5F4}"/>
              </a:ext>
            </a:extLst>
          </p:cNvPr>
          <p:cNvSpPr/>
          <p:nvPr/>
        </p:nvSpPr>
        <p:spPr>
          <a:xfrm>
            <a:off x="4203965" y="3340237"/>
            <a:ext cx="3070048" cy="2934776"/>
          </a:xfrm>
          <a:prstGeom prst="ellipse">
            <a:avLst/>
          </a:prstGeom>
          <a:solidFill>
            <a:schemeClr val="accent1">
              <a:alpha val="24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Google Shape;11;p2">
            <a:extLst>
              <a:ext uri="{FF2B5EF4-FFF2-40B4-BE49-F238E27FC236}">
                <a16:creationId xmlns:a16="http://schemas.microsoft.com/office/drawing/2014/main" id="{BA15C80B-26EA-4133-A988-D7BAF12320EE}"/>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5F91BEEC-DCF9-486F-B06D-435AD084A4FE}"/>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1229;p54">
            <a:extLst>
              <a:ext uri="{FF2B5EF4-FFF2-40B4-BE49-F238E27FC236}">
                <a16:creationId xmlns:a16="http://schemas.microsoft.com/office/drawing/2014/main" id="{74E8B88E-F870-451E-9CDE-4F6800FF1F9E}"/>
              </a:ext>
            </a:extLst>
          </p:cNvPr>
          <p:cNvSpPr txBox="1">
            <a:spLocks/>
          </p:cNvSpPr>
          <p:nvPr/>
        </p:nvSpPr>
        <p:spPr>
          <a:xfrm>
            <a:off x="1678320" y="598452"/>
            <a:ext cx="7709100" cy="58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6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aira SemiCondensed ExtraBold"/>
              </a:rPr>
              <a:t>Venn</a:t>
            </a:r>
            <a:r>
              <a:rPr kumimoji="0" lang="en-US" sz="35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aira SemiCondensed ExtraBold"/>
              </a:rPr>
              <a:t> Diagram</a:t>
            </a:r>
          </a:p>
        </p:txBody>
      </p:sp>
      <p:sp>
        <p:nvSpPr>
          <p:cNvPr id="6" name="Google Shape;1231;p54">
            <a:extLst>
              <a:ext uri="{FF2B5EF4-FFF2-40B4-BE49-F238E27FC236}">
                <a16:creationId xmlns:a16="http://schemas.microsoft.com/office/drawing/2014/main" id="{EF6F2BE8-91AE-4540-A0FB-0CBE84E4BC08}"/>
              </a:ext>
            </a:extLst>
          </p:cNvPr>
          <p:cNvSpPr txBox="1">
            <a:spLocks/>
          </p:cNvSpPr>
          <p:nvPr/>
        </p:nvSpPr>
        <p:spPr>
          <a:xfrm>
            <a:off x="668705" y="3131324"/>
            <a:ext cx="1947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i="0" u="none" strike="noStrike" kern="0" cap="none" spc="0" normalizeH="0" baseline="0" noProof="0" dirty="0">
                <a:ln>
                  <a:noFill/>
                </a:ln>
                <a:solidFill>
                  <a:srgbClr val="F7743C"/>
                </a:solidFill>
                <a:effectLst/>
                <a:uLnTx/>
                <a:uFillTx/>
                <a:sym typeface="Saira SemiCondensed ExtraBold"/>
              </a:rPr>
              <a:t>Metaverse</a:t>
            </a:r>
            <a:endParaRPr kumimoji="0" lang="en-US" sz="2400" i="0" u="none" strike="noStrike" kern="0" cap="none" spc="0" normalizeH="0" baseline="0" noProof="0" dirty="0">
              <a:ln>
                <a:noFill/>
              </a:ln>
              <a:solidFill>
                <a:srgbClr val="F7743C"/>
              </a:solidFill>
              <a:effectLst/>
              <a:uLnTx/>
              <a:uFillTx/>
              <a:sym typeface="Saira SemiCondensed ExtraBold"/>
            </a:endParaRPr>
          </a:p>
        </p:txBody>
      </p:sp>
      <p:grpSp>
        <p:nvGrpSpPr>
          <p:cNvPr id="8" name="Google Shape;1253;p54">
            <a:extLst>
              <a:ext uri="{FF2B5EF4-FFF2-40B4-BE49-F238E27FC236}">
                <a16:creationId xmlns:a16="http://schemas.microsoft.com/office/drawing/2014/main" id="{750E4BE5-1F3D-45D9-9A37-C5008F1B9EF7}"/>
              </a:ext>
            </a:extLst>
          </p:cNvPr>
          <p:cNvGrpSpPr/>
          <p:nvPr/>
        </p:nvGrpSpPr>
        <p:grpSpPr>
          <a:xfrm rot="14053952">
            <a:off x="10328691" y="5537433"/>
            <a:ext cx="153345" cy="608809"/>
            <a:chOff x="7004550" y="3676293"/>
            <a:chExt cx="161700" cy="641982"/>
          </a:xfrm>
        </p:grpSpPr>
        <p:sp>
          <p:nvSpPr>
            <p:cNvPr id="40" name="Google Shape;1254;p54">
              <a:extLst>
                <a:ext uri="{FF2B5EF4-FFF2-40B4-BE49-F238E27FC236}">
                  <a16:creationId xmlns:a16="http://schemas.microsoft.com/office/drawing/2014/main" id="{13E1DBAA-9A88-40CB-A6F3-D20C4227D021}"/>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255;p54">
              <a:extLst>
                <a:ext uri="{FF2B5EF4-FFF2-40B4-BE49-F238E27FC236}">
                  <a16:creationId xmlns:a16="http://schemas.microsoft.com/office/drawing/2014/main" id="{CA6C7C25-B40D-4CBE-81D1-20F3FD299033}"/>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256;p54">
              <a:extLst>
                <a:ext uri="{FF2B5EF4-FFF2-40B4-BE49-F238E27FC236}">
                  <a16:creationId xmlns:a16="http://schemas.microsoft.com/office/drawing/2014/main" id="{4C8E61DA-26F5-4ACC-9FBF-D8E7E1D1F912}"/>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257;p54">
              <a:extLst>
                <a:ext uri="{FF2B5EF4-FFF2-40B4-BE49-F238E27FC236}">
                  <a16:creationId xmlns:a16="http://schemas.microsoft.com/office/drawing/2014/main" id="{919E50BC-AFDC-48FC-9BBE-B12AFB6631C5}"/>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 name="Google Shape;1258;p54">
            <a:extLst>
              <a:ext uri="{FF2B5EF4-FFF2-40B4-BE49-F238E27FC236}">
                <a16:creationId xmlns:a16="http://schemas.microsoft.com/office/drawing/2014/main" id="{5C2B5F34-BB95-4680-85FC-BF3741A66270}"/>
              </a:ext>
            </a:extLst>
          </p:cNvPr>
          <p:cNvSpPr/>
          <p:nvPr/>
        </p:nvSpPr>
        <p:spPr>
          <a:xfrm>
            <a:off x="2299530" y="517767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259;p54">
            <a:extLst>
              <a:ext uri="{FF2B5EF4-FFF2-40B4-BE49-F238E27FC236}">
                <a16:creationId xmlns:a16="http://schemas.microsoft.com/office/drawing/2014/main" id="{41EB35A9-92C4-46E6-AD5B-0F23A7AFEFC0}"/>
              </a:ext>
            </a:extLst>
          </p:cNvPr>
          <p:cNvSpPr/>
          <p:nvPr/>
        </p:nvSpPr>
        <p:spPr>
          <a:xfrm>
            <a:off x="8334460" y="2487216"/>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260;p54">
            <a:extLst>
              <a:ext uri="{FF2B5EF4-FFF2-40B4-BE49-F238E27FC236}">
                <a16:creationId xmlns:a16="http://schemas.microsoft.com/office/drawing/2014/main" id="{14E35BC8-47A8-4C81-A754-256146631079}"/>
              </a:ext>
            </a:extLst>
          </p:cNvPr>
          <p:cNvSpPr/>
          <p:nvPr/>
        </p:nvSpPr>
        <p:spPr>
          <a:xfrm>
            <a:off x="981140" y="2710202"/>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1261;p54">
            <a:extLst>
              <a:ext uri="{FF2B5EF4-FFF2-40B4-BE49-F238E27FC236}">
                <a16:creationId xmlns:a16="http://schemas.microsoft.com/office/drawing/2014/main" id="{F5060EE4-13CE-4CED-A05D-86B869364405}"/>
              </a:ext>
            </a:extLst>
          </p:cNvPr>
          <p:cNvSpPr/>
          <p:nvPr/>
        </p:nvSpPr>
        <p:spPr>
          <a:xfrm>
            <a:off x="6948590" y="486250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262;p54">
            <a:extLst>
              <a:ext uri="{FF2B5EF4-FFF2-40B4-BE49-F238E27FC236}">
                <a16:creationId xmlns:a16="http://schemas.microsoft.com/office/drawing/2014/main" id="{582F584E-567D-42A1-9493-CC9F2D77C37A}"/>
              </a:ext>
            </a:extLst>
          </p:cNvPr>
          <p:cNvSpPr/>
          <p:nvPr/>
        </p:nvSpPr>
        <p:spPr>
          <a:xfrm>
            <a:off x="6764903" y="157754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231;p54">
            <a:extLst>
              <a:ext uri="{FF2B5EF4-FFF2-40B4-BE49-F238E27FC236}">
                <a16:creationId xmlns:a16="http://schemas.microsoft.com/office/drawing/2014/main" id="{65F3C6D9-7BEE-4416-A2A4-EE3185E09B11}"/>
              </a:ext>
            </a:extLst>
          </p:cNvPr>
          <p:cNvSpPr txBox="1">
            <a:spLocks/>
          </p:cNvSpPr>
          <p:nvPr/>
        </p:nvSpPr>
        <p:spPr>
          <a:xfrm>
            <a:off x="4269755" y="3007778"/>
            <a:ext cx="648932"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rgbClr val="F7743C"/>
                </a:solidFill>
                <a:effectLst/>
                <a:uLnTx/>
                <a:uFillTx/>
                <a:latin typeface="Saira SemiCondensed ExtraBold"/>
                <a:sym typeface="Saira SemiCondensed ExtraBold"/>
              </a:rPr>
              <a:t>VR</a:t>
            </a:r>
          </a:p>
        </p:txBody>
      </p:sp>
      <p:sp>
        <p:nvSpPr>
          <p:cNvPr id="65" name="Google Shape;1231;p54">
            <a:extLst>
              <a:ext uri="{FF2B5EF4-FFF2-40B4-BE49-F238E27FC236}">
                <a16:creationId xmlns:a16="http://schemas.microsoft.com/office/drawing/2014/main" id="{4080912F-300F-4AD1-8758-063B1893F2AD}"/>
              </a:ext>
            </a:extLst>
          </p:cNvPr>
          <p:cNvSpPr txBox="1">
            <a:spLocks/>
          </p:cNvSpPr>
          <p:nvPr/>
        </p:nvSpPr>
        <p:spPr>
          <a:xfrm>
            <a:off x="4306360" y="3878165"/>
            <a:ext cx="3173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Gameplay Mechanics</a:t>
            </a:r>
          </a:p>
        </p:txBody>
      </p:sp>
      <p:sp>
        <p:nvSpPr>
          <p:cNvPr id="70" name="Google Shape;1262;p54">
            <a:extLst>
              <a:ext uri="{FF2B5EF4-FFF2-40B4-BE49-F238E27FC236}">
                <a16:creationId xmlns:a16="http://schemas.microsoft.com/office/drawing/2014/main" id="{9316998F-6EE1-449A-B6FC-A5A1432CDF4A}"/>
              </a:ext>
            </a:extLst>
          </p:cNvPr>
          <p:cNvSpPr/>
          <p:nvPr/>
        </p:nvSpPr>
        <p:spPr>
          <a:xfrm>
            <a:off x="9719175" y="1187052"/>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 name="Google Shape;1231;p54">
            <a:extLst>
              <a:ext uri="{FF2B5EF4-FFF2-40B4-BE49-F238E27FC236}">
                <a16:creationId xmlns:a16="http://schemas.microsoft.com/office/drawing/2014/main" id="{04DEE0F1-9468-49AA-B320-4A31D728F0C1}"/>
              </a:ext>
            </a:extLst>
          </p:cNvPr>
          <p:cNvSpPr txBox="1">
            <a:spLocks/>
          </p:cNvSpPr>
          <p:nvPr/>
        </p:nvSpPr>
        <p:spPr>
          <a:xfrm>
            <a:off x="6667489" y="3007778"/>
            <a:ext cx="648932"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rgbClr val="F7743C"/>
                </a:solidFill>
                <a:effectLst/>
                <a:uLnTx/>
                <a:uFillTx/>
                <a:latin typeface="Saira SemiCondensed ExtraBold"/>
                <a:sym typeface="Saira SemiCondensed ExtraBold"/>
              </a:rPr>
              <a:t>AR</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107" name="Google Shape;1231;p54">
            <a:extLst>
              <a:ext uri="{FF2B5EF4-FFF2-40B4-BE49-F238E27FC236}">
                <a16:creationId xmlns:a16="http://schemas.microsoft.com/office/drawing/2014/main" id="{7676CF74-AA55-4986-A116-5C31FAFD9FD6}"/>
              </a:ext>
            </a:extLst>
          </p:cNvPr>
          <p:cNvSpPr txBox="1">
            <a:spLocks/>
          </p:cNvSpPr>
          <p:nvPr/>
        </p:nvSpPr>
        <p:spPr>
          <a:xfrm>
            <a:off x="5435230" y="4676379"/>
            <a:ext cx="704273"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rgbClr val="F7743C"/>
                </a:solidFill>
                <a:effectLst/>
                <a:uLnTx/>
                <a:uFillTx/>
                <a:latin typeface="Saira SemiCondensed ExtraBold"/>
                <a:sym typeface="Saira SemiCondensed ExtraBold"/>
              </a:rPr>
              <a:t>MR</a:t>
            </a:r>
          </a:p>
        </p:txBody>
      </p:sp>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612F7779-E3DC-4445-BC52-CE32C41D8046}"/>
                  </a:ext>
                </a:extLst>
              </p:cNvPr>
              <p:cNvSpPr txBox="1"/>
              <p:nvPr/>
            </p:nvSpPr>
            <p:spPr>
              <a:xfrm>
                <a:off x="2278779" y="3047849"/>
                <a:ext cx="654068" cy="584775"/>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sz="3200" i="1" smtClean="0">
                          <a:latin typeface="Cambria Math" panose="02040503050406030204" pitchFamily="18" charset="0"/>
                          <a:ea typeface="Cambria Math" panose="02040503050406030204" pitchFamily="18" charset="0"/>
                        </a:rPr>
                        <m:t>⊃</m:t>
                      </m:r>
                    </m:oMath>
                  </m:oMathPara>
                </a14:m>
                <a:endParaRPr lang="en-US" dirty="0"/>
              </a:p>
            </p:txBody>
          </p:sp>
        </mc:Choice>
        <mc:Fallback xmlns="">
          <p:sp>
            <p:nvSpPr>
              <p:cNvPr id="7" name="TextBox 6">
                <a:extLst>
                  <a:ext uri="{FF2B5EF4-FFF2-40B4-BE49-F238E27FC236}">
                    <a16:creationId xmlns:a16="http://schemas.microsoft.com/office/drawing/2014/main" id="{612F7779-E3DC-4445-BC52-CE32C41D8046}"/>
                  </a:ext>
                </a:extLst>
              </p:cNvPr>
              <p:cNvSpPr txBox="1">
                <a:spLocks noRot="1" noChangeAspect="1" noMove="1" noResize="1" noEditPoints="1" noAdjustHandles="1" noChangeArrowheads="1" noChangeShapeType="1" noTextEdit="1"/>
              </p:cNvSpPr>
              <p:nvPr/>
            </p:nvSpPr>
            <p:spPr>
              <a:xfrm>
                <a:off x="2278779" y="3047849"/>
                <a:ext cx="654068" cy="584775"/>
              </a:xfrm>
              <a:prstGeom prst="rect">
                <a:avLst/>
              </a:prstGeom>
              <a:blipFill>
                <a:blip r:embed="rId3"/>
                <a:stretch>
                  <a:fillRect/>
                </a:stretch>
              </a:blipFill>
            </p:spPr>
            <p:txBody>
              <a:bodyPr/>
              <a:lstStyle/>
              <a:p>
                <a:r>
                  <a:rPr lang="en-US">
                    <a:noFill/>
                  </a:rPr>
                  <a:t> </a:t>
                </a:r>
              </a:p>
            </p:txBody>
          </p:sp>
        </mc:Fallback>
      </mc:AlternateContent>
      <p:sp>
        <p:nvSpPr>
          <p:cNvPr id="110" name="Oval 109">
            <a:extLst>
              <a:ext uri="{FF2B5EF4-FFF2-40B4-BE49-F238E27FC236}">
                <a16:creationId xmlns:a16="http://schemas.microsoft.com/office/drawing/2014/main" id="{9ECD12B4-36C5-45D2-BFFA-FD8EA9D71D75}"/>
              </a:ext>
            </a:extLst>
          </p:cNvPr>
          <p:cNvSpPr/>
          <p:nvPr/>
        </p:nvSpPr>
        <p:spPr>
          <a:xfrm>
            <a:off x="2932847" y="915492"/>
            <a:ext cx="5728268" cy="5557227"/>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1" name="Google Shape;1231;p54">
            <a:extLst>
              <a:ext uri="{FF2B5EF4-FFF2-40B4-BE49-F238E27FC236}">
                <a16:creationId xmlns:a16="http://schemas.microsoft.com/office/drawing/2014/main" id="{CA933690-A5DD-47EA-A48C-7891ED19CEDA}"/>
              </a:ext>
            </a:extLst>
          </p:cNvPr>
          <p:cNvSpPr txBox="1">
            <a:spLocks/>
          </p:cNvSpPr>
          <p:nvPr/>
        </p:nvSpPr>
        <p:spPr>
          <a:xfrm>
            <a:off x="5606079" y="1210247"/>
            <a:ext cx="648932"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rgbClr val="F7743C"/>
                </a:solidFill>
                <a:effectLst/>
                <a:uLnTx/>
                <a:uFillTx/>
                <a:latin typeface="Saira SemiCondensed ExtraBold"/>
                <a:sym typeface="Saira SemiCondensed ExtraBold"/>
              </a:rPr>
              <a:t>XR</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Tree>
    <p:extLst>
      <p:ext uri="{BB962C8B-B14F-4D97-AF65-F5344CB8AC3E}">
        <p14:creationId xmlns:p14="http://schemas.microsoft.com/office/powerpoint/2010/main" val="365493513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32E1BE05-6F83-4581-8371-46F89AE09114}"/>
              </a:ext>
            </a:extLst>
          </p:cNvPr>
          <p:cNvPicPr>
            <a:picLocks noChangeAspect="1"/>
          </p:cNvPicPr>
          <p:nvPr/>
        </p:nvPicPr>
        <p:blipFill>
          <a:blip r:embed="rId3">
            <a:duotone>
              <a:prstClr val="black"/>
              <a:schemeClr val="tx2">
                <a:tint val="45000"/>
                <a:satMod val="400000"/>
              </a:schemeClr>
            </a:duotone>
          </a:blip>
          <a:stretch>
            <a:fillRect/>
          </a:stretch>
        </p:blipFill>
        <p:spPr>
          <a:xfrm>
            <a:off x="7066552" y="4846"/>
            <a:ext cx="5127174" cy="6853154"/>
          </a:xfrm>
          <a:prstGeom prst="rect">
            <a:avLst/>
          </a:prstGeom>
        </p:spPr>
      </p:pic>
      <p:sp>
        <p:nvSpPr>
          <p:cNvPr id="2" name="Google Shape;1293;p55">
            <a:extLst>
              <a:ext uri="{FF2B5EF4-FFF2-40B4-BE49-F238E27FC236}">
                <a16:creationId xmlns:a16="http://schemas.microsoft.com/office/drawing/2014/main" id="{07EF0315-EF33-40CB-BBD3-C1955C0D22B7}"/>
              </a:ext>
            </a:extLst>
          </p:cNvPr>
          <p:cNvSpPr txBox="1">
            <a:spLocks/>
          </p:cNvSpPr>
          <p:nvPr/>
        </p:nvSpPr>
        <p:spPr>
          <a:xfrm>
            <a:off x="1521628" y="976210"/>
            <a:ext cx="424159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32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Σχετικά με το </a:t>
            </a:r>
            <a:r>
              <a:rPr kumimoji="0" lang="en-US" sz="32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project</a:t>
            </a:r>
          </a:p>
        </p:txBody>
      </p:sp>
      <p:grpSp>
        <p:nvGrpSpPr>
          <p:cNvPr id="4" name="Google Shape;1302;p55">
            <a:extLst>
              <a:ext uri="{FF2B5EF4-FFF2-40B4-BE49-F238E27FC236}">
                <a16:creationId xmlns:a16="http://schemas.microsoft.com/office/drawing/2014/main" id="{C6C5DDCC-2797-447E-A543-2A9218A8D557}"/>
              </a:ext>
            </a:extLst>
          </p:cNvPr>
          <p:cNvGrpSpPr/>
          <p:nvPr/>
        </p:nvGrpSpPr>
        <p:grpSpPr>
          <a:xfrm rot="14053952">
            <a:off x="6405765" y="2716902"/>
            <a:ext cx="161701" cy="641985"/>
            <a:chOff x="7608634" y="5343951"/>
            <a:chExt cx="161700" cy="641982"/>
          </a:xfrm>
        </p:grpSpPr>
        <p:sp>
          <p:nvSpPr>
            <p:cNvPr id="37" name="Google Shape;1303;p55">
              <a:extLst>
                <a:ext uri="{FF2B5EF4-FFF2-40B4-BE49-F238E27FC236}">
                  <a16:creationId xmlns:a16="http://schemas.microsoft.com/office/drawing/2014/main" id="{28A6C057-D0F5-49A9-8E8E-E423FE53E830}"/>
                </a:ext>
              </a:extLst>
            </p:cNvPr>
            <p:cNvSpPr/>
            <p:nvPr/>
          </p:nvSpPr>
          <p:spPr>
            <a:xfrm>
              <a:off x="7608634" y="584613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304;p55">
              <a:extLst>
                <a:ext uri="{FF2B5EF4-FFF2-40B4-BE49-F238E27FC236}">
                  <a16:creationId xmlns:a16="http://schemas.microsoft.com/office/drawing/2014/main" id="{5956B3CD-B135-4742-93D2-E9E463486197}"/>
                </a:ext>
              </a:extLst>
            </p:cNvPr>
            <p:cNvSpPr/>
            <p:nvPr/>
          </p:nvSpPr>
          <p:spPr>
            <a:xfrm>
              <a:off x="7608634" y="5678739"/>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305;p55">
              <a:extLst>
                <a:ext uri="{FF2B5EF4-FFF2-40B4-BE49-F238E27FC236}">
                  <a16:creationId xmlns:a16="http://schemas.microsoft.com/office/drawing/2014/main" id="{58690CE0-BE15-4845-85D9-71DC9E14F8F9}"/>
                </a:ext>
              </a:extLst>
            </p:cNvPr>
            <p:cNvSpPr/>
            <p:nvPr/>
          </p:nvSpPr>
          <p:spPr>
            <a:xfrm>
              <a:off x="7608634" y="551134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306;p55">
              <a:extLst>
                <a:ext uri="{FF2B5EF4-FFF2-40B4-BE49-F238E27FC236}">
                  <a16:creationId xmlns:a16="http://schemas.microsoft.com/office/drawing/2014/main" id="{26D2AB80-781D-4845-9805-BB98F9B4C8E5}"/>
                </a:ext>
              </a:extLst>
            </p:cNvPr>
            <p:cNvSpPr/>
            <p:nvPr/>
          </p:nvSpPr>
          <p:spPr>
            <a:xfrm>
              <a:off x="7608634" y="534395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 name="Google Shape;1307;p55">
            <a:extLst>
              <a:ext uri="{FF2B5EF4-FFF2-40B4-BE49-F238E27FC236}">
                <a16:creationId xmlns:a16="http://schemas.microsoft.com/office/drawing/2014/main" id="{4D80EC08-4F30-4513-989A-8AEDF40E15E4}"/>
              </a:ext>
            </a:extLst>
          </p:cNvPr>
          <p:cNvSpPr/>
          <p:nvPr/>
        </p:nvSpPr>
        <p:spPr>
          <a:xfrm>
            <a:off x="3083319" y="889733"/>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1308;p55">
            <a:extLst>
              <a:ext uri="{FF2B5EF4-FFF2-40B4-BE49-F238E27FC236}">
                <a16:creationId xmlns:a16="http://schemas.microsoft.com/office/drawing/2014/main" id="{15681049-DFB9-40EE-A08B-0EDA5FBEACCD}"/>
              </a:ext>
            </a:extLst>
          </p:cNvPr>
          <p:cNvSpPr/>
          <p:nvPr/>
        </p:nvSpPr>
        <p:spPr>
          <a:xfrm>
            <a:off x="6053304" y="21946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309;p55">
            <a:extLst>
              <a:ext uri="{FF2B5EF4-FFF2-40B4-BE49-F238E27FC236}">
                <a16:creationId xmlns:a16="http://schemas.microsoft.com/office/drawing/2014/main" id="{87CC6988-6A44-4A10-AB82-F14D8F91832C}"/>
              </a:ext>
            </a:extLst>
          </p:cNvPr>
          <p:cNvSpPr/>
          <p:nvPr/>
        </p:nvSpPr>
        <p:spPr>
          <a:xfrm>
            <a:off x="8820604" y="94529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310;p55">
            <a:extLst>
              <a:ext uri="{FF2B5EF4-FFF2-40B4-BE49-F238E27FC236}">
                <a16:creationId xmlns:a16="http://schemas.microsoft.com/office/drawing/2014/main" id="{B4345AA1-F5D5-4AA2-889E-9EBF8E2F13E0}"/>
              </a:ext>
            </a:extLst>
          </p:cNvPr>
          <p:cNvSpPr/>
          <p:nvPr/>
        </p:nvSpPr>
        <p:spPr>
          <a:xfrm>
            <a:off x="5934354" y="481635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311;p55">
            <a:extLst>
              <a:ext uri="{FF2B5EF4-FFF2-40B4-BE49-F238E27FC236}">
                <a16:creationId xmlns:a16="http://schemas.microsoft.com/office/drawing/2014/main" id="{9F174091-38E7-4881-A389-BDB2504E4907}"/>
              </a:ext>
            </a:extLst>
          </p:cNvPr>
          <p:cNvSpPr/>
          <p:nvPr/>
        </p:nvSpPr>
        <p:spPr>
          <a:xfrm>
            <a:off x="7891404" y="3937733"/>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338;p55">
            <a:extLst>
              <a:ext uri="{FF2B5EF4-FFF2-40B4-BE49-F238E27FC236}">
                <a16:creationId xmlns:a16="http://schemas.microsoft.com/office/drawing/2014/main" id="{BA002F27-68C9-42DB-94AB-C6C19632A7D4}"/>
              </a:ext>
            </a:extLst>
          </p:cNvPr>
          <p:cNvSpPr/>
          <p:nvPr/>
        </p:nvSpPr>
        <p:spPr>
          <a:xfrm>
            <a:off x="636854" y="388359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1" name="Google Shape;1263;p54">
            <a:extLst>
              <a:ext uri="{FF2B5EF4-FFF2-40B4-BE49-F238E27FC236}">
                <a16:creationId xmlns:a16="http://schemas.microsoft.com/office/drawing/2014/main" id="{CDB667E8-BDCD-4226-9A57-20C35E0D7EC3}"/>
              </a:ext>
            </a:extLst>
          </p:cNvPr>
          <p:cNvGrpSpPr/>
          <p:nvPr/>
        </p:nvGrpSpPr>
        <p:grpSpPr>
          <a:xfrm>
            <a:off x="7219380" y="4377467"/>
            <a:ext cx="719774" cy="669278"/>
            <a:chOff x="4818730" y="3307263"/>
            <a:chExt cx="1827512" cy="1699300"/>
          </a:xfrm>
        </p:grpSpPr>
        <p:sp>
          <p:nvSpPr>
            <p:cNvPr id="42" name="Google Shape;1264;p54">
              <a:extLst>
                <a:ext uri="{FF2B5EF4-FFF2-40B4-BE49-F238E27FC236}">
                  <a16:creationId xmlns:a16="http://schemas.microsoft.com/office/drawing/2014/main" id="{44F54996-1FD7-4CED-95E5-76D109A3ECAC}"/>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265;p54">
              <a:extLst>
                <a:ext uri="{FF2B5EF4-FFF2-40B4-BE49-F238E27FC236}">
                  <a16:creationId xmlns:a16="http://schemas.microsoft.com/office/drawing/2014/main" id="{A6BE1196-E110-4B2D-A735-F2E94080270D}"/>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1266;p54">
              <a:extLst>
                <a:ext uri="{FF2B5EF4-FFF2-40B4-BE49-F238E27FC236}">
                  <a16:creationId xmlns:a16="http://schemas.microsoft.com/office/drawing/2014/main" id="{ED5F69C7-693A-4DCF-97FA-45C053859466}"/>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67;p54">
              <a:extLst>
                <a:ext uri="{FF2B5EF4-FFF2-40B4-BE49-F238E27FC236}">
                  <a16:creationId xmlns:a16="http://schemas.microsoft.com/office/drawing/2014/main" id="{57113CF9-0737-4A9C-A94E-B75ED8D6F2AD}"/>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268;p54">
              <a:extLst>
                <a:ext uri="{FF2B5EF4-FFF2-40B4-BE49-F238E27FC236}">
                  <a16:creationId xmlns:a16="http://schemas.microsoft.com/office/drawing/2014/main" id="{A30A7D11-2E17-4FCB-BB7B-1EE6DC68BB0E}"/>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269;p54">
              <a:extLst>
                <a:ext uri="{FF2B5EF4-FFF2-40B4-BE49-F238E27FC236}">
                  <a16:creationId xmlns:a16="http://schemas.microsoft.com/office/drawing/2014/main" id="{DB294D6D-D2A7-4055-AC4D-B8A31093BF63}"/>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270;p54">
              <a:extLst>
                <a:ext uri="{FF2B5EF4-FFF2-40B4-BE49-F238E27FC236}">
                  <a16:creationId xmlns:a16="http://schemas.microsoft.com/office/drawing/2014/main" id="{A34055A9-E209-4C29-8282-CC71912B3DCC}"/>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271;p54">
              <a:extLst>
                <a:ext uri="{FF2B5EF4-FFF2-40B4-BE49-F238E27FC236}">
                  <a16:creationId xmlns:a16="http://schemas.microsoft.com/office/drawing/2014/main" id="{7B984569-F3FA-40EC-A022-4DF2192AA5FB}"/>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272;p54">
              <a:extLst>
                <a:ext uri="{FF2B5EF4-FFF2-40B4-BE49-F238E27FC236}">
                  <a16:creationId xmlns:a16="http://schemas.microsoft.com/office/drawing/2014/main" id="{5CC090DA-8EFF-4009-934C-EE4996E97B4B}"/>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273;p54">
              <a:extLst>
                <a:ext uri="{FF2B5EF4-FFF2-40B4-BE49-F238E27FC236}">
                  <a16:creationId xmlns:a16="http://schemas.microsoft.com/office/drawing/2014/main" id="{978B6740-9F1C-478E-8386-ADADD7793649}"/>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274;p54">
              <a:extLst>
                <a:ext uri="{FF2B5EF4-FFF2-40B4-BE49-F238E27FC236}">
                  <a16:creationId xmlns:a16="http://schemas.microsoft.com/office/drawing/2014/main" id="{41B234B6-D393-4515-AF8E-1210223897AD}"/>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1275;p54">
              <a:extLst>
                <a:ext uri="{FF2B5EF4-FFF2-40B4-BE49-F238E27FC236}">
                  <a16:creationId xmlns:a16="http://schemas.microsoft.com/office/drawing/2014/main" id="{F508184A-4C54-40D2-9C8E-72E3B44FC9D1}"/>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1276;p54">
              <a:extLst>
                <a:ext uri="{FF2B5EF4-FFF2-40B4-BE49-F238E27FC236}">
                  <a16:creationId xmlns:a16="http://schemas.microsoft.com/office/drawing/2014/main" id="{C1FC3983-A270-492D-A2BA-0760D52ED9B9}"/>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1277;p54">
              <a:extLst>
                <a:ext uri="{FF2B5EF4-FFF2-40B4-BE49-F238E27FC236}">
                  <a16:creationId xmlns:a16="http://schemas.microsoft.com/office/drawing/2014/main" id="{68B014EE-8EE5-4437-82B3-34B4EF3191EC}"/>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1278;p54">
              <a:extLst>
                <a:ext uri="{FF2B5EF4-FFF2-40B4-BE49-F238E27FC236}">
                  <a16:creationId xmlns:a16="http://schemas.microsoft.com/office/drawing/2014/main" id="{DDC054B0-00FF-478C-9304-5FE127604777}"/>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1279;p54">
              <a:extLst>
                <a:ext uri="{FF2B5EF4-FFF2-40B4-BE49-F238E27FC236}">
                  <a16:creationId xmlns:a16="http://schemas.microsoft.com/office/drawing/2014/main" id="{37239AA8-6FBC-4EDE-AADE-8BB2907B2E3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1280;p54">
              <a:extLst>
                <a:ext uri="{FF2B5EF4-FFF2-40B4-BE49-F238E27FC236}">
                  <a16:creationId xmlns:a16="http://schemas.microsoft.com/office/drawing/2014/main" id="{8D037BCF-F98C-4977-AFBC-6590B15B602F}"/>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1281;p54">
              <a:extLst>
                <a:ext uri="{FF2B5EF4-FFF2-40B4-BE49-F238E27FC236}">
                  <a16:creationId xmlns:a16="http://schemas.microsoft.com/office/drawing/2014/main" id="{20642B45-CDBC-40AC-95ED-E6AAE502DD2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282;p54">
              <a:extLst>
                <a:ext uri="{FF2B5EF4-FFF2-40B4-BE49-F238E27FC236}">
                  <a16:creationId xmlns:a16="http://schemas.microsoft.com/office/drawing/2014/main" id="{818DC193-7709-448A-A1B1-EDEDB3C482DD}"/>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283;p54">
              <a:extLst>
                <a:ext uri="{FF2B5EF4-FFF2-40B4-BE49-F238E27FC236}">
                  <a16:creationId xmlns:a16="http://schemas.microsoft.com/office/drawing/2014/main" id="{F727E120-5ACC-4587-BBDF-D9CE248174F7}"/>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1284;p54">
              <a:extLst>
                <a:ext uri="{FF2B5EF4-FFF2-40B4-BE49-F238E27FC236}">
                  <a16:creationId xmlns:a16="http://schemas.microsoft.com/office/drawing/2014/main" id="{EAB27F81-4A2C-457F-8952-0A54CF53ABD9}"/>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1285;p54">
              <a:extLst>
                <a:ext uri="{FF2B5EF4-FFF2-40B4-BE49-F238E27FC236}">
                  <a16:creationId xmlns:a16="http://schemas.microsoft.com/office/drawing/2014/main" id="{0C190671-3FD7-47DC-B0CC-FA8044662D76}"/>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286;p54">
              <a:extLst>
                <a:ext uri="{FF2B5EF4-FFF2-40B4-BE49-F238E27FC236}">
                  <a16:creationId xmlns:a16="http://schemas.microsoft.com/office/drawing/2014/main" id="{9BDA2D19-A5F7-444D-A5F9-C8A590B6864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287;p54">
              <a:extLst>
                <a:ext uri="{FF2B5EF4-FFF2-40B4-BE49-F238E27FC236}">
                  <a16:creationId xmlns:a16="http://schemas.microsoft.com/office/drawing/2014/main" id="{66CEFB95-5622-4CE0-80B4-4F51B1F67C4A}"/>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288;p54">
              <a:extLst>
                <a:ext uri="{FF2B5EF4-FFF2-40B4-BE49-F238E27FC236}">
                  <a16:creationId xmlns:a16="http://schemas.microsoft.com/office/drawing/2014/main" id="{E00AD037-C7E6-4CA3-B7FD-5A3219AB6B68}"/>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cxnSp>
        <p:nvCxnSpPr>
          <p:cNvPr id="68" name="Google Shape;1298;p55">
            <a:extLst>
              <a:ext uri="{FF2B5EF4-FFF2-40B4-BE49-F238E27FC236}">
                <a16:creationId xmlns:a16="http://schemas.microsoft.com/office/drawing/2014/main" id="{23B37E86-A40F-4488-A4B0-AE7AF023271A}"/>
              </a:ext>
            </a:extLst>
          </p:cNvPr>
          <p:cNvCxnSpPr/>
          <p:nvPr/>
        </p:nvCxnSpPr>
        <p:spPr>
          <a:xfrm rot="10800000">
            <a:off x="-893875" y="1674657"/>
            <a:ext cx="6467493" cy="0"/>
          </a:xfrm>
          <a:prstGeom prst="straightConnector1">
            <a:avLst/>
          </a:prstGeom>
          <a:noFill/>
          <a:ln w="19050" cap="flat" cmpd="sng">
            <a:solidFill>
              <a:schemeClr val="accent1"/>
            </a:solidFill>
            <a:prstDash val="solid"/>
            <a:round/>
            <a:headEnd type="none" w="med" len="med"/>
            <a:tailEnd type="none" w="med" len="med"/>
          </a:ln>
        </p:spPr>
      </p:cxnSp>
      <p:sp>
        <p:nvSpPr>
          <p:cNvPr id="70" name="Google Shape;1310;p55">
            <a:extLst>
              <a:ext uri="{FF2B5EF4-FFF2-40B4-BE49-F238E27FC236}">
                <a16:creationId xmlns:a16="http://schemas.microsoft.com/office/drawing/2014/main" id="{66BBDE42-891E-4CFB-B63B-2C9B12E44F60}"/>
              </a:ext>
            </a:extLst>
          </p:cNvPr>
          <p:cNvSpPr/>
          <p:nvPr/>
        </p:nvSpPr>
        <p:spPr>
          <a:xfrm>
            <a:off x="5582465" y="157326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294;p55">
            <a:extLst>
              <a:ext uri="{FF2B5EF4-FFF2-40B4-BE49-F238E27FC236}">
                <a16:creationId xmlns:a16="http://schemas.microsoft.com/office/drawing/2014/main" id="{98A30A56-F145-4A6E-93B4-163047C0A985}"/>
              </a:ext>
            </a:extLst>
          </p:cNvPr>
          <p:cNvSpPr txBox="1">
            <a:spLocks/>
          </p:cNvSpPr>
          <p:nvPr/>
        </p:nvSpPr>
        <p:spPr>
          <a:xfrm>
            <a:off x="1514778" y="1818129"/>
            <a:ext cx="5062751" cy="141909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Γεφύρωση του χάσματος μεταξύ της επικοινωνίας υλικού και λογισμικού για αλληλεπίδραση εντός του παιχνιδιού</a:t>
            </a:r>
            <a:endPar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sp>
        <p:nvSpPr>
          <p:cNvPr id="76" name="Google Shape;1339;p55">
            <a:extLst>
              <a:ext uri="{FF2B5EF4-FFF2-40B4-BE49-F238E27FC236}">
                <a16:creationId xmlns:a16="http://schemas.microsoft.com/office/drawing/2014/main" id="{3E9B7DF3-D1F4-4BA2-B4DA-8A0656881FCF}"/>
              </a:ext>
            </a:extLst>
          </p:cNvPr>
          <p:cNvSpPr txBox="1">
            <a:spLocks/>
          </p:cNvSpPr>
          <p:nvPr/>
        </p:nvSpPr>
        <p:spPr>
          <a:xfrm>
            <a:off x="1451585" y="3620774"/>
            <a:ext cx="4929252" cy="200108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1"/>
              </a:buClr>
              <a:buSzPts val="1800"/>
              <a:buFont typeface="Arimo"/>
              <a:buChar char="●"/>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9pPr>
          </a:lstStyle>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kumimoji="0" lang="el-GR"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Παρελθόν, Παρόν, Εξερεύνηση του Μέλλοντος</a:t>
            </a:r>
            <a:endPar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kumimoji="0" lang="el-GR"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Εταιρείες μεγάλης τεχνολογίας και όραμα ενιαίας ανάπτυξης (κοινά πρότυπα λογισμικού)</a:t>
            </a:r>
            <a:endPar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Metaverse </a:t>
            </a:r>
            <a:r>
              <a:rPr kumimoji="0" lang="el-GR"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ήταν ήδη εδώ</a:t>
            </a:r>
            <a:endPar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Gameplay Mechanics </a:t>
            </a:r>
            <a:r>
              <a:rPr kumimoji="0" lang="el-GR"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μπορεί να χαρακτηριστεί ως ο τρόπος εισόδου στο</a:t>
            </a:r>
            <a:endPar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endParaRPr lang="en-US" sz="2000" kern="0" dirty="0">
              <a:solidFill>
                <a:srgbClr val="FFFFFF"/>
              </a:solidFill>
              <a:latin typeface="Arial" panose="020B0604020202020204" pitchFamily="34" charset="0"/>
              <a:cs typeface="Arial" panose="020B0604020202020204" pitchFamily="34" charset="0"/>
            </a:endParaRPr>
          </a:p>
        </p:txBody>
      </p:sp>
      <p:sp>
        <p:nvSpPr>
          <p:cNvPr id="77" name="Google Shape;12;p2">
            <a:extLst>
              <a:ext uri="{FF2B5EF4-FFF2-40B4-BE49-F238E27FC236}">
                <a16:creationId xmlns:a16="http://schemas.microsoft.com/office/drawing/2014/main" id="{44F30CA5-BD8E-44F0-921B-357FF88D5FE6}"/>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1296;p55">
            <a:extLst>
              <a:ext uri="{FF2B5EF4-FFF2-40B4-BE49-F238E27FC236}">
                <a16:creationId xmlns:a16="http://schemas.microsoft.com/office/drawing/2014/main" id="{690F5EB8-DBC9-4CE5-960C-1369DB7CB16F}"/>
              </a:ext>
            </a:extLst>
          </p:cNvPr>
          <p:cNvSpPr/>
          <p:nvPr/>
        </p:nvSpPr>
        <p:spPr>
          <a:xfrm flipH="1">
            <a:off x="7011986" y="-20300"/>
            <a:ext cx="45719" cy="68783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12;p2">
            <a:extLst>
              <a:ext uri="{FF2B5EF4-FFF2-40B4-BE49-F238E27FC236}">
                <a16:creationId xmlns:a16="http://schemas.microsoft.com/office/drawing/2014/main" id="{545A586C-6D88-47CE-9A34-6800CB74D91F}"/>
              </a:ext>
            </a:extLst>
          </p:cNvPr>
          <p:cNvSpPr/>
          <p:nvPr/>
        </p:nvSpPr>
        <p:spPr>
          <a:xfrm rot="2172941" flipH="1">
            <a:off x="8853627" y="3922570"/>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Rectangle 68">
            <a:extLst>
              <a:ext uri="{FF2B5EF4-FFF2-40B4-BE49-F238E27FC236}">
                <a16:creationId xmlns:a16="http://schemas.microsoft.com/office/drawing/2014/main" id="{E4DC071C-C021-4D84-98FD-DFCA9AEC3716}"/>
              </a:ext>
            </a:extLst>
          </p:cNvPr>
          <p:cNvSpPr/>
          <p:nvPr/>
        </p:nvSpPr>
        <p:spPr>
          <a:xfrm>
            <a:off x="2339871" y="5489850"/>
            <a:ext cx="1056700" cy="461665"/>
          </a:xfrm>
          <a:prstGeom prst="rect">
            <a:avLst/>
          </a:prstGeom>
          <a:noFill/>
          <a:ln>
            <a:noFill/>
          </a:ln>
          <a:effectLst>
            <a:glow>
              <a:schemeClr val="accent1">
                <a:alpha val="41000"/>
              </a:schemeClr>
            </a:glow>
          </a:effectLst>
        </p:spPr>
        <p:txBody>
          <a:bodyPr wrap="none" lIns="91440" tIns="45720" rIns="91440" bIns="45720">
            <a:spAutoFit/>
          </a:bodyPr>
          <a:lstStyle/>
          <a:p>
            <a:pPr algn="ctr"/>
            <a:r>
              <a:rPr lang="en-US" sz="24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Matrix</a:t>
            </a:r>
          </a:p>
        </p:txBody>
      </p:sp>
    </p:spTree>
    <p:extLst>
      <p:ext uri="{BB962C8B-B14F-4D97-AF65-F5344CB8AC3E}">
        <p14:creationId xmlns:p14="http://schemas.microsoft.com/office/powerpoint/2010/main" val="47808301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1026" name="Picture 2" descr="arcadepic - Black Nerd Problems">
            <a:extLst>
              <a:ext uri="{FF2B5EF4-FFF2-40B4-BE49-F238E27FC236}">
                <a16:creationId xmlns:a16="http://schemas.microsoft.com/office/drawing/2014/main" id="{616395B6-D198-4C66-8B5F-5C51E0723633}"/>
              </a:ext>
            </a:extLst>
          </p:cNvPr>
          <p:cNvPicPr>
            <a:picLocks noChangeAspect="1" noChangeArrowheads="1"/>
          </p:cNvPicPr>
          <p:nvPr/>
        </p:nvPicPr>
        <p:blipFill>
          <a:blip r:embed="rId3">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auto">
          <a:xfrm>
            <a:off x="6096000" y="0"/>
            <a:ext cx="6079873" cy="3419929"/>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Capcom Arcade Stadium Packs 1, 2, and 3 – Mini-Album Bundle στο Steam">
            <a:extLst>
              <a:ext uri="{FF2B5EF4-FFF2-40B4-BE49-F238E27FC236}">
                <a16:creationId xmlns:a16="http://schemas.microsoft.com/office/drawing/2014/main" id="{0B71B81D-36AC-452A-B880-4BC47AE4A04D}"/>
              </a:ext>
            </a:extLst>
          </p:cNvPr>
          <p:cNvPicPr>
            <a:picLocks noChangeAspect="1" noChangeArrowheads="1"/>
          </p:cNvPicPr>
          <p:nvPr/>
        </p:nvPicPr>
        <p:blipFill>
          <a:blip r:embed="rId4">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auto">
          <a:xfrm>
            <a:off x="6096000" y="3419929"/>
            <a:ext cx="6181473" cy="3477079"/>
          </a:xfrm>
          <a:prstGeom prst="rect">
            <a:avLst/>
          </a:prstGeom>
          <a:noFill/>
          <a:extLst>
            <a:ext uri="{909E8E84-426E-40DD-AFC4-6F175D3DCCD1}">
              <a14:hiddenFill xmlns:a14="http://schemas.microsoft.com/office/drawing/2010/main">
                <a:solidFill>
                  <a:srgbClr val="FFFFFF"/>
                </a:solidFill>
              </a14:hiddenFill>
            </a:ext>
          </a:extLst>
        </p:spPr>
      </p:pic>
      <p:sp>
        <p:nvSpPr>
          <p:cNvPr id="15" name="Google Shape;1296;p55">
            <a:extLst>
              <a:ext uri="{FF2B5EF4-FFF2-40B4-BE49-F238E27FC236}">
                <a16:creationId xmlns:a16="http://schemas.microsoft.com/office/drawing/2014/main" id="{DE37D491-C29D-4670-8453-312937826855}"/>
              </a:ext>
            </a:extLst>
          </p:cNvPr>
          <p:cNvSpPr/>
          <p:nvPr/>
        </p:nvSpPr>
        <p:spPr>
          <a:xfrm flipH="1">
            <a:off x="6096000" y="-20300"/>
            <a:ext cx="45719" cy="68783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2;p2">
            <a:extLst>
              <a:ext uri="{FF2B5EF4-FFF2-40B4-BE49-F238E27FC236}">
                <a16:creationId xmlns:a16="http://schemas.microsoft.com/office/drawing/2014/main" id="{BBFE39A8-2EAC-4742-8FBC-C3F384667CBA}"/>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521047F8-6704-475B-8061-1A33F850112A}"/>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 name="Group 17">
            <a:extLst>
              <a:ext uri="{FF2B5EF4-FFF2-40B4-BE49-F238E27FC236}">
                <a16:creationId xmlns:a16="http://schemas.microsoft.com/office/drawing/2014/main" id="{2CD48A59-73EA-4F98-BCD4-DEDEBBCA0E15}"/>
              </a:ext>
            </a:extLst>
          </p:cNvPr>
          <p:cNvGrpSpPr/>
          <p:nvPr/>
        </p:nvGrpSpPr>
        <p:grpSpPr>
          <a:xfrm>
            <a:off x="2328542" y="4823789"/>
            <a:ext cx="1187582" cy="1104265"/>
            <a:chOff x="9379963" y="4497336"/>
            <a:chExt cx="1187582" cy="1104265"/>
          </a:xfrm>
        </p:grpSpPr>
        <p:grpSp>
          <p:nvGrpSpPr>
            <p:cNvPr id="19" name="Google Shape;802;p51">
              <a:extLst>
                <a:ext uri="{FF2B5EF4-FFF2-40B4-BE49-F238E27FC236}">
                  <a16:creationId xmlns:a16="http://schemas.microsoft.com/office/drawing/2014/main" id="{53D4EF21-CBAD-4B93-90CD-8A52A27E245B}"/>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46" name="Google Shape;803;p51">
                <a:extLst>
                  <a:ext uri="{FF2B5EF4-FFF2-40B4-BE49-F238E27FC236}">
                    <a16:creationId xmlns:a16="http://schemas.microsoft.com/office/drawing/2014/main" id="{63A6A9FD-8FCE-42CD-92A2-8457ED49C323}"/>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04;p51">
                <a:extLst>
                  <a:ext uri="{FF2B5EF4-FFF2-40B4-BE49-F238E27FC236}">
                    <a16:creationId xmlns:a16="http://schemas.microsoft.com/office/drawing/2014/main" id="{76D6F3C0-A5DB-4549-AE40-1783FCEA47BE}"/>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05;p51">
                <a:extLst>
                  <a:ext uri="{FF2B5EF4-FFF2-40B4-BE49-F238E27FC236}">
                    <a16:creationId xmlns:a16="http://schemas.microsoft.com/office/drawing/2014/main" id="{5B97641E-6EAB-4E78-980C-31582D677E05}"/>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06;p51">
                <a:extLst>
                  <a:ext uri="{FF2B5EF4-FFF2-40B4-BE49-F238E27FC236}">
                    <a16:creationId xmlns:a16="http://schemas.microsoft.com/office/drawing/2014/main" id="{0D5B2A83-F70F-4CBD-B3FC-2C524FBF8870}"/>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07;p51">
                <a:extLst>
                  <a:ext uri="{FF2B5EF4-FFF2-40B4-BE49-F238E27FC236}">
                    <a16:creationId xmlns:a16="http://schemas.microsoft.com/office/drawing/2014/main" id="{5C2346A4-71BD-4699-9A3B-CC4473C0AD49}"/>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08;p51">
                <a:extLst>
                  <a:ext uri="{FF2B5EF4-FFF2-40B4-BE49-F238E27FC236}">
                    <a16:creationId xmlns:a16="http://schemas.microsoft.com/office/drawing/2014/main" id="{171C4413-1BEF-4DE8-BEC7-59335C5FD577}"/>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09;p51">
                <a:extLst>
                  <a:ext uri="{FF2B5EF4-FFF2-40B4-BE49-F238E27FC236}">
                    <a16:creationId xmlns:a16="http://schemas.microsoft.com/office/drawing/2014/main" id="{9B38BA46-B793-40C6-8B5E-E5CAF5EC2693}"/>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0;p51">
                <a:extLst>
                  <a:ext uri="{FF2B5EF4-FFF2-40B4-BE49-F238E27FC236}">
                    <a16:creationId xmlns:a16="http://schemas.microsoft.com/office/drawing/2014/main" id="{9B73E437-C2F5-45DD-88CD-9E63AFA0D210}"/>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1;p51">
                <a:extLst>
                  <a:ext uri="{FF2B5EF4-FFF2-40B4-BE49-F238E27FC236}">
                    <a16:creationId xmlns:a16="http://schemas.microsoft.com/office/drawing/2014/main" id="{E76982F3-B159-41FF-AE50-498992FC7DBD}"/>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12;p51">
                <a:extLst>
                  <a:ext uri="{FF2B5EF4-FFF2-40B4-BE49-F238E27FC236}">
                    <a16:creationId xmlns:a16="http://schemas.microsoft.com/office/drawing/2014/main" id="{F54C5ECA-9ECB-4C3A-82B5-A3E2A4DE2FE9}"/>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13;p51">
                <a:extLst>
                  <a:ext uri="{FF2B5EF4-FFF2-40B4-BE49-F238E27FC236}">
                    <a16:creationId xmlns:a16="http://schemas.microsoft.com/office/drawing/2014/main" id="{7BD8EC8C-37CA-4125-A535-082858FD10AA}"/>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14;p51">
                <a:extLst>
                  <a:ext uri="{FF2B5EF4-FFF2-40B4-BE49-F238E27FC236}">
                    <a16:creationId xmlns:a16="http://schemas.microsoft.com/office/drawing/2014/main" id="{DB9F6CFB-15D4-406F-BAF6-2DD47372B71B}"/>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5;p51">
                <a:extLst>
                  <a:ext uri="{FF2B5EF4-FFF2-40B4-BE49-F238E27FC236}">
                    <a16:creationId xmlns:a16="http://schemas.microsoft.com/office/drawing/2014/main" id="{6876EDA2-7051-4FDB-9862-ED68D77D4437}"/>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16;p51">
                <a:extLst>
                  <a:ext uri="{FF2B5EF4-FFF2-40B4-BE49-F238E27FC236}">
                    <a16:creationId xmlns:a16="http://schemas.microsoft.com/office/drawing/2014/main" id="{37BD0DD1-9C42-4B0B-A4DD-34F89AF3C7AF}"/>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17;p51">
                <a:extLst>
                  <a:ext uri="{FF2B5EF4-FFF2-40B4-BE49-F238E27FC236}">
                    <a16:creationId xmlns:a16="http://schemas.microsoft.com/office/drawing/2014/main" id="{1DF3616C-2CEA-4B16-B66C-FF5AAA3FD9CF}"/>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18;p51">
                <a:extLst>
                  <a:ext uri="{FF2B5EF4-FFF2-40B4-BE49-F238E27FC236}">
                    <a16:creationId xmlns:a16="http://schemas.microsoft.com/office/drawing/2014/main" id="{46339220-5831-4528-93B2-0265802787D3}"/>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19;p51">
                <a:extLst>
                  <a:ext uri="{FF2B5EF4-FFF2-40B4-BE49-F238E27FC236}">
                    <a16:creationId xmlns:a16="http://schemas.microsoft.com/office/drawing/2014/main" id="{D958002B-DF4F-462F-AF5B-2E3212E204FA}"/>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20;p51">
                <a:extLst>
                  <a:ext uri="{FF2B5EF4-FFF2-40B4-BE49-F238E27FC236}">
                    <a16:creationId xmlns:a16="http://schemas.microsoft.com/office/drawing/2014/main" id="{3A7B42CD-9297-4AAC-85B6-36963D13DF86}"/>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21;p51">
                <a:extLst>
                  <a:ext uri="{FF2B5EF4-FFF2-40B4-BE49-F238E27FC236}">
                    <a16:creationId xmlns:a16="http://schemas.microsoft.com/office/drawing/2014/main" id="{E36482B0-66F3-44DE-8B7E-0298EF743B93}"/>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22;p51">
                <a:extLst>
                  <a:ext uri="{FF2B5EF4-FFF2-40B4-BE49-F238E27FC236}">
                    <a16:creationId xmlns:a16="http://schemas.microsoft.com/office/drawing/2014/main" id="{CC904087-F001-42FA-B4DA-F3ECE1964718}"/>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23;p51">
                <a:extLst>
                  <a:ext uri="{FF2B5EF4-FFF2-40B4-BE49-F238E27FC236}">
                    <a16:creationId xmlns:a16="http://schemas.microsoft.com/office/drawing/2014/main" id="{74D26488-093D-47A8-BE59-A9FF657C566A}"/>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24;p51">
                <a:extLst>
                  <a:ext uri="{FF2B5EF4-FFF2-40B4-BE49-F238E27FC236}">
                    <a16:creationId xmlns:a16="http://schemas.microsoft.com/office/drawing/2014/main" id="{50AB1CEF-321A-45C5-BE2B-FA8352953503}"/>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25;p51">
                <a:extLst>
                  <a:ext uri="{FF2B5EF4-FFF2-40B4-BE49-F238E27FC236}">
                    <a16:creationId xmlns:a16="http://schemas.microsoft.com/office/drawing/2014/main" id="{44EA7518-356B-446D-B19D-7B1936D62C0F}"/>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26;p51">
                <a:extLst>
                  <a:ext uri="{FF2B5EF4-FFF2-40B4-BE49-F238E27FC236}">
                    <a16:creationId xmlns:a16="http://schemas.microsoft.com/office/drawing/2014/main" id="{A45C8780-D867-4351-A721-38170650C00C}"/>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27;p51">
                <a:extLst>
                  <a:ext uri="{FF2B5EF4-FFF2-40B4-BE49-F238E27FC236}">
                    <a16:creationId xmlns:a16="http://schemas.microsoft.com/office/drawing/2014/main" id="{302C5749-7FFD-4AC3-84D6-67CCC3CAA888}"/>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20" name="Group 19">
              <a:extLst>
                <a:ext uri="{FF2B5EF4-FFF2-40B4-BE49-F238E27FC236}">
                  <a16:creationId xmlns:a16="http://schemas.microsoft.com/office/drawing/2014/main" id="{E1290FA6-43CE-49BB-B289-EFB5EAED4A52}"/>
                </a:ext>
              </a:extLst>
            </p:cNvPr>
            <p:cNvGrpSpPr/>
            <p:nvPr/>
          </p:nvGrpSpPr>
          <p:grpSpPr>
            <a:xfrm>
              <a:off x="9459173" y="4651735"/>
              <a:ext cx="965465" cy="814701"/>
              <a:chOff x="2122052" y="4430998"/>
              <a:chExt cx="516998" cy="436265"/>
            </a:xfrm>
          </p:grpSpPr>
          <p:sp>
            <p:nvSpPr>
              <p:cNvPr id="21" name="Google Shape;663;p48">
                <a:extLst>
                  <a:ext uri="{FF2B5EF4-FFF2-40B4-BE49-F238E27FC236}">
                    <a16:creationId xmlns:a16="http://schemas.microsoft.com/office/drawing/2014/main" id="{F64355C2-2E82-48EC-8289-893CAC6BD0F9}"/>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4;p48">
                <a:extLst>
                  <a:ext uri="{FF2B5EF4-FFF2-40B4-BE49-F238E27FC236}">
                    <a16:creationId xmlns:a16="http://schemas.microsoft.com/office/drawing/2014/main" id="{149D74AF-1B36-408D-B571-90DBAF83F2BC}"/>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65;p48">
                <a:extLst>
                  <a:ext uri="{FF2B5EF4-FFF2-40B4-BE49-F238E27FC236}">
                    <a16:creationId xmlns:a16="http://schemas.microsoft.com/office/drawing/2014/main" id="{FC18753D-C3C4-42C6-BEE8-1DBCA3E7C3EE}"/>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66;p48">
                <a:extLst>
                  <a:ext uri="{FF2B5EF4-FFF2-40B4-BE49-F238E27FC236}">
                    <a16:creationId xmlns:a16="http://schemas.microsoft.com/office/drawing/2014/main" id="{C480D836-5D2F-4E7E-8DED-3A3047578A5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67;p48">
                <a:extLst>
                  <a:ext uri="{FF2B5EF4-FFF2-40B4-BE49-F238E27FC236}">
                    <a16:creationId xmlns:a16="http://schemas.microsoft.com/office/drawing/2014/main" id="{41CE0E68-BB63-4A0E-922B-9DB254700A46}"/>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68;p48">
                <a:extLst>
                  <a:ext uri="{FF2B5EF4-FFF2-40B4-BE49-F238E27FC236}">
                    <a16:creationId xmlns:a16="http://schemas.microsoft.com/office/drawing/2014/main" id="{9AAD1A48-47DD-4F27-9F99-78B2BD528C42}"/>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7" name="Google Shape;669;p48">
                <a:extLst>
                  <a:ext uri="{FF2B5EF4-FFF2-40B4-BE49-F238E27FC236}">
                    <a16:creationId xmlns:a16="http://schemas.microsoft.com/office/drawing/2014/main" id="{624D1B86-FD93-4E2E-B4E3-80E6F3FD46E3}"/>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0;p48">
                <a:extLst>
                  <a:ext uri="{FF2B5EF4-FFF2-40B4-BE49-F238E27FC236}">
                    <a16:creationId xmlns:a16="http://schemas.microsoft.com/office/drawing/2014/main" id="{55BD2C59-FB44-4065-87FE-F41C015DC64A}"/>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1;p48">
                <a:extLst>
                  <a:ext uri="{FF2B5EF4-FFF2-40B4-BE49-F238E27FC236}">
                    <a16:creationId xmlns:a16="http://schemas.microsoft.com/office/drawing/2014/main" id="{3C87E558-AC73-406D-8070-C2E9150922A8}"/>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2;p48">
                <a:extLst>
                  <a:ext uri="{FF2B5EF4-FFF2-40B4-BE49-F238E27FC236}">
                    <a16:creationId xmlns:a16="http://schemas.microsoft.com/office/drawing/2014/main" id="{E98927EC-B5A4-4646-876E-7230AF732E2C}"/>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3;p48">
                <a:extLst>
                  <a:ext uri="{FF2B5EF4-FFF2-40B4-BE49-F238E27FC236}">
                    <a16:creationId xmlns:a16="http://schemas.microsoft.com/office/drawing/2014/main" id="{3B2810EF-1E3C-4C89-9FA7-8A147E17E69E}"/>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4;p48">
                <a:extLst>
                  <a:ext uri="{FF2B5EF4-FFF2-40B4-BE49-F238E27FC236}">
                    <a16:creationId xmlns:a16="http://schemas.microsoft.com/office/drawing/2014/main" id="{16784570-7B8C-4E69-BFB9-0F37775145BF}"/>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5;p48">
                <a:extLst>
                  <a:ext uri="{FF2B5EF4-FFF2-40B4-BE49-F238E27FC236}">
                    <a16:creationId xmlns:a16="http://schemas.microsoft.com/office/drawing/2014/main" id="{20AFF322-D81A-4FD8-8424-2ED6A47AC85D}"/>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6;p48">
                <a:extLst>
                  <a:ext uri="{FF2B5EF4-FFF2-40B4-BE49-F238E27FC236}">
                    <a16:creationId xmlns:a16="http://schemas.microsoft.com/office/drawing/2014/main" id="{72439A3D-CB3E-4B86-9E02-0ED35F8271C5}"/>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7;p48">
                <a:extLst>
                  <a:ext uri="{FF2B5EF4-FFF2-40B4-BE49-F238E27FC236}">
                    <a16:creationId xmlns:a16="http://schemas.microsoft.com/office/drawing/2014/main" id="{8A53925C-F65B-442F-91B8-6D467DF1414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8;p48">
                <a:extLst>
                  <a:ext uri="{FF2B5EF4-FFF2-40B4-BE49-F238E27FC236}">
                    <a16:creationId xmlns:a16="http://schemas.microsoft.com/office/drawing/2014/main" id="{4F77AD5B-B933-4257-BA13-7FD3B85FA7C9}"/>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79;p48">
                <a:extLst>
                  <a:ext uri="{FF2B5EF4-FFF2-40B4-BE49-F238E27FC236}">
                    <a16:creationId xmlns:a16="http://schemas.microsoft.com/office/drawing/2014/main" id="{02A2C035-E71A-415D-B84F-046A3DFA4369}"/>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80;p48">
                <a:extLst>
                  <a:ext uri="{FF2B5EF4-FFF2-40B4-BE49-F238E27FC236}">
                    <a16:creationId xmlns:a16="http://schemas.microsoft.com/office/drawing/2014/main" id="{90ADBB1A-F98F-411E-ADA5-B72CDAF11BA6}"/>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1;p48">
                <a:extLst>
                  <a:ext uri="{FF2B5EF4-FFF2-40B4-BE49-F238E27FC236}">
                    <a16:creationId xmlns:a16="http://schemas.microsoft.com/office/drawing/2014/main" id="{FE2A0FF8-1930-461B-9335-0DA2F04C499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2;p48">
                <a:extLst>
                  <a:ext uri="{FF2B5EF4-FFF2-40B4-BE49-F238E27FC236}">
                    <a16:creationId xmlns:a16="http://schemas.microsoft.com/office/drawing/2014/main" id="{834304DB-7DA6-4FD8-AD8F-F94C8BE4E31F}"/>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83;p48">
                <a:extLst>
                  <a:ext uri="{FF2B5EF4-FFF2-40B4-BE49-F238E27FC236}">
                    <a16:creationId xmlns:a16="http://schemas.microsoft.com/office/drawing/2014/main" id="{EFC22CE3-BF68-4CCE-B418-1289C8FFAEFA}"/>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2" name="Google Shape;684;p48">
                <a:extLst>
                  <a:ext uri="{FF2B5EF4-FFF2-40B4-BE49-F238E27FC236}">
                    <a16:creationId xmlns:a16="http://schemas.microsoft.com/office/drawing/2014/main" id="{159B907D-3FCF-40BF-972D-7C05EFDEFD8B}"/>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5;p48">
                <a:extLst>
                  <a:ext uri="{FF2B5EF4-FFF2-40B4-BE49-F238E27FC236}">
                    <a16:creationId xmlns:a16="http://schemas.microsoft.com/office/drawing/2014/main" id="{EF5285D8-3600-4C95-8047-176702203451}"/>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6;p48">
                <a:extLst>
                  <a:ext uri="{FF2B5EF4-FFF2-40B4-BE49-F238E27FC236}">
                    <a16:creationId xmlns:a16="http://schemas.microsoft.com/office/drawing/2014/main" id="{7380708B-A46A-41D2-981F-F9F4B14E0624}"/>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87;p48">
                <a:extLst>
                  <a:ext uri="{FF2B5EF4-FFF2-40B4-BE49-F238E27FC236}">
                    <a16:creationId xmlns:a16="http://schemas.microsoft.com/office/drawing/2014/main" id="{BE2BC8D0-5EB2-42B1-A60F-FFB94692E6C0}"/>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1" name="Google Shape;1373;p56">
            <a:extLst>
              <a:ext uri="{FF2B5EF4-FFF2-40B4-BE49-F238E27FC236}">
                <a16:creationId xmlns:a16="http://schemas.microsoft.com/office/drawing/2014/main" id="{094210EA-E9F7-4364-BCA3-A5B896A37128}"/>
              </a:ext>
            </a:extLst>
          </p:cNvPr>
          <p:cNvSpPr/>
          <p:nvPr/>
        </p:nvSpPr>
        <p:spPr>
          <a:xfrm>
            <a:off x="11641574" y="215415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374;p56">
            <a:extLst>
              <a:ext uri="{FF2B5EF4-FFF2-40B4-BE49-F238E27FC236}">
                <a16:creationId xmlns:a16="http://schemas.microsoft.com/office/drawing/2014/main" id="{113285BA-F617-4648-99CF-DECF8A81E03F}"/>
              </a:ext>
            </a:extLst>
          </p:cNvPr>
          <p:cNvSpPr/>
          <p:nvPr/>
        </p:nvSpPr>
        <p:spPr>
          <a:xfrm>
            <a:off x="7330419" y="234375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1375;p56">
            <a:extLst>
              <a:ext uri="{FF2B5EF4-FFF2-40B4-BE49-F238E27FC236}">
                <a16:creationId xmlns:a16="http://schemas.microsoft.com/office/drawing/2014/main" id="{D0B3259A-4739-4192-B276-6C60E57B69EE}"/>
              </a:ext>
            </a:extLst>
          </p:cNvPr>
          <p:cNvSpPr/>
          <p:nvPr/>
        </p:nvSpPr>
        <p:spPr>
          <a:xfrm>
            <a:off x="2308194" y="321236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4" name="Google Shape;1375;p56">
            <a:extLst>
              <a:ext uri="{FF2B5EF4-FFF2-40B4-BE49-F238E27FC236}">
                <a16:creationId xmlns:a16="http://schemas.microsoft.com/office/drawing/2014/main" id="{C71481EF-BDD0-49F3-8282-38B7383EA604}"/>
              </a:ext>
            </a:extLst>
          </p:cNvPr>
          <p:cNvSpPr/>
          <p:nvPr/>
        </p:nvSpPr>
        <p:spPr>
          <a:xfrm>
            <a:off x="4449640" y="28107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5" name="Google Shape;1373;p56">
            <a:extLst>
              <a:ext uri="{FF2B5EF4-FFF2-40B4-BE49-F238E27FC236}">
                <a16:creationId xmlns:a16="http://schemas.microsoft.com/office/drawing/2014/main" id="{A428F0C8-A20A-4159-86AD-A4E796B53C7B}"/>
              </a:ext>
            </a:extLst>
          </p:cNvPr>
          <p:cNvSpPr/>
          <p:nvPr/>
        </p:nvSpPr>
        <p:spPr>
          <a:xfrm>
            <a:off x="6840087" y="387439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1375;p56">
            <a:extLst>
              <a:ext uri="{FF2B5EF4-FFF2-40B4-BE49-F238E27FC236}">
                <a16:creationId xmlns:a16="http://schemas.microsoft.com/office/drawing/2014/main" id="{24DDF27B-AC3C-4FA9-894D-9AB607D4FAE7}"/>
              </a:ext>
            </a:extLst>
          </p:cNvPr>
          <p:cNvSpPr/>
          <p:nvPr/>
        </p:nvSpPr>
        <p:spPr>
          <a:xfrm>
            <a:off x="5535131" y="581638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77" name="Group 76">
            <a:extLst>
              <a:ext uri="{FF2B5EF4-FFF2-40B4-BE49-F238E27FC236}">
                <a16:creationId xmlns:a16="http://schemas.microsoft.com/office/drawing/2014/main" id="{558C4B3D-5407-472B-A6FA-094CA6D94879}"/>
              </a:ext>
            </a:extLst>
          </p:cNvPr>
          <p:cNvGrpSpPr/>
          <p:nvPr/>
        </p:nvGrpSpPr>
        <p:grpSpPr>
          <a:xfrm rot="5115502">
            <a:off x="4451499" y="4583630"/>
            <a:ext cx="857311" cy="71312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8" name="Group 77">
              <a:extLst>
                <a:ext uri="{FF2B5EF4-FFF2-40B4-BE49-F238E27FC236}">
                  <a16:creationId xmlns:a16="http://schemas.microsoft.com/office/drawing/2014/main" id="{D60B8923-5FF5-4788-B049-2B01DBEDD6F8}"/>
                </a:ext>
              </a:extLst>
            </p:cNvPr>
            <p:cNvGrpSpPr/>
            <p:nvPr/>
          </p:nvGrpSpPr>
          <p:grpSpPr>
            <a:xfrm>
              <a:off x="5241585" y="4198069"/>
              <a:ext cx="411449" cy="357382"/>
              <a:chOff x="5241585" y="4198069"/>
              <a:chExt cx="411449" cy="357382"/>
            </a:xfrm>
          </p:grpSpPr>
          <p:sp>
            <p:nvSpPr>
              <p:cNvPr id="80" name="Google Shape;658;p48">
                <a:extLst>
                  <a:ext uri="{FF2B5EF4-FFF2-40B4-BE49-F238E27FC236}">
                    <a16:creationId xmlns:a16="http://schemas.microsoft.com/office/drawing/2014/main" id="{04F277CD-00B6-4406-A3E4-789157289088}"/>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659;p48">
                <a:extLst>
                  <a:ext uri="{FF2B5EF4-FFF2-40B4-BE49-F238E27FC236}">
                    <a16:creationId xmlns:a16="http://schemas.microsoft.com/office/drawing/2014/main" id="{C819AEF9-6FEB-4CFF-9219-4BC2EDFFFA09}"/>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2" name="Google Shape;660;p48">
                <a:extLst>
                  <a:ext uri="{FF2B5EF4-FFF2-40B4-BE49-F238E27FC236}">
                    <a16:creationId xmlns:a16="http://schemas.microsoft.com/office/drawing/2014/main" id="{953C351D-82DC-426D-A8DD-A2ED6E0704C6}"/>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9" name="Google Shape;661;p48">
              <a:extLst>
                <a:ext uri="{FF2B5EF4-FFF2-40B4-BE49-F238E27FC236}">
                  <a16:creationId xmlns:a16="http://schemas.microsoft.com/office/drawing/2014/main" id="{7068C8BD-BCF9-4481-998F-BF2EF5BC7121}"/>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 name="TextBox 2">
            <a:extLst>
              <a:ext uri="{FF2B5EF4-FFF2-40B4-BE49-F238E27FC236}">
                <a16:creationId xmlns:a16="http://schemas.microsoft.com/office/drawing/2014/main" id="{65FF934D-FE18-42B4-835E-9B9B7F858D89}"/>
              </a:ext>
            </a:extLst>
          </p:cNvPr>
          <p:cNvSpPr txBox="1"/>
          <p:nvPr/>
        </p:nvSpPr>
        <p:spPr>
          <a:xfrm>
            <a:off x="1340853" y="1247978"/>
            <a:ext cx="4719694" cy="3416320"/>
          </a:xfrm>
          <a:prstGeom prst="rect">
            <a:avLst/>
          </a:prstGeom>
          <a:noFill/>
        </p:spPr>
        <p:txBody>
          <a:bodyPr wrap="square" rtlCol="0">
            <a:spAutoFit/>
          </a:bodyPr>
          <a:lstStyle/>
          <a:p>
            <a:r>
              <a:rPr lang="en-US" sz="2400" dirty="0">
                <a:effectLst/>
                <a:latin typeface="Arial" panose="020B0604020202020204" pitchFamily="34" charset="0"/>
                <a:cs typeface="Arial" panose="020B0604020202020204" pitchFamily="34" charset="0"/>
              </a:rPr>
              <a:t>Metaverse </a:t>
            </a:r>
            <a:r>
              <a:rPr lang="el-GR" sz="2400" dirty="0">
                <a:effectLst/>
                <a:latin typeface="Arial" panose="020B0604020202020204" pitchFamily="34" charset="0"/>
                <a:cs typeface="Arial" panose="020B0604020202020204" pitchFamily="34" charset="0"/>
              </a:rPr>
              <a:t>η ιδέα άρχισε σιωπηρά το</a:t>
            </a:r>
            <a:r>
              <a:rPr lang="en-US" sz="2400" dirty="0">
                <a:effectLst/>
                <a:latin typeface="Arial" panose="020B0604020202020204" pitchFamily="34" charset="0"/>
                <a:cs typeface="Arial" panose="020B0604020202020204" pitchFamily="34" charset="0"/>
              </a:rPr>
              <a:t> 70’s.</a:t>
            </a:r>
          </a:p>
          <a:p>
            <a:endParaRPr lang="en-US" sz="2400" dirty="0">
              <a:effectLst/>
              <a:latin typeface="Arial" panose="020B0604020202020204" pitchFamily="34" charset="0"/>
              <a:cs typeface="Arial" panose="020B0604020202020204" pitchFamily="34" charset="0"/>
            </a:endParaRPr>
          </a:p>
          <a:p>
            <a:r>
              <a:rPr lang="el-GR" sz="2400" dirty="0">
                <a:effectLst/>
                <a:latin typeface="Arial" panose="020B0604020202020204" pitchFamily="34" charset="0"/>
                <a:cs typeface="Arial" panose="020B0604020202020204" pitchFamily="34" charset="0"/>
              </a:rPr>
              <a:t>ένα μέρος για συγκέντρωση ανθρώπων και δια-δραστικότητα</a:t>
            </a:r>
          </a:p>
          <a:p>
            <a:endParaRPr lang="en-US" sz="2400" dirty="0">
              <a:effectLst/>
              <a:latin typeface="Arial" panose="020B0604020202020204" pitchFamily="34" charset="0"/>
              <a:cs typeface="Arial" panose="020B0604020202020204" pitchFamily="34" charset="0"/>
            </a:endParaRPr>
          </a:p>
          <a:p>
            <a:r>
              <a:rPr lang="el-GR" sz="2400" dirty="0">
                <a:effectLst/>
                <a:latin typeface="Arial" panose="020B0604020202020204" pitchFamily="34" charset="0"/>
                <a:cs typeface="Arial" panose="020B0604020202020204" pitchFamily="34" charset="0"/>
              </a:rPr>
              <a:t>Να μοιράζονται κοινά ενδιαφέροντα</a:t>
            </a:r>
            <a:endParaRPr lang="en-US" sz="2400" dirty="0">
              <a:effectLst/>
              <a:latin typeface="Arial" panose="020B0604020202020204" pitchFamily="34" charset="0"/>
              <a:cs typeface="Arial" panose="020B0604020202020204" pitchFamily="34" charset="0"/>
            </a:endParaRPr>
          </a:p>
          <a:p>
            <a:endParaRPr lang="en-US" sz="2400" dirty="0"/>
          </a:p>
        </p:txBody>
      </p:sp>
    </p:spTree>
    <p:extLst>
      <p:ext uri="{BB962C8B-B14F-4D97-AF65-F5344CB8AC3E}">
        <p14:creationId xmlns:p14="http://schemas.microsoft.com/office/powerpoint/2010/main" val="68506069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1104" name="Google Shape;5814;p93">
            <a:extLst>
              <a:ext uri="{FF2B5EF4-FFF2-40B4-BE49-F238E27FC236}">
                <a16:creationId xmlns:a16="http://schemas.microsoft.com/office/drawing/2014/main" id="{6A3CABA2-FEA8-4FC7-B203-A946D5661CA0}"/>
              </a:ext>
            </a:extLst>
          </p:cNvPr>
          <p:cNvGrpSpPr/>
          <p:nvPr/>
        </p:nvGrpSpPr>
        <p:grpSpPr>
          <a:xfrm>
            <a:off x="410775" y="0"/>
            <a:ext cx="11367273" cy="6292121"/>
            <a:chOff x="2654821" y="2311071"/>
            <a:chExt cx="2279715" cy="1262120"/>
          </a:xfrm>
        </p:grpSpPr>
        <p:grpSp>
          <p:nvGrpSpPr>
            <p:cNvPr id="1105" name="Google Shape;5815;p93">
              <a:extLst>
                <a:ext uri="{FF2B5EF4-FFF2-40B4-BE49-F238E27FC236}">
                  <a16:creationId xmlns:a16="http://schemas.microsoft.com/office/drawing/2014/main" id="{46A18953-FD97-4199-9AF4-57DFBC67766D}"/>
                </a:ext>
              </a:extLst>
            </p:cNvPr>
            <p:cNvGrpSpPr/>
            <p:nvPr/>
          </p:nvGrpSpPr>
          <p:grpSpPr>
            <a:xfrm>
              <a:off x="4034269" y="2840745"/>
              <a:ext cx="40212" cy="36437"/>
              <a:chOff x="4293400" y="2574725"/>
              <a:chExt cx="84425" cy="80100"/>
            </a:xfrm>
          </p:grpSpPr>
          <p:sp>
            <p:nvSpPr>
              <p:cNvPr id="1360" name="Google Shape;5816;p93">
                <a:extLst>
                  <a:ext uri="{FF2B5EF4-FFF2-40B4-BE49-F238E27FC236}">
                    <a16:creationId xmlns:a16="http://schemas.microsoft.com/office/drawing/2014/main" id="{2B0A1BA1-F20C-47AC-AF35-E49189E93881}"/>
                  </a:ext>
                </a:extLst>
              </p:cNvPr>
              <p:cNvSpPr/>
              <p:nvPr/>
            </p:nvSpPr>
            <p:spPr>
              <a:xfrm>
                <a:off x="4293400" y="2574725"/>
                <a:ext cx="57150" cy="45250"/>
              </a:xfrm>
              <a:custGeom>
                <a:avLst/>
                <a:gdLst/>
                <a:ahLst/>
                <a:cxnLst/>
                <a:rect l="l" t="t" r="r" b="b"/>
                <a:pathLst>
                  <a:path w="2286" h="1810" extrusionOk="0">
                    <a:moveTo>
                      <a:pt x="2286" y="905"/>
                    </a:moveTo>
                    <a:lnTo>
                      <a:pt x="1857" y="476"/>
                    </a:lnTo>
                    <a:lnTo>
                      <a:pt x="0" y="0"/>
                    </a:lnTo>
                    <a:lnTo>
                      <a:pt x="95" y="834"/>
                    </a:lnTo>
                    <a:lnTo>
                      <a:pt x="952" y="1476"/>
                    </a:lnTo>
                    <a:lnTo>
                      <a:pt x="1952" y="1810"/>
                    </a:lnTo>
                    <a:close/>
                  </a:path>
                </a:pathLst>
              </a:custGeom>
              <a:ln/>
            </p:spPr>
            <p:style>
              <a:lnRef idx="2">
                <a:schemeClr val="dk1"/>
              </a:lnRef>
              <a:fillRef idx="1">
                <a:schemeClr val="lt1"/>
              </a:fillRef>
              <a:effectRef idx="0">
                <a:schemeClr val="dk1"/>
              </a:effectRef>
              <a:fontRef idx="minor">
                <a:schemeClr val="dk1"/>
              </a:fontRef>
            </p:style>
          </p:sp>
          <p:sp>
            <p:nvSpPr>
              <p:cNvPr id="1361" name="Google Shape;5817;p93">
                <a:extLst>
                  <a:ext uri="{FF2B5EF4-FFF2-40B4-BE49-F238E27FC236}">
                    <a16:creationId xmlns:a16="http://schemas.microsoft.com/office/drawing/2014/main" id="{2AAD8B77-A28E-492F-800E-80EACB092CE2}"/>
                  </a:ext>
                </a:extLst>
              </p:cNvPr>
              <p:cNvSpPr/>
              <p:nvPr/>
            </p:nvSpPr>
            <p:spPr>
              <a:xfrm>
                <a:off x="4299350" y="2589925"/>
                <a:ext cx="78475" cy="64900"/>
              </a:xfrm>
              <a:custGeom>
                <a:avLst/>
                <a:gdLst/>
                <a:ahLst/>
                <a:cxnLst/>
                <a:rect l="l" t="t" r="r" b="b"/>
                <a:pathLst>
                  <a:path w="3139" h="2596" extrusionOk="0">
                    <a:moveTo>
                      <a:pt x="2009" y="1"/>
                    </a:moveTo>
                    <a:lnTo>
                      <a:pt x="1820" y="252"/>
                    </a:lnTo>
                    <a:lnTo>
                      <a:pt x="1632" y="314"/>
                    </a:lnTo>
                    <a:lnTo>
                      <a:pt x="1590" y="419"/>
                    </a:lnTo>
                    <a:lnTo>
                      <a:pt x="1318" y="398"/>
                    </a:lnTo>
                    <a:lnTo>
                      <a:pt x="1255" y="273"/>
                    </a:lnTo>
                    <a:lnTo>
                      <a:pt x="983" y="63"/>
                    </a:lnTo>
                    <a:lnTo>
                      <a:pt x="837" y="42"/>
                    </a:lnTo>
                    <a:lnTo>
                      <a:pt x="795" y="63"/>
                    </a:lnTo>
                    <a:lnTo>
                      <a:pt x="753" y="252"/>
                    </a:lnTo>
                    <a:lnTo>
                      <a:pt x="900" y="314"/>
                    </a:lnTo>
                    <a:lnTo>
                      <a:pt x="983" y="461"/>
                    </a:lnTo>
                    <a:lnTo>
                      <a:pt x="963" y="670"/>
                    </a:lnTo>
                    <a:lnTo>
                      <a:pt x="753" y="566"/>
                    </a:lnTo>
                    <a:lnTo>
                      <a:pt x="544" y="524"/>
                    </a:lnTo>
                    <a:lnTo>
                      <a:pt x="209" y="356"/>
                    </a:lnTo>
                    <a:lnTo>
                      <a:pt x="0" y="419"/>
                    </a:lnTo>
                    <a:lnTo>
                      <a:pt x="0" y="524"/>
                    </a:lnTo>
                    <a:lnTo>
                      <a:pt x="105" y="628"/>
                    </a:lnTo>
                    <a:lnTo>
                      <a:pt x="314" y="670"/>
                    </a:lnTo>
                    <a:lnTo>
                      <a:pt x="419" y="796"/>
                    </a:lnTo>
                    <a:lnTo>
                      <a:pt x="377" y="921"/>
                    </a:lnTo>
                    <a:lnTo>
                      <a:pt x="377" y="1026"/>
                    </a:lnTo>
                    <a:lnTo>
                      <a:pt x="628" y="1214"/>
                    </a:lnTo>
                    <a:lnTo>
                      <a:pt x="628" y="1340"/>
                    </a:lnTo>
                    <a:lnTo>
                      <a:pt x="544" y="1423"/>
                    </a:lnTo>
                    <a:lnTo>
                      <a:pt x="628" y="1612"/>
                    </a:lnTo>
                    <a:lnTo>
                      <a:pt x="879" y="1737"/>
                    </a:lnTo>
                    <a:lnTo>
                      <a:pt x="1067" y="1737"/>
                    </a:lnTo>
                    <a:lnTo>
                      <a:pt x="1193" y="1863"/>
                    </a:lnTo>
                    <a:lnTo>
                      <a:pt x="1046" y="1884"/>
                    </a:lnTo>
                    <a:lnTo>
                      <a:pt x="1109" y="2051"/>
                    </a:lnTo>
                    <a:lnTo>
                      <a:pt x="1088" y="2093"/>
                    </a:lnTo>
                    <a:lnTo>
                      <a:pt x="1088" y="2239"/>
                    </a:lnTo>
                    <a:lnTo>
                      <a:pt x="1172" y="2260"/>
                    </a:lnTo>
                    <a:lnTo>
                      <a:pt x="1276" y="2198"/>
                    </a:lnTo>
                    <a:lnTo>
                      <a:pt x="1276" y="2156"/>
                    </a:lnTo>
                    <a:lnTo>
                      <a:pt x="1318" y="2093"/>
                    </a:lnTo>
                    <a:lnTo>
                      <a:pt x="1381" y="2072"/>
                    </a:lnTo>
                    <a:lnTo>
                      <a:pt x="1486" y="1946"/>
                    </a:lnTo>
                    <a:lnTo>
                      <a:pt x="1569" y="1926"/>
                    </a:lnTo>
                    <a:lnTo>
                      <a:pt x="1611" y="1821"/>
                    </a:lnTo>
                    <a:lnTo>
                      <a:pt x="1695" y="1821"/>
                    </a:lnTo>
                    <a:lnTo>
                      <a:pt x="1820" y="1737"/>
                    </a:lnTo>
                    <a:lnTo>
                      <a:pt x="1883" y="1737"/>
                    </a:lnTo>
                    <a:lnTo>
                      <a:pt x="1883" y="1758"/>
                    </a:lnTo>
                    <a:lnTo>
                      <a:pt x="1925" y="1758"/>
                    </a:lnTo>
                    <a:lnTo>
                      <a:pt x="1988" y="1863"/>
                    </a:lnTo>
                    <a:lnTo>
                      <a:pt x="2051" y="1946"/>
                    </a:lnTo>
                    <a:lnTo>
                      <a:pt x="2009" y="1988"/>
                    </a:lnTo>
                    <a:lnTo>
                      <a:pt x="2030" y="2051"/>
                    </a:lnTo>
                    <a:lnTo>
                      <a:pt x="2155" y="2135"/>
                    </a:lnTo>
                    <a:lnTo>
                      <a:pt x="1988" y="2260"/>
                    </a:lnTo>
                    <a:lnTo>
                      <a:pt x="2155" y="2470"/>
                    </a:lnTo>
                    <a:lnTo>
                      <a:pt x="2260" y="2511"/>
                    </a:lnTo>
                    <a:lnTo>
                      <a:pt x="2302" y="2574"/>
                    </a:lnTo>
                    <a:lnTo>
                      <a:pt x="2406" y="2595"/>
                    </a:lnTo>
                    <a:lnTo>
                      <a:pt x="2448" y="2574"/>
                    </a:lnTo>
                    <a:lnTo>
                      <a:pt x="2448" y="2365"/>
                    </a:lnTo>
                    <a:lnTo>
                      <a:pt x="2427" y="2302"/>
                    </a:lnTo>
                    <a:lnTo>
                      <a:pt x="2427" y="2198"/>
                    </a:lnTo>
                    <a:lnTo>
                      <a:pt x="2406" y="2072"/>
                    </a:lnTo>
                    <a:lnTo>
                      <a:pt x="2427" y="1967"/>
                    </a:lnTo>
                    <a:lnTo>
                      <a:pt x="2469" y="1946"/>
                    </a:lnTo>
                    <a:lnTo>
                      <a:pt x="2553" y="2030"/>
                    </a:lnTo>
                    <a:lnTo>
                      <a:pt x="2511" y="2135"/>
                    </a:lnTo>
                    <a:lnTo>
                      <a:pt x="2553" y="2198"/>
                    </a:lnTo>
                    <a:lnTo>
                      <a:pt x="2574" y="2135"/>
                    </a:lnTo>
                    <a:lnTo>
                      <a:pt x="2574" y="1946"/>
                    </a:lnTo>
                    <a:lnTo>
                      <a:pt x="2636" y="1884"/>
                    </a:lnTo>
                    <a:lnTo>
                      <a:pt x="2636" y="1779"/>
                    </a:lnTo>
                    <a:lnTo>
                      <a:pt x="2574" y="1737"/>
                    </a:lnTo>
                    <a:lnTo>
                      <a:pt x="2616" y="1633"/>
                    </a:lnTo>
                    <a:lnTo>
                      <a:pt x="2657" y="1549"/>
                    </a:lnTo>
                    <a:lnTo>
                      <a:pt x="2636" y="1444"/>
                    </a:lnTo>
                    <a:lnTo>
                      <a:pt x="2636" y="1298"/>
                    </a:lnTo>
                    <a:lnTo>
                      <a:pt x="2783" y="1151"/>
                    </a:lnTo>
                    <a:lnTo>
                      <a:pt x="2950" y="1130"/>
                    </a:lnTo>
                    <a:lnTo>
                      <a:pt x="3034" y="1089"/>
                    </a:lnTo>
                    <a:lnTo>
                      <a:pt x="3139" y="1089"/>
                    </a:lnTo>
                    <a:lnTo>
                      <a:pt x="3034" y="984"/>
                    </a:lnTo>
                    <a:lnTo>
                      <a:pt x="2888" y="900"/>
                    </a:lnTo>
                    <a:lnTo>
                      <a:pt x="2741" y="921"/>
                    </a:lnTo>
                    <a:lnTo>
                      <a:pt x="2616" y="817"/>
                    </a:lnTo>
                    <a:lnTo>
                      <a:pt x="2574" y="712"/>
                    </a:lnTo>
                    <a:lnTo>
                      <a:pt x="2406" y="586"/>
                    </a:lnTo>
                    <a:lnTo>
                      <a:pt x="2323" y="419"/>
                    </a:lnTo>
                    <a:lnTo>
                      <a:pt x="2323" y="314"/>
                    </a:lnTo>
                    <a:lnTo>
                      <a:pt x="2134" y="84"/>
                    </a:lnTo>
                    <a:lnTo>
                      <a:pt x="200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6" name="Google Shape;5818;p93">
              <a:extLst>
                <a:ext uri="{FF2B5EF4-FFF2-40B4-BE49-F238E27FC236}">
                  <a16:creationId xmlns:a16="http://schemas.microsoft.com/office/drawing/2014/main" id="{FF632FDA-02D4-4E30-94AF-4D9C810F2C54}"/>
                </a:ext>
              </a:extLst>
            </p:cNvPr>
            <p:cNvGrpSpPr/>
            <p:nvPr/>
          </p:nvGrpSpPr>
          <p:grpSpPr>
            <a:xfrm>
              <a:off x="3894606" y="2334874"/>
              <a:ext cx="913198" cy="518984"/>
              <a:chOff x="4000175" y="1462675"/>
              <a:chExt cx="1917275" cy="1140875"/>
            </a:xfrm>
          </p:grpSpPr>
          <p:sp>
            <p:nvSpPr>
              <p:cNvPr id="1352" name="Google Shape;5819;p93">
                <a:extLst>
                  <a:ext uri="{FF2B5EF4-FFF2-40B4-BE49-F238E27FC236}">
                    <a16:creationId xmlns:a16="http://schemas.microsoft.com/office/drawing/2014/main" id="{90A9F129-E570-41DF-98A3-CFEAF2D5CB7A}"/>
                  </a:ext>
                </a:extLst>
              </p:cNvPr>
              <p:cNvSpPr/>
              <p:nvPr/>
            </p:nvSpPr>
            <p:spPr>
              <a:xfrm>
                <a:off x="4178050" y="2433300"/>
                <a:ext cx="60250" cy="65175"/>
              </a:xfrm>
              <a:custGeom>
                <a:avLst/>
                <a:gdLst/>
                <a:ahLst/>
                <a:cxnLst/>
                <a:rect l="l" t="t" r="r" b="b"/>
                <a:pathLst>
                  <a:path w="2410" h="2607" extrusionOk="0">
                    <a:moveTo>
                      <a:pt x="639" y="2410"/>
                    </a:moveTo>
                    <a:lnTo>
                      <a:pt x="1180" y="2607"/>
                    </a:lnTo>
                    <a:lnTo>
                      <a:pt x="2410" y="2017"/>
                    </a:lnTo>
                    <a:lnTo>
                      <a:pt x="2262" y="0"/>
                    </a:lnTo>
                    <a:lnTo>
                      <a:pt x="541" y="0"/>
                    </a:lnTo>
                    <a:lnTo>
                      <a:pt x="0" y="1771"/>
                    </a:lnTo>
                    <a:close/>
                  </a:path>
                </a:pathLst>
              </a:custGeom>
              <a:ln/>
            </p:spPr>
            <p:style>
              <a:lnRef idx="2">
                <a:schemeClr val="dk1"/>
              </a:lnRef>
              <a:fillRef idx="1">
                <a:schemeClr val="lt1"/>
              </a:fillRef>
              <a:effectRef idx="0">
                <a:schemeClr val="dk1"/>
              </a:effectRef>
              <a:fontRef idx="minor">
                <a:schemeClr val="dk1"/>
              </a:fontRef>
            </p:style>
          </p:sp>
          <p:grpSp>
            <p:nvGrpSpPr>
              <p:cNvPr id="1353" name="Google Shape;5820;p93">
                <a:extLst>
                  <a:ext uri="{FF2B5EF4-FFF2-40B4-BE49-F238E27FC236}">
                    <a16:creationId xmlns:a16="http://schemas.microsoft.com/office/drawing/2014/main" id="{D84F59FB-876B-4BD1-8475-8AC816438779}"/>
                  </a:ext>
                </a:extLst>
              </p:cNvPr>
              <p:cNvGrpSpPr/>
              <p:nvPr/>
            </p:nvGrpSpPr>
            <p:grpSpPr>
              <a:xfrm>
                <a:off x="4000175" y="1462675"/>
                <a:ext cx="1917275" cy="1140875"/>
                <a:chOff x="4000175" y="1462675"/>
                <a:chExt cx="1917275" cy="1140875"/>
              </a:xfrm>
            </p:grpSpPr>
            <p:sp>
              <p:nvSpPr>
                <p:cNvPr id="1354" name="Google Shape;5821;p93">
                  <a:extLst>
                    <a:ext uri="{FF2B5EF4-FFF2-40B4-BE49-F238E27FC236}">
                      <a16:creationId xmlns:a16="http://schemas.microsoft.com/office/drawing/2014/main" id="{7B9ADD49-9A6D-4031-A514-5C950F5FFD86}"/>
                    </a:ext>
                  </a:extLst>
                </p:cNvPr>
                <p:cNvSpPr/>
                <p:nvPr/>
              </p:nvSpPr>
              <p:spPr>
                <a:xfrm>
                  <a:off x="4000175" y="2000075"/>
                  <a:ext cx="1545875" cy="510000"/>
                </a:xfrm>
                <a:custGeom>
                  <a:avLst/>
                  <a:gdLst/>
                  <a:ahLst/>
                  <a:cxnLst/>
                  <a:rect l="l" t="t" r="r" b="b"/>
                  <a:pathLst>
                    <a:path w="61835" h="20400" extrusionOk="0">
                      <a:moveTo>
                        <a:pt x="1594" y="319"/>
                      </a:moveTo>
                      <a:lnTo>
                        <a:pt x="106" y="0"/>
                      </a:lnTo>
                      <a:lnTo>
                        <a:pt x="0" y="2444"/>
                      </a:lnTo>
                      <a:lnTo>
                        <a:pt x="1062" y="9031"/>
                      </a:lnTo>
                      <a:lnTo>
                        <a:pt x="3931" y="9775"/>
                      </a:lnTo>
                      <a:lnTo>
                        <a:pt x="2125" y="10200"/>
                      </a:lnTo>
                      <a:lnTo>
                        <a:pt x="531" y="10413"/>
                      </a:lnTo>
                      <a:lnTo>
                        <a:pt x="1487" y="13600"/>
                      </a:lnTo>
                      <a:lnTo>
                        <a:pt x="3931" y="17212"/>
                      </a:lnTo>
                      <a:lnTo>
                        <a:pt x="8393" y="18594"/>
                      </a:lnTo>
                      <a:lnTo>
                        <a:pt x="9987" y="18169"/>
                      </a:lnTo>
                      <a:lnTo>
                        <a:pt x="13281" y="20400"/>
                      </a:lnTo>
                      <a:lnTo>
                        <a:pt x="14343" y="18912"/>
                      </a:lnTo>
                      <a:lnTo>
                        <a:pt x="28793" y="17319"/>
                      </a:lnTo>
                      <a:lnTo>
                        <a:pt x="35699" y="16894"/>
                      </a:lnTo>
                      <a:lnTo>
                        <a:pt x="48342" y="16894"/>
                      </a:lnTo>
                      <a:lnTo>
                        <a:pt x="49617" y="15194"/>
                      </a:lnTo>
                      <a:lnTo>
                        <a:pt x="59285" y="20294"/>
                      </a:lnTo>
                      <a:lnTo>
                        <a:pt x="60135" y="19231"/>
                      </a:lnTo>
                      <a:lnTo>
                        <a:pt x="61835" y="18487"/>
                      </a:lnTo>
                      <a:lnTo>
                        <a:pt x="61092" y="13494"/>
                      </a:lnTo>
                      <a:lnTo>
                        <a:pt x="46323" y="3188"/>
                      </a:lnTo>
                      <a:lnTo>
                        <a:pt x="12962" y="10413"/>
                      </a:lnTo>
                      <a:lnTo>
                        <a:pt x="4569" y="7013"/>
                      </a:lnTo>
                      <a:lnTo>
                        <a:pt x="2444" y="3507"/>
                      </a:lnTo>
                      <a:lnTo>
                        <a:pt x="2019" y="1807"/>
                      </a:lnTo>
                      <a:close/>
                    </a:path>
                  </a:pathLst>
                </a:custGeom>
                <a:ln/>
              </p:spPr>
              <p:style>
                <a:lnRef idx="2">
                  <a:schemeClr val="dk1"/>
                </a:lnRef>
                <a:fillRef idx="1">
                  <a:schemeClr val="lt1"/>
                </a:fillRef>
                <a:effectRef idx="0">
                  <a:schemeClr val="dk1"/>
                </a:effectRef>
                <a:fontRef idx="minor">
                  <a:schemeClr val="dk1"/>
                </a:fontRef>
              </p:style>
            </p:sp>
            <p:sp>
              <p:nvSpPr>
                <p:cNvPr id="1355" name="Google Shape;5822;p93">
                  <a:extLst>
                    <a:ext uri="{FF2B5EF4-FFF2-40B4-BE49-F238E27FC236}">
                      <a16:creationId xmlns:a16="http://schemas.microsoft.com/office/drawing/2014/main" id="{464835A3-6841-4780-AB98-7F480C79A57C}"/>
                    </a:ext>
                  </a:extLst>
                </p:cNvPr>
                <p:cNvSpPr/>
                <p:nvPr/>
              </p:nvSpPr>
              <p:spPr>
                <a:xfrm>
                  <a:off x="4624175" y="1521775"/>
                  <a:ext cx="58100" cy="73775"/>
                </a:xfrm>
                <a:custGeom>
                  <a:avLst/>
                  <a:gdLst/>
                  <a:ahLst/>
                  <a:cxnLst/>
                  <a:rect l="l" t="t" r="r" b="b"/>
                  <a:pathLst>
                    <a:path w="2324" h="2951" extrusionOk="0">
                      <a:moveTo>
                        <a:pt x="210" y="1"/>
                      </a:moveTo>
                      <a:lnTo>
                        <a:pt x="126" y="84"/>
                      </a:lnTo>
                      <a:lnTo>
                        <a:pt x="147" y="189"/>
                      </a:lnTo>
                      <a:lnTo>
                        <a:pt x="252" y="252"/>
                      </a:lnTo>
                      <a:lnTo>
                        <a:pt x="335" y="356"/>
                      </a:lnTo>
                      <a:lnTo>
                        <a:pt x="273" y="419"/>
                      </a:lnTo>
                      <a:lnTo>
                        <a:pt x="210" y="419"/>
                      </a:lnTo>
                      <a:lnTo>
                        <a:pt x="147" y="335"/>
                      </a:lnTo>
                      <a:lnTo>
                        <a:pt x="63" y="293"/>
                      </a:lnTo>
                      <a:lnTo>
                        <a:pt x="22" y="293"/>
                      </a:lnTo>
                      <a:lnTo>
                        <a:pt x="42" y="356"/>
                      </a:lnTo>
                      <a:lnTo>
                        <a:pt x="22" y="545"/>
                      </a:lnTo>
                      <a:lnTo>
                        <a:pt x="1" y="565"/>
                      </a:lnTo>
                      <a:lnTo>
                        <a:pt x="1" y="712"/>
                      </a:lnTo>
                      <a:lnTo>
                        <a:pt x="42" y="754"/>
                      </a:lnTo>
                      <a:lnTo>
                        <a:pt x="126" y="775"/>
                      </a:lnTo>
                      <a:lnTo>
                        <a:pt x="189" y="858"/>
                      </a:lnTo>
                      <a:lnTo>
                        <a:pt x="147" y="963"/>
                      </a:lnTo>
                      <a:lnTo>
                        <a:pt x="294" y="1256"/>
                      </a:lnTo>
                      <a:lnTo>
                        <a:pt x="356" y="1340"/>
                      </a:lnTo>
                      <a:lnTo>
                        <a:pt x="461" y="1340"/>
                      </a:lnTo>
                      <a:lnTo>
                        <a:pt x="398" y="1402"/>
                      </a:lnTo>
                      <a:lnTo>
                        <a:pt x="294" y="1444"/>
                      </a:lnTo>
                      <a:lnTo>
                        <a:pt x="231" y="1612"/>
                      </a:lnTo>
                      <a:lnTo>
                        <a:pt x="335" y="1821"/>
                      </a:lnTo>
                      <a:lnTo>
                        <a:pt x="398" y="1988"/>
                      </a:lnTo>
                      <a:lnTo>
                        <a:pt x="398" y="2114"/>
                      </a:lnTo>
                      <a:lnTo>
                        <a:pt x="440" y="2177"/>
                      </a:lnTo>
                      <a:lnTo>
                        <a:pt x="461" y="2281"/>
                      </a:lnTo>
                      <a:lnTo>
                        <a:pt x="419" y="2323"/>
                      </a:lnTo>
                      <a:lnTo>
                        <a:pt x="503" y="2511"/>
                      </a:lnTo>
                      <a:lnTo>
                        <a:pt x="545" y="2679"/>
                      </a:lnTo>
                      <a:lnTo>
                        <a:pt x="649" y="2762"/>
                      </a:lnTo>
                      <a:lnTo>
                        <a:pt x="649" y="2867"/>
                      </a:lnTo>
                      <a:lnTo>
                        <a:pt x="733" y="2951"/>
                      </a:lnTo>
                      <a:lnTo>
                        <a:pt x="879" y="2909"/>
                      </a:lnTo>
                      <a:lnTo>
                        <a:pt x="963" y="2742"/>
                      </a:lnTo>
                      <a:lnTo>
                        <a:pt x="1089" y="2553"/>
                      </a:lnTo>
                      <a:lnTo>
                        <a:pt x="1172" y="2511"/>
                      </a:lnTo>
                      <a:lnTo>
                        <a:pt x="1151" y="2428"/>
                      </a:lnTo>
                      <a:lnTo>
                        <a:pt x="1172" y="2323"/>
                      </a:lnTo>
                      <a:lnTo>
                        <a:pt x="1423" y="2135"/>
                      </a:lnTo>
                      <a:lnTo>
                        <a:pt x="1528" y="2114"/>
                      </a:lnTo>
                      <a:lnTo>
                        <a:pt x="1612" y="2177"/>
                      </a:lnTo>
                      <a:lnTo>
                        <a:pt x="1695" y="2177"/>
                      </a:lnTo>
                      <a:lnTo>
                        <a:pt x="1737" y="2072"/>
                      </a:lnTo>
                      <a:lnTo>
                        <a:pt x="1800" y="1988"/>
                      </a:lnTo>
                      <a:lnTo>
                        <a:pt x="1926" y="1926"/>
                      </a:lnTo>
                      <a:lnTo>
                        <a:pt x="2114" y="1779"/>
                      </a:lnTo>
                      <a:lnTo>
                        <a:pt x="2135" y="1674"/>
                      </a:lnTo>
                      <a:lnTo>
                        <a:pt x="2219" y="1612"/>
                      </a:lnTo>
                      <a:lnTo>
                        <a:pt x="2323" y="1382"/>
                      </a:lnTo>
                      <a:lnTo>
                        <a:pt x="2302" y="1256"/>
                      </a:lnTo>
                      <a:lnTo>
                        <a:pt x="2135" y="1068"/>
                      </a:lnTo>
                      <a:lnTo>
                        <a:pt x="2051" y="942"/>
                      </a:lnTo>
                      <a:lnTo>
                        <a:pt x="2051" y="837"/>
                      </a:lnTo>
                      <a:lnTo>
                        <a:pt x="1884" y="712"/>
                      </a:lnTo>
                      <a:lnTo>
                        <a:pt x="1779" y="712"/>
                      </a:lnTo>
                      <a:lnTo>
                        <a:pt x="1716" y="733"/>
                      </a:lnTo>
                      <a:lnTo>
                        <a:pt x="1633" y="670"/>
                      </a:lnTo>
                      <a:lnTo>
                        <a:pt x="1507" y="628"/>
                      </a:lnTo>
                      <a:lnTo>
                        <a:pt x="1382" y="503"/>
                      </a:lnTo>
                      <a:lnTo>
                        <a:pt x="1319" y="461"/>
                      </a:lnTo>
                      <a:lnTo>
                        <a:pt x="1298" y="524"/>
                      </a:lnTo>
                      <a:lnTo>
                        <a:pt x="1214" y="503"/>
                      </a:lnTo>
                      <a:lnTo>
                        <a:pt x="1193" y="419"/>
                      </a:lnTo>
                      <a:lnTo>
                        <a:pt x="1110" y="314"/>
                      </a:lnTo>
                      <a:lnTo>
                        <a:pt x="1047" y="314"/>
                      </a:lnTo>
                      <a:lnTo>
                        <a:pt x="1005" y="419"/>
                      </a:lnTo>
                      <a:lnTo>
                        <a:pt x="963" y="419"/>
                      </a:lnTo>
                      <a:lnTo>
                        <a:pt x="858" y="252"/>
                      </a:lnTo>
                      <a:lnTo>
                        <a:pt x="775" y="210"/>
                      </a:lnTo>
                      <a:lnTo>
                        <a:pt x="775" y="252"/>
                      </a:lnTo>
                      <a:lnTo>
                        <a:pt x="858" y="356"/>
                      </a:lnTo>
                      <a:lnTo>
                        <a:pt x="858" y="440"/>
                      </a:lnTo>
                      <a:lnTo>
                        <a:pt x="775" y="503"/>
                      </a:lnTo>
                      <a:lnTo>
                        <a:pt x="775" y="607"/>
                      </a:lnTo>
                      <a:lnTo>
                        <a:pt x="733" y="607"/>
                      </a:lnTo>
                      <a:lnTo>
                        <a:pt x="670" y="524"/>
                      </a:lnTo>
                      <a:lnTo>
                        <a:pt x="649" y="147"/>
                      </a:lnTo>
                      <a:lnTo>
                        <a:pt x="545" y="105"/>
                      </a:lnTo>
                      <a:lnTo>
                        <a:pt x="440" y="84"/>
                      </a:lnTo>
                      <a:lnTo>
                        <a:pt x="27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 name="Google Shape;5823;p93">
                  <a:extLst>
                    <a:ext uri="{FF2B5EF4-FFF2-40B4-BE49-F238E27FC236}">
                      <a16:creationId xmlns:a16="http://schemas.microsoft.com/office/drawing/2014/main" id="{EDC55117-A8F3-4C2C-9FD1-D219FEDFDED6}"/>
                    </a:ext>
                  </a:extLst>
                </p:cNvPr>
                <p:cNvSpPr/>
                <p:nvPr/>
              </p:nvSpPr>
              <p:spPr>
                <a:xfrm>
                  <a:off x="4499150" y="1462675"/>
                  <a:ext cx="117200" cy="104100"/>
                </a:xfrm>
                <a:custGeom>
                  <a:avLst/>
                  <a:gdLst/>
                  <a:ahLst/>
                  <a:cxnLst/>
                  <a:rect l="l" t="t" r="r" b="b"/>
                  <a:pathLst>
                    <a:path w="4688" h="4164" extrusionOk="0">
                      <a:moveTo>
                        <a:pt x="398" y="0"/>
                      </a:moveTo>
                      <a:lnTo>
                        <a:pt x="357" y="63"/>
                      </a:lnTo>
                      <a:lnTo>
                        <a:pt x="336" y="168"/>
                      </a:lnTo>
                      <a:lnTo>
                        <a:pt x="357" y="251"/>
                      </a:lnTo>
                      <a:lnTo>
                        <a:pt x="357" y="398"/>
                      </a:lnTo>
                      <a:lnTo>
                        <a:pt x="252" y="523"/>
                      </a:lnTo>
                      <a:lnTo>
                        <a:pt x="147" y="712"/>
                      </a:lnTo>
                      <a:lnTo>
                        <a:pt x="22" y="879"/>
                      </a:lnTo>
                      <a:lnTo>
                        <a:pt x="1" y="984"/>
                      </a:lnTo>
                      <a:lnTo>
                        <a:pt x="22" y="1423"/>
                      </a:lnTo>
                      <a:lnTo>
                        <a:pt x="105" y="1507"/>
                      </a:lnTo>
                      <a:lnTo>
                        <a:pt x="210" y="1549"/>
                      </a:lnTo>
                      <a:lnTo>
                        <a:pt x="231" y="1653"/>
                      </a:lnTo>
                      <a:lnTo>
                        <a:pt x="189" y="1967"/>
                      </a:lnTo>
                      <a:lnTo>
                        <a:pt x="126" y="2093"/>
                      </a:lnTo>
                      <a:lnTo>
                        <a:pt x="105" y="2197"/>
                      </a:lnTo>
                      <a:lnTo>
                        <a:pt x="126" y="2281"/>
                      </a:lnTo>
                      <a:lnTo>
                        <a:pt x="189" y="2260"/>
                      </a:lnTo>
                      <a:lnTo>
                        <a:pt x="273" y="2155"/>
                      </a:lnTo>
                      <a:lnTo>
                        <a:pt x="419" y="2093"/>
                      </a:lnTo>
                      <a:lnTo>
                        <a:pt x="482" y="2155"/>
                      </a:lnTo>
                      <a:lnTo>
                        <a:pt x="503" y="2260"/>
                      </a:lnTo>
                      <a:lnTo>
                        <a:pt x="650" y="2385"/>
                      </a:lnTo>
                      <a:lnTo>
                        <a:pt x="754" y="2385"/>
                      </a:lnTo>
                      <a:lnTo>
                        <a:pt x="817" y="2344"/>
                      </a:lnTo>
                      <a:lnTo>
                        <a:pt x="901" y="2365"/>
                      </a:lnTo>
                      <a:cubicBezTo>
                        <a:pt x="859" y="2448"/>
                        <a:pt x="859" y="2511"/>
                        <a:pt x="859" y="2595"/>
                      </a:cubicBezTo>
                      <a:lnTo>
                        <a:pt x="838" y="2595"/>
                      </a:lnTo>
                      <a:lnTo>
                        <a:pt x="733" y="2657"/>
                      </a:lnTo>
                      <a:lnTo>
                        <a:pt x="629" y="2595"/>
                      </a:lnTo>
                      <a:lnTo>
                        <a:pt x="545" y="2595"/>
                      </a:lnTo>
                      <a:lnTo>
                        <a:pt x="440" y="2678"/>
                      </a:lnTo>
                      <a:lnTo>
                        <a:pt x="315" y="2678"/>
                      </a:lnTo>
                      <a:lnTo>
                        <a:pt x="294" y="2699"/>
                      </a:lnTo>
                      <a:lnTo>
                        <a:pt x="336" y="2783"/>
                      </a:lnTo>
                      <a:lnTo>
                        <a:pt x="482" y="2804"/>
                      </a:lnTo>
                      <a:lnTo>
                        <a:pt x="524" y="2909"/>
                      </a:lnTo>
                      <a:lnTo>
                        <a:pt x="650" y="2971"/>
                      </a:lnTo>
                      <a:lnTo>
                        <a:pt x="733" y="3076"/>
                      </a:lnTo>
                      <a:lnTo>
                        <a:pt x="901" y="3118"/>
                      </a:lnTo>
                      <a:lnTo>
                        <a:pt x="1110" y="3118"/>
                      </a:lnTo>
                      <a:lnTo>
                        <a:pt x="1173" y="3139"/>
                      </a:lnTo>
                      <a:lnTo>
                        <a:pt x="1131" y="3181"/>
                      </a:lnTo>
                      <a:lnTo>
                        <a:pt x="963" y="3222"/>
                      </a:lnTo>
                      <a:lnTo>
                        <a:pt x="838" y="3222"/>
                      </a:lnTo>
                      <a:lnTo>
                        <a:pt x="838" y="3285"/>
                      </a:lnTo>
                      <a:lnTo>
                        <a:pt x="942" y="3327"/>
                      </a:lnTo>
                      <a:lnTo>
                        <a:pt x="1068" y="3327"/>
                      </a:lnTo>
                      <a:lnTo>
                        <a:pt x="1173" y="3243"/>
                      </a:lnTo>
                      <a:lnTo>
                        <a:pt x="1319" y="3139"/>
                      </a:lnTo>
                      <a:lnTo>
                        <a:pt x="1382" y="3097"/>
                      </a:lnTo>
                      <a:lnTo>
                        <a:pt x="1445" y="2929"/>
                      </a:lnTo>
                      <a:lnTo>
                        <a:pt x="1528" y="2762"/>
                      </a:lnTo>
                      <a:lnTo>
                        <a:pt x="1486" y="2678"/>
                      </a:lnTo>
                      <a:lnTo>
                        <a:pt x="1256" y="2532"/>
                      </a:lnTo>
                      <a:lnTo>
                        <a:pt x="1152" y="2511"/>
                      </a:lnTo>
                      <a:lnTo>
                        <a:pt x="1152" y="2385"/>
                      </a:lnTo>
                      <a:lnTo>
                        <a:pt x="1256" y="2406"/>
                      </a:lnTo>
                      <a:lnTo>
                        <a:pt x="1382" y="2385"/>
                      </a:lnTo>
                      <a:lnTo>
                        <a:pt x="1570" y="2281"/>
                      </a:lnTo>
                      <a:lnTo>
                        <a:pt x="1654" y="2176"/>
                      </a:lnTo>
                      <a:lnTo>
                        <a:pt x="1654" y="2072"/>
                      </a:lnTo>
                      <a:lnTo>
                        <a:pt x="1779" y="1946"/>
                      </a:lnTo>
                      <a:lnTo>
                        <a:pt x="1968" y="1800"/>
                      </a:lnTo>
                      <a:lnTo>
                        <a:pt x="2114" y="1967"/>
                      </a:lnTo>
                      <a:lnTo>
                        <a:pt x="2010" y="2009"/>
                      </a:lnTo>
                      <a:lnTo>
                        <a:pt x="1968" y="2093"/>
                      </a:lnTo>
                      <a:lnTo>
                        <a:pt x="1968" y="2176"/>
                      </a:lnTo>
                      <a:lnTo>
                        <a:pt x="1800" y="2197"/>
                      </a:lnTo>
                      <a:lnTo>
                        <a:pt x="1696" y="2281"/>
                      </a:lnTo>
                      <a:lnTo>
                        <a:pt x="1654" y="2469"/>
                      </a:lnTo>
                      <a:lnTo>
                        <a:pt x="1654" y="2574"/>
                      </a:lnTo>
                      <a:lnTo>
                        <a:pt x="1758" y="2637"/>
                      </a:lnTo>
                      <a:lnTo>
                        <a:pt x="1821" y="2637"/>
                      </a:lnTo>
                      <a:lnTo>
                        <a:pt x="1884" y="2720"/>
                      </a:lnTo>
                      <a:lnTo>
                        <a:pt x="1758" y="2867"/>
                      </a:lnTo>
                      <a:lnTo>
                        <a:pt x="1717" y="2971"/>
                      </a:lnTo>
                      <a:lnTo>
                        <a:pt x="1779" y="3139"/>
                      </a:lnTo>
                      <a:lnTo>
                        <a:pt x="1758" y="3222"/>
                      </a:lnTo>
                      <a:lnTo>
                        <a:pt x="1570" y="3327"/>
                      </a:lnTo>
                      <a:lnTo>
                        <a:pt x="1549" y="3390"/>
                      </a:lnTo>
                      <a:lnTo>
                        <a:pt x="1675" y="3453"/>
                      </a:lnTo>
                      <a:lnTo>
                        <a:pt x="1738" y="3515"/>
                      </a:lnTo>
                      <a:lnTo>
                        <a:pt x="1779" y="3494"/>
                      </a:lnTo>
                      <a:lnTo>
                        <a:pt x="1758" y="3411"/>
                      </a:lnTo>
                      <a:lnTo>
                        <a:pt x="1779" y="3348"/>
                      </a:lnTo>
                      <a:lnTo>
                        <a:pt x="1884" y="3411"/>
                      </a:lnTo>
                      <a:lnTo>
                        <a:pt x="1989" y="3494"/>
                      </a:lnTo>
                      <a:lnTo>
                        <a:pt x="2093" y="3432"/>
                      </a:lnTo>
                      <a:lnTo>
                        <a:pt x="2177" y="3432"/>
                      </a:lnTo>
                      <a:lnTo>
                        <a:pt x="2240" y="3536"/>
                      </a:lnTo>
                      <a:lnTo>
                        <a:pt x="2323" y="3746"/>
                      </a:lnTo>
                      <a:lnTo>
                        <a:pt x="2407" y="3829"/>
                      </a:lnTo>
                      <a:lnTo>
                        <a:pt x="2533" y="3850"/>
                      </a:lnTo>
                      <a:lnTo>
                        <a:pt x="2658" y="3934"/>
                      </a:lnTo>
                      <a:lnTo>
                        <a:pt x="2763" y="3955"/>
                      </a:lnTo>
                      <a:lnTo>
                        <a:pt x="2909" y="3871"/>
                      </a:lnTo>
                      <a:lnTo>
                        <a:pt x="3056" y="3829"/>
                      </a:lnTo>
                      <a:lnTo>
                        <a:pt x="3139" y="3871"/>
                      </a:lnTo>
                      <a:lnTo>
                        <a:pt x="3286" y="3955"/>
                      </a:lnTo>
                      <a:lnTo>
                        <a:pt x="3579" y="3976"/>
                      </a:lnTo>
                      <a:lnTo>
                        <a:pt x="3683" y="3955"/>
                      </a:lnTo>
                      <a:lnTo>
                        <a:pt x="3767" y="3976"/>
                      </a:lnTo>
                      <a:lnTo>
                        <a:pt x="3872" y="3976"/>
                      </a:lnTo>
                      <a:lnTo>
                        <a:pt x="3955" y="4059"/>
                      </a:lnTo>
                      <a:lnTo>
                        <a:pt x="4060" y="4164"/>
                      </a:lnTo>
                      <a:lnTo>
                        <a:pt x="4165" y="4164"/>
                      </a:lnTo>
                      <a:lnTo>
                        <a:pt x="4269" y="4080"/>
                      </a:lnTo>
                      <a:lnTo>
                        <a:pt x="4395" y="3955"/>
                      </a:lnTo>
                      <a:lnTo>
                        <a:pt x="4541" y="3913"/>
                      </a:lnTo>
                      <a:lnTo>
                        <a:pt x="4688" y="3725"/>
                      </a:lnTo>
                      <a:lnTo>
                        <a:pt x="4688" y="3620"/>
                      </a:lnTo>
                      <a:lnTo>
                        <a:pt x="4541" y="3453"/>
                      </a:lnTo>
                      <a:lnTo>
                        <a:pt x="4479" y="3432"/>
                      </a:lnTo>
                      <a:lnTo>
                        <a:pt x="4332" y="3285"/>
                      </a:lnTo>
                      <a:lnTo>
                        <a:pt x="4186" y="3243"/>
                      </a:lnTo>
                      <a:lnTo>
                        <a:pt x="4060" y="3181"/>
                      </a:lnTo>
                      <a:lnTo>
                        <a:pt x="4018" y="3034"/>
                      </a:lnTo>
                      <a:lnTo>
                        <a:pt x="4102" y="3034"/>
                      </a:lnTo>
                      <a:lnTo>
                        <a:pt x="4186" y="3097"/>
                      </a:lnTo>
                      <a:lnTo>
                        <a:pt x="4290" y="3097"/>
                      </a:lnTo>
                      <a:lnTo>
                        <a:pt x="4290" y="3013"/>
                      </a:lnTo>
                      <a:lnTo>
                        <a:pt x="4165" y="2825"/>
                      </a:lnTo>
                      <a:lnTo>
                        <a:pt x="3976" y="2657"/>
                      </a:lnTo>
                      <a:lnTo>
                        <a:pt x="3976" y="2490"/>
                      </a:lnTo>
                      <a:lnTo>
                        <a:pt x="3955" y="2344"/>
                      </a:lnTo>
                      <a:lnTo>
                        <a:pt x="3851" y="2281"/>
                      </a:lnTo>
                      <a:lnTo>
                        <a:pt x="3851" y="2155"/>
                      </a:lnTo>
                      <a:lnTo>
                        <a:pt x="3788" y="2093"/>
                      </a:lnTo>
                      <a:lnTo>
                        <a:pt x="3746" y="2093"/>
                      </a:lnTo>
                      <a:lnTo>
                        <a:pt x="3370" y="1821"/>
                      </a:lnTo>
                      <a:lnTo>
                        <a:pt x="3160" y="1779"/>
                      </a:lnTo>
                      <a:lnTo>
                        <a:pt x="2972" y="1821"/>
                      </a:lnTo>
                      <a:lnTo>
                        <a:pt x="2951" y="1883"/>
                      </a:lnTo>
                      <a:lnTo>
                        <a:pt x="2972" y="1967"/>
                      </a:lnTo>
                      <a:lnTo>
                        <a:pt x="3139" y="2155"/>
                      </a:lnTo>
                      <a:lnTo>
                        <a:pt x="3139" y="2239"/>
                      </a:lnTo>
                      <a:lnTo>
                        <a:pt x="3077" y="2344"/>
                      </a:lnTo>
                      <a:lnTo>
                        <a:pt x="3077" y="2448"/>
                      </a:lnTo>
                      <a:lnTo>
                        <a:pt x="3056" y="2574"/>
                      </a:lnTo>
                      <a:lnTo>
                        <a:pt x="2972" y="2720"/>
                      </a:lnTo>
                      <a:lnTo>
                        <a:pt x="2930" y="2783"/>
                      </a:lnTo>
                      <a:lnTo>
                        <a:pt x="2909" y="2699"/>
                      </a:lnTo>
                      <a:lnTo>
                        <a:pt x="2951" y="2595"/>
                      </a:lnTo>
                      <a:lnTo>
                        <a:pt x="2972" y="2490"/>
                      </a:lnTo>
                      <a:lnTo>
                        <a:pt x="2930" y="2448"/>
                      </a:lnTo>
                      <a:lnTo>
                        <a:pt x="2972" y="2260"/>
                      </a:lnTo>
                      <a:lnTo>
                        <a:pt x="2930" y="2155"/>
                      </a:lnTo>
                      <a:lnTo>
                        <a:pt x="2742" y="1883"/>
                      </a:lnTo>
                      <a:lnTo>
                        <a:pt x="2595" y="1779"/>
                      </a:lnTo>
                      <a:lnTo>
                        <a:pt x="2386" y="1758"/>
                      </a:lnTo>
                      <a:lnTo>
                        <a:pt x="2323" y="1779"/>
                      </a:lnTo>
                      <a:lnTo>
                        <a:pt x="2282" y="1925"/>
                      </a:lnTo>
                      <a:lnTo>
                        <a:pt x="2240" y="1946"/>
                      </a:lnTo>
                      <a:cubicBezTo>
                        <a:pt x="2198" y="1883"/>
                        <a:pt x="2114" y="1841"/>
                        <a:pt x="2072" y="1821"/>
                      </a:cubicBezTo>
                      <a:lnTo>
                        <a:pt x="2114" y="1779"/>
                      </a:lnTo>
                      <a:lnTo>
                        <a:pt x="2177" y="1674"/>
                      </a:lnTo>
                      <a:lnTo>
                        <a:pt x="2177" y="1549"/>
                      </a:lnTo>
                      <a:lnTo>
                        <a:pt x="1989" y="1444"/>
                      </a:lnTo>
                      <a:lnTo>
                        <a:pt x="1800" y="1297"/>
                      </a:lnTo>
                      <a:lnTo>
                        <a:pt x="1696" y="1109"/>
                      </a:lnTo>
                      <a:lnTo>
                        <a:pt x="1696" y="984"/>
                      </a:lnTo>
                      <a:lnTo>
                        <a:pt x="1758" y="837"/>
                      </a:lnTo>
                      <a:lnTo>
                        <a:pt x="1758" y="733"/>
                      </a:lnTo>
                      <a:lnTo>
                        <a:pt x="1696" y="712"/>
                      </a:lnTo>
                      <a:lnTo>
                        <a:pt x="1403" y="712"/>
                      </a:lnTo>
                      <a:lnTo>
                        <a:pt x="1194" y="628"/>
                      </a:lnTo>
                      <a:lnTo>
                        <a:pt x="1047" y="523"/>
                      </a:lnTo>
                      <a:lnTo>
                        <a:pt x="817" y="251"/>
                      </a:lnTo>
                      <a:lnTo>
                        <a:pt x="650" y="105"/>
                      </a:lnTo>
                      <a:lnTo>
                        <a:pt x="46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 name="Google Shape;5824;p93">
                  <a:extLst>
                    <a:ext uri="{FF2B5EF4-FFF2-40B4-BE49-F238E27FC236}">
                      <a16:creationId xmlns:a16="http://schemas.microsoft.com/office/drawing/2014/main" id="{27812272-7E9B-4A33-86B0-AE94B750D0F0}"/>
                    </a:ext>
                  </a:extLst>
                </p:cNvPr>
                <p:cNvSpPr/>
                <p:nvPr/>
              </p:nvSpPr>
              <p:spPr>
                <a:xfrm>
                  <a:off x="4241800" y="1706950"/>
                  <a:ext cx="130800" cy="246400"/>
                </a:xfrm>
                <a:custGeom>
                  <a:avLst/>
                  <a:gdLst/>
                  <a:ahLst/>
                  <a:cxnLst/>
                  <a:rect l="l" t="t" r="r" b="b"/>
                  <a:pathLst>
                    <a:path w="5232" h="9856" extrusionOk="0">
                      <a:moveTo>
                        <a:pt x="4750" y="1"/>
                      </a:moveTo>
                      <a:lnTo>
                        <a:pt x="4625" y="63"/>
                      </a:lnTo>
                      <a:lnTo>
                        <a:pt x="4604" y="126"/>
                      </a:lnTo>
                      <a:lnTo>
                        <a:pt x="4520" y="105"/>
                      </a:lnTo>
                      <a:lnTo>
                        <a:pt x="4436" y="42"/>
                      </a:lnTo>
                      <a:lnTo>
                        <a:pt x="4332" y="63"/>
                      </a:lnTo>
                      <a:lnTo>
                        <a:pt x="4206" y="168"/>
                      </a:lnTo>
                      <a:lnTo>
                        <a:pt x="4185" y="273"/>
                      </a:lnTo>
                      <a:lnTo>
                        <a:pt x="4101" y="335"/>
                      </a:lnTo>
                      <a:lnTo>
                        <a:pt x="4018" y="356"/>
                      </a:lnTo>
                      <a:lnTo>
                        <a:pt x="3934" y="440"/>
                      </a:lnTo>
                      <a:lnTo>
                        <a:pt x="3934" y="524"/>
                      </a:lnTo>
                      <a:lnTo>
                        <a:pt x="3871" y="628"/>
                      </a:lnTo>
                      <a:lnTo>
                        <a:pt x="3871" y="670"/>
                      </a:lnTo>
                      <a:lnTo>
                        <a:pt x="3934" y="775"/>
                      </a:lnTo>
                      <a:lnTo>
                        <a:pt x="3934" y="858"/>
                      </a:lnTo>
                      <a:lnTo>
                        <a:pt x="3829" y="858"/>
                      </a:lnTo>
                      <a:lnTo>
                        <a:pt x="3788" y="900"/>
                      </a:lnTo>
                      <a:lnTo>
                        <a:pt x="3788" y="984"/>
                      </a:lnTo>
                      <a:lnTo>
                        <a:pt x="3725" y="1047"/>
                      </a:lnTo>
                      <a:lnTo>
                        <a:pt x="3662" y="1109"/>
                      </a:lnTo>
                      <a:lnTo>
                        <a:pt x="3453" y="1256"/>
                      </a:lnTo>
                      <a:lnTo>
                        <a:pt x="3369" y="1298"/>
                      </a:lnTo>
                      <a:lnTo>
                        <a:pt x="3306" y="1277"/>
                      </a:lnTo>
                      <a:lnTo>
                        <a:pt x="3202" y="1277"/>
                      </a:lnTo>
                      <a:lnTo>
                        <a:pt x="3139" y="1319"/>
                      </a:lnTo>
                      <a:lnTo>
                        <a:pt x="3034" y="1486"/>
                      </a:lnTo>
                      <a:lnTo>
                        <a:pt x="2951" y="1528"/>
                      </a:lnTo>
                      <a:lnTo>
                        <a:pt x="2888" y="1507"/>
                      </a:lnTo>
                      <a:lnTo>
                        <a:pt x="2867" y="1423"/>
                      </a:lnTo>
                      <a:lnTo>
                        <a:pt x="2825" y="1423"/>
                      </a:lnTo>
                      <a:lnTo>
                        <a:pt x="2783" y="1507"/>
                      </a:lnTo>
                      <a:lnTo>
                        <a:pt x="2825" y="1633"/>
                      </a:lnTo>
                      <a:lnTo>
                        <a:pt x="2783" y="1695"/>
                      </a:lnTo>
                      <a:lnTo>
                        <a:pt x="2762" y="1591"/>
                      </a:lnTo>
                      <a:lnTo>
                        <a:pt x="2721" y="1486"/>
                      </a:lnTo>
                      <a:lnTo>
                        <a:pt x="2532" y="1507"/>
                      </a:lnTo>
                      <a:lnTo>
                        <a:pt x="2323" y="1570"/>
                      </a:lnTo>
                      <a:lnTo>
                        <a:pt x="2260" y="1612"/>
                      </a:lnTo>
                      <a:lnTo>
                        <a:pt x="2197" y="1633"/>
                      </a:lnTo>
                      <a:lnTo>
                        <a:pt x="2156" y="1695"/>
                      </a:lnTo>
                      <a:lnTo>
                        <a:pt x="2218" y="1842"/>
                      </a:lnTo>
                      <a:lnTo>
                        <a:pt x="2260" y="1905"/>
                      </a:lnTo>
                      <a:lnTo>
                        <a:pt x="2260" y="1946"/>
                      </a:lnTo>
                      <a:lnTo>
                        <a:pt x="2218" y="1988"/>
                      </a:lnTo>
                      <a:lnTo>
                        <a:pt x="2135" y="2093"/>
                      </a:lnTo>
                      <a:lnTo>
                        <a:pt x="2093" y="2051"/>
                      </a:lnTo>
                      <a:lnTo>
                        <a:pt x="2093" y="2009"/>
                      </a:lnTo>
                      <a:lnTo>
                        <a:pt x="2135" y="1946"/>
                      </a:lnTo>
                      <a:lnTo>
                        <a:pt x="2135" y="1884"/>
                      </a:lnTo>
                      <a:lnTo>
                        <a:pt x="2051" y="1884"/>
                      </a:lnTo>
                      <a:lnTo>
                        <a:pt x="1946" y="2009"/>
                      </a:lnTo>
                      <a:lnTo>
                        <a:pt x="1884" y="2051"/>
                      </a:lnTo>
                      <a:lnTo>
                        <a:pt x="1884" y="2135"/>
                      </a:lnTo>
                      <a:lnTo>
                        <a:pt x="1946" y="2156"/>
                      </a:lnTo>
                      <a:lnTo>
                        <a:pt x="1905" y="2218"/>
                      </a:lnTo>
                      <a:lnTo>
                        <a:pt x="1842" y="2323"/>
                      </a:lnTo>
                      <a:lnTo>
                        <a:pt x="1716" y="2323"/>
                      </a:lnTo>
                      <a:lnTo>
                        <a:pt x="1632" y="2365"/>
                      </a:lnTo>
                      <a:lnTo>
                        <a:pt x="1612" y="2449"/>
                      </a:lnTo>
                      <a:lnTo>
                        <a:pt x="1507" y="2470"/>
                      </a:lnTo>
                      <a:lnTo>
                        <a:pt x="1465" y="2553"/>
                      </a:lnTo>
                      <a:lnTo>
                        <a:pt x="1423" y="2721"/>
                      </a:lnTo>
                      <a:lnTo>
                        <a:pt x="1465" y="2742"/>
                      </a:lnTo>
                      <a:lnTo>
                        <a:pt x="1528" y="2742"/>
                      </a:lnTo>
                      <a:lnTo>
                        <a:pt x="1465" y="2825"/>
                      </a:lnTo>
                      <a:lnTo>
                        <a:pt x="1277" y="2825"/>
                      </a:lnTo>
                      <a:lnTo>
                        <a:pt x="1214" y="2867"/>
                      </a:lnTo>
                      <a:lnTo>
                        <a:pt x="1193" y="3034"/>
                      </a:lnTo>
                      <a:lnTo>
                        <a:pt x="1214" y="3097"/>
                      </a:lnTo>
                      <a:lnTo>
                        <a:pt x="1277" y="3097"/>
                      </a:lnTo>
                      <a:lnTo>
                        <a:pt x="1360" y="3076"/>
                      </a:lnTo>
                      <a:lnTo>
                        <a:pt x="1381" y="3139"/>
                      </a:lnTo>
                      <a:lnTo>
                        <a:pt x="1360" y="3181"/>
                      </a:lnTo>
                      <a:lnTo>
                        <a:pt x="1360" y="3286"/>
                      </a:lnTo>
                      <a:lnTo>
                        <a:pt x="1277" y="3348"/>
                      </a:lnTo>
                      <a:lnTo>
                        <a:pt x="1193" y="3306"/>
                      </a:lnTo>
                      <a:lnTo>
                        <a:pt x="1068" y="3286"/>
                      </a:lnTo>
                      <a:lnTo>
                        <a:pt x="942" y="3348"/>
                      </a:lnTo>
                      <a:lnTo>
                        <a:pt x="900" y="3411"/>
                      </a:lnTo>
                      <a:lnTo>
                        <a:pt x="900" y="3495"/>
                      </a:lnTo>
                      <a:lnTo>
                        <a:pt x="858" y="3599"/>
                      </a:lnTo>
                      <a:lnTo>
                        <a:pt x="754" y="3683"/>
                      </a:lnTo>
                      <a:lnTo>
                        <a:pt x="670" y="3620"/>
                      </a:lnTo>
                      <a:lnTo>
                        <a:pt x="628" y="3558"/>
                      </a:lnTo>
                      <a:lnTo>
                        <a:pt x="586" y="3474"/>
                      </a:lnTo>
                      <a:lnTo>
                        <a:pt x="544" y="3495"/>
                      </a:lnTo>
                      <a:lnTo>
                        <a:pt x="524" y="3662"/>
                      </a:lnTo>
                      <a:lnTo>
                        <a:pt x="544" y="3788"/>
                      </a:lnTo>
                      <a:lnTo>
                        <a:pt x="649" y="3871"/>
                      </a:lnTo>
                      <a:lnTo>
                        <a:pt x="733" y="3830"/>
                      </a:lnTo>
                      <a:lnTo>
                        <a:pt x="754" y="3871"/>
                      </a:lnTo>
                      <a:lnTo>
                        <a:pt x="754" y="3934"/>
                      </a:lnTo>
                      <a:lnTo>
                        <a:pt x="691" y="4081"/>
                      </a:lnTo>
                      <a:lnTo>
                        <a:pt x="733" y="4122"/>
                      </a:lnTo>
                      <a:lnTo>
                        <a:pt x="796" y="4143"/>
                      </a:lnTo>
                      <a:lnTo>
                        <a:pt x="858" y="4081"/>
                      </a:lnTo>
                      <a:lnTo>
                        <a:pt x="900" y="4081"/>
                      </a:lnTo>
                      <a:lnTo>
                        <a:pt x="963" y="4102"/>
                      </a:lnTo>
                      <a:lnTo>
                        <a:pt x="1068" y="4102"/>
                      </a:lnTo>
                      <a:lnTo>
                        <a:pt x="1151" y="4039"/>
                      </a:lnTo>
                      <a:lnTo>
                        <a:pt x="1172" y="4081"/>
                      </a:lnTo>
                      <a:lnTo>
                        <a:pt x="1109" y="4143"/>
                      </a:lnTo>
                      <a:lnTo>
                        <a:pt x="1047" y="4185"/>
                      </a:lnTo>
                      <a:lnTo>
                        <a:pt x="900" y="4185"/>
                      </a:lnTo>
                      <a:lnTo>
                        <a:pt x="858" y="4248"/>
                      </a:lnTo>
                      <a:lnTo>
                        <a:pt x="775" y="4227"/>
                      </a:lnTo>
                      <a:lnTo>
                        <a:pt x="733" y="4311"/>
                      </a:lnTo>
                      <a:lnTo>
                        <a:pt x="754" y="4436"/>
                      </a:lnTo>
                      <a:lnTo>
                        <a:pt x="837" y="4499"/>
                      </a:lnTo>
                      <a:lnTo>
                        <a:pt x="900" y="4520"/>
                      </a:lnTo>
                      <a:lnTo>
                        <a:pt x="984" y="4499"/>
                      </a:lnTo>
                      <a:lnTo>
                        <a:pt x="1005" y="4520"/>
                      </a:lnTo>
                      <a:lnTo>
                        <a:pt x="984" y="4562"/>
                      </a:lnTo>
                      <a:lnTo>
                        <a:pt x="858" y="4625"/>
                      </a:lnTo>
                      <a:lnTo>
                        <a:pt x="733" y="4625"/>
                      </a:lnTo>
                      <a:lnTo>
                        <a:pt x="649" y="4666"/>
                      </a:lnTo>
                      <a:lnTo>
                        <a:pt x="649" y="4729"/>
                      </a:lnTo>
                      <a:lnTo>
                        <a:pt x="691" y="4771"/>
                      </a:lnTo>
                      <a:lnTo>
                        <a:pt x="796" y="4750"/>
                      </a:lnTo>
                      <a:lnTo>
                        <a:pt x="900" y="4750"/>
                      </a:lnTo>
                      <a:lnTo>
                        <a:pt x="900" y="4813"/>
                      </a:lnTo>
                      <a:lnTo>
                        <a:pt x="837" y="4834"/>
                      </a:lnTo>
                      <a:lnTo>
                        <a:pt x="733" y="4855"/>
                      </a:lnTo>
                      <a:lnTo>
                        <a:pt x="733" y="4897"/>
                      </a:lnTo>
                      <a:lnTo>
                        <a:pt x="754" y="4938"/>
                      </a:lnTo>
                      <a:lnTo>
                        <a:pt x="879" y="4959"/>
                      </a:lnTo>
                      <a:lnTo>
                        <a:pt x="984" y="5043"/>
                      </a:lnTo>
                      <a:lnTo>
                        <a:pt x="984" y="5085"/>
                      </a:lnTo>
                      <a:lnTo>
                        <a:pt x="858" y="5085"/>
                      </a:lnTo>
                      <a:lnTo>
                        <a:pt x="754" y="5043"/>
                      </a:lnTo>
                      <a:lnTo>
                        <a:pt x="649" y="5043"/>
                      </a:lnTo>
                      <a:lnTo>
                        <a:pt x="565" y="5085"/>
                      </a:lnTo>
                      <a:lnTo>
                        <a:pt x="544" y="5169"/>
                      </a:lnTo>
                      <a:lnTo>
                        <a:pt x="482" y="5210"/>
                      </a:lnTo>
                      <a:lnTo>
                        <a:pt x="482" y="5273"/>
                      </a:lnTo>
                      <a:lnTo>
                        <a:pt x="544" y="5315"/>
                      </a:lnTo>
                      <a:lnTo>
                        <a:pt x="524" y="5378"/>
                      </a:lnTo>
                      <a:lnTo>
                        <a:pt x="461" y="5399"/>
                      </a:lnTo>
                      <a:lnTo>
                        <a:pt x="419" y="5399"/>
                      </a:lnTo>
                      <a:lnTo>
                        <a:pt x="335" y="5483"/>
                      </a:lnTo>
                      <a:lnTo>
                        <a:pt x="314" y="5566"/>
                      </a:lnTo>
                      <a:lnTo>
                        <a:pt x="335" y="5608"/>
                      </a:lnTo>
                      <a:lnTo>
                        <a:pt x="314" y="5671"/>
                      </a:lnTo>
                      <a:lnTo>
                        <a:pt x="210" y="5692"/>
                      </a:lnTo>
                      <a:lnTo>
                        <a:pt x="210" y="5713"/>
                      </a:lnTo>
                      <a:lnTo>
                        <a:pt x="335" y="5838"/>
                      </a:lnTo>
                      <a:lnTo>
                        <a:pt x="440" y="5901"/>
                      </a:lnTo>
                      <a:lnTo>
                        <a:pt x="482" y="5880"/>
                      </a:lnTo>
                      <a:lnTo>
                        <a:pt x="524" y="5796"/>
                      </a:lnTo>
                      <a:lnTo>
                        <a:pt x="586" y="5734"/>
                      </a:lnTo>
                      <a:lnTo>
                        <a:pt x="754" y="5629"/>
                      </a:lnTo>
                      <a:lnTo>
                        <a:pt x="858" y="5587"/>
                      </a:lnTo>
                      <a:lnTo>
                        <a:pt x="858" y="5629"/>
                      </a:lnTo>
                      <a:lnTo>
                        <a:pt x="837" y="5629"/>
                      </a:lnTo>
                      <a:lnTo>
                        <a:pt x="796" y="5713"/>
                      </a:lnTo>
                      <a:lnTo>
                        <a:pt x="649" y="5817"/>
                      </a:lnTo>
                      <a:lnTo>
                        <a:pt x="586" y="5922"/>
                      </a:lnTo>
                      <a:lnTo>
                        <a:pt x="565" y="6027"/>
                      </a:lnTo>
                      <a:lnTo>
                        <a:pt x="586" y="6131"/>
                      </a:lnTo>
                      <a:lnTo>
                        <a:pt x="565" y="6194"/>
                      </a:lnTo>
                      <a:lnTo>
                        <a:pt x="565" y="6236"/>
                      </a:lnTo>
                      <a:lnTo>
                        <a:pt x="754" y="6236"/>
                      </a:lnTo>
                      <a:lnTo>
                        <a:pt x="837" y="6194"/>
                      </a:lnTo>
                      <a:lnTo>
                        <a:pt x="837" y="6257"/>
                      </a:lnTo>
                      <a:lnTo>
                        <a:pt x="775" y="6299"/>
                      </a:lnTo>
                      <a:lnTo>
                        <a:pt x="586" y="6299"/>
                      </a:lnTo>
                      <a:lnTo>
                        <a:pt x="524" y="6340"/>
                      </a:lnTo>
                      <a:lnTo>
                        <a:pt x="356" y="6445"/>
                      </a:lnTo>
                      <a:lnTo>
                        <a:pt x="356" y="6571"/>
                      </a:lnTo>
                      <a:lnTo>
                        <a:pt x="335" y="6654"/>
                      </a:lnTo>
                      <a:lnTo>
                        <a:pt x="356" y="6759"/>
                      </a:lnTo>
                      <a:lnTo>
                        <a:pt x="461" y="6759"/>
                      </a:lnTo>
                      <a:lnTo>
                        <a:pt x="524" y="6822"/>
                      </a:lnTo>
                      <a:lnTo>
                        <a:pt x="482" y="6863"/>
                      </a:lnTo>
                      <a:lnTo>
                        <a:pt x="377" y="6863"/>
                      </a:lnTo>
                      <a:lnTo>
                        <a:pt x="252" y="6884"/>
                      </a:lnTo>
                      <a:lnTo>
                        <a:pt x="147" y="7052"/>
                      </a:lnTo>
                      <a:lnTo>
                        <a:pt x="147" y="7177"/>
                      </a:lnTo>
                      <a:lnTo>
                        <a:pt x="210" y="7240"/>
                      </a:lnTo>
                      <a:lnTo>
                        <a:pt x="272" y="7198"/>
                      </a:lnTo>
                      <a:lnTo>
                        <a:pt x="440" y="7135"/>
                      </a:lnTo>
                      <a:lnTo>
                        <a:pt x="461" y="7177"/>
                      </a:lnTo>
                      <a:lnTo>
                        <a:pt x="356" y="7261"/>
                      </a:lnTo>
                      <a:lnTo>
                        <a:pt x="335" y="7366"/>
                      </a:lnTo>
                      <a:lnTo>
                        <a:pt x="377" y="7366"/>
                      </a:lnTo>
                      <a:lnTo>
                        <a:pt x="461" y="7282"/>
                      </a:lnTo>
                      <a:lnTo>
                        <a:pt x="544" y="7261"/>
                      </a:lnTo>
                      <a:lnTo>
                        <a:pt x="565" y="7303"/>
                      </a:lnTo>
                      <a:lnTo>
                        <a:pt x="482" y="7387"/>
                      </a:lnTo>
                      <a:lnTo>
                        <a:pt x="461" y="7470"/>
                      </a:lnTo>
                      <a:lnTo>
                        <a:pt x="544" y="7554"/>
                      </a:lnTo>
                      <a:lnTo>
                        <a:pt x="649" y="7554"/>
                      </a:lnTo>
                      <a:lnTo>
                        <a:pt x="565" y="7575"/>
                      </a:lnTo>
                      <a:lnTo>
                        <a:pt x="482" y="7575"/>
                      </a:lnTo>
                      <a:lnTo>
                        <a:pt x="419" y="7659"/>
                      </a:lnTo>
                      <a:lnTo>
                        <a:pt x="419" y="7721"/>
                      </a:lnTo>
                      <a:lnTo>
                        <a:pt x="461" y="7826"/>
                      </a:lnTo>
                      <a:lnTo>
                        <a:pt x="419" y="7889"/>
                      </a:lnTo>
                      <a:lnTo>
                        <a:pt x="356" y="7868"/>
                      </a:lnTo>
                      <a:lnTo>
                        <a:pt x="252" y="7889"/>
                      </a:lnTo>
                      <a:lnTo>
                        <a:pt x="168" y="7826"/>
                      </a:lnTo>
                      <a:lnTo>
                        <a:pt x="105" y="7826"/>
                      </a:lnTo>
                      <a:lnTo>
                        <a:pt x="0" y="7972"/>
                      </a:lnTo>
                      <a:lnTo>
                        <a:pt x="0" y="8077"/>
                      </a:lnTo>
                      <a:lnTo>
                        <a:pt x="168" y="8265"/>
                      </a:lnTo>
                      <a:lnTo>
                        <a:pt x="147" y="8391"/>
                      </a:lnTo>
                      <a:lnTo>
                        <a:pt x="168" y="8496"/>
                      </a:lnTo>
                      <a:lnTo>
                        <a:pt x="335" y="8621"/>
                      </a:lnTo>
                      <a:lnTo>
                        <a:pt x="335" y="8705"/>
                      </a:lnTo>
                      <a:lnTo>
                        <a:pt x="482" y="8830"/>
                      </a:lnTo>
                      <a:lnTo>
                        <a:pt x="586" y="8872"/>
                      </a:lnTo>
                      <a:lnTo>
                        <a:pt x="649" y="8851"/>
                      </a:lnTo>
                      <a:lnTo>
                        <a:pt x="733" y="8830"/>
                      </a:lnTo>
                      <a:lnTo>
                        <a:pt x="837" y="8663"/>
                      </a:lnTo>
                      <a:lnTo>
                        <a:pt x="796" y="8516"/>
                      </a:lnTo>
                      <a:lnTo>
                        <a:pt x="837" y="8412"/>
                      </a:lnTo>
                      <a:lnTo>
                        <a:pt x="900" y="8307"/>
                      </a:lnTo>
                      <a:lnTo>
                        <a:pt x="858" y="8433"/>
                      </a:lnTo>
                      <a:lnTo>
                        <a:pt x="858" y="8516"/>
                      </a:lnTo>
                      <a:lnTo>
                        <a:pt x="900" y="8600"/>
                      </a:lnTo>
                      <a:lnTo>
                        <a:pt x="963" y="8747"/>
                      </a:lnTo>
                      <a:lnTo>
                        <a:pt x="1047" y="8788"/>
                      </a:lnTo>
                      <a:lnTo>
                        <a:pt x="1109" y="8726"/>
                      </a:lnTo>
                      <a:lnTo>
                        <a:pt x="1109" y="8642"/>
                      </a:lnTo>
                      <a:lnTo>
                        <a:pt x="1172" y="8537"/>
                      </a:lnTo>
                      <a:lnTo>
                        <a:pt x="1193" y="8600"/>
                      </a:lnTo>
                      <a:lnTo>
                        <a:pt x="1172" y="8642"/>
                      </a:lnTo>
                      <a:lnTo>
                        <a:pt x="1172" y="8747"/>
                      </a:lnTo>
                      <a:lnTo>
                        <a:pt x="1277" y="8935"/>
                      </a:lnTo>
                      <a:lnTo>
                        <a:pt x="1402" y="9019"/>
                      </a:lnTo>
                      <a:lnTo>
                        <a:pt x="1507" y="9019"/>
                      </a:lnTo>
                      <a:lnTo>
                        <a:pt x="1591" y="8956"/>
                      </a:lnTo>
                      <a:lnTo>
                        <a:pt x="1632" y="8998"/>
                      </a:lnTo>
                      <a:lnTo>
                        <a:pt x="1612" y="9040"/>
                      </a:lnTo>
                      <a:lnTo>
                        <a:pt x="1570" y="9040"/>
                      </a:lnTo>
                      <a:lnTo>
                        <a:pt x="1528" y="9123"/>
                      </a:lnTo>
                      <a:lnTo>
                        <a:pt x="1444" y="9165"/>
                      </a:lnTo>
                      <a:lnTo>
                        <a:pt x="1423" y="9249"/>
                      </a:lnTo>
                      <a:lnTo>
                        <a:pt x="1528" y="9332"/>
                      </a:lnTo>
                      <a:lnTo>
                        <a:pt x="1528" y="9416"/>
                      </a:lnTo>
                      <a:lnTo>
                        <a:pt x="1444" y="9416"/>
                      </a:lnTo>
                      <a:lnTo>
                        <a:pt x="1381" y="9374"/>
                      </a:lnTo>
                      <a:lnTo>
                        <a:pt x="1381" y="9458"/>
                      </a:lnTo>
                      <a:lnTo>
                        <a:pt x="1423" y="9521"/>
                      </a:lnTo>
                      <a:lnTo>
                        <a:pt x="1612" y="9542"/>
                      </a:lnTo>
                      <a:lnTo>
                        <a:pt x="1716" y="9584"/>
                      </a:lnTo>
                      <a:lnTo>
                        <a:pt x="1821" y="9563"/>
                      </a:lnTo>
                      <a:lnTo>
                        <a:pt x="1967" y="9604"/>
                      </a:lnTo>
                      <a:lnTo>
                        <a:pt x="1967" y="9521"/>
                      </a:lnTo>
                      <a:lnTo>
                        <a:pt x="2051" y="9542"/>
                      </a:lnTo>
                      <a:lnTo>
                        <a:pt x="2072" y="9625"/>
                      </a:lnTo>
                      <a:lnTo>
                        <a:pt x="2135" y="9772"/>
                      </a:lnTo>
                      <a:lnTo>
                        <a:pt x="2218" y="9856"/>
                      </a:lnTo>
                      <a:lnTo>
                        <a:pt x="2281" y="9856"/>
                      </a:lnTo>
                      <a:lnTo>
                        <a:pt x="2365" y="9751"/>
                      </a:lnTo>
                      <a:lnTo>
                        <a:pt x="2344" y="9625"/>
                      </a:lnTo>
                      <a:lnTo>
                        <a:pt x="2177" y="9542"/>
                      </a:lnTo>
                      <a:lnTo>
                        <a:pt x="2135" y="9521"/>
                      </a:lnTo>
                      <a:lnTo>
                        <a:pt x="2177" y="9479"/>
                      </a:lnTo>
                      <a:lnTo>
                        <a:pt x="2260" y="9521"/>
                      </a:lnTo>
                      <a:lnTo>
                        <a:pt x="2365" y="9584"/>
                      </a:lnTo>
                      <a:lnTo>
                        <a:pt x="2428" y="9667"/>
                      </a:lnTo>
                      <a:lnTo>
                        <a:pt x="2469" y="9772"/>
                      </a:lnTo>
                      <a:lnTo>
                        <a:pt x="2532" y="9772"/>
                      </a:lnTo>
                      <a:lnTo>
                        <a:pt x="2553" y="9667"/>
                      </a:lnTo>
                      <a:lnTo>
                        <a:pt x="2595" y="9646"/>
                      </a:lnTo>
                      <a:lnTo>
                        <a:pt x="2679" y="9751"/>
                      </a:lnTo>
                      <a:lnTo>
                        <a:pt x="2804" y="9793"/>
                      </a:lnTo>
                      <a:lnTo>
                        <a:pt x="2888" y="9793"/>
                      </a:lnTo>
                      <a:lnTo>
                        <a:pt x="2888" y="9730"/>
                      </a:lnTo>
                      <a:lnTo>
                        <a:pt x="2783" y="9646"/>
                      </a:lnTo>
                      <a:lnTo>
                        <a:pt x="2783" y="9584"/>
                      </a:lnTo>
                      <a:lnTo>
                        <a:pt x="2846" y="9563"/>
                      </a:lnTo>
                      <a:lnTo>
                        <a:pt x="2951" y="9604"/>
                      </a:lnTo>
                      <a:lnTo>
                        <a:pt x="2993" y="9667"/>
                      </a:lnTo>
                      <a:lnTo>
                        <a:pt x="3013" y="9667"/>
                      </a:lnTo>
                      <a:lnTo>
                        <a:pt x="3055" y="9772"/>
                      </a:lnTo>
                      <a:lnTo>
                        <a:pt x="3118" y="9814"/>
                      </a:lnTo>
                      <a:lnTo>
                        <a:pt x="3181" y="9793"/>
                      </a:lnTo>
                      <a:lnTo>
                        <a:pt x="3202" y="9688"/>
                      </a:lnTo>
                      <a:lnTo>
                        <a:pt x="3160" y="9604"/>
                      </a:lnTo>
                      <a:lnTo>
                        <a:pt x="3076" y="9604"/>
                      </a:lnTo>
                      <a:lnTo>
                        <a:pt x="3013" y="9563"/>
                      </a:lnTo>
                      <a:lnTo>
                        <a:pt x="3055" y="9500"/>
                      </a:lnTo>
                      <a:lnTo>
                        <a:pt x="3097" y="9542"/>
                      </a:lnTo>
                      <a:lnTo>
                        <a:pt x="3160" y="9542"/>
                      </a:lnTo>
                      <a:lnTo>
                        <a:pt x="3223" y="9437"/>
                      </a:lnTo>
                      <a:lnTo>
                        <a:pt x="3265" y="9353"/>
                      </a:lnTo>
                      <a:lnTo>
                        <a:pt x="3265" y="9312"/>
                      </a:lnTo>
                      <a:lnTo>
                        <a:pt x="3118" y="9207"/>
                      </a:lnTo>
                      <a:lnTo>
                        <a:pt x="3055" y="9228"/>
                      </a:lnTo>
                      <a:lnTo>
                        <a:pt x="2951" y="9207"/>
                      </a:lnTo>
                      <a:lnTo>
                        <a:pt x="2867" y="9040"/>
                      </a:lnTo>
                      <a:lnTo>
                        <a:pt x="2762" y="9040"/>
                      </a:lnTo>
                      <a:lnTo>
                        <a:pt x="2574" y="8872"/>
                      </a:lnTo>
                      <a:lnTo>
                        <a:pt x="2490" y="8788"/>
                      </a:lnTo>
                      <a:lnTo>
                        <a:pt x="2365" y="8788"/>
                      </a:lnTo>
                      <a:lnTo>
                        <a:pt x="2239" y="8516"/>
                      </a:lnTo>
                      <a:lnTo>
                        <a:pt x="2030" y="8286"/>
                      </a:lnTo>
                      <a:lnTo>
                        <a:pt x="1946" y="8014"/>
                      </a:lnTo>
                      <a:lnTo>
                        <a:pt x="1842" y="7847"/>
                      </a:lnTo>
                      <a:lnTo>
                        <a:pt x="1842" y="7554"/>
                      </a:lnTo>
                      <a:lnTo>
                        <a:pt x="1758" y="7387"/>
                      </a:lnTo>
                      <a:lnTo>
                        <a:pt x="1716" y="7073"/>
                      </a:lnTo>
                      <a:lnTo>
                        <a:pt x="1695" y="7010"/>
                      </a:lnTo>
                      <a:lnTo>
                        <a:pt x="1737" y="6905"/>
                      </a:lnTo>
                      <a:lnTo>
                        <a:pt x="1737" y="6822"/>
                      </a:lnTo>
                      <a:lnTo>
                        <a:pt x="1632" y="6801"/>
                      </a:lnTo>
                      <a:lnTo>
                        <a:pt x="1549" y="6843"/>
                      </a:lnTo>
                      <a:lnTo>
                        <a:pt x="1486" y="6801"/>
                      </a:lnTo>
                      <a:lnTo>
                        <a:pt x="1507" y="6759"/>
                      </a:lnTo>
                      <a:lnTo>
                        <a:pt x="1653" y="6759"/>
                      </a:lnTo>
                      <a:lnTo>
                        <a:pt x="1800" y="6696"/>
                      </a:lnTo>
                      <a:lnTo>
                        <a:pt x="1821" y="6487"/>
                      </a:lnTo>
                      <a:lnTo>
                        <a:pt x="1800" y="6382"/>
                      </a:lnTo>
                      <a:lnTo>
                        <a:pt x="1695" y="6403"/>
                      </a:lnTo>
                      <a:lnTo>
                        <a:pt x="1591" y="6424"/>
                      </a:lnTo>
                      <a:lnTo>
                        <a:pt x="1632" y="6382"/>
                      </a:lnTo>
                      <a:lnTo>
                        <a:pt x="1800" y="6319"/>
                      </a:lnTo>
                      <a:lnTo>
                        <a:pt x="1821" y="6236"/>
                      </a:lnTo>
                      <a:lnTo>
                        <a:pt x="1779" y="6194"/>
                      </a:lnTo>
                      <a:lnTo>
                        <a:pt x="1570" y="6194"/>
                      </a:lnTo>
                      <a:lnTo>
                        <a:pt x="1423" y="6173"/>
                      </a:lnTo>
                      <a:lnTo>
                        <a:pt x="1423" y="6110"/>
                      </a:lnTo>
                      <a:lnTo>
                        <a:pt x="1507" y="6068"/>
                      </a:lnTo>
                      <a:lnTo>
                        <a:pt x="1465" y="6006"/>
                      </a:lnTo>
                      <a:lnTo>
                        <a:pt x="1465" y="5922"/>
                      </a:lnTo>
                      <a:lnTo>
                        <a:pt x="1507" y="5964"/>
                      </a:lnTo>
                      <a:lnTo>
                        <a:pt x="1570" y="6068"/>
                      </a:lnTo>
                      <a:lnTo>
                        <a:pt x="1674" y="6110"/>
                      </a:lnTo>
                      <a:lnTo>
                        <a:pt x="1821" y="6110"/>
                      </a:lnTo>
                      <a:lnTo>
                        <a:pt x="1842" y="6068"/>
                      </a:lnTo>
                      <a:lnTo>
                        <a:pt x="1925" y="6027"/>
                      </a:lnTo>
                      <a:lnTo>
                        <a:pt x="1988" y="5901"/>
                      </a:lnTo>
                      <a:lnTo>
                        <a:pt x="1988" y="5775"/>
                      </a:lnTo>
                      <a:lnTo>
                        <a:pt x="2051" y="5650"/>
                      </a:lnTo>
                      <a:lnTo>
                        <a:pt x="2093" y="5545"/>
                      </a:lnTo>
                      <a:lnTo>
                        <a:pt x="2009" y="5462"/>
                      </a:lnTo>
                      <a:lnTo>
                        <a:pt x="1946" y="5336"/>
                      </a:lnTo>
                      <a:lnTo>
                        <a:pt x="1842" y="5294"/>
                      </a:lnTo>
                      <a:lnTo>
                        <a:pt x="1779" y="5294"/>
                      </a:lnTo>
                      <a:lnTo>
                        <a:pt x="1716" y="5252"/>
                      </a:lnTo>
                      <a:lnTo>
                        <a:pt x="1800" y="5231"/>
                      </a:lnTo>
                      <a:lnTo>
                        <a:pt x="1884" y="5252"/>
                      </a:lnTo>
                      <a:lnTo>
                        <a:pt x="1946" y="5231"/>
                      </a:lnTo>
                      <a:lnTo>
                        <a:pt x="2009" y="5294"/>
                      </a:lnTo>
                      <a:lnTo>
                        <a:pt x="2009" y="5378"/>
                      </a:lnTo>
                      <a:lnTo>
                        <a:pt x="2051" y="5399"/>
                      </a:lnTo>
                      <a:lnTo>
                        <a:pt x="2114" y="5336"/>
                      </a:lnTo>
                      <a:lnTo>
                        <a:pt x="2051" y="5148"/>
                      </a:lnTo>
                      <a:lnTo>
                        <a:pt x="1925" y="4980"/>
                      </a:lnTo>
                      <a:lnTo>
                        <a:pt x="1821" y="4834"/>
                      </a:lnTo>
                      <a:lnTo>
                        <a:pt x="1842" y="4771"/>
                      </a:lnTo>
                      <a:lnTo>
                        <a:pt x="1925" y="4855"/>
                      </a:lnTo>
                      <a:lnTo>
                        <a:pt x="1946" y="4938"/>
                      </a:lnTo>
                      <a:lnTo>
                        <a:pt x="2051" y="4980"/>
                      </a:lnTo>
                      <a:lnTo>
                        <a:pt x="2156" y="5022"/>
                      </a:lnTo>
                      <a:lnTo>
                        <a:pt x="2197" y="4938"/>
                      </a:lnTo>
                      <a:lnTo>
                        <a:pt x="2197" y="4855"/>
                      </a:lnTo>
                      <a:lnTo>
                        <a:pt x="2135" y="4813"/>
                      </a:lnTo>
                      <a:lnTo>
                        <a:pt x="2135" y="4729"/>
                      </a:lnTo>
                      <a:lnTo>
                        <a:pt x="2218" y="4625"/>
                      </a:lnTo>
                      <a:lnTo>
                        <a:pt x="2218" y="4520"/>
                      </a:lnTo>
                      <a:lnTo>
                        <a:pt x="2135" y="4415"/>
                      </a:lnTo>
                      <a:lnTo>
                        <a:pt x="2009" y="4248"/>
                      </a:lnTo>
                      <a:lnTo>
                        <a:pt x="2093" y="4248"/>
                      </a:lnTo>
                      <a:lnTo>
                        <a:pt x="2197" y="4332"/>
                      </a:lnTo>
                      <a:lnTo>
                        <a:pt x="2260" y="4311"/>
                      </a:lnTo>
                      <a:lnTo>
                        <a:pt x="2323" y="4185"/>
                      </a:lnTo>
                      <a:lnTo>
                        <a:pt x="2302" y="4143"/>
                      </a:lnTo>
                      <a:lnTo>
                        <a:pt x="2218" y="4143"/>
                      </a:lnTo>
                      <a:lnTo>
                        <a:pt x="2218" y="3997"/>
                      </a:lnTo>
                      <a:lnTo>
                        <a:pt x="2302" y="3976"/>
                      </a:lnTo>
                      <a:lnTo>
                        <a:pt x="2407" y="4039"/>
                      </a:lnTo>
                      <a:lnTo>
                        <a:pt x="2553" y="4102"/>
                      </a:lnTo>
                      <a:lnTo>
                        <a:pt x="2616" y="4018"/>
                      </a:lnTo>
                      <a:lnTo>
                        <a:pt x="2532" y="3976"/>
                      </a:lnTo>
                      <a:lnTo>
                        <a:pt x="2532" y="3913"/>
                      </a:lnTo>
                      <a:lnTo>
                        <a:pt x="2616" y="3913"/>
                      </a:lnTo>
                      <a:lnTo>
                        <a:pt x="2679" y="3934"/>
                      </a:lnTo>
                      <a:lnTo>
                        <a:pt x="2762" y="3871"/>
                      </a:lnTo>
                      <a:lnTo>
                        <a:pt x="2762" y="3767"/>
                      </a:lnTo>
                      <a:lnTo>
                        <a:pt x="2741" y="3704"/>
                      </a:lnTo>
                      <a:lnTo>
                        <a:pt x="2762" y="3662"/>
                      </a:lnTo>
                      <a:lnTo>
                        <a:pt x="2930" y="3578"/>
                      </a:lnTo>
                      <a:lnTo>
                        <a:pt x="2951" y="3495"/>
                      </a:lnTo>
                      <a:lnTo>
                        <a:pt x="2846" y="3453"/>
                      </a:lnTo>
                      <a:lnTo>
                        <a:pt x="2783" y="3369"/>
                      </a:lnTo>
                      <a:lnTo>
                        <a:pt x="2846" y="3265"/>
                      </a:lnTo>
                      <a:lnTo>
                        <a:pt x="2888" y="3369"/>
                      </a:lnTo>
                      <a:lnTo>
                        <a:pt x="2972" y="3306"/>
                      </a:lnTo>
                      <a:lnTo>
                        <a:pt x="3139" y="3097"/>
                      </a:lnTo>
                      <a:lnTo>
                        <a:pt x="3181" y="2972"/>
                      </a:lnTo>
                      <a:lnTo>
                        <a:pt x="3265" y="2930"/>
                      </a:lnTo>
                      <a:lnTo>
                        <a:pt x="3285" y="2783"/>
                      </a:lnTo>
                      <a:lnTo>
                        <a:pt x="3453" y="2679"/>
                      </a:lnTo>
                      <a:lnTo>
                        <a:pt x="3516" y="2532"/>
                      </a:lnTo>
                      <a:lnTo>
                        <a:pt x="3599" y="2323"/>
                      </a:lnTo>
                      <a:lnTo>
                        <a:pt x="3683" y="2323"/>
                      </a:lnTo>
                      <a:lnTo>
                        <a:pt x="3892" y="2156"/>
                      </a:lnTo>
                      <a:lnTo>
                        <a:pt x="4122" y="1905"/>
                      </a:lnTo>
                      <a:lnTo>
                        <a:pt x="4311" y="1737"/>
                      </a:lnTo>
                      <a:lnTo>
                        <a:pt x="4394" y="1737"/>
                      </a:lnTo>
                      <a:lnTo>
                        <a:pt x="4541" y="1612"/>
                      </a:lnTo>
                      <a:lnTo>
                        <a:pt x="4729" y="1570"/>
                      </a:lnTo>
                      <a:lnTo>
                        <a:pt x="4834" y="1486"/>
                      </a:lnTo>
                      <a:lnTo>
                        <a:pt x="4980" y="1277"/>
                      </a:lnTo>
                      <a:lnTo>
                        <a:pt x="5064" y="1214"/>
                      </a:lnTo>
                      <a:lnTo>
                        <a:pt x="5127" y="1214"/>
                      </a:lnTo>
                      <a:lnTo>
                        <a:pt x="5190" y="1193"/>
                      </a:lnTo>
                      <a:lnTo>
                        <a:pt x="5190" y="1109"/>
                      </a:lnTo>
                      <a:lnTo>
                        <a:pt x="5169" y="1068"/>
                      </a:lnTo>
                      <a:lnTo>
                        <a:pt x="5231" y="963"/>
                      </a:lnTo>
                      <a:lnTo>
                        <a:pt x="5190" y="858"/>
                      </a:lnTo>
                      <a:lnTo>
                        <a:pt x="5190" y="691"/>
                      </a:lnTo>
                      <a:lnTo>
                        <a:pt x="5169" y="670"/>
                      </a:lnTo>
                      <a:lnTo>
                        <a:pt x="5085" y="670"/>
                      </a:lnTo>
                      <a:lnTo>
                        <a:pt x="5085" y="524"/>
                      </a:lnTo>
                      <a:lnTo>
                        <a:pt x="5148" y="377"/>
                      </a:lnTo>
                      <a:lnTo>
                        <a:pt x="5127" y="335"/>
                      </a:lnTo>
                      <a:lnTo>
                        <a:pt x="5022" y="314"/>
                      </a:lnTo>
                      <a:lnTo>
                        <a:pt x="4959" y="252"/>
                      </a:lnTo>
                      <a:lnTo>
                        <a:pt x="4855" y="231"/>
                      </a:lnTo>
                      <a:lnTo>
                        <a:pt x="4813" y="147"/>
                      </a:lnTo>
                      <a:lnTo>
                        <a:pt x="4813" y="42"/>
                      </a:lnTo>
                      <a:lnTo>
                        <a:pt x="475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 name="Google Shape;5825;p93">
                  <a:extLst>
                    <a:ext uri="{FF2B5EF4-FFF2-40B4-BE49-F238E27FC236}">
                      <a16:creationId xmlns:a16="http://schemas.microsoft.com/office/drawing/2014/main" id="{BB9B181E-C0DD-41E2-A46B-0CA92B0581E6}"/>
                    </a:ext>
                  </a:extLst>
                </p:cNvPr>
                <p:cNvSpPr/>
                <p:nvPr/>
              </p:nvSpPr>
              <p:spPr>
                <a:xfrm>
                  <a:off x="4015475" y="1586100"/>
                  <a:ext cx="1901975" cy="1017450"/>
                </a:xfrm>
                <a:custGeom>
                  <a:avLst/>
                  <a:gdLst/>
                  <a:ahLst/>
                  <a:cxnLst/>
                  <a:rect l="l" t="t" r="r" b="b"/>
                  <a:pathLst>
                    <a:path w="76079" h="40698" extrusionOk="0">
                      <a:moveTo>
                        <a:pt x="27578" y="1"/>
                      </a:moveTo>
                      <a:lnTo>
                        <a:pt x="27431" y="126"/>
                      </a:lnTo>
                      <a:lnTo>
                        <a:pt x="27389" y="231"/>
                      </a:lnTo>
                      <a:lnTo>
                        <a:pt x="27285" y="273"/>
                      </a:lnTo>
                      <a:lnTo>
                        <a:pt x="27368" y="377"/>
                      </a:lnTo>
                      <a:lnTo>
                        <a:pt x="27264" y="482"/>
                      </a:lnTo>
                      <a:lnTo>
                        <a:pt x="27243" y="649"/>
                      </a:lnTo>
                      <a:lnTo>
                        <a:pt x="27285" y="796"/>
                      </a:lnTo>
                      <a:lnTo>
                        <a:pt x="27159" y="921"/>
                      </a:lnTo>
                      <a:lnTo>
                        <a:pt x="27138" y="1444"/>
                      </a:lnTo>
                      <a:lnTo>
                        <a:pt x="27264" y="1570"/>
                      </a:lnTo>
                      <a:lnTo>
                        <a:pt x="27264" y="1695"/>
                      </a:lnTo>
                      <a:lnTo>
                        <a:pt x="27159" y="1695"/>
                      </a:lnTo>
                      <a:lnTo>
                        <a:pt x="27180" y="1842"/>
                      </a:lnTo>
                      <a:lnTo>
                        <a:pt x="27285" y="1967"/>
                      </a:lnTo>
                      <a:lnTo>
                        <a:pt x="27389" y="1967"/>
                      </a:lnTo>
                      <a:lnTo>
                        <a:pt x="27536" y="2156"/>
                      </a:lnTo>
                      <a:lnTo>
                        <a:pt x="27682" y="2177"/>
                      </a:lnTo>
                      <a:lnTo>
                        <a:pt x="27536" y="2281"/>
                      </a:lnTo>
                      <a:lnTo>
                        <a:pt x="27578" y="2407"/>
                      </a:lnTo>
                      <a:lnTo>
                        <a:pt x="27578" y="2491"/>
                      </a:lnTo>
                      <a:lnTo>
                        <a:pt x="27787" y="2511"/>
                      </a:lnTo>
                      <a:lnTo>
                        <a:pt x="27912" y="2470"/>
                      </a:lnTo>
                      <a:lnTo>
                        <a:pt x="28101" y="2532"/>
                      </a:lnTo>
                      <a:lnTo>
                        <a:pt x="28289" y="2532"/>
                      </a:lnTo>
                      <a:lnTo>
                        <a:pt x="28331" y="2616"/>
                      </a:lnTo>
                      <a:lnTo>
                        <a:pt x="28226" y="2700"/>
                      </a:lnTo>
                      <a:lnTo>
                        <a:pt x="28122" y="2679"/>
                      </a:lnTo>
                      <a:lnTo>
                        <a:pt x="28059" y="2700"/>
                      </a:lnTo>
                      <a:lnTo>
                        <a:pt x="27933" y="2616"/>
                      </a:lnTo>
                      <a:lnTo>
                        <a:pt x="27661" y="2721"/>
                      </a:lnTo>
                      <a:lnTo>
                        <a:pt x="27578" y="2679"/>
                      </a:lnTo>
                      <a:lnTo>
                        <a:pt x="27473" y="2721"/>
                      </a:lnTo>
                      <a:lnTo>
                        <a:pt x="27368" y="2700"/>
                      </a:lnTo>
                      <a:lnTo>
                        <a:pt x="27264" y="2700"/>
                      </a:lnTo>
                      <a:lnTo>
                        <a:pt x="27201" y="2783"/>
                      </a:lnTo>
                      <a:lnTo>
                        <a:pt x="26950" y="2783"/>
                      </a:lnTo>
                      <a:lnTo>
                        <a:pt x="26887" y="2888"/>
                      </a:lnTo>
                      <a:lnTo>
                        <a:pt x="26908" y="2930"/>
                      </a:lnTo>
                      <a:lnTo>
                        <a:pt x="27034" y="2951"/>
                      </a:lnTo>
                      <a:lnTo>
                        <a:pt x="27054" y="3055"/>
                      </a:lnTo>
                      <a:lnTo>
                        <a:pt x="27201" y="3035"/>
                      </a:lnTo>
                      <a:lnTo>
                        <a:pt x="27264" y="3097"/>
                      </a:lnTo>
                      <a:lnTo>
                        <a:pt x="27410" y="3014"/>
                      </a:lnTo>
                      <a:lnTo>
                        <a:pt x="27515" y="3160"/>
                      </a:lnTo>
                      <a:lnTo>
                        <a:pt x="27661" y="3265"/>
                      </a:lnTo>
                      <a:lnTo>
                        <a:pt x="27787" y="3516"/>
                      </a:lnTo>
                      <a:lnTo>
                        <a:pt x="27682" y="3746"/>
                      </a:lnTo>
                      <a:lnTo>
                        <a:pt x="27410" y="4018"/>
                      </a:lnTo>
                      <a:lnTo>
                        <a:pt x="27515" y="3746"/>
                      </a:lnTo>
                      <a:lnTo>
                        <a:pt x="27431" y="3662"/>
                      </a:lnTo>
                      <a:lnTo>
                        <a:pt x="27431" y="3495"/>
                      </a:lnTo>
                      <a:lnTo>
                        <a:pt x="27243" y="3453"/>
                      </a:lnTo>
                      <a:lnTo>
                        <a:pt x="27180" y="3432"/>
                      </a:lnTo>
                      <a:lnTo>
                        <a:pt x="27180" y="3348"/>
                      </a:lnTo>
                      <a:lnTo>
                        <a:pt x="27117" y="3327"/>
                      </a:lnTo>
                      <a:lnTo>
                        <a:pt x="27013" y="3411"/>
                      </a:lnTo>
                      <a:lnTo>
                        <a:pt x="26845" y="3411"/>
                      </a:lnTo>
                      <a:lnTo>
                        <a:pt x="26720" y="3537"/>
                      </a:lnTo>
                      <a:lnTo>
                        <a:pt x="26845" y="3599"/>
                      </a:lnTo>
                      <a:lnTo>
                        <a:pt x="26803" y="3662"/>
                      </a:lnTo>
                      <a:lnTo>
                        <a:pt x="26657" y="3662"/>
                      </a:lnTo>
                      <a:lnTo>
                        <a:pt x="26741" y="3767"/>
                      </a:lnTo>
                      <a:lnTo>
                        <a:pt x="26720" y="3851"/>
                      </a:lnTo>
                      <a:lnTo>
                        <a:pt x="26552" y="3976"/>
                      </a:lnTo>
                      <a:lnTo>
                        <a:pt x="26531" y="3851"/>
                      </a:lnTo>
                      <a:lnTo>
                        <a:pt x="26490" y="3851"/>
                      </a:lnTo>
                      <a:lnTo>
                        <a:pt x="26406" y="3913"/>
                      </a:lnTo>
                      <a:lnTo>
                        <a:pt x="26448" y="4039"/>
                      </a:lnTo>
                      <a:lnTo>
                        <a:pt x="26406" y="4164"/>
                      </a:lnTo>
                      <a:lnTo>
                        <a:pt x="26301" y="4164"/>
                      </a:lnTo>
                      <a:lnTo>
                        <a:pt x="26280" y="3976"/>
                      </a:lnTo>
                      <a:lnTo>
                        <a:pt x="26176" y="3871"/>
                      </a:lnTo>
                      <a:lnTo>
                        <a:pt x="26134" y="3934"/>
                      </a:lnTo>
                      <a:lnTo>
                        <a:pt x="26176" y="4039"/>
                      </a:lnTo>
                      <a:lnTo>
                        <a:pt x="26071" y="4227"/>
                      </a:lnTo>
                      <a:lnTo>
                        <a:pt x="26008" y="4374"/>
                      </a:lnTo>
                      <a:lnTo>
                        <a:pt x="25883" y="4290"/>
                      </a:lnTo>
                      <a:lnTo>
                        <a:pt x="25883" y="4227"/>
                      </a:lnTo>
                      <a:lnTo>
                        <a:pt x="26008" y="3955"/>
                      </a:lnTo>
                      <a:lnTo>
                        <a:pt x="25966" y="3851"/>
                      </a:lnTo>
                      <a:lnTo>
                        <a:pt x="25820" y="3830"/>
                      </a:lnTo>
                      <a:lnTo>
                        <a:pt x="25506" y="3934"/>
                      </a:lnTo>
                      <a:lnTo>
                        <a:pt x="25401" y="3871"/>
                      </a:lnTo>
                      <a:lnTo>
                        <a:pt x="25255" y="4018"/>
                      </a:lnTo>
                      <a:lnTo>
                        <a:pt x="25150" y="3976"/>
                      </a:lnTo>
                      <a:lnTo>
                        <a:pt x="25046" y="3934"/>
                      </a:lnTo>
                      <a:lnTo>
                        <a:pt x="24878" y="3955"/>
                      </a:lnTo>
                      <a:lnTo>
                        <a:pt x="25025" y="4081"/>
                      </a:lnTo>
                      <a:lnTo>
                        <a:pt x="24941" y="4164"/>
                      </a:lnTo>
                      <a:lnTo>
                        <a:pt x="24920" y="4143"/>
                      </a:lnTo>
                      <a:lnTo>
                        <a:pt x="24878" y="4081"/>
                      </a:lnTo>
                      <a:lnTo>
                        <a:pt x="24837" y="4060"/>
                      </a:lnTo>
                      <a:lnTo>
                        <a:pt x="24774" y="4164"/>
                      </a:lnTo>
                      <a:lnTo>
                        <a:pt x="24732" y="4227"/>
                      </a:lnTo>
                      <a:lnTo>
                        <a:pt x="24732" y="4478"/>
                      </a:lnTo>
                      <a:lnTo>
                        <a:pt x="24816" y="4562"/>
                      </a:lnTo>
                      <a:lnTo>
                        <a:pt x="24941" y="4436"/>
                      </a:lnTo>
                      <a:lnTo>
                        <a:pt x="25025" y="4478"/>
                      </a:lnTo>
                      <a:lnTo>
                        <a:pt x="25192" y="4353"/>
                      </a:lnTo>
                      <a:lnTo>
                        <a:pt x="25276" y="4374"/>
                      </a:lnTo>
                      <a:lnTo>
                        <a:pt x="25255" y="4478"/>
                      </a:lnTo>
                      <a:lnTo>
                        <a:pt x="24941" y="4604"/>
                      </a:lnTo>
                      <a:lnTo>
                        <a:pt x="24878" y="4750"/>
                      </a:lnTo>
                      <a:lnTo>
                        <a:pt x="24753" y="4813"/>
                      </a:lnTo>
                      <a:lnTo>
                        <a:pt x="24502" y="4855"/>
                      </a:lnTo>
                      <a:lnTo>
                        <a:pt x="24460" y="4918"/>
                      </a:lnTo>
                      <a:lnTo>
                        <a:pt x="24523" y="5001"/>
                      </a:lnTo>
                      <a:lnTo>
                        <a:pt x="24313" y="5064"/>
                      </a:lnTo>
                      <a:lnTo>
                        <a:pt x="24209" y="5001"/>
                      </a:lnTo>
                      <a:lnTo>
                        <a:pt x="24146" y="5022"/>
                      </a:lnTo>
                      <a:lnTo>
                        <a:pt x="24125" y="5127"/>
                      </a:lnTo>
                      <a:lnTo>
                        <a:pt x="24041" y="5169"/>
                      </a:lnTo>
                      <a:lnTo>
                        <a:pt x="23895" y="5211"/>
                      </a:lnTo>
                      <a:lnTo>
                        <a:pt x="23832" y="5294"/>
                      </a:lnTo>
                      <a:lnTo>
                        <a:pt x="23916" y="5399"/>
                      </a:lnTo>
                      <a:lnTo>
                        <a:pt x="23874" y="5399"/>
                      </a:lnTo>
                      <a:lnTo>
                        <a:pt x="23832" y="5504"/>
                      </a:lnTo>
                      <a:lnTo>
                        <a:pt x="23790" y="5524"/>
                      </a:lnTo>
                      <a:lnTo>
                        <a:pt x="23728" y="5441"/>
                      </a:lnTo>
                      <a:lnTo>
                        <a:pt x="23686" y="5441"/>
                      </a:lnTo>
                      <a:lnTo>
                        <a:pt x="23581" y="5608"/>
                      </a:lnTo>
                      <a:lnTo>
                        <a:pt x="23602" y="5650"/>
                      </a:lnTo>
                      <a:lnTo>
                        <a:pt x="23560" y="5713"/>
                      </a:lnTo>
                      <a:lnTo>
                        <a:pt x="23560" y="5817"/>
                      </a:lnTo>
                      <a:lnTo>
                        <a:pt x="23456" y="5943"/>
                      </a:lnTo>
                      <a:lnTo>
                        <a:pt x="23477" y="6048"/>
                      </a:lnTo>
                      <a:lnTo>
                        <a:pt x="23309" y="6110"/>
                      </a:lnTo>
                      <a:lnTo>
                        <a:pt x="23142" y="6110"/>
                      </a:lnTo>
                      <a:lnTo>
                        <a:pt x="23037" y="6173"/>
                      </a:lnTo>
                      <a:lnTo>
                        <a:pt x="23037" y="6278"/>
                      </a:lnTo>
                      <a:lnTo>
                        <a:pt x="23100" y="6278"/>
                      </a:lnTo>
                      <a:lnTo>
                        <a:pt x="23163" y="6215"/>
                      </a:lnTo>
                      <a:lnTo>
                        <a:pt x="23414" y="6257"/>
                      </a:lnTo>
                      <a:lnTo>
                        <a:pt x="23372" y="6340"/>
                      </a:lnTo>
                      <a:lnTo>
                        <a:pt x="23246" y="6320"/>
                      </a:lnTo>
                      <a:lnTo>
                        <a:pt x="23204" y="6361"/>
                      </a:lnTo>
                      <a:lnTo>
                        <a:pt x="23288" y="6445"/>
                      </a:lnTo>
                      <a:lnTo>
                        <a:pt x="23267" y="6675"/>
                      </a:lnTo>
                      <a:lnTo>
                        <a:pt x="23163" y="6759"/>
                      </a:lnTo>
                      <a:lnTo>
                        <a:pt x="23184" y="6843"/>
                      </a:lnTo>
                      <a:lnTo>
                        <a:pt x="23163" y="6947"/>
                      </a:lnTo>
                      <a:lnTo>
                        <a:pt x="23037" y="6759"/>
                      </a:lnTo>
                      <a:lnTo>
                        <a:pt x="22932" y="6780"/>
                      </a:lnTo>
                      <a:lnTo>
                        <a:pt x="22786" y="6633"/>
                      </a:lnTo>
                      <a:lnTo>
                        <a:pt x="22723" y="6592"/>
                      </a:lnTo>
                      <a:lnTo>
                        <a:pt x="22681" y="6654"/>
                      </a:lnTo>
                      <a:lnTo>
                        <a:pt x="22765" y="6738"/>
                      </a:lnTo>
                      <a:lnTo>
                        <a:pt x="22765" y="6843"/>
                      </a:lnTo>
                      <a:lnTo>
                        <a:pt x="22723" y="6905"/>
                      </a:lnTo>
                      <a:lnTo>
                        <a:pt x="22786" y="7010"/>
                      </a:lnTo>
                      <a:lnTo>
                        <a:pt x="22891" y="6968"/>
                      </a:lnTo>
                      <a:lnTo>
                        <a:pt x="23079" y="7010"/>
                      </a:lnTo>
                      <a:lnTo>
                        <a:pt x="23204" y="7052"/>
                      </a:lnTo>
                      <a:lnTo>
                        <a:pt x="23246" y="7156"/>
                      </a:lnTo>
                      <a:lnTo>
                        <a:pt x="23351" y="7219"/>
                      </a:lnTo>
                      <a:lnTo>
                        <a:pt x="23456" y="7198"/>
                      </a:lnTo>
                      <a:lnTo>
                        <a:pt x="23497" y="7177"/>
                      </a:lnTo>
                      <a:lnTo>
                        <a:pt x="23560" y="7261"/>
                      </a:lnTo>
                      <a:lnTo>
                        <a:pt x="23414" y="7303"/>
                      </a:lnTo>
                      <a:lnTo>
                        <a:pt x="23288" y="7303"/>
                      </a:lnTo>
                      <a:lnTo>
                        <a:pt x="23184" y="7198"/>
                      </a:lnTo>
                      <a:lnTo>
                        <a:pt x="23142" y="7219"/>
                      </a:lnTo>
                      <a:lnTo>
                        <a:pt x="23100" y="7303"/>
                      </a:lnTo>
                      <a:lnTo>
                        <a:pt x="23058" y="7366"/>
                      </a:lnTo>
                      <a:lnTo>
                        <a:pt x="23184" y="7512"/>
                      </a:lnTo>
                      <a:lnTo>
                        <a:pt x="23267" y="7470"/>
                      </a:lnTo>
                      <a:lnTo>
                        <a:pt x="23456" y="7470"/>
                      </a:lnTo>
                      <a:lnTo>
                        <a:pt x="23497" y="7617"/>
                      </a:lnTo>
                      <a:lnTo>
                        <a:pt x="23581" y="7680"/>
                      </a:lnTo>
                      <a:lnTo>
                        <a:pt x="23623" y="7596"/>
                      </a:lnTo>
                      <a:lnTo>
                        <a:pt x="23811" y="7596"/>
                      </a:lnTo>
                      <a:lnTo>
                        <a:pt x="23790" y="7701"/>
                      </a:lnTo>
                      <a:lnTo>
                        <a:pt x="23937" y="7805"/>
                      </a:lnTo>
                      <a:lnTo>
                        <a:pt x="24083" y="7805"/>
                      </a:lnTo>
                      <a:lnTo>
                        <a:pt x="24146" y="7952"/>
                      </a:lnTo>
                      <a:lnTo>
                        <a:pt x="24083" y="8161"/>
                      </a:lnTo>
                      <a:lnTo>
                        <a:pt x="23832" y="8307"/>
                      </a:lnTo>
                      <a:lnTo>
                        <a:pt x="23769" y="8433"/>
                      </a:lnTo>
                      <a:lnTo>
                        <a:pt x="23769" y="8517"/>
                      </a:lnTo>
                      <a:lnTo>
                        <a:pt x="23979" y="8726"/>
                      </a:lnTo>
                      <a:lnTo>
                        <a:pt x="24104" y="8768"/>
                      </a:lnTo>
                      <a:lnTo>
                        <a:pt x="23895" y="8768"/>
                      </a:lnTo>
                      <a:lnTo>
                        <a:pt x="23665" y="8579"/>
                      </a:lnTo>
                      <a:lnTo>
                        <a:pt x="23665" y="8454"/>
                      </a:lnTo>
                      <a:lnTo>
                        <a:pt x="23769" y="8224"/>
                      </a:lnTo>
                      <a:lnTo>
                        <a:pt x="23832" y="8161"/>
                      </a:lnTo>
                      <a:lnTo>
                        <a:pt x="23832" y="8098"/>
                      </a:lnTo>
                      <a:lnTo>
                        <a:pt x="23895" y="7952"/>
                      </a:lnTo>
                      <a:lnTo>
                        <a:pt x="23832" y="7910"/>
                      </a:lnTo>
                      <a:lnTo>
                        <a:pt x="23456" y="8098"/>
                      </a:lnTo>
                      <a:lnTo>
                        <a:pt x="23246" y="8161"/>
                      </a:lnTo>
                      <a:lnTo>
                        <a:pt x="23184" y="8307"/>
                      </a:lnTo>
                      <a:lnTo>
                        <a:pt x="23058" y="8349"/>
                      </a:lnTo>
                      <a:lnTo>
                        <a:pt x="22953" y="8307"/>
                      </a:lnTo>
                      <a:lnTo>
                        <a:pt x="22828" y="8328"/>
                      </a:lnTo>
                      <a:lnTo>
                        <a:pt x="22660" y="8454"/>
                      </a:lnTo>
                      <a:lnTo>
                        <a:pt x="22221" y="8621"/>
                      </a:lnTo>
                      <a:lnTo>
                        <a:pt x="21907" y="8684"/>
                      </a:lnTo>
                      <a:lnTo>
                        <a:pt x="21782" y="8684"/>
                      </a:lnTo>
                      <a:lnTo>
                        <a:pt x="21614" y="8851"/>
                      </a:lnTo>
                      <a:lnTo>
                        <a:pt x="21468" y="8851"/>
                      </a:lnTo>
                      <a:lnTo>
                        <a:pt x="21384" y="8935"/>
                      </a:lnTo>
                      <a:lnTo>
                        <a:pt x="21510" y="9040"/>
                      </a:lnTo>
                      <a:lnTo>
                        <a:pt x="21510" y="9165"/>
                      </a:lnTo>
                      <a:lnTo>
                        <a:pt x="21489" y="9291"/>
                      </a:lnTo>
                      <a:lnTo>
                        <a:pt x="21572" y="9374"/>
                      </a:lnTo>
                      <a:lnTo>
                        <a:pt x="21677" y="9374"/>
                      </a:lnTo>
                      <a:lnTo>
                        <a:pt x="21698" y="9458"/>
                      </a:lnTo>
                      <a:lnTo>
                        <a:pt x="21635" y="9521"/>
                      </a:lnTo>
                      <a:lnTo>
                        <a:pt x="21844" y="9667"/>
                      </a:lnTo>
                      <a:lnTo>
                        <a:pt x="22012" y="9918"/>
                      </a:lnTo>
                      <a:lnTo>
                        <a:pt x="22012" y="10128"/>
                      </a:lnTo>
                      <a:lnTo>
                        <a:pt x="22054" y="10232"/>
                      </a:lnTo>
                      <a:lnTo>
                        <a:pt x="22116" y="10232"/>
                      </a:lnTo>
                      <a:lnTo>
                        <a:pt x="22137" y="10400"/>
                      </a:lnTo>
                      <a:lnTo>
                        <a:pt x="22305" y="10504"/>
                      </a:lnTo>
                      <a:lnTo>
                        <a:pt x="22430" y="10462"/>
                      </a:lnTo>
                      <a:lnTo>
                        <a:pt x="22828" y="10504"/>
                      </a:lnTo>
                      <a:lnTo>
                        <a:pt x="22953" y="10421"/>
                      </a:lnTo>
                      <a:lnTo>
                        <a:pt x="22953" y="10504"/>
                      </a:lnTo>
                      <a:lnTo>
                        <a:pt x="22995" y="10609"/>
                      </a:lnTo>
                      <a:lnTo>
                        <a:pt x="22995" y="10755"/>
                      </a:lnTo>
                      <a:lnTo>
                        <a:pt x="23184" y="10839"/>
                      </a:lnTo>
                      <a:lnTo>
                        <a:pt x="23288" y="10986"/>
                      </a:lnTo>
                      <a:lnTo>
                        <a:pt x="23581" y="10986"/>
                      </a:lnTo>
                      <a:lnTo>
                        <a:pt x="23790" y="11132"/>
                      </a:lnTo>
                      <a:lnTo>
                        <a:pt x="23874" y="11132"/>
                      </a:lnTo>
                      <a:lnTo>
                        <a:pt x="23979" y="11258"/>
                      </a:lnTo>
                      <a:lnTo>
                        <a:pt x="24000" y="11550"/>
                      </a:lnTo>
                      <a:lnTo>
                        <a:pt x="24041" y="11676"/>
                      </a:lnTo>
                      <a:lnTo>
                        <a:pt x="24000" y="11864"/>
                      </a:lnTo>
                      <a:lnTo>
                        <a:pt x="24125" y="12011"/>
                      </a:lnTo>
                      <a:lnTo>
                        <a:pt x="24230" y="12094"/>
                      </a:lnTo>
                      <a:lnTo>
                        <a:pt x="24418" y="12346"/>
                      </a:lnTo>
                      <a:lnTo>
                        <a:pt x="24502" y="12618"/>
                      </a:lnTo>
                      <a:lnTo>
                        <a:pt x="24648" y="12743"/>
                      </a:lnTo>
                      <a:lnTo>
                        <a:pt x="24711" y="12869"/>
                      </a:lnTo>
                      <a:lnTo>
                        <a:pt x="24585" y="13141"/>
                      </a:lnTo>
                      <a:lnTo>
                        <a:pt x="24502" y="13162"/>
                      </a:lnTo>
                      <a:lnTo>
                        <a:pt x="24418" y="13141"/>
                      </a:lnTo>
                      <a:lnTo>
                        <a:pt x="24418" y="13141"/>
                      </a:lnTo>
                      <a:lnTo>
                        <a:pt x="24523" y="13287"/>
                      </a:lnTo>
                      <a:lnTo>
                        <a:pt x="24732" y="13329"/>
                      </a:lnTo>
                      <a:lnTo>
                        <a:pt x="24837" y="13392"/>
                      </a:lnTo>
                      <a:lnTo>
                        <a:pt x="25046" y="13643"/>
                      </a:lnTo>
                      <a:lnTo>
                        <a:pt x="25255" y="13706"/>
                      </a:lnTo>
                      <a:lnTo>
                        <a:pt x="25276" y="13685"/>
                      </a:lnTo>
                      <a:lnTo>
                        <a:pt x="25360" y="13706"/>
                      </a:lnTo>
                      <a:lnTo>
                        <a:pt x="25548" y="13559"/>
                      </a:lnTo>
                      <a:lnTo>
                        <a:pt x="25736" y="13517"/>
                      </a:lnTo>
                      <a:lnTo>
                        <a:pt x="25945" y="13685"/>
                      </a:lnTo>
                      <a:lnTo>
                        <a:pt x="26092" y="13747"/>
                      </a:lnTo>
                      <a:lnTo>
                        <a:pt x="26197" y="13747"/>
                      </a:lnTo>
                      <a:lnTo>
                        <a:pt x="26280" y="13894"/>
                      </a:lnTo>
                      <a:lnTo>
                        <a:pt x="26301" y="14124"/>
                      </a:lnTo>
                      <a:lnTo>
                        <a:pt x="26238" y="13915"/>
                      </a:lnTo>
                      <a:lnTo>
                        <a:pt x="26176" y="13810"/>
                      </a:lnTo>
                      <a:lnTo>
                        <a:pt x="25987" y="13810"/>
                      </a:lnTo>
                      <a:lnTo>
                        <a:pt x="25757" y="13643"/>
                      </a:lnTo>
                      <a:lnTo>
                        <a:pt x="25611" y="13643"/>
                      </a:lnTo>
                      <a:lnTo>
                        <a:pt x="25443" y="13810"/>
                      </a:lnTo>
                      <a:lnTo>
                        <a:pt x="25443" y="13978"/>
                      </a:lnTo>
                      <a:lnTo>
                        <a:pt x="25464" y="14061"/>
                      </a:lnTo>
                      <a:lnTo>
                        <a:pt x="25234" y="13810"/>
                      </a:lnTo>
                      <a:lnTo>
                        <a:pt x="24983" y="13810"/>
                      </a:lnTo>
                      <a:lnTo>
                        <a:pt x="24857" y="13706"/>
                      </a:lnTo>
                      <a:lnTo>
                        <a:pt x="24857" y="13580"/>
                      </a:lnTo>
                      <a:lnTo>
                        <a:pt x="24753" y="13434"/>
                      </a:lnTo>
                      <a:lnTo>
                        <a:pt x="24565" y="13371"/>
                      </a:lnTo>
                      <a:lnTo>
                        <a:pt x="24397" y="13371"/>
                      </a:lnTo>
                      <a:lnTo>
                        <a:pt x="24188" y="13245"/>
                      </a:lnTo>
                      <a:lnTo>
                        <a:pt x="24230" y="13182"/>
                      </a:lnTo>
                      <a:lnTo>
                        <a:pt x="24230" y="13057"/>
                      </a:lnTo>
                      <a:lnTo>
                        <a:pt x="24313" y="13015"/>
                      </a:lnTo>
                      <a:lnTo>
                        <a:pt x="24272" y="12910"/>
                      </a:lnTo>
                      <a:lnTo>
                        <a:pt x="24230" y="12638"/>
                      </a:lnTo>
                      <a:lnTo>
                        <a:pt x="24167" y="12429"/>
                      </a:lnTo>
                      <a:lnTo>
                        <a:pt x="24083" y="12387"/>
                      </a:lnTo>
                      <a:lnTo>
                        <a:pt x="24021" y="12555"/>
                      </a:lnTo>
                      <a:lnTo>
                        <a:pt x="23958" y="12597"/>
                      </a:lnTo>
                      <a:lnTo>
                        <a:pt x="23979" y="12743"/>
                      </a:lnTo>
                      <a:lnTo>
                        <a:pt x="23895" y="12827"/>
                      </a:lnTo>
                      <a:lnTo>
                        <a:pt x="23916" y="12910"/>
                      </a:lnTo>
                      <a:lnTo>
                        <a:pt x="23895" y="13036"/>
                      </a:lnTo>
                      <a:lnTo>
                        <a:pt x="23811" y="13036"/>
                      </a:lnTo>
                      <a:lnTo>
                        <a:pt x="23769" y="12659"/>
                      </a:lnTo>
                      <a:lnTo>
                        <a:pt x="23853" y="12555"/>
                      </a:lnTo>
                      <a:lnTo>
                        <a:pt x="23811" y="12429"/>
                      </a:lnTo>
                      <a:lnTo>
                        <a:pt x="23644" y="12283"/>
                      </a:lnTo>
                      <a:lnTo>
                        <a:pt x="23644" y="12094"/>
                      </a:lnTo>
                      <a:lnTo>
                        <a:pt x="23560" y="11969"/>
                      </a:lnTo>
                      <a:lnTo>
                        <a:pt x="23560" y="11802"/>
                      </a:lnTo>
                      <a:lnTo>
                        <a:pt x="23707" y="11697"/>
                      </a:lnTo>
                      <a:lnTo>
                        <a:pt x="23707" y="11613"/>
                      </a:lnTo>
                      <a:lnTo>
                        <a:pt x="23686" y="11509"/>
                      </a:lnTo>
                      <a:lnTo>
                        <a:pt x="23707" y="11299"/>
                      </a:lnTo>
                      <a:lnTo>
                        <a:pt x="23581" y="11278"/>
                      </a:lnTo>
                      <a:lnTo>
                        <a:pt x="23539" y="11299"/>
                      </a:lnTo>
                      <a:lnTo>
                        <a:pt x="23456" y="11216"/>
                      </a:lnTo>
                      <a:lnTo>
                        <a:pt x="23225" y="11383"/>
                      </a:lnTo>
                      <a:lnTo>
                        <a:pt x="22912" y="11425"/>
                      </a:lnTo>
                      <a:lnTo>
                        <a:pt x="22744" y="11425"/>
                      </a:lnTo>
                      <a:lnTo>
                        <a:pt x="22514" y="11195"/>
                      </a:lnTo>
                      <a:lnTo>
                        <a:pt x="22388" y="11111"/>
                      </a:lnTo>
                      <a:lnTo>
                        <a:pt x="22347" y="11006"/>
                      </a:lnTo>
                      <a:lnTo>
                        <a:pt x="22012" y="10965"/>
                      </a:lnTo>
                      <a:lnTo>
                        <a:pt x="21886" y="10860"/>
                      </a:lnTo>
                      <a:lnTo>
                        <a:pt x="21761" y="10693"/>
                      </a:lnTo>
                      <a:lnTo>
                        <a:pt x="21363" y="10693"/>
                      </a:lnTo>
                      <a:lnTo>
                        <a:pt x="21259" y="10651"/>
                      </a:lnTo>
                      <a:lnTo>
                        <a:pt x="21133" y="10734"/>
                      </a:lnTo>
                      <a:lnTo>
                        <a:pt x="20987" y="10944"/>
                      </a:lnTo>
                      <a:lnTo>
                        <a:pt x="20966" y="11069"/>
                      </a:lnTo>
                      <a:lnTo>
                        <a:pt x="20924" y="11111"/>
                      </a:lnTo>
                      <a:lnTo>
                        <a:pt x="20861" y="11090"/>
                      </a:lnTo>
                      <a:lnTo>
                        <a:pt x="20840" y="11174"/>
                      </a:lnTo>
                      <a:lnTo>
                        <a:pt x="20924" y="11258"/>
                      </a:lnTo>
                      <a:lnTo>
                        <a:pt x="21091" y="11132"/>
                      </a:lnTo>
                      <a:lnTo>
                        <a:pt x="21300" y="11174"/>
                      </a:lnTo>
                      <a:lnTo>
                        <a:pt x="21405" y="11383"/>
                      </a:lnTo>
                      <a:lnTo>
                        <a:pt x="21280" y="11613"/>
                      </a:lnTo>
                      <a:lnTo>
                        <a:pt x="21133" y="11655"/>
                      </a:lnTo>
                      <a:lnTo>
                        <a:pt x="20861" y="11550"/>
                      </a:lnTo>
                      <a:lnTo>
                        <a:pt x="20715" y="11362"/>
                      </a:lnTo>
                      <a:lnTo>
                        <a:pt x="20610" y="11362"/>
                      </a:lnTo>
                      <a:lnTo>
                        <a:pt x="20443" y="11467"/>
                      </a:lnTo>
                      <a:lnTo>
                        <a:pt x="20401" y="11550"/>
                      </a:lnTo>
                      <a:lnTo>
                        <a:pt x="20317" y="11571"/>
                      </a:lnTo>
                      <a:lnTo>
                        <a:pt x="20505" y="11822"/>
                      </a:lnTo>
                      <a:lnTo>
                        <a:pt x="20568" y="11822"/>
                      </a:lnTo>
                      <a:lnTo>
                        <a:pt x="20631" y="11969"/>
                      </a:lnTo>
                      <a:lnTo>
                        <a:pt x="20840" y="12136"/>
                      </a:lnTo>
                      <a:lnTo>
                        <a:pt x="21028" y="12136"/>
                      </a:lnTo>
                      <a:lnTo>
                        <a:pt x="21112" y="12220"/>
                      </a:lnTo>
                      <a:lnTo>
                        <a:pt x="21405" y="12241"/>
                      </a:lnTo>
                      <a:lnTo>
                        <a:pt x="21489" y="12178"/>
                      </a:lnTo>
                      <a:lnTo>
                        <a:pt x="21531" y="12178"/>
                      </a:lnTo>
                      <a:lnTo>
                        <a:pt x="21572" y="12283"/>
                      </a:lnTo>
                      <a:lnTo>
                        <a:pt x="21782" y="12283"/>
                      </a:lnTo>
                      <a:lnTo>
                        <a:pt x="21824" y="12429"/>
                      </a:lnTo>
                      <a:lnTo>
                        <a:pt x="21907" y="12450"/>
                      </a:lnTo>
                      <a:lnTo>
                        <a:pt x="21928" y="12555"/>
                      </a:lnTo>
                      <a:lnTo>
                        <a:pt x="22158" y="12597"/>
                      </a:lnTo>
                      <a:lnTo>
                        <a:pt x="22263" y="12513"/>
                      </a:lnTo>
                      <a:lnTo>
                        <a:pt x="22200" y="12618"/>
                      </a:lnTo>
                      <a:lnTo>
                        <a:pt x="21949" y="12659"/>
                      </a:lnTo>
                      <a:lnTo>
                        <a:pt x="21803" y="12576"/>
                      </a:lnTo>
                      <a:lnTo>
                        <a:pt x="21698" y="12555"/>
                      </a:lnTo>
                      <a:lnTo>
                        <a:pt x="21531" y="12366"/>
                      </a:lnTo>
                      <a:lnTo>
                        <a:pt x="21426" y="12346"/>
                      </a:lnTo>
                      <a:lnTo>
                        <a:pt x="21321" y="12408"/>
                      </a:lnTo>
                      <a:lnTo>
                        <a:pt x="21196" y="12408"/>
                      </a:lnTo>
                      <a:lnTo>
                        <a:pt x="21091" y="12534"/>
                      </a:lnTo>
                      <a:lnTo>
                        <a:pt x="21049" y="12429"/>
                      </a:lnTo>
                      <a:lnTo>
                        <a:pt x="20945" y="12346"/>
                      </a:lnTo>
                      <a:lnTo>
                        <a:pt x="20840" y="12408"/>
                      </a:lnTo>
                      <a:lnTo>
                        <a:pt x="20631" y="12408"/>
                      </a:lnTo>
                      <a:lnTo>
                        <a:pt x="20464" y="12304"/>
                      </a:lnTo>
                      <a:lnTo>
                        <a:pt x="20338" y="12325"/>
                      </a:lnTo>
                      <a:lnTo>
                        <a:pt x="20296" y="12220"/>
                      </a:lnTo>
                      <a:lnTo>
                        <a:pt x="20401" y="12136"/>
                      </a:lnTo>
                      <a:lnTo>
                        <a:pt x="20401" y="12053"/>
                      </a:lnTo>
                      <a:lnTo>
                        <a:pt x="20296" y="11990"/>
                      </a:lnTo>
                      <a:lnTo>
                        <a:pt x="20296" y="11885"/>
                      </a:lnTo>
                      <a:lnTo>
                        <a:pt x="20108" y="11718"/>
                      </a:lnTo>
                      <a:lnTo>
                        <a:pt x="20024" y="11592"/>
                      </a:lnTo>
                      <a:lnTo>
                        <a:pt x="20087" y="11425"/>
                      </a:lnTo>
                      <a:lnTo>
                        <a:pt x="19982" y="11278"/>
                      </a:lnTo>
                      <a:lnTo>
                        <a:pt x="19982" y="11006"/>
                      </a:lnTo>
                      <a:lnTo>
                        <a:pt x="19836" y="10881"/>
                      </a:lnTo>
                      <a:lnTo>
                        <a:pt x="19836" y="10693"/>
                      </a:lnTo>
                      <a:lnTo>
                        <a:pt x="19794" y="10651"/>
                      </a:lnTo>
                      <a:lnTo>
                        <a:pt x="19710" y="10630"/>
                      </a:lnTo>
                      <a:lnTo>
                        <a:pt x="19689" y="10462"/>
                      </a:lnTo>
                      <a:lnTo>
                        <a:pt x="19522" y="10337"/>
                      </a:lnTo>
                      <a:lnTo>
                        <a:pt x="19459" y="10379"/>
                      </a:lnTo>
                      <a:lnTo>
                        <a:pt x="19689" y="10860"/>
                      </a:lnTo>
                      <a:lnTo>
                        <a:pt x="19752" y="11174"/>
                      </a:lnTo>
                      <a:lnTo>
                        <a:pt x="19710" y="11425"/>
                      </a:lnTo>
                      <a:lnTo>
                        <a:pt x="19522" y="11676"/>
                      </a:lnTo>
                      <a:lnTo>
                        <a:pt x="19396" y="11802"/>
                      </a:lnTo>
                      <a:lnTo>
                        <a:pt x="19396" y="11885"/>
                      </a:lnTo>
                      <a:lnTo>
                        <a:pt x="19480" y="11948"/>
                      </a:lnTo>
                      <a:lnTo>
                        <a:pt x="19501" y="12136"/>
                      </a:lnTo>
                      <a:lnTo>
                        <a:pt x="19417" y="12346"/>
                      </a:lnTo>
                      <a:lnTo>
                        <a:pt x="19417" y="12471"/>
                      </a:lnTo>
                      <a:lnTo>
                        <a:pt x="19627" y="12618"/>
                      </a:lnTo>
                      <a:lnTo>
                        <a:pt x="19899" y="12848"/>
                      </a:lnTo>
                      <a:lnTo>
                        <a:pt x="19940" y="12994"/>
                      </a:lnTo>
                      <a:lnTo>
                        <a:pt x="20108" y="12994"/>
                      </a:lnTo>
                      <a:lnTo>
                        <a:pt x="20233" y="13141"/>
                      </a:lnTo>
                      <a:lnTo>
                        <a:pt x="20338" y="13371"/>
                      </a:lnTo>
                      <a:lnTo>
                        <a:pt x="20317" y="13727"/>
                      </a:lnTo>
                      <a:lnTo>
                        <a:pt x="20275" y="13894"/>
                      </a:lnTo>
                      <a:lnTo>
                        <a:pt x="20422" y="14103"/>
                      </a:lnTo>
                      <a:lnTo>
                        <a:pt x="20380" y="14354"/>
                      </a:lnTo>
                      <a:lnTo>
                        <a:pt x="20464" y="14501"/>
                      </a:lnTo>
                      <a:lnTo>
                        <a:pt x="20673" y="14731"/>
                      </a:lnTo>
                      <a:lnTo>
                        <a:pt x="20715" y="14856"/>
                      </a:lnTo>
                      <a:lnTo>
                        <a:pt x="20673" y="15024"/>
                      </a:lnTo>
                      <a:lnTo>
                        <a:pt x="20736" y="15087"/>
                      </a:lnTo>
                      <a:lnTo>
                        <a:pt x="20882" y="15149"/>
                      </a:lnTo>
                      <a:lnTo>
                        <a:pt x="21070" y="15045"/>
                      </a:lnTo>
                      <a:lnTo>
                        <a:pt x="21280" y="15087"/>
                      </a:lnTo>
                      <a:lnTo>
                        <a:pt x="21363" y="15045"/>
                      </a:lnTo>
                      <a:lnTo>
                        <a:pt x="21384" y="14877"/>
                      </a:lnTo>
                      <a:lnTo>
                        <a:pt x="21510" y="14752"/>
                      </a:lnTo>
                      <a:lnTo>
                        <a:pt x="21677" y="14815"/>
                      </a:lnTo>
                      <a:lnTo>
                        <a:pt x="21782" y="14773"/>
                      </a:lnTo>
                      <a:lnTo>
                        <a:pt x="21991" y="14919"/>
                      </a:lnTo>
                      <a:lnTo>
                        <a:pt x="22116" y="14856"/>
                      </a:lnTo>
                      <a:lnTo>
                        <a:pt x="22200" y="14982"/>
                      </a:lnTo>
                      <a:lnTo>
                        <a:pt x="22451" y="15087"/>
                      </a:lnTo>
                      <a:lnTo>
                        <a:pt x="22640" y="15087"/>
                      </a:lnTo>
                      <a:lnTo>
                        <a:pt x="22765" y="15275"/>
                      </a:lnTo>
                      <a:lnTo>
                        <a:pt x="22765" y="15379"/>
                      </a:lnTo>
                      <a:lnTo>
                        <a:pt x="22953" y="15484"/>
                      </a:lnTo>
                      <a:lnTo>
                        <a:pt x="23016" y="15589"/>
                      </a:lnTo>
                      <a:lnTo>
                        <a:pt x="23037" y="15610"/>
                      </a:lnTo>
                      <a:lnTo>
                        <a:pt x="23058" y="15693"/>
                      </a:lnTo>
                      <a:lnTo>
                        <a:pt x="23142" y="15777"/>
                      </a:lnTo>
                      <a:lnTo>
                        <a:pt x="23058" y="15861"/>
                      </a:lnTo>
                      <a:lnTo>
                        <a:pt x="22953" y="15882"/>
                      </a:lnTo>
                      <a:lnTo>
                        <a:pt x="22953" y="16070"/>
                      </a:lnTo>
                      <a:lnTo>
                        <a:pt x="23037" y="16216"/>
                      </a:lnTo>
                      <a:lnTo>
                        <a:pt x="23121" y="16279"/>
                      </a:lnTo>
                      <a:lnTo>
                        <a:pt x="23079" y="16384"/>
                      </a:lnTo>
                      <a:lnTo>
                        <a:pt x="23163" y="16488"/>
                      </a:lnTo>
                      <a:lnTo>
                        <a:pt x="23288" y="16488"/>
                      </a:lnTo>
                      <a:lnTo>
                        <a:pt x="23372" y="16593"/>
                      </a:lnTo>
                      <a:lnTo>
                        <a:pt x="23518" y="16593"/>
                      </a:lnTo>
                      <a:lnTo>
                        <a:pt x="23602" y="16426"/>
                      </a:lnTo>
                      <a:lnTo>
                        <a:pt x="23665" y="16509"/>
                      </a:lnTo>
                      <a:lnTo>
                        <a:pt x="23769" y="16488"/>
                      </a:lnTo>
                      <a:lnTo>
                        <a:pt x="23832" y="16509"/>
                      </a:lnTo>
                      <a:lnTo>
                        <a:pt x="23790" y="16530"/>
                      </a:lnTo>
                      <a:lnTo>
                        <a:pt x="23728" y="16593"/>
                      </a:lnTo>
                      <a:lnTo>
                        <a:pt x="23560" y="16614"/>
                      </a:lnTo>
                      <a:lnTo>
                        <a:pt x="23456" y="16635"/>
                      </a:lnTo>
                      <a:lnTo>
                        <a:pt x="23288" y="16656"/>
                      </a:lnTo>
                      <a:lnTo>
                        <a:pt x="23142" y="16551"/>
                      </a:lnTo>
                      <a:lnTo>
                        <a:pt x="22995" y="16551"/>
                      </a:lnTo>
                      <a:lnTo>
                        <a:pt x="22932" y="16426"/>
                      </a:lnTo>
                      <a:lnTo>
                        <a:pt x="22974" y="16384"/>
                      </a:lnTo>
                      <a:lnTo>
                        <a:pt x="22953" y="16237"/>
                      </a:lnTo>
                      <a:lnTo>
                        <a:pt x="22849" y="16112"/>
                      </a:lnTo>
                      <a:lnTo>
                        <a:pt x="22828" y="15986"/>
                      </a:lnTo>
                      <a:lnTo>
                        <a:pt x="22723" y="15923"/>
                      </a:lnTo>
                      <a:lnTo>
                        <a:pt x="22744" y="15798"/>
                      </a:lnTo>
                      <a:lnTo>
                        <a:pt x="22619" y="15610"/>
                      </a:lnTo>
                      <a:lnTo>
                        <a:pt x="22556" y="15610"/>
                      </a:lnTo>
                      <a:lnTo>
                        <a:pt x="22430" y="15526"/>
                      </a:lnTo>
                      <a:lnTo>
                        <a:pt x="22242" y="15421"/>
                      </a:lnTo>
                      <a:lnTo>
                        <a:pt x="22242" y="15254"/>
                      </a:lnTo>
                      <a:lnTo>
                        <a:pt x="22054" y="15066"/>
                      </a:lnTo>
                      <a:lnTo>
                        <a:pt x="21907" y="15066"/>
                      </a:lnTo>
                      <a:lnTo>
                        <a:pt x="21677" y="15317"/>
                      </a:lnTo>
                      <a:lnTo>
                        <a:pt x="21510" y="15338"/>
                      </a:lnTo>
                      <a:lnTo>
                        <a:pt x="21405" y="15463"/>
                      </a:lnTo>
                      <a:lnTo>
                        <a:pt x="21217" y="15589"/>
                      </a:lnTo>
                      <a:lnTo>
                        <a:pt x="21259" y="15944"/>
                      </a:lnTo>
                      <a:lnTo>
                        <a:pt x="21321" y="16049"/>
                      </a:lnTo>
                      <a:lnTo>
                        <a:pt x="21572" y="16175"/>
                      </a:lnTo>
                      <a:lnTo>
                        <a:pt x="21761" y="16593"/>
                      </a:lnTo>
                      <a:lnTo>
                        <a:pt x="21719" y="16698"/>
                      </a:lnTo>
                      <a:lnTo>
                        <a:pt x="21531" y="17012"/>
                      </a:lnTo>
                      <a:lnTo>
                        <a:pt x="21510" y="17179"/>
                      </a:lnTo>
                      <a:lnTo>
                        <a:pt x="21614" y="17367"/>
                      </a:lnTo>
                      <a:lnTo>
                        <a:pt x="21510" y="17639"/>
                      </a:lnTo>
                      <a:lnTo>
                        <a:pt x="21510" y="17744"/>
                      </a:lnTo>
                      <a:lnTo>
                        <a:pt x="21363" y="17890"/>
                      </a:lnTo>
                      <a:lnTo>
                        <a:pt x="21363" y="17974"/>
                      </a:lnTo>
                      <a:lnTo>
                        <a:pt x="21259" y="18016"/>
                      </a:lnTo>
                      <a:lnTo>
                        <a:pt x="21175" y="18120"/>
                      </a:lnTo>
                      <a:lnTo>
                        <a:pt x="21175" y="18267"/>
                      </a:lnTo>
                      <a:lnTo>
                        <a:pt x="21259" y="18330"/>
                      </a:lnTo>
                      <a:lnTo>
                        <a:pt x="21259" y="18434"/>
                      </a:lnTo>
                      <a:lnTo>
                        <a:pt x="21070" y="18539"/>
                      </a:lnTo>
                      <a:lnTo>
                        <a:pt x="20840" y="18497"/>
                      </a:lnTo>
                      <a:lnTo>
                        <a:pt x="20798" y="18434"/>
                      </a:lnTo>
                      <a:lnTo>
                        <a:pt x="20589" y="18434"/>
                      </a:lnTo>
                      <a:lnTo>
                        <a:pt x="20380" y="18476"/>
                      </a:lnTo>
                      <a:lnTo>
                        <a:pt x="20212" y="18413"/>
                      </a:lnTo>
                      <a:lnTo>
                        <a:pt x="19794" y="18330"/>
                      </a:lnTo>
                      <a:lnTo>
                        <a:pt x="19627" y="18183"/>
                      </a:lnTo>
                      <a:lnTo>
                        <a:pt x="19585" y="18079"/>
                      </a:lnTo>
                      <a:lnTo>
                        <a:pt x="19396" y="18100"/>
                      </a:lnTo>
                      <a:lnTo>
                        <a:pt x="19334" y="18204"/>
                      </a:lnTo>
                      <a:lnTo>
                        <a:pt x="19313" y="18162"/>
                      </a:lnTo>
                      <a:lnTo>
                        <a:pt x="19229" y="18120"/>
                      </a:lnTo>
                      <a:lnTo>
                        <a:pt x="19313" y="17974"/>
                      </a:lnTo>
                      <a:lnTo>
                        <a:pt x="19480" y="17953"/>
                      </a:lnTo>
                      <a:lnTo>
                        <a:pt x="19794" y="17890"/>
                      </a:lnTo>
                      <a:lnTo>
                        <a:pt x="19836" y="17807"/>
                      </a:lnTo>
                      <a:lnTo>
                        <a:pt x="20108" y="17974"/>
                      </a:lnTo>
                      <a:lnTo>
                        <a:pt x="20171" y="17974"/>
                      </a:lnTo>
                      <a:lnTo>
                        <a:pt x="20212" y="17890"/>
                      </a:lnTo>
                      <a:lnTo>
                        <a:pt x="20338" y="17890"/>
                      </a:lnTo>
                      <a:lnTo>
                        <a:pt x="20338" y="17974"/>
                      </a:lnTo>
                      <a:lnTo>
                        <a:pt x="20150" y="18079"/>
                      </a:lnTo>
                      <a:lnTo>
                        <a:pt x="20254" y="18183"/>
                      </a:lnTo>
                      <a:lnTo>
                        <a:pt x="20464" y="18162"/>
                      </a:lnTo>
                      <a:lnTo>
                        <a:pt x="20547" y="18058"/>
                      </a:lnTo>
                      <a:lnTo>
                        <a:pt x="20673" y="17995"/>
                      </a:lnTo>
                      <a:lnTo>
                        <a:pt x="20673" y="17911"/>
                      </a:lnTo>
                      <a:lnTo>
                        <a:pt x="20568" y="17786"/>
                      </a:lnTo>
                      <a:lnTo>
                        <a:pt x="20568" y="17702"/>
                      </a:lnTo>
                      <a:lnTo>
                        <a:pt x="20694" y="17786"/>
                      </a:lnTo>
                      <a:lnTo>
                        <a:pt x="20756" y="17702"/>
                      </a:lnTo>
                      <a:lnTo>
                        <a:pt x="20756" y="17472"/>
                      </a:lnTo>
                      <a:lnTo>
                        <a:pt x="20882" y="17388"/>
                      </a:lnTo>
                      <a:lnTo>
                        <a:pt x="20861" y="17325"/>
                      </a:lnTo>
                      <a:lnTo>
                        <a:pt x="20777" y="17346"/>
                      </a:lnTo>
                      <a:lnTo>
                        <a:pt x="20756" y="17284"/>
                      </a:lnTo>
                      <a:lnTo>
                        <a:pt x="20882" y="17242"/>
                      </a:lnTo>
                      <a:lnTo>
                        <a:pt x="20882" y="17012"/>
                      </a:lnTo>
                      <a:lnTo>
                        <a:pt x="20840" y="16928"/>
                      </a:lnTo>
                      <a:lnTo>
                        <a:pt x="20903" y="16823"/>
                      </a:lnTo>
                      <a:lnTo>
                        <a:pt x="20903" y="16760"/>
                      </a:lnTo>
                      <a:lnTo>
                        <a:pt x="21008" y="16698"/>
                      </a:lnTo>
                      <a:lnTo>
                        <a:pt x="20987" y="16509"/>
                      </a:lnTo>
                      <a:lnTo>
                        <a:pt x="20861" y="16384"/>
                      </a:lnTo>
                      <a:lnTo>
                        <a:pt x="20777" y="16175"/>
                      </a:lnTo>
                      <a:lnTo>
                        <a:pt x="20798" y="16007"/>
                      </a:lnTo>
                      <a:lnTo>
                        <a:pt x="20798" y="15882"/>
                      </a:lnTo>
                      <a:lnTo>
                        <a:pt x="20861" y="15903"/>
                      </a:lnTo>
                      <a:lnTo>
                        <a:pt x="20861" y="15819"/>
                      </a:lnTo>
                      <a:lnTo>
                        <a:pt x="20673" y="15651"/>
                      </a:lnTo>
                      <a:lnTo>
                        <a:pt x="20589" y="15610"/>
                      </a:lnTo>
                      <a:lnTo>
                        <a:pt x="20526" y="15505"/>
                      </a:lnTo>
                      <a:lnTo>
                        <a:pt x="20338" y="15463"/>
                      </a:lnTo>
                      <a:lnTo>
                        <a:pt x="20108" y="15170"/>
                      </a:lnTo>
                      <a:lnTo>
                        <a:pt x="20045" y="14940"/>
                      </a:lnTo>
                      <a:lnTo>
                        <a:pt x="20003" y="14877"/>
                      </a:lnTo>
                      <a:lnTo>
                        <a:pt x="20045" y="14794"/>
                      </a:lnTo>
                      <a:lnTo>
                        <a:pt x="19919" y="14710"/>
                      </a:lnTo>
                      <a:lnTo>
                        <a:pt x="19836" y="14563"/>
                      </a:lnTo>
                      <a:lnTo>
                        <a:pt x="19899" y="14417"/>
                      </a:lnTo>
                      <a:lnTo>
                        <a:pt x="19710" y="14145"/>
                      </a:lnTo>
                      <a:lnTo>
                        <a:pt x="19710" y="13978"/>
                      </a:lnTo>
                      <a:lnTo>
                        <a:pt x="19585" y="13831"/>
                      </a:lnTo>
                      <a:lnTo>
                        <a:pt x="19606" y="13768"/>
                      </a:lnTo>
                      <a:lnTo>
                        <a:pt x="19606" y="13685"/>
                      </a:lnTo>
                      <a:lnTo>
                        <a:pt x="19501" y="13580"/>
                      </a:lnTo>
                      <a:lnTo>
                        <a:pt x="19438" y="13224"/>
                      </a:lnTo>
                      <a:lnTo>
                        <a:pt x="19375" y="13078"/>
                      </a:lnTo>
                      <a:lnTo>
                        <a:pt x="19229" y="12973"/>
                      </a:lnTo>
                      <a:lnTo>
                        <a:pt x="19292" y="12910"/>
                      </a:lnTo>
                      <a:lnTo>
                        <a:pt x="19250" y="12848"/>
                      </a:lnTo>
                      <a:lnTo>
                        <a:pt x="19166" y="12869"/>
                      </a:lnTo>
                      <a:lnTo>
                        <a:pt x="19166" y="12848"/>
                      </a:lnTo>
                      <a:lnTo>
                        <a:pt x="19041" y="12806"/>
                      </a:lnTo>
                      <a:lnTo>
                        <a:pt x="18957" y="12638"/>
                      </a:lnTo>
                      <a:lnTo>
                        <a:pt x="18831" y="12534"/>
                      </a:lnTo>
                      <a:lnTo>
                        <a:pt x="18769" y="12408"/>
                      </a:lnTo>
                      <a:lnTo>
                        <a:pt x="18852" y="12387"/>
                      </a:lnTo>
                      <a:lnTo>
                        <a:pt x="18873" y="12283"/>
                      </a:lnTo>
                      <a:lnTo>
                        <a:pt x="18831" y="12178"/>
                      </a:lnTo>
                      <a:lnTo>
                        <a:pt x="18852" y="12094"/>
                      </a:lnTo>
                      <a:lnTo>
                        <a:pt x="18790" y="11990"/>
                      </a:lnTo>
                      <a:lnTo>
                        <a:pt x="18852" y="11676"/>
                      </a:lnTo>
                      <a:lnTo>
                        <a:pt x="18769" y="11488"/>
                      </a:lnTo>
                      <a:lnTo>
                        <a:pt x="18769" y="11278"/>
                      </a:lnTo>
                      <a:lnTo>
                        <a:pt x="18727" y="11195"/>
                      </a:lnTo>
                      <a:lnTo>
                        <a:pt x="18727" y="11069"/>
                      </a:lnTo>
                      <a:lnTo>
                        <a:pt x="18643" y="10944"/>
                      </a:lnTo>
                      <a:lnTo>
                        <a:pt x="18748" y="10881"/>
                      </a:lnTo>
                      <a:lnTo>
                        <a:pt x="18685" y="10776"/>
                      </a:lnTo>
                      <a:lnTo>
                        <a:pt x="18559" y="10755"/>
                      </a:lnTo>
                      <a:lnTo>
                        <a:pt x="18413" y="10755"/>
                      </a:lnTo>
                      <a:lnTo>
                        <a:pt x="18057" y="10630"/>
                      </a:lnTo>
                      <a:lnTo>
                        <a:pt x="17932" y="10630"/>
                      </a:lnTo>
                      <a:lnTo>
                        <a:pt x="17890" y="10672"/>
                      </a:lnTo>
                      <a:lnTo>
                        <a:pt x="17785" y="10630"/>
                      </a:lnTo>
                      <a:lnTo>
                        <a:pt x="17681" y="10630"/>
                      </a:lnTo>
                      <a:lnTo>
                        <a:pt x="17534" y="10714"/>
                      </a:lnTo>
                      <a:lnTo>
                        <a:pt x="17388" y="10714"/>
                      </a:lnTo>
                      <a:lnTo>
                        <a:pt x="17262" y="10755"/>
                      </a:lnTo>
                      <a:lnTo>
                        <a:pt x="17220" y="10714"/>
                      </a:lnTo>
                      <a:lnTo>
                        <a:pt x="17262" y="10651"/>
                      </a:lnTo>
                      <a:lnTo>
                        <a:pt x="17158" y="10609"/>
                      </a:lnTo>
                      <a:lnTo>
                        <a:pt x="17053" y="10630"/>
                      </a:lnTo>
                      <a:lnTo>
                        <a:pt x="17074" y="10860"/>
                      </a:lnTo>
                      <a:lnTo>
                        <a:pt x="17053" y="11069"/>
                      </a:lnTo>
                      <a:lnTo>
                        <a:pt x="17158" y="11195"/>
                      </a:lnTo>
                      <a:lnTo>
                        <a:pt x="17116" y="11258"/>
                      </a:lnTo>
                      <a:lnTo>
                        <a:pt x="17074" y="11467"/>
                      </a:lnTo>
                      <a:lnTo>
                        <a:pt x="17158" y="11550"/>
                      </a:lnTo>
                      <a:lnTo>
                        <a:pt x="17158" y="11676"/>
                      </a:lnTo>
                      <a:lnTo>
                        <a:pt x="17199" y="11760"/>
                      </a:lnTo>
                      <a:lnTo>
                        <a:pt x="17158" y="11822"/>
                      </a:lnTo>
                      <a:lnTo>
                        <a:pt x="17158" y="12011"/>
                      </a:lnTo>
                      <a:lnTo>
                        <a:pt x="17220" y="12136"/>
                      </a:lnTo>
                      <a:lnTo>
                        <a:pt x="17158" y="12304"/>
                      </a:lnTo>
                      <a:lnTo>
                        <a:pt x="17158" y="12408"/>
                      </a:lnTo>
                      <a:lnTo>
                        <a:pt x="17199" y="12534"/>
                      </a:lnTo>
                      <a:lnTo>
                        <a:pt x="17178" y="12618"/>
                      </a:lnTo>
                      <a:lnTo>
                        <a:pt x="17053" y="12701"/>
                      </a:lnTo>
                      <a:lnTo>
                        <a:pt x="16844" y="13015"/>
                      </a:lnTo>
                      <a:lnTo>
                        <a:pt x="16760" y="13057"/>
                      </a:lnTo>
                      <a:lnTo>
                        <a:pt x="16781" y="13162"/>
                      </a:lnTo>
                      <a:lnTo>
                        <a:pt x="16865" y="13266"/>
                      </a:lnTo>
                      <a:lnTo>
                        <a:pt x="16802" y="13371"/>
                      </a:lnTo>
                      <a:lnTo>
                        <a:pt x="16781" y="13559"/>
                      </a:lnTo>
                      <a:lnTo>
                        <a:pt x="16906" y="13685"/>
                      </a:lnTo>
                      <a:lnTo>
                        <a:pt x="16990" y="13643"/>
                      </a:lnTo>
                      <a:lnTo>
                        <a:pt x="17074" y="13706"/>
                      </a:lnTo>
                      <a:lnTo>
                        <a:pt x="17158" y="13915"/>
                      </a:lnTo>
                      <a:lnTo>
                        <a:pt x="17283" y="13915"/>
                      </a:lnTo>
                      <a:lnTo>
                        <a:pt x="17388" y="14019"/>
                      </a:lnTo>
                      <a:lnTo>
                        <a:pt x="17304" y="13999"/>
                      </a:lnTo>
                      <a:lnTo>
                        <a:pt x="17220" y="14103"/>
                      </a:lnTo>
                      <a:lnTo>
                        <a:pt x="17220" y="14271"/>
                      </a:lnTo>
                      <a:lnTo>
                        <a:pt x="17409" y="14396"/>
                      </a:lnTo>
                      <a:lnTo>
                        <a:pt x="17409" y="14522"/>
                      </a:lnTo>
                      <a:lnTo>
                        <a:pt x="17325" y="14605"/>
                      </a:lnTo>
                      <a:lnTo>
                        <a:pt x="17262" y="14543"/>
                      </a:lnTo>
                      <a:lnTo>
                        <a:pt x="17262" y="14626"/>
                      </a:lnTo>
                      <a:lnTo>
                        <a:pt x="17367" y="14898"/>
                      </a:lnTo>
                      <a:lnTo>
                        <a:pt x="17430" y="14961"/>
                      </a:lnTo>
                      <a:lnTo>
                        <a:pt x="17492" y="15149"/>
                      </a:lnTo>
                      <a:lnTo>
                        <a:pt x="17534" y="15066"/>
                      </a:lnTo>
                      <a:lnTo>
                        <a:pt x="17639" y="15149"/>
                      </a:lnTo>
                      <a:lnTo>
                        <a:pt x="17764" y="15149"/>
                      </a:lnTo>
                      <a:lnTo>
                        <a:pt x="17911" y="15233"/>
                      </a:lnTo>
                      <a:lnTo>
                        <a:pt x="18015" y="15066"/>
                      </a:lnTo>
                      <a:lnTo>
                        <a:pt x="18057" y="15128"/>
                      </a:lnTo>
                      <a:lnTo>
                        <a:pt x="18057" y="15338"/>
                      </a:lnTo>
                      <a:lnTo>
                        <a:pt x="18141" y="15442"/>
                      </a:lnTo>
                      <a:lnTo>
                        <a:pt x="18183" y="15463"/>
                      </a:lnTo>
                      <a:lnTo>
                        <a:pt x="18434" y="15756"/>
                      </a:lnTo>
                      <a:lnTo>
                        <a:pt x="18559" y="15777"/>
                      </a:lnTo>
                      <a:lnTo>
                        <a:pt x="18643" y="15735"/>
                      </a:lnTo>
                      <a:lnTo>
                        <a:pt x="18748" y="15735"/>
                      </a:lnTo>
                      <a:lnTo>
                        <a:pt x="18769" y="15777"/>
                      </a:lnTo>
                      <a:lnTo>
                        <a:pt x="18873" y="15777"/>
                      </a:lnTo>
                      <a:lnTo>
                        <a:pt x="18769" y="15861"/>
                      </a:lnTo>
                      <a:lnTo>
                        <a:pt x="18769" y="16175"/>
                      </a:lnTo>
                      <a:lnTo>
                        <a:pt x="18748" y="16258"/>
                      </a:lnTo>
                      <a:lnTo>
                        <a:pt x="18811" y="16384"/>
                      </a:lnTo>
                      <a:lnTo>
                        <a:pt x="18790" y="16426"/>
                      </a:lnTo>
                      <a:lnTo>
                        <a:pt x="18706" y="16426"/>
                      </a:lnTo>
                      <a:lnTo>
                        <a:pt x="18748" y="16593"/>
                      </a:lnTo>
                      <a:lnTo>
                        <a:pt x="18748" y="16677"/>
                      </a:lnTo>
                      <a:lnTo>
                        <a:pt x="18601" y="16635"/>
                      </a:lnTo>
                      <a:lnTo>
                        <a:pt x="18476" y="16384"/>
                      </a:lnTo>
                      <a:lnTo>
                        <a:pt x="18329" y="16258"/>
                      </a:lnTo>
                      <a:lnTo>
                        <a:pt x="18141" y="16216"/>
                      </a:lnTo>
                      <a:lnTo>
                        <a:pt x="18057" y="16070"/>
                      </a:lnTo>
                      <a:lnTo>
                        <a:pt x="17932" y="15965"/>
                      </a:lnTo>
                      <a:lnTo>
                        <a:pt x="17618" y="15944"/>
                      </a:lnTo>
                      <a:lnTo>
                        <a:pt x="17304" y="15756"/>
                      </a:lnTo>
                      <a:lnTo>
                        <a:pt x="17116" y="15735"/>
                      </a:lnTo>
                      <a:lnTo>
                        <a:pt x="17095" y="15631"/>
                      </a:lnTo>
                      <a:lnTo>
                        <a:pt x="17011" y="15631"/>
                      </a:lnTo>
                      <a:lnTo>
                        <a:pt x="16906" y="15547"/>
                      </a:lnTo>
                      <a:lnTo>
                        <a:pt x="16760" y="15589"/>
                      </a:lnTo>
                      <a:lnTo>
                        <a:pt x="16655" y="15693"/>
                      </a:lnTo>
                      <a:lnTo>
                        <a:pt x="16593" y="15568"/>
                      </a:lnTo>
                      <a:lnTo>
                        <a:pt x="16614" y="15526"/>
                      </a:lnTo>
                      <a:lnTo>
                        <a:pt x="16593" y="15442"/>
                      </a:lnTo>
                      <a:lnTo>
                        <a:pt x="16237" y="15317"/>
                      </a:lnTo>
                      <a:lnTo>
                        <a:pt x="16070" y="15212"/>
                      </a:lnTo>
                      <a:lnTo>
                        <a:pt x="15526" y="15170"/>
                      </a:lnTo>
                      <a:lnTo>
                        <a:pt x="15086" y="15233"/>
                      </a:lnTo>
                      <a:lnTo>
                        <a:pt x="14982" y="15191"/>
                      </a:lnTo>
                      <a:lnTo>
                        <a:pt x="14877" y="15233"/>
                      </a:lnTo>
                      <a:lnTo>
                        <a:pt x="14772" y="15170"/>
                      </a:lnTo>
                      <a:lnTo>
                        <a:pt x="14710" y="15212"/>
                      </a:lnTo>
                      <a:lnTo>
                        <a:pt x="14605" y="15170"/>
                      </a:lnTo>
                      <a:lnTo>
                        <a:pt x="14521" y="15233"/>
                      </a:lnTo>
                      <a:lnTo>
                        <a:pt x="14584" y="15359"/>
                      </a:lnTo>
                      <a:lnTo>
                        <a:pt x="14584" y="15463"/>
                      </a:lnTo>
                      <a:lnTo>
                        <a:pt x="14458" y="15505"/>
                      </a:lnTo>
                      <a:lnTo>
                        <a:pt x="14458" y="15568"/>
                      </a:lnTo>
                      <a:lnTo>
                        <a:pt x="14521" y="15693"/>
                      </a:lnTo>
                      <a:lnTo>
                        <a:pt x="14605" y="15756"/>
                      </a:lnTo>
                      <a:lnTo>
                        <a:pt x="14668" y="15965"/>
                      </a:lnTo>
                      <a:lnTo>
                        <a:pt x="14710" y="16070"/>
                      </a:lnTo>
                      <a:lnTo>
                        <a:pt x="14751" y="15965"/>
                      </a:lnTo>
                      <a:lnTo>
                        <a:pt x="14814" y="15965"/>
                      </a:lnTo>
                      <a:lnTo>
                        <a:pt x="14919" y="16133"/>
                      </a:lnTo>
                      <a:lnTo>
                        <a:pt x="14919" y="16237"/>
                      </a:lnTo>
                      <a:lnTo>
                        <a:pt x="15044" y="16279"/>
                      </a:lnTo>
                      <a:lnTo>
                        <a:pt x="15212" y="16447"/>
                      </a:lnTo>
                      <a:lnTo>
                        <a:pt x="15044" y="16426"/>
                      </a:lnTo>
                      <a:lnTo>
                        <a:pt x="15002" y="16384"/>
                      </a:lnTo>
                      <a:lnTo>
                        <a:pt x="14919" y="16384"/>
                      </a:lnTo>
                      <a:lnTo>
                        <a:pt x="14877" y="16551"/>
                      </a:lnTo>
                      <a:lnTo>
                        <a:pt x="14772" y="16635"/>
                      </a:lnTo>
                      <a:lnTo>
                        <a:pt x="14605" y="16551"/>
                      </a:lnTo>
                      <a:lnTo>
                        <a:pt x="14521" y="16614"/>
                      </a:lnTo>
                      <a:lnTo>
                        <a:pt x="14521" y="16656"/>
                      </a:lnTo>
                      <a:lnTo>
                        <a:pt x="14668" y="16823"/>
                      </a:lnTo>
                      <a:lnTo>
                        <a:pt x="14710" y="16865"/>
                      </a:lnTo>
                      <a:lnTo>
                        <a:pt x="14710" y="16949"/>
                      </a:lnTo>
                      <a:lnTo>
                        <a:pt x="14668" y="17032"/>
                      </a:lnTo>
                      <a:lnTo>
                        <a:pt x="14375" y="17032"/>
                      </a:lnTo>
                      <a:lnTo>
                        <a:pt x="14291" y="16949"/>
                      </a:lnTo>
                      <a:lnTo>
                        <a:pt x="14312" y="16865"/>
                      </a:lnTo>
                      <a:lnTo>
                        <a:pt x="14270" y="16760"/>
                      </a:lnTo>
                      <a:lnTo>
                        <a:pt x="14375" y="16698"/>
                      </a:lnTo>
                      <a:lnTo>
                        <a:pt x="14375" y="16635"/>
                      </a:lnTo>
                      <a:lnTo>
                        <a:pt x="14270" y="16530"/>
                      </a:lnTo>
                      <a:lnTo>
                        <a:pt x="14186" y="16509"/>
                      </a:lnTo>
                      <a:lnTo>
                        <a:pt x="14270" y="16405"/>
                      </a:lnTo>
                      <a:lnTo>
                        <a:pt x="14249" y="16384"/>
                      </a:lnTo>
                      <a:lnTo>
                        <a:pt x="14165" y="16426"/>
                      </a:lnTo>
                      <a:lnTo>
                        <a:pt x="14103" y="16426"/>
                      </a:lnTo>
                      <a:lnTo>
                        <a:pt x="13956" y="16593"/>
                      </a:lnTo>
                      <a:lnTo>
                        <a:pt x="13873" y="16614"/>
                      </a:lnTo>
                      <a:lnTo>
                        <a:pt x="13768" y="16719"/>
                      </a:lnTo>
                      <a:lnTo>
                        <a:pt x="13768" y="16760"/>
                      </a:lnTo>
                      <a:lnTo>
                        <a:pt x="13642" y="16760"/>
                      </a:lnTo>
                      <a:lnTo>
                        <a:pt x="13580" y="16844"/>
                      </a:lnTo>
                      <a:lnTo>
                        <a:pt x="13580" y="16928"/>
                      </a:lnTo>
                      <a:lnTo>
                        <a:pt x="13517" y="16970"/>
                      </a:lnTo>
                      <a:lnTo>
                        <a:pt x="13245" y="16970"/>
                      </a:lnTo>
                      <a:lnTo>
                        <a:pt x="13161" y="16949"/>
                      </a:lnTo>
                      <a:lnTo>
                        <a:pt x="13119" y="16970"/>
                      </a:lnTo>
                      <a:lnTo>
                        <a:pt x="13036" y="16970"/>
                      </a:lnTo>
                      <a:lnTo>
                        <a:pt x="12952" y="16928"/>
                      </a:lnTo>
                      <a:lnTo>
                        <a:pt x="12805" y="17032"/>
                      </a:lnTo>
                      <a:lnTo>
                        <a:pt x="12785" y="17074"/>
                      </a:lnTo>
                      <a:lnTo>
                        <a:pt x="12680" y="17116"/>
                      </a:lnTo>
                      <a:lnTo>
                        <a:pt x="12575" y="17221"/>
                      </a:lnTo>
                      <a:lnTo>
                        <a:pt x="12575" y="17263"/>
                      </a:lnTo>
                      <a:lnTo>
                        <a:pt x="12638" y="17325"/>
                      </a:lnTo>
                      <a:lnTo>
                        <a:pt x="12617" y="17388"/>
                      </a:lnTo>
                      <a:lnTo>
                        <a:pt x="12638" y="17472"/>
                      </a:lnTo>
                      <a:lnTo>
                        <a:pt x="12617" y="17535"/>
                      </a:lnTo>
                      <a:lnTo>
                        <a:pt x="12513" y="17451"/>
                      </a:lnTo>
                      <a:lnTo>
                        <a:pt x="12471" y="17367"/>
                      </a:lnTo>
                      <a:lnTo>
                        <a:pt x="12408" y="17367"/>
                      </a:lnTo>
                      <a:lnTo>
                        <a:pt x="12282" y="17493"/>
                      </a:lnTo>
                      <a:lnTo>
                        <a:pt x="12220" y="17639"/>
                      </a:lnTo>
                      <a:lnTo>
                        <a:pt x="12220" y="17493"/>
                      </a:lnTo>
                      <a:lnTo>
                        <a:pt x="12094" y="17451"/>
                      </a:lnTo>
                      <a:lnTo>
                        <a:pt x="12010" y="17493"/>
                      </a:lnTo>
                      <a:lnTo>
                        <a:pt x="11948" y="17493"/>
                      </a:lnTo>
                      <a:lnTo>
                        <a:pt x="11864" y="17535"/>
                      </a:lnTo>
                      <a:lnTo>
                        <a:pt x="11759" y="17493"/>
                      </a:lnTo>
                      <a:lnTo>
                        <a:pt x="11738" y="17388"/>
                      </a:lnTo>
                      <a:lnTo>
                        <a:pt x="11864" y="17284"/>
                      </a:lnTo>
                      <a:lnTo>
                        <a:pt x="11969" y="17284"/>
                      </a:lnTo>
                      <a:lnTo>
                        <a:pt x="12010" y="17221"/>
                      </a:lnTo>
                      <a:lnTo>
                        <a:pt x="11948" y="17074"/>
                      </a:lnTo>
                      <a:lnTo>
                        <a:pt x="11969" y="17032"/>
                      </a:lnTo>
                      <a:lnTo>
                        <a:pt x="12052" y="16970"/>
                      </a:lnTo>
                      <a:lnTo>
                        <a:pt x="11906" y="16844"/>
                      </a:lnTo>
                      <a:lnTo>
                        <a:pt x="11864" y="16865"/>
                      </a:lnTo>
                      <a:lnTo>
                        <a:pt x="11780" y="16844"/>
                      </a:lnTo>
                      <a:lnTo>
                        <a:pt x="11759" y="16802"/>
                      </a:lnTo>
                      <a:lnTo>
                        <a:pt x="11969" y="16698"/>
                      </a:lnTo>
                      <a:lnTo>
                        <a:pt x="12052" y="16698"/>
                      </a:lnTo>
                      <a:lnTo>
                        <a:pt x="12157" y="16635"/>
                      </a:lnTo>
                      <a:lnTo>
                        <a:pt x="12115" y="16593"/>
                      </a:lnTo>
                      <a:lnTo>
                        <a:pt x="11906" y="16614"/>
                      </a:lnTo>
                      <a:lnTo>
                        <a:pt x="11592" y="16740"/>
                      </a:lnTo>
                      <a:lnTo>
                        <a:pt x="11529" y="16823"/>
                      </a:lnTo>
                      <a:lnTo>
                        <a:pt x="11571" y="16886"/>
                      </a:lnTo>
                      <a:lnTo>
                        <a:pt x="11592" y="16970"/>
                      </a:lnTo>
                      <a:lnTo>
                        <a:pt x="11655" y="17053"/>
                      </a:lnTo>
                      <a:lnTo>
                        <a:pt x="11592" y="17137"/>
                      </a:lnTo>
                      <a:lnTo>
                        <a:pt x="11529" y="17158"/>
                      </a:lnTo>
                      <a:lnTo>
                        <a:pt x="11425" y="17053"/>
                      </a:lnTo>
                      <a:lnTo>
                        <a:pt x="11445" y="17012"/>
                      </a:lnTo>
                      <a:lnTo>
                        <a:pt x="11487" y="16991"/>
                      </a:lnTo>
                      <a:lnTo>
                        <a:pt x="11466" y="16907"/>
                      </a:lnTo>
                      <a:lnTo>
                        <a:pt x="11445" y="16907"/>
                      </a:lnTo>
                      <a:lnTo>
                        <a:pt x="11236" y="17116"/>
                      </a:lnTo>
                      <a:lnTo>
                        <a:pt x="11236" y="17158"/>
                      </a:lnTo>
                      <a:lnTo>
                        <a:pt x="11320" y="17242"/>
                      </a:lnTo>
                      <a:lnTo>
                        <a:pt x="11383" y="17263"/>
                      </a:lnTo>
                      <a:lnTo>
                        <a:pt x="11383" y="17346"/>
                      </a:lnTo>
                      <a:lnTo>
                        <a:pt x="11257" y="17472"/>
                      </a:lnTo>
                      <a:lnTo>
                        <a:pt x="11215" y="17430"/>
                      </a:lnTo>
                      <a:lnTo>
                        <a:pt x="11257" y="17346"/>
                      </a:lnTo>
                      <a:lnTo>
                        <a:pt x="11236" y="17263"/>
                      </a:lnTo>
                      <a:lnTo>
                        <a:pt x="11173" y="17263"/>
                      </a:lnTo>
                      <a:lnTo>
                        <a:pt x="11173" y="17200"/>
                      </a:lnTo>
                      <a:lnTo>
                        <a:pt x="10943" y="17263"/>
                      </a:lnTo>
                      <a:lnTo>
                        <a:pt x="10922" y="17346"/>
                      </a:lnTo>
                      <a:lnTo>
                        <a:pt x="10755" y="17430"/>
                      </a:lnTo>
                      <a:lnTo>
                        <a:pt x="10629" y="17409"/>
                      </a:lnTo>
                      <a:lnTo>
                        <a:pt x="10546" y="17430"/>
                      </a:lnTo>
                      <a:lnTo>
                        <a:pt x="10546" y="17472"/>
                      </a:lnTo>
                      <a:lnTo>
                        <a:pt x="10316" y="17765"/>
                      </a:lnTo>
                      <a:lnTo>
                        <a:pt x="10274" y="17786"/>
                      </a:lnTo>
                      <a:lnTo>
                        <a:pt x="10064" y="18058"/>
                      </a:lnTo>
                      <a:lnTo>
                        <a:pt x="9960" y="18100"/>
                      </a:lnTo>
                      <a:lnTo>
                        <a:pt x="9876" y="18037"/>
                      </a:lnTo>
                      <a:lnTo>
                        <a:pt x="9813" y="18037"/>
                      </a:lnTo>
                      <a:lnTo>
                        <a:pt x="9876" y="18141"/>
                      </a:lnTo>
                      <a:lnTo>
                        <a:pt x="10023" y="18246"/>
                      </a:lnTo>
                      <a:lnTo>
                        <a:pt x="10064" y="18309"/>
                      </a:lnTo>
                      <a:lnTo>
                        <a:pt x="10064" y="18309"/>
                      </a:lnTo>
                      <a:lnTo>
                        <a:pt x="9876" y="18246"/>
                      </a:lnTo>
                      <a:lnTo>
                        <a:pt x="9813" y="18288"/>
                      </a:lnTo>
                      <a:lnTo>
                        <a:pt x="9500" y="18309"/>
                      </a:lnTo>
                      <a:lnTo>
                        <a:pt x="9458" y="18372"/>
                      </a:lnTo>
                      <a:lnTo>
                        <a:pt x="9541" y="18476"/>
                      </a:lnTo>
                      <a:lnTo>
                        <a:pt x="9541" y="18581"/>
                      </a:lnTo>
                      <a:lnTo>
                        <a:pt x="9458" y="18706"/>
                      </a:lnTo>
                      <a:lnTo>
                        <a:pt x="9500" y="18895"/>
                      </a:lnTo>
                      <a:lnTo>
                        <a:pt x="9458" y="19020"/>
                      </a:lnTo>
                      <a:lnTo>
                        <a:pt x="9248" y="19104"/>
                      </a:lnTo>
                      <a:lnTo>
                        <a:pt x="9228" y="19146"/>
                      </a:lnTo>
                      <a:lnTo>
                        <a:pt x="9081" y="19146"/>
                      </a:lnTo>
                      <a:lnTo>
                        <a:pt x="9039" y="19229"/>
                      </a:lnTo>
                      <a:lnTo>
                        <a:pt x="8956" y="19104"/>
                      </a:lnTo>
                      <a:lnTo>
                        <a:pt x="8809" y="19208"/>
                      </a:lnTo>
                      <a:lnTo>
                        <a:pt x="8579" y="19208"/>
                      </a:lnTo>
                      <a:lnTo>
                        <a:pt x="8328" y="18916"/>
                      </a:lnTo>
                      <a:lnTo>
                        <a:pt x="8098" y="18706"/>
                      </a:lnTo>
                      <a:lnTo>
                        <a:pt x="8014" y="18644"/>
                      </a:lnTo>
                      <a:lnTo>
                        <a:pt x="8014" y="18476"/>
                      </a:lnTo>
                      <a:lnTo>
                        <a:pt x="8056" y="18413"/>
                      </a:lnTo>
                      <a:lnTo>
                        <a:pt x="8098" y="18455"/>
                      </a:lnTo>
                      <a:lnTo>
                        <a:pt x="8160" y="18372"/>
                      </a:lnTo>
                      <a:lnTo>
                        <a:pt x="8119" y="18309"/>
                      </a:lnTo>
                      <a:lnTo>
                        <a:pt x="8181" y="18267"/>
                      </a:lnTo>
                      <a:lnTo>
                        <a:pt x="8370" y="18267"/>
                      </a:lnTo>
                      <a:lnTo>
                        <a:pt x="8412" y="18183"/>
                      </a:lnTo>
                      <a:lnTo>
                        <a:pt x="8621" y="18183"/>
                      </a:lnTo>
                      <a:lnTo>
                        <a:pt x="8642" y="18100"/>
                      </a:lnTo>
                      <a:lnTo>
                        <a:pt x="8495" y="17890"/>
                      </a:lnTo>
                      <a:lnTo>
                        <a:pt x="8474" y="17807"/>
                      </a:lnTo>
                      <a:lnTo>
                        <a:pt x="8328" y="17786"/>
                      </a:lnTo>
                      <a:lnTo>
                        <a:pt x="8202" y="17660"/>
                      </a:lnTo>
                      <a:lnTo>
                        <a:pt x="8202" y="17556"/>
                      </a:lnTo>
                      <a:lnTo>
                        <a:pt x="8077" y="17451"/>
                      </a:lnTo>
                      <a:lnTo>
                        <a:pt x="7763" y="17430"/>
                      </a:lnTo>
                      <a:lnTo>
                        <a:pt x="7554" y="17451"/>
                      </a:lnTo>
                      <a:lnTo>
                        <a:pt x="7449" y="17493"/>
                      </a:lnTo>
                      <a:lnTo>
                        <a:pt x="7323" y="17493"/>
                      </a:lnTo>
                      <a:lnTo>
                        <a:pt x="7072" y="17346"/>
                      </a:lnTo>
                      <a:lnTo>
                        <a:pt x="6947" y="17346"/>
                      </a:lnTo>
                      <a:lnTo>
                        <a:pt x="6947" y="17388"/>
                      </a:lnTo>
                      <a:lnTo>
                        <a:pt x="7240" y="17639"/>
                      </a:lnTo>
                      <a:lnTo>
                        <a:pt x="7386" y="17744"/>
                      </a:lnTo>
                      <a:lnTo>
                        <a:pt x="7470" y="17974"/>
                      </a:lnTo>
                      <a:lnTo>
                        <a:pt x="7470" y="18100"/>
                      </a:lnTo>
                      <a:lnTo>
                        <a:pt x="7533" y="18183"/>
                      </a:lnTo>
                      <a:lnTo>
                        <a:pt x="7470" y="18225"/>
                      </a:lnTo>
                      <a:lnTo>
                        <a:pt x="7470" y="18330"/>
                      </a:lnTo>
                      <a:lnTo>
                        <a:pt x="7491" y="18413"/>
                      </a:lnTo>
                      <a:lnTo>
                        <a:pt x="7449" y="18434"/>
                      </a:lnTo>
                      <a:lnTo>
                        <a:pt x="7449" y="18706"/>
                      </a:lnTo>
                      <a:lnTo>
                        <a:pt x="7386" y="18853"/>
                      </a:lnTo>
                      <a:lnTo>
                        <a:pt x="7449" y="18999"/>
                      </a:lnTo>
                      <a:lnTo>
                        <a:pt x="7595" y="18999"/>
                      </a:lnTo>
                      <a:lnTo>
                        <a:pt x="7742" y="19062"/>
                      </a:lnTo>
                      <a:lnTo>
                        <a:pt x="7805" y="19167"/>
                      </a:lnTo>
                      <a:lnTo>
                        <a:pt x="7784" y="19229"/>
                      </a:lnTo>
                      <a:lnTo>
                        <a:pt x="7805" y="19313"/>
                      </a:lnTo>
                      <a:lnTo>
                        <a:pt x="7784" y="19355"/>
                      </a:lnTo>
                      <a:lnTo>
                        <a:pt x="7784" y="19418"/>
                      </a:lnTo>
                      <a:lnTo>
                        <a:pt x="7847" y="19460"/>
                      </a:lnTo>
                      <a:lnTo>
                        <a:pt x="7784" y="19543"/>
                      </a:lnTo>
                      <a:lnTo>
                        <a:pt x="7784" y="19794"/>
                      </a:lnTo>
                      <a:lnTo>
                        <a:pt x="7742" y="19857"/>
                      </a:lnTo>
                      <a:lnTo>
                        <a:pt x="7805" y="20004"/>
                      </a:lnTo>
                      <a:lnTo>
                        <a:pt x="7847" y="20213"/>
                      </a:lnTo>
                      <a:lnTo>
                        <a:pt x="7763" y="20171"/>
                      </a:lnTo>
                      <a:lnTo>
                        <a:pt x="7700" y="20045"/>
                      </a:lnTo>
                      <a:lnTo>
                        <a:pt x="7575" y="19941"/>
                      </a:lnTo>
                      <a:lnTo>
                        <a:pt x="7449" y="20066"/>
                      </a:lnTo>
                      <a:lnTo>
                        <a:pt x="7470" y="19941"/>
                      </a:lnTo>
                      <a:lnTo>
                        <a:pt x="7428" y="19857"/>
                      </a:lnTo>
                      <a:lnTo>
                        <a:pt x="7240" y="19836"/>
                      </a:lnTo>
                      <a:lnTo>
                        <a:pt x="7072" y="19857"/>
                      </a:lnTo>
                      <a:lnTo>
                        <a:pt x="6968" y="19773"/>
                      </a:lnTo>
                      <a:lnTo>
                        <a:pt x="6821" y="19753"/>
                      </a:lnTo>
                      <a:lnTo>
                        <a:pt x="6738" y="19794"/>
                      </a:lnTo>
                      <a:lnTo>
                        <a:pt x="6612" y="20087"/>
                      </a:lnTo>
                      <a:lnTo>
                        <a:pt x="6424" y="20255"/>
                      </a:lnTo>
                      <a:lnTo>
                        <a:pt x="6298" y="20276"/>
                      </a:lnTo>
                      <a:lnTo>
                        <a:pt x="6194" y="20380"/>
                      </a:lnTo>
                      <a:lnTo>
                        <a:pt x="6173" y="20527"/>
                      </a:lnTo>
                      <a:lnTo>
                        <a:pt x="6026" y="20694"/>
                      </a:lnTo>
                      <a:lnTo>
                        <a:pt x="5963" y="20757"/>
                      </a:lnTo>
                      <a:lnTo>
                        <a:pt x="5963" y="20841"/>
                      </a:lnTo>
                      <a:lnTo>
                        <a:pt x="6005" y="21029"/>
                      </a:lnTo>
                      <a:lnTo>
                        <a:pt x="6277" y="21301"/>
                      </a:lnTo>
                      <a:lnTo>
                        <a:pt x="6424" y="21531"/>
                      </a:lnTo>
                      <a:lnTo>
                        <a:pt x="6340" y="21636"/>
                      </a:lnTo>
                      <a:lnTo>
                        <a:pt x="6277" y="21636"/>
                      </a:lnTo>
                      <a:lnTo>
                        <a:pt x="6277" y="21761"/>
                      </a:lnTo>
                      <a:lnTo>
                        <a:pt x="6173" y="21845"/>
                      </a:lnTo>
                      <a:lnTo>
                        <a:pt x="6110" y="21949"/>
                      </a:lnTo>
                      <a:lnTo>
                        <a:pt x="5963" y="21782"/>
                      </a:lnTo>
                      <a:lnTo>
                        <a:pt x="5587" y="21615"/>
                      </a:lnTo>
                      <a:lnTo>
                        <a:pt x="5461" y="21615"/>
                      </a:lnTo>
                      <a:lnTo>
                        <a:pt x="5398" y="21531"/>
                      </a:lnTo>
                      <a:lnTo>
                        <a:pt x="5189" y="21531"/>
                      </a:lnTo>
                      <a:lnTo>
                        <a:pt x="5085" y="21447"/>
                      </a:lnTo>
                      <a:lnTo>
                        <a:pt x="5022" y="21322"/>
                      </a:lnTo>
                      <a:lnTo>
                        <a:pt x="4854" y="21301"/>
                      </a:lnTo>
                      <a:lnTo>
                        <a:pt x="4729" y="21217"/>
                      </a:lnTo>
                      <a:lnTo>
                        <a:pt x="4603" y="21217"/>
                      </a:lnTo>
                      <a:lnTo>
                        <a:pt x="4562" y="21301"/>
                      </a:lnTo>
                      <a:lnTo>
                        <a:pt x="4603" y="21364"/>
                      </a:lnTo>
                      <a:lnTo>
                        <a:pt x="4562" y="21426"/>
                      </a:lnTo>
                      <a:lnTo>
                        <a:pt x="4603" y="21468"/>
                      </a:lnTo>
                      <a:lnTo>
                        <a:pt x="4520" y="21552"/>
                      </a:lnTo>
                      <a:lnTo>
                        <a:pt x="4415" y="21552"/>
                      </a:lnTo>
                      <a:lnTo>
                        <a:pt x="4499" y="21719"/>
                      </a:lnTo>
                      <a:lnTo>
                        <a:pt x="4520" y="21845"/>
                      </a:lnTo>
                      <a:lnTo>
                        <a:pt x="4666" y="21929"/>
                      </a:lnTo>
                      <a:lnTo>
                        <a:pt x="4771" y="22054"/>
                      </a:lnTo>
                      <a:lnTo>
                        <a:pt x="4917" y="22138"/>
                      </a:lnTo>
                      <a:lnTo>
                        <a:pt x="5022" y="22075"/>
                      </a:lnTo>
                      <a:lnTo>
                        <a:pt x="5085" y="22075"/>
                      </a:lnTo>
                      <a:lnTo>
                        <a:pt x="5168" y="22033"/>
                      </a:lnTo>
                      <a:lnTo>
                        <a:pt x="5189" y="22096"/>
                      </a:lnTo>
                      <a:lnTo>
                        <a:pt x="5336" y="22159"/>
                      </a:lnTo>
                      <a:lnTo>
                        <a:pt x="5336" y="22201"/>
                      </a:lnTo>
                      <a:lnTo>
                        <a:pt x="5273" y="22263"/>
                      </a:lnTo>
                      <a:lnTo>
                        <a:pt x="5357" y="22347"/>
                      </a:lnTo>
                      <a:lnTo>
                        <a:pt x="5357" y="22514"/>
                      </a:lnTo>
                      <a:lnTo>
                        <a:pt x="5273" y="22556"/>
                      </a:lnTo>
                      <a:lnTo>
                        <a:pt x="5168" y="22556"/>
                      </a:lnTo>
                      <a:lnTo>
                        <a:pt x="5043" y="22682"/>
                      </a:lnTo>
                      <a:lnTo>
                        <a:pt x="4980" y="22682"/>
                      </a:lnTo>
                      <a:lnTo>
                        <a:pt x="4875" y="22577"/>
                      </a:lnTo>
                      <a:lnTo>
                        <a:pt x="4729" y="22577"/>
                      </a:lnTo>
                      <a:lnTo>
                        <a:pt x="4645" y="22514"/>
                      </a:lnTo>
                      <a:lnTo>
                        <a:pt x="4457" y="22514"/>
                      </a:lnTo>
                      <a:lnTo>
                        <a:pt x="4415" y="22473"/>
                      </a:lnTo>
                      <a:lnTo>
                        <a:pt x="4415" y="22347"/>
                      </a:lnTo>
                      <a:lnTo>
                        <a:pt x="4310" y="22284"/>
                      </a:lnTo>
                      <a:lnTo>
                        <a:pt x="4227" y="22180"/>
                      </a:lnTo>
                      <a:lnTo>
                        <a:pt x="4185" y="22180"/>
                      </a:lnTo>
                      <a:lnTo>
                        <a:pt x="4080" y="22263"/>
                      </a:lnTo>
                      <a:lnTo>
                        <a:pt x="3829" y="22180"/>
                      </a:lnTo>
                      <a:lnTo>
                        <a:pt x="3787" y="22075"/>
                      </a:lnTo>
                      <a:lnTo>
                        <a:pt x="3725" y="22033"/>
                      </a:lnTo>
                      <a:lnTo>
                        <a:pt x="3787" y="21949"/>
                      </a:lnTo>
                      <a:lnTo>
                        <a:pt x="3766" y="21824"/>
                      </a:lnTo>
                      <a:lnTo>
                        <a:pt x="3766" y="21719"/>
                      </a:lnTo>
                      <a:lnTo>
                        <a:pt x="3662" y="21636"/>
                      </a:lnTo>
                      <a:lnTo>
                        <a:pt x="3662" y="21531"/>
                      </a:lnTo>
                      <a:lnTo>
                        <a:pt x="3494" y="21385"/>
                      </a:lnTo>
                      <a:lnTo>
                        <a:pt x="3494" y="21238"/>
                      </a:lnTo>
                      <a:lnTo>
                        <a:pt x="3411" y="21217"/>
                      </a:lnTo>
                      <a:lnTo>
                        <a:pt x="3453" y="21113"/>
                      </a:lnTo>
                      <a:lnTo>
                        <a:pt x="3515" y="21092"/>
                      </a:lnTo>
                      <a:lnTo>
                        <a:pt x="3557" y="20903"/>
                      </a:lnTo>
                      <a:lnTo>
                        <a:pt x="3557" y="20799"/>
                      </a:lnTo>
                      <a:lnTo>
                        <a:pt x="3515" y="20778"/>
                      </a:lnTo>
                      <a:lnTo>
                        <a:pt x="3515" y="20694"/>
                      </a:lnTo>
                      <a:lnTo>
                        <a:pt x="3578" y="20610"/>
                      </a:lnTo>
                      <a:lnTo>
                        <a:pt x="3515" y="20589"/>
                      </a:lnTo>
                      <a:lnTo>
                        <a:pt x="3390" y="20401"/>
                      </a:lnTo>
                      <a:lnTo>
                        <a:pt x="3139" y="20297"/>
                      </a:lnTo>
                      <a:lnTo>
                        <a:pt x="3055" y="20359"/>
                      </a:lnTo>
                      <a:lnTo>
                        <a:pt x="2992" y="20297"/>
                      </a:lnTo>
                      <a:lnTo>
                        <a:pt x="2930" y="20297"/>
                      </a:lnTo>
                      <a:lnTo>
                        <a:pt x="2867" y="20338"/>
                      </a:lnTo>
                      <a:lnTo>
                        <a:pt x="2741" y="20297"/>
                      </a:lnTo>
                      <a:lnTo>
                        <a:pt x="2783" y="20255"/>
                      </a:lnTo>
                      <a:lnTo>
                        <a:pt x="2888" y="20234"/>
                      </a:lnTo>
                      <a:lnTo>
                        <a:pt x="2930" y="20150"/>
                      </a:lnTo>
                      <a:lnTo>
                        <a:pt x="2783" y="20108"/>
                      </a:lnTo>
                      <a:lnTo>
                        <a:pt x="2783" y="20087"/>
                      </a:lnTo>
                      <a:lnTo>
                        <a:pt x="2867" y="20066"/>
                      </a:lnTo>
                      <a:lnTo>
                        <a:pt x="2783" y="20004"/>
                      </a:lnTo>
                      <a:lnTo>
                        <a:pt x="2720" y="20066"/>
                      </a:lnTo>
                      <a:lnTo>
                        <a:pt x="2532" y="20108"/>
                      </a:lnTo>
                      <a:lnTo>
                        <a:pt x="2511" y="20087"/>
                      </a:lnTo>
                      <a:lnTo>
                        <a:pt x="2553" y="20004"/>
                      </a:lnTo>
                      <a:lnTo>
                        <a:pt x="2658" y="19962"/>
                      </a:lnTo>
                      <a:lnTo>
                        <a:pt x="2637" y="19941"/>
                      </a:lnTo>
                      <a:lnTo>
                        <a:pt x="2448" y="19899"/>
                      </a:lnTo>
                      <a:lnTo>
                        <a:pt x="2427" y="19836"/>
                      </a:lnTo>
                      <a:lnTo>
                        <a:pt x="2302" y="19753"/>
                      </a:lnTo>
                      <a:lnTo>
                        <a:pt x="2260" y="19585"/>
                      </a:lnTo>
                      <a:lnTo>
                        <a:pt x="2134" y="19522"/>
                      </a:lnTo>
                      <a:lnTo>
                        <a:pt x="2155" y="19481"/>
                      </a:lnTo>
                      <a:lnTo>
                        <a:pt x="2260" y="19481"/>
                      </a:lnTo>
                      <a:lnTo>
                        <a:pt x="2302" y="19522"/>
                      </a:lnTo>
                      <a:lnTo>
                        <a:pt x="2448" y="19543"/>
                      </a:lnTo>
                      <a:lnTo>
                        <a:pt x="2469" y="19648"/>
                      </a:lnTo>
                      <a:lnTo>
                        <a:pt x="2720" y="19857"/>
                      </a:lnTo>
                      <a:lnTo>
                        <a:pt x="2783" y="19857"/>
                      </a:lnTo>
                      <a:lnTo>
                        <a:pt x="2825" y="19794"/>
                      </a:lnTo>
                      <a:lnTo>
                        <a:pt x="2950" y="19878"/>
                      </a:lnTo>
                      <a:lnTo>
                        <a:pt x="3139" y="19878"/>
                      </a:lnTo>
                      <a:lnTo>
                        <a:pt x="3160" y="19836"/>
                      </a:lnTo>
                      <a:lnTo>
                        <a:pt x="3243" y="19899"/>
                      </a:lnTo>
                      <a:lnTo>
                        <a:pt x="3160" y="19962"/>
                      </a:lnTo>
                      <a:lnTo>
                        <a:pt x="3202" y="19983"/>
                      </a:lnTo>
                      <a:lnTo>
                        <a:pt x="3202" y="20045"/>
                      </a:lnTo>
                      <a:lnTo>
                        <a:pt x="3306" y="20045"/>
                      </a:lnTo>
                      <a:lnTo>
                        <a:pt x="3369" y="19983"/>
                      </a:lnTo>
                      <a:lnTo>
                        <a:pt x="3557" y="19983"/>
                      </a:lnTo>
                      <a:lnTo>
                        <a:pt x="3494" y="20004"/>
                      </a:lnTo>
                      <a:lnTo>
                        <a:pt x="3599" y="20004"/>
                      </a:lnTo>
                      <a:lnTo>
                        <a:pt x="3704" y="19983"/>
                      </a:lnTo>
                      <a:lnTo>
                        <a:pt x="3704" y="20066"/>
                      </a:lnTo>
                      <a:lnTo>
                        <a:pt x="3871" y="20192"/>
                      </a:lnTo>
                      <a:lnTo>
                        <a:pt x="3934" y="20150"/>
                      </a:lnTo>
                      <a:lnTo>
                        <a:pt x="4038" y="20171"/>
                      </a:lnTo>
                      <a:lnTo>
                        <a:pt x="4080" y="20213"/>
                      </a:lnTo>
                      <a:lnTo>
                        <a:pt x="4227" y="20213"/>
                      </a:lnTo>
                      <a:lnTo>
                        <a:pt x="4331" y="20255"/>
                      </a:lnTo>
                      <a:lnTo>
                        <a:pt x="4415" y="20192"/>
                      </a:lnTo>
                      <a:lnTo>
                        <a:pt x="4541" y="20297"/>
                      </a:lnTo>
                      <a:lnTo>
                        <a:pt x="4729" y="20359"/>
                      </a:lnTo>
                      <a:lnTo>
                        <a:pt x="5064" y="20380"/>
                      </a:lnTo>
                      <a:lnTo>
                        <a:pt x="5336" y="20359"/>
                      </a:lnTo>
                      <a:lnTo>
                        <a:pt x="5357" y="20297"/>
                      </a:lnTo>
                      <a:lnTo>
                        <a:pt x="5545" y="20297"/>
                      </a:lnTo>
                      <a:lnTo>
                        <a:pt x="5608" y="20255"/>
                      </a:lnTo>
                      <a:lnTo>
                        <a:pt x="5796" y="20213"/>
                      </a:lnTo>
                      <a:lnTo>
                        <a:pt x="5963" y="20150"/>
                      </a:lnTo>
                      <a:lnTo>
                        <a:pt x="6173" y="19857"/>
                      </a:lnTo>
                      <a:lnTo>
                        <a:pt x="6194" y="19773"/>
                      </a:lnTo>
                      <a:lnTo>
                        <a:pt x="6319" y="19627"/>
                      </a:lnTo>
                      <a:lnTo>
                        <a:pt x="6319" y="19543"/>
                      </a:lnTo>
                      <a:lnTo>
                        <a:pt x="6340" y="19460"/>
                      </a:lnTo>
                      <a:lnTo>
                        <a:pt x="6382" y="19313"/>
                      </a:lnTo>
                      <a:lnTo>
                        <a:pt x="6382" y="19167"/>
                      </a:lnTo>
                      <a:lnTo>
                        <a:pt x="6382" y="19041"/>
                      </a:lnTo>
                      <a:lnTo>
                        <a:pt x="6319" y="18999"/>
                      </a:lnTo>
                      <a:lnTo>
                        <a:pt x="6277" y="18999"/>
                      </a:lnTo>
                      <a:lnTo>
                        <a:pt x="6173" y="18832"/>
                      </a:lnTo>
                      <a:lnTo>
                        <a:pt x="6089" y="18790"/>
                      </a:lnTo>
                      <a:lnTo>
                        <a:pt x="6068" y="18644"/>
                      </a:lnTo>
                      <a:lnTo>
                        <a:pt x="5963" y="18392"/>
                      </a:lnTo>
                      <a:lnTo>
                        <a:pt x="5859" y="18372"/>
                      </a:lnTo>
                      <a:lnTo>
                        <a:pt x="5817" y="18413"/>
                      </a:lnTo>
                      <a:lnTo>
                        <a:pt x="5691" y="18372"/>
                      </a:lnTo>
                      <a:lnTo>
                        <a:pt x="5691" y="18288"/>
                      </a:lnTo>
                      <a:lnTo>
                        <a:pt x="5461" y="18120"/>
                      </a:lnTo>
                      <a:lnTo>
                        <a:pt x="5461" y="18016"/>
                      </a:lnTo>
                      <a:lnTo>
                        <a:pt x="5336" y="17890"/>
                      </a:lnTo>
                      <a:lnTo>
                        <a:pt x="5273" y="17890"/>
                      </a:lnTo>
                      <a:lnTo>
                        <a:pt x="5294" y="17953"/>
                      </a:lnTo>
                      <a:lnTo>
                        <a:pt x="5378" y="18079"/>
                      </a:lnTo>
                      <a:lnTo>
                        <a:pt x="5294" y="18100"/>
                      </a:lnTo>
                      <a:lnTo>
                        <a:pt x="5168" y="17974"/>
                      </a:lnTo>
                      <a:lnTo>
                        <a:pt x="5085" y="17974"/>
                      </a:lnTo>
                      <a:lnTo>
                        <a:pt x="4938" y="17807"/>
                      </a:lnTo>
                      <a:lnTo>
                        <a:pt x="4875" y="17807"/>
                      </a:lnTo>
                      <a:lnTo>
                        <a:pt x="4875" y="17869"/>
                      </a:lnTo>
                      <a:lnTo>
                        <a:pt x="4917" y="17911"/>
                      </a:lnTo>
                      <a:lnTo>
                        <a:pt x="4834" y="17890"/>
                      </a:lnTo>
                      <a:lnTo>
                        <a:pt x="4708" y="17681"/>
                      </a:lnTo>
                      <a:lnTo>
                        <a:pt x="4603" y="17660"/>
                      </a:lnTo>
                      <a:lnTo>
                        <a:pt x="4520" y="17556"/>
                      </a:lnTo>
                      <a:lnTo>
                        <a:pt x="4122" y="17284"/>
                      </a:lnTo>
                      <a:lnTo>
                        <a:pt x="3515" y="16970"/>
                      </a:lnTo>
                      <a:lnTo>
                        <a:pt x="3390" y="16928"/>
                      </a:lnTo>
                      <a:lnTo>
                        <a:pt x="3369" y="16970"/>
                      </a:lnTo>
                      <a:lnTo>
                        <a:pt x="3243" y="16907"/>
                      </a:lnTo>
                      <a:lnTo>
                        <a:pt x="3097" y="16865"/>
                      </a:lnTo>
                      <a:lnTo>
                        <a:pt x="3097" y="16928"/>
                      </a:lnTo>
                      <a:lnTo>
                        <a:pt x="3034" y="16970"/>
                      </a:lnTo>
                      <a:lnTo>
                        <a:pt x="2930" y="16928"/>
                      </a:lnTo>
                      <a:lnTo>
                        <a:pt x="2762" y="16928"/>
                      </a:lnTo>
                      <a:lnTo>
                        <a:pt x="2678" y="16823"/>
                      </a:lnTo>
                      <a:lnTo>
                        <a:pt x="2574" y="16760"/>
                      </a:lnTo>
                      <a:lnTo>
                        <a:pt x="2574" y="16802"/>
                      </a:lnTo>
                      <a:lnTo>
                        <a:pt x="2637" y="16865"/>
                      </a:lnTo>
                      <a:lnTo>
                        <a:pt x="2616" y="16928"/>
                      </a:lnTo>
                      <a:lnTo>
                        <a:pt x="2532" y="16865"/>
                      </a:lnTo>
                      <a:lnTo>
                        <a:pt x="2406" y="16907"/>
                      </a:lnTo>
                      <a:lnTo>
                        <a:pt x="2344" y="16949"/>
                      </a:lnTo>
                      <a:lnTo>
                        <a:pt x="2365" y="17032"/>
                      </a:lnTo>
                      <a:lnTo>
                        <a:pt x="2302" y="17158"/>
                      </a:lnTo>
                      <a:lnTo>
                        <a:pt x="2155" y="17158"/>
                      </a:lnTo>
                      <a:lnTo>
                        <a:pt x="2239" y="17053"/>
                      </a:lnTo>
                      <a:lnTo>
                        <a:pt x="2323" y="17012"/>
                      </a:lnTo>
                      <a:lnTo>
                        <a:pt x="2260" y="16949"/>
                      </a:lnTo>
                      <a:lnTo>
                        <a:pt x="2197" y="16949"/>
                      </a:lnTo>
                      <a:lnTo>
                        <a:pt x="2218" y="16907"/>
                      </a:lnTo>
                      <a:lnTo>
                        <a:pt x="2239" y="16844"/>
                      </a:lnTo>
                      <a:lnTo>
                        <a:pt x="2197" y="16823"/>
                      </a:lnTo>
                      <a:lnTo>
                        <a:pt x="2134" y="16886"/>
                      </a:lnTo>
                      <a:lnTo>
                        <a:pt x="2030" y="17012"/>
                      </a:lnTo>
                      <a:lnTo>
                        <a:pt x="2030" y="16928"/>
                      </a:lnTo>
                      <a:lnTo>
                        <a:pt x="2030" y="16886"/>
                      </a:lnTo>
                      <a:lnTo>
                        <a:pt x="2009" y="16844"/>
                      </a:lnTo>
                      <a:lnTo>
                        <a:pt x="1946" y="16928"/>
                      </a:lnTo>
                      <a:lnTo>
                        <a:pt x="1925" y="16928"/>
                      </a:lnTo>
                      <a:lnTo>
                        <a:pt x="1925" y="16844"/>
                      </a:lnTo>
                      <a:lnTo>
                        <a:pt x="1821" y="16823"/>
                      </a:lnTo>
                      <a:lnTo>
                        <a:pt x="1716" y="16907"/>
                      </a:lnTo>
                      <a:lnTo>
                        <a:pt x="1695" y="16802"/>
                      </a:lnTo>
                      <a:lnTo>
                        <a:pt x="1632" y="16760"/>
                      </a:lnTo>
                      <a:lnTo>
                        <a:pt x="1569" y="16844"/>
                      </a:lnTo>
                      <a:lnTo>
                        <a:pt x="1528" y="16740"/>
                      </a:lnTo>
                      <a:lnTo>
                        <a:pt x="1528" y="16614"/>
                      </a:lnTo>
                      <a:lnTo>
                        <a:pt x="1590" y="16530"/>
                      </a:lnTo>
                      <a:lnTo>
                        <a:pt x="1590" y="16614"/>
                      </a:lnTo>
                      <a:lnTo>
                        <a:pt x="1674" y="16698"/>
                      </a:lnTo>
                      <a:lnTo>
                        <a:pt x="1800" y="16656"/>
                      </a:lnTo>
                      <a:lnTo>
                        <a:pt x="1883" y="16719"/>
                      </a:lnTo>
                      <a:lnTo>
                        <a:pt x="1988" y="16635"/>
                      </a:lnTo>
                      <a:lnTo>
                        <a:pt x="1988" y="16593"/>
                      </a:lnTo>
                      <a:lnTo>
                        <a:pt x="1904" y="16530"/>
                      </a:lnTo>
                      <a:lnTo>
                        <a:pt x="1883" y="16509"/>
                      </a:lnTo>
                      <a:lnTo>
                        <a:pt x="1800" y="16488"/>
                      </a:lnTo>
                      <a:lnTo>
                        <a:pt x="1737" y="16530"/>
                      </a:lnTo>
                      <a:lnTo>
                        <a:pt x="1695" y="16488"/>
                      </a:lnTo>
                      <a:lnTo>
                        <a:pt x="1632" y="16405"/>
                      </a:lnTo>
                      <a:lnTo>
                        <a:pt x="1528" y="16342"/>
                      </a:lnTo>
                      <a:lnTo>
                        <a:pt x="1423" y="16342"/>
                      </a:lnTo>
                      <a:lnTo>
                        <a:pt x="1402" y="16384"/>
                      </a:lnTo>
                      <a:lnTo>
                        <a:pt x="1465" y="16426"/>
                      </a:lnTo>
                      <a:lnTo>
                        <a:pt x="1486" y="16426"/>
                      </a:lnTo>
                      <a:lnTo>
                        <a:pt x="1486" y="16488"/>
                      </a:lnTo>
                      <a:lnTo>
                        <a:pt x="1402" y="16509"/>
                      </a:lnTo>
                      <a:lnTo>
                        <a:pt x="1360" y="16509"/>
                      </a:lnTo>
                      <a:lnTo>
                        <a:pt x="1360" y="16551"/>
                      </a:lnTo>
                      <a:lnTo>
                        <a:pt x="1465" y="16635"/>
                      </a:lnTo>
                      <a:lnTo>
                        <a:pt x="1402" y="16656"/>
                      </a:lnTo>
                      <a:lnTo>
                        <a:pt x="1318" y="16656"/>
                      </a:lnTo>
                      <a:lnTo>
                        <a:pt x="1277" y="16740"/>
                      </a:lnTo>
                      <a:lnTo>
                        <a:pt x="1256" y="16886"/>
                      </a:lnTo>
                      <a:lnTo>
                        <a:pt x="1193" y="16802"/>
                      </a:lnTo>
                      <a:lnTo>
                        <a:pt x="1193" y="16698"/>
                      </a:lnTo>
                      <a:lnTo>
                        <a:pt x="1151" y="16635"/>
                      </a:lnTo>
                      <a:lnTo>
                        <a:pt x="1005" y="16614"/>
                      </a:lnTo>
                      <a:lnTo>
                        <a:pt x="1005" y="16740"/>
                      </a:lnTo>
                      <a:lnTo>
                        <a:pt x="942" y="16823"/>
                      </a:lnTo>
                      <a:lnTo>
                        <a:pt x="795" y="16781"/>
                      </a:lnTo>
                      <a:lnTo>
                        <a:pt x="691" y="16781"/>
                      </a:lnTo>
                      <a:lnTo>
                        <a:pt x="691" y="16928"/>
                      </a:lnTo>
                      <a:lnTo>
                        <a:pt x="628" y="17053"/>
                      </a:lnTo>
                      <a:lnTo>
                        <a:pt x="481" y="17095"/>
                      </a:lnTo>
                      <a:lnTo>
                        <a:pt x="335" y="17242"/>
                      </a:lnTo>
                      <a:lnTo>
                        <a:pt x="335" y="17451"/>
                      </a:lnTo>
                      <a:lnTo>
                        <a:pt x="251" y="17451"/>
                      </a:lnTo>
                      <a:lnTo>
                        <a:pt x="105" y="17514"/>
                      </a:lnTo>
                      <a:lnTo>
                        <a:pt x="0" y="17556"/>
                      </a:lnTo>
                      <a:lnTo>
                        <a:pt x="105" y="17576"/>
                      </a:lnTo>
                      <a:lnTo>
                        <a:pt x="63" y="17744"/>
                      </a:lnTo>
                      <a:lnTo>
                        <a:pt x="21" y="17932"/>
                      </a:lnTo>
                      <a:lnTo>
                        <a:pt x="105" y="18037"/>
                      </a:lnTo>
                      <a:lnTo>
                        <a:pt x="209" y="18288"/>
                      </a:lnTo>
                      <a:lnTo>
                        <a:pt x="272" y="18288"/>
                      </a:lnTo>
                      <a:lnTo>
                        <a:pt x="440" y="18372"/>
                      </a:lnTo>
                      <a:lnTo>
                        <a:pt x="523" y="18497"/>
                      </a:lnTo>
                      <a:lnTo>
                        <a:pt x="565" y="18602"/>
                      </a:lnTo>
                      <a:lnTo>
                        <a:pt x="837" y="18769"/>
                      </a:lnTo>
                      <a:lnTo>
                        <a:pt x="900" y="18832"/>
                      </a:lnTo>
                      <a:lnTo>
                        <a:pt x="858" y="19020"/>
                      </a:lnTo>
                      <a:lnTo>
                        <a:pt x="753" y="19208"/>
                      </a:lnTo>
                      <a:lnTo>
                        <a:pt x="649" y="19460"/>
                      </a:lnTo>
                      <a:lnTo>
                        <a:pt x="774" y="19627"/>
                      </a:lnTo>
                      <a:lnTo>
                        <a:pt x="837" y="19773"/>
                      </a:lnTo>
                      <a:lnTo>
                        <a:pt x="1067" y="20234"/>
                      </a:lnTo>
                      <a:lnTo>
                        <a:pt x="1318" y="20820"/>
                      </a:lnTo>
                      <a:lnTo>
                        <a:pt x="1214" y="20861"/>
                      </a:lnTo>
                      <a:lnTo>
                        <a:pt x="1193" y="21217"/>
                      </a:lnTo>
                      <a:lnTo>
                        <a:pt x="1193" y="21322"/>
                      </a:lnTo>
                      <a:lnTo>
                        <a:pt x="1297" y="21343"/>
                      </a:lnTo>
                      <a:lnTo>
                        <a:pt x="1214" y="21447"/>
                      </a:lnTo>
                      <a:lnTo>
                        <a:pt x="1214" y="21636"/>
                      </a:lnTo>
                      <a:lnTo>
                        <a:pt x="1297" y="21740"/>
                      </a:lnTo>
                      <a:lnTo>
                        <a:pt x="1423" y="21761"/>
                      </a:lnTo>
                      <a:lnTo>
                        <a:pt x="1486" y="21866"/>
                      </a:lnTo>
                      <a:lnTo>
                        <a:pt x="1423" y="21929"/>
                      </a:lnTo>
                      <a:lnTo>
                        <a:pt x="1423" y="22138"/>
                      </a:lnTo>
                      <a:lnTo>
                        <a:pt x="1486" y="22263"/>
                      </a:lnTo>
                      <a:lnTo>
                        <a:pt x="1674" y="22389"/>
                      </a:lnTo>
                      <a:lnTo>
                        <a:pt x="1674" y="22577"/>
                      </a:lnTo>
                      <a:lnTo>
                        <a:pt x="1569" y="22745"/>
                      </a:lnTo>
                      <a:lnTo>
                        <a:pt x="1507" y="22912"/>
                      </a:lnTo>
                      <a:lnTo>
                        <a:pt x="1779" y="23289"/>
                      </a:lnTo>
                      <a:lnTo>
                        <a:pt x="1925" y="23330"/>
                      </a:lnTo>
                      <a:lnTo>
                        <a:pt x="2197" y="23623"/>
                      </a:lnTo>
                      <a:lnTo>
                        <a:pt x="2218" y="23812"/>
                      </a:lnTo>
                      <a:lnTo>
                        <a:pt x="2051" y="24230"/>
                      </a:lnTo>
                      <a:lnTo>
                        <a:pt x="1821" y="24628"/>
                      </a:lnTo>
                      <a:lnTo>
                        <a:pt x="1695" y="24900"/>
                      </a:lnTo>
                      <a:lnTo>
                        <a:pt x="1528" y="25151"/>
                      </a:lnTo>
                      <a:lnTo>
                        <a:pt x="1381" y="25402"/>
                      </a:lnTo>
                      <a:lnTo>
                        <a:pt x="1256" y="25486"/>
                      </a:lnTo>
                      <a:lnTo>
                        <a:pt x="984" y="25737"/>
                      </a:lnTo>
                      <a:lnTo>
                        <a:pt x="1005" y="25904"/>
                      </a:lnTo>
                      <a:cubicBezTo>
                        <a:pt x="1005" y="25883"/>
                        <a:pt x="1046" y="25883"/>
                        <a:pt x="1046" y="25883"/>
                      </a:cubicBezTo>
                      <a:cubicBezTo>
                        <a:pt x="1067" y="25883"/>
                        <a:pt x="1193" y="25799"/>
                        <a:pt x="1193" y="25799"/>
                      </a:cubicBezTo>
                      <a:lnTo>
                        <a:pt x="1318" y="25779"/>
                      </a:lnTo>
                      <a:lnTo>
                        <a:pt x="1256" y="25841"/>
                      </a:lnTo>
                      <a:lnTo>
                        <a:pt x="1297" y="25925"/>
                      </a:lnTo>
                      <a:lnTo>
                        <a:pt x="1297" y="26030"/>
                      </a:lnTo>
                      <a:lnTo>
                        <a:pt x="1172" y="25925"/>
                      </a:lnTo>
                      <a:lnTo>
                        <a:pt x="1151" y="26009"/>
                      </a:lnTo>
                      <a:lnTo>
                        <a:pt x="1277" y="26155"/>
                      </a:lnTo>
                      <a:lnTo>
                        <a:pt x="1402" y="26155"/>
                      </a:lnTo>
                      <a:lnTo>
                        <a:pt x="1486" y="26260"/>
                      </a:lnTo>
                      <a:lnTo>
                        <a:pt x="1611" y="26260"/>
                      </a:lnTo>
                      <a:lnTo>
                        <a:pt x="1674" y="26239"/>
                      </a:lnTo>
                      <a:lnTo>
                        <a:pt x="1779" y="26239"/>
                      </a:lnTo>
                      <a:lnTo>
                        <a:pt x="1883" y="26364"/>
                      </a:lnTo>
                      <a:lnTo>
                        <a:pt x="1800" y="26448"/>
                      </a:lnTo>
                      <a:lnTo>
                        <a:pt x="1611" y="26406"/>
                      </a:lnTo>
                      <a:lnTo>
                        <a:pt x="1528" y="26427"/>
                      </a:lnTo>
                      <a:lnTo>
                        <a:pt x="1507" y="26532"/>
                      </a:lnTo>
                      <a:lnTo>
                        <a:pt x="1381" y="26636"/>
                      </a:lnTo>
                      <a:lnTo>
                        <a:pt x="1277" y="26553"/>
                      </a:lnTo>
                      <a:lnTo>
                        <a:pt x="1214" y="26615"/>
                      </a:lnTo>
                      <a:lnTo>
                        <a:pt x="1214" y="26720"/>
                      </a:lnTo>
                      <a:lnTo>
                        <a:pt x="1109" y="26741"/>
                      </a:lnTo>
                      <a:lnTo>
                        <a:pt x="1067" y="26636"/>
                      </a:lnTo>
                      <a:lnTo>
                        <a:pt x="1005" y="26657"/>
                      </a:lnTo>
                      <a:lnTo>
                        <a:pt x="1005" y="26720"/>
                      </a:lnTo>
                      <a:lnTo>
                        <a:pt x="1067" y="26783"/>
                      </a:lnTo>
                      <a:lnTo>
                        <a:pt x="1046" y="26929"/>
                      </a:lnTo>
                      <a:lnTo>
                        <a:pt x="1088" y="26992"/>
                      </a:lnTo>
                      <a:lnTo>
                        <a:pt x="1088" y="27034"/>
                      </a:lnTo>
                      <a:lnTo>
                        <a:pt x="1067" y="27055"/>
                      </a:lnTo>
                      <a:lnTo>
                        <a:pt x="984" y="27159"/>
                      </a:lnTo>
                      <a:lnTo>
                        <a:pt x="942" y="27306"/>
                      </a:lnTo>
                      <a:lnTo>
                        <a:pt x="858" y="27369"/>
                      </a:lnTo>
                      <a:lnTo>
                        <a:pt x="795" y="27808"/>
                      </a:lnTo>
                      <a:lnTo>
                        <a:pt x="1067" y="28289"/>
                      </a:lnTo>
                      <a:lnTo>
                        <a:pt x="1067" y="28394"/>
                      </a:lnTo>
                      <a:lnTo>
                        <a:pt x="984" y="28457"/>
                      </a:lnTo>
                      <a:lnTo>
                        <a:pt x="1005" y="28561"/>
                      </a:lnTo>
                      <a:lnTo>
                        <a:pt x="942" y="28708"/>
                      </a:lnTo>
                      <a:lnTo>
                        <a:pt x="1046" y="28729"/>
                      </a:lnTo>
                      <a:lnTo>
                        <a:pt x="1067" y="28833"/>
                      </a:lnTo>
                      <a:lnTo>
                        <a:pt x="1046" y="28875"/>
                      </a:lnTo>
                      <a:lnTo>
                        <a:pt x="1088" y="28938"/>
                      </a:lnTo>
                      <a:lnTo>
                        <a:pt x="1109" y="29043"/>
                      </a:lnTo>
                      <a:lnTo>
                        <a:pt x="1088" y="29126"/>
                      </a:lnTo>
                      <a:lnTo>
                        <a:pt x="1172" y="29252"/>
                      </a:lnTo>
                      <a:lnTo>
                        <a:pt x="1193" y="29294"/>
                      </a:lnTo>
                      <a:lnTo>
                        <a:pt x="1256" y="29461"/>
                      </a:lnTo>
                      <a:lnTo>
                        <a:pt x="1318" y="29566"/>
                      </a:lnTo>
                      <a:lnTo>
                        <a:pt x="1360" y="29712"/>
                      </a:lnTo>
                      <a:lnTo>
                        <a:pt x="1402" y="29712"/>
                      </a:lnTo>
                      <a:lnTo>
                        <a:pt x="1507" y="29796"/>
                      </a:lnTo>
                      <a:lnTo>
                        <a:pt x="1632" y="29712"/>
                      </a:lnTo>
                      <a:lnTo>
                        <a:pt x="1737" y="29900"/>
                      </a:lnTo>
                      <a:lnTo>
                        <a:pt x="1883" y="29817"/>
                      </a:lnTo>
                      <a:lnTo>
                        <a:pt x="2009" y="29859"/>
                      </a:lnTo>
                      <a:lnTo>
                        <a:pt x="2113" y="30026"/>
                      </a:lnTo>
                      <a:lnTo>
                        <a:pt x="2260" y="29921"/>
                      </a:lnTo>
                      <a:lnTo>
                        <a:pt x="2427" y="29880"/>
                      </a:lnTo>
                      <a:lnTo>
                        <a:pt x="2511" y="29963"/>
                      </a:lnTo>
                      <a:lnTo>
                        <a:pt x="2574" y="29963"/>
                      </a:lnTo>
                      <a:lnTo>
                        <a:pt x="2846" y="30026"/>
                      </a:lnTo>
                      <a:lnTo>
                        <a:pt x="2867" y="30172"/>
                      </a:lnTo>
                      <a:lnTo>
                        <a:pt x="2825" y="30319"/>
                      </a:lnTo>
                      <a:lnTo>
                        <a:pt x="2930" y="30424"/>
                      </a:lnTo>
                      <a:lnTo>
                        <a:pt x="2930" y="30612"/>
                      </a:lnTo>
                      <a:lnTo>
                        <a:pt x="3055" y="30737"/>
                      </a:lnTo>
                      <a:lnTo>
                        <a:pt x="3139" y="30905"/>
                      </a:lnTo>
                      <a:lnTo>
                        <a:pt x="3285" y="31114"/>
                      </a:lnTo>
                      <a:lnTo>
                        <a:pt x="3390" y="31177"/>
                      </a:lnTo>
                      <a:lnTo>
                        <a:pt x="3453" y="31365"/>
                      </a:lnTo>
                      <a:lnTo>
                        <a:pt x="3620" y="31428"/>
                      </a:lnTo>
                      <a:lnTo>
                        <a:pt x="3829" y="31595"/>
                      </a:lnTo>
                      <a:lnTo>
                        <a:pt x="3871" y="31700"/>
                      </a:lnTo>
                      <a:lnTo>
                        <a:pt x="4018" y="31805"/>
                      </a:lnTo>
                      <a:lnTo>
                        <a:pt x="3934" y="31867"/>
                      </a:lnTo>
                      <a:lnTo>
                        <a:pt x="3829" y="32056"/>
                      </a:lnTo>
                      <a:lnTo>
                        <a:pt x="3557" y="32097"/>
                      </a:lnTo>
                      <a:lnTo>
                        <a:pt x="3411" y="31993"/>
                      </a:lnTo>
                      <a:lnTo>
                        <a:pt x="3369" y="32097"/>
                      </a:lnTo>
                      <a:lnTo>
                        <a:pt x="3369" y="32223"/>
                      </a:lnTo>
                      <a:lnTo>
                        <a:pt x="3474" y="32411"/>
                      </a:lnTo>
                      <a:lnTo>
                        <a:pt x="3453" y="32579"/>
                      </a:lnTo>
                      <a:lnTo>
                        <a:pt x="3578" y="32725"/>
                      </a:lnTo>
                      <a:lnTo>
                        <a:pt x="3578" y="32893"/>
                      </a:lnTo>
                      <a:lnTo>
                        <a:pt x="3683" y="32913"/>
                      </a:lnTo>
                      <a:lnTo>
                        <a:pt x="3808" y="32893"/>
                      </a:lnTo>
                      <a:lnTo>
                        <a:pt x="3808" y="32746"/>
                      </a:lnTo>
                      <a:lnTo>
                        <a:pt x="3892" y="32683"/>
                      </a:lnTo>
                      <a:lnTo>
                        <a:pt x="4185" y="32788"/>
                      </a:lnTo>
                      <a:lnTo>
                        <a:pt x="4457" y="32788"/>
                      </a:lnTo>
                      <a:lnTo>
                        <a:pt x="4624" y="32704"/>
                      </a:lnTo>
                      <a:lnTo>
                        <a:pt x="4750" y="32704"/>
                      </a:lnTo>
                      <a:lnTo>
                        <a:pt x="4834" y="32955"/>
                      </a:lnTo>
                      <a:lnTo>
                        <a:pt x="4959" y="33060"/>
                      </a:lnTo>
                      <a:lnTo>
                        <a:pt x="4875" y="33206"/>
                      </a:lnTo>
                      <a:lnTo>
                        <a:pt x="5043" y="33416"/>
                      </a:lnTo>
                      <a:lnTo>
                        <a:pt x="5357" y="33353"/>
                      </a:lnTo>
                      <a:lnTo>
                        <a:pt x="5461" y="33457"/>
                      </a:lnTo>
                      <a:lnTo>
                        <a:pt x="5482" y="33583"/>
                      </a:lnTo>
                      <a:lnTo>
                        <a:pt x="5587" y="33625"/>
                      </a:lnTo>
                      <a:lnTo>
                        <a:pt x="5587" y="33771"/>
                      </a:lnTo>
                      <a:lnTo>
                        <a:pt x="5650" y="33960"/>
                      </a:lnTo>
                      <a:lnTo>
                        <a:pt x="5901" y="34211"/>
                      </a:lnTo>
                      <a:lnTo>
                        <a:pt x="6005" y="34106"/>
                      </a:lnTo>
                      <a:lnTo>
                        <a:pt x="6173" y="34190"/>
                      </a:lnTo>
                      <a:lnTo>
                        <a:pt x="6298" y="34169"/>
                      </a:lnTo>
                      <a:lnTo>
                        <a:pt x="6424" y="34190"/>
                      </a:lnTo>
                      <a:lnTo>
                        <a:pt x="6612" y="34043"/>
                      </a:lnTo>
                      <a:lnTo>
                        <a:pt x="6696" y="34043"/>
                      </a:lnTo>
                      <a:lnTo>
                        <a:pt x="6821" y="34315"/>
                      </a:lnTo>
                      <a:lnTo>
                        <a:pt x="7010" y="34420"/>
                      </a:lnTo>
                      <a:lnTo>
                        <a:pt x="7051" y="34525"/>
                      </a:lnTo>
                      <a:lnTo>
                        <a:pt x="7135" y="34462"/>
                      </a:lnTo>
                      <a:lnTo>
                        <a:pt x="7344" y="34504"/>
                      </a:lnTo>
                      <a:lnTo>
                        <a:pt x="7491" y="34504"/>
                      </a:lnTo>
                      <a:lnTo>
                        <a:pt x="7595" y="34587"/>
                      </a:lnTo>
                      <a:lnTo>
                        <a:pt x="7742" y="34566"/>
                      </a:lnTo>
                      <a:lnTo>
                        <a:pt x="7888" y="34671"/>
                      </a:lnTo>
                      <a:lnTo>
                        <a:pt x="8077" y="34692"/>
                      </a:lnTo>
                      <a:lnTo>
                        <a:pt x="8160" y="34608"/>
                      </a:lnTo>
                      <a:lnTo>
                        <a:pt x="8202" y="34734"/>
                      </a:lnTo>
                      <a:lnTo>
                        <a:pt x="8286" y="34797"/>
                      </a:lnTo>
                      <a:lnTo>
                        <a:pt x="8286" y="34943"/>
                      </a:lnTo>
                      <a:lnTo>
                        <a:pt x="8181" y="35090"/>
                      </a:lnTo>
                      <a:lnTo>
                        <a:pt x="8056" y="35110"/>
                      </a:lnTo>
                      <a:lnTo>
                        <a:pt x="8014" y="35362"/>
                      </a:lnTo>
                      <a:lnTo>
                        <a:pt x="8181" y="35466"/>
                      </a:lnTo>
                      <a:lnTo>
                        <a:pt x="8202" y="35634"/>
                      </a:lnTo>
                      <a:lnTo>
                        <a:pt x="8119" y="35843"/>
                      </a:lnTo>
                      <a:lnTo>
                        <a:pt x="8160" y="35989"/>
                      </a:lnTo>
                      <a:lnTo>
                        <a:pt x="8056" y="36073"/>
                      </a:lnTo>
                      <a:lnTo>
                        <a:pt x="7763" y="36094"/>
                      </a:lnTo>
                      <a:lnTo>
                        <a:pt x="7637" y="36303"/>
                      </a:lnTo>
                      <a:lnTo>
                        <a:pt x="7554" y="36345"/>
                      </a:lnTo>
                      <a:lnTo>
                        <a:pt x="7533" y="36596"/>
                      </a:lnTo>
                      <a:lnTo>
                        <a:pt x="7554" y="36596"/>
                      </a:lnTo>
                      <a:lnTo>
                        <a:pt x="7658" y="36617"/>
                      </a:lnTo>
                      <a:lnTo>
                        <a:pt x="7784" y="36554"/>
                      </a:lnTo>
                      <a:lnTo>
                        <a:pt x="7951" y="36512"/>
                      </a:lnTo>
                      <a:lnTo>
                        <a:pt x="7972" y="36575"/>
                      </a:lnTo>
                      <a:lnTo>
                        <a:pt x="7951" y="36659"/>
                      </a:lnTo>
                      <a:lnTo>
                        <a:pt x="7637" y="36805"/>
                      </a:lnTo>
                      <a:lnTo>
                        <a:pt x="7491" y="36889"/>
                      </a:lnTo>
                      <a:lnTo>
                        <a:pt x="7554" y="36931"/>
                      </a:lnTo>
                      <a:lnTo>
                        <a:pt x="7637" y="36931"/>
                      </a:lnTo>
                      <a:lnTo>
                        <a:pt x="7554" y="37014"/>
                      </a:lnTo>
                      <a:lnTo>
                        <a:pt x="7428" y="36994"/>
                      </a:lnTo>
                      <a:lnTo>
                        <a:pt x="7240" y="37014"/>
                      </a:lnTo>
                      <a:lnTo>
                        <a:pt x="7323" y="37203"/>
                      </a:lnTo>
                      <a:lnTo>
                        <a:pt x="7386" y="37286"/>
                      </a:lnTo>
                      <a:lnTo>
                        <a:pt x="7449" y="37224"/>
                      </a:lnTo>
                      <a:lnTo>
                        <a:pt x="7470" y="37286"/>
                      </a:lnTo>
                      <a:lnTo>
                        <a:pt x="7575" y="37307"/>
                      </a:lnTo>
                      <a:lnTo>
                        <a:pt x="7575" y="37349"/>
                      </a:lnTo>
                      <a:lnTo>
                        <a:pt x="7491" y="37391"/>
                      </a:lnTo>
                      <a:lnTo>
                        <a:pt x="7449" y="37454"/>
                      </a:lnTo>
                      <a:lnTo>
                        <a:pt x="7365" y="37454"/>
                      </a:lnTo>
                      <a:lnTo>
                        <a:pt x="7323" y="37517"/>
                      </a:lnTo>
                      <a:lnTo>
                        <a:pt x="7323" y="37559"/>
                      </a:lnTo>
                      <a:lnTo>
                        <a:pt x="7177" y="37705"/>
                      </a:lnTo>
                      <a:lnTo>
                        <a:pt x="7177" y="37831"/>
                      </a:lnTo>
                      <a:lnTo>
                        <a:pt x="7240" y="37851"/>
                      </a:lnTo>
                      <a:lnTo>
                        <a:pt x="7219" y="38019"/>
                      </a:lnTo>
                      <a:lnTo>
                        <a:pt x="7114" y="37977"/>
                      </a:lnTo>
                      <a:lnTo>
                        <a:pt x="7072" y="38019"/>
                      </a:lnTo>
                      <a:lnTo>
                        <a:pt x="6968" y="37935"/>
                      </a:lnTo>
                      <a:lnTo>
                        <a:pt x="6842" y="37914"/>
                      </a:lnTo>
                      <a:lnTo>
                        <a:pt x="6842" y="37956"/>
                      </a:lnTo>
                      <a:lnTo>
                        <a:pt x="6905" y="38040"/>
                      </a:lnTo>
                      <a:lnTo>
                        <a:pt x="6821" y="38061"/>
                      </a:lnTo>
                      <a:lnTo>
                        <a:pt x="6738" y="38144"/>
                      </a:lnTo>
                      <a:lnTo>
                        <a:pt x="6863" y="38165"/>
                      </a:lnTo>
                      <a:lnTo>
                        <a:pt x="6947" y="38165"/>
                      </a:lnTo>
                      <a:lnTo>
                        <a:pt x="7114" y="38291"/>
                      </a:lnTo>
                      <a:lnTo>
                        <a:pt x="7114" y="38375"/>
                      </a:lnTo>
                      <a:lnTo>
                        <a:pt x="7240" y="38500"/>
                      </a:lnTo>
                      <a:lnTo>
                        <a:pt x="7449" y="38479"/>
                      </a:lnTo>
                      <a:lnTo>
                        <a:pt x="7679" y="38605"/>
                      </a:lnTo>
                      <a:lnTo>
                        <a:pt x="7847" y="38647"/>
                      </a:lnTo>
                      <a:lnTo>
                        <a:pt x="8202" y="38898"/>
                      </a:lnTo>
                      <a:lnTo>
                        <a:pt x="8286" y="39023"/>
                      </a:lnTo>
                      <a:lnTo>
                        <a:pt x="8391" y="39065"/>
                      </a:lnTo>
                      <a:lnTo>
                        <a:pt x="8412" y="39128"/>
                      </a:lnTo>
                      <a:lnTo>
                        <a:pt x="8516" y="39211"/>
                      </a:lnTo>
                      <a:lnTo>
                        <a:pt x="8600" y="39211"/>
                      </a:lnTo>
                      <a:lnTo>
                        <a:pt x="8621" y="39295"/>
                      </a:lnTo>
                      <a:lnTo>
                        <a:pt x="8725" y="39337"/>
                      </a:lnTo>
                      <a:lnTo>
                        <a:pt x="8788" y="39337"/>
                      </a:lnTo>
                      <a:lnTo>
                        <a:pt x="8893" y="39483"/>
                      </a:lnTo>
                      <a:lnTo>
                        <a:pt x="8997" y="39504"/>
                      </a:lnTo>
                      <a:lnTo>
                        <a:pt x="9039" y="39525"/>
                      </a:lnTo>
                      <a:lnTo>
                        <a:pt x="9102" y="39504"/>
                      </a:lnTo>
                      <a:lnTo>
                        <a:pt x="9248" y="39630"/>
                      </a:lnTo>
                      <a:lnTo>
                        <a:pt x="9248" y="39714"/>
                      </a:lnTo>
                      <a:lnTo>
                        <a:pt x="9374" y="39735"/>
                      </a:lnTo>
                      <a:lnTo>
                        <a:pt x="9520" y="39923"/>
                      </a:lnTo>
                      <a:lnTo>
                        <a:pt x="9583" y="40007"/>
                      </a:lnTo>
                      <a:lnTo>
                        <a:pt x="9625" y="40237"/>
                      </a:lnTo>
                      <a:lnTo>
                        <a:pt x="9730" y="40425"/>
                      </a:lnTo>
                      <a:lnTo>
                        <a:pt x="9688" y="40488"/>
                      </a:lnTo>
                      <a:lnTo>
                        <a:pt x="9730" y="40572"/>
                      </a:lnTo>
                      <a:cubicBezTo>
                        <a:pt x="9939" y="40572"/>
                        <a:pt x="10483" y="40572"/>
                        <a:pt x="10462" y="40446"/>
                      </a:cubicBezTo>
                      <a:lnTo>
                        <a:pt x="10420" y="40279"/>
                      </a:lnTo>
                      <a:lnTo>
                        <a:pt x="11090" y="40258"/>
                      </a:lnTo>
                      <a:cubicBezTo>
                        <a:pt x="11090" y="40258"/>
                        <a:pt x="11215" y="40383"/>
                        <a:pt x="11320" y="40383"/>
                      </a:cubicBezTo>
                      <a:cubicBezTo>
                        <a:pt x="11425" y="40383"/>
                        <a:pt x="11948" y="40153"/>
                        <a:pt x="11948" y="40153"/>
                      </a:cubicBezTo>
                      <a:cubicBezTo>
                        <a:pt x="11948" y="40153"/>
                        <a:pt x="12073" y="40174"/>
                        <a:pt x="12136" y="40279"/>
                      </a:cubicBezTo>
                      <a:cubicBezTo>
                        <a:pt x="12159" y="40337"/>
                        <a:pt x="12208" y="40350"/>
                        <a:pt x="12254" y="40350"/>
                      </a:cubicBezTo>
                      <a:cubicBezTo>
                        <a:pt x="12291" y="40350"/>
                        <a:pt x="12327" y="40341"/>
                        <a:pt x="12345" y="40341"/>
                      </a:cubicBezTo>
                      <a:lnTo>
                        <a:pt x="12345" y="40320"/>
                      </a:lnTo>
                      <a:lnTo>
                        <a:pt x="12492" y="40341"/>
                      </a:lnTo>
                      <a:lnTo>
                        <a:pt x="12764" y="40551"/>
                      </a:lnTo>
                      <a:lnTo>
                        <a:pt x="12826" y="40676"/>
                      </a:lnTo>
                      <a:lnTo>
                        <a:pt x="13098" y="40697"/>
                      </a:lnTo>
                      <a:lnTo>
                        <a:pt x="13140" y="40592"/>
                      </a:lnTo>
                      <a:lnTo>
                        <a:pt x="13308" y="40488"/>
                      </a:lnTo>
                      <a:lnTo>
                        <a:pt x="13496" y="40258"/>
                      </a:lnTo>
                      <a:lnTo>
                        <a:pt x="13433" y="40237"/>
                      </a:lnTo>
                      <a:lnTo>
                        <a:pt x="13119" y="39965"/>
                      </a:lnTo>
                      <a:lnTo>
                        <a:pt x="12910" y="39714"/>
                      </a:lnTo>
                      <a:lnTo>
                        <a:pt x="12889" y="39546"/>
                      </a:lnTo>
                      <a:lnTo>
                        <a:pt x="12805" y="39442"/>
                      </a:lnTo>
                      <a:lnTo>
                        <a:pt x="12805" y="39295"/>
                      </a:lnTo>
                      <a:lnTo>
                        <a:pt x="12785" y="39211"/>
                      </a:lnTo>
                      <a:lnTo>
                        <a:pt x="12764" y="39170"/>
                      </a:lnTo>
                      <a:lnTo>
                        <a:pt x="12680" y="39170"/>
                      </a:lnTo>
                      <a:lnTo>
                        <a:pt x="12680" y="39065"/>
                      </a:lnTo>
                      <a:lnTo>
                        <a:pt x="12722" y="39086"/>
                      </a:lnTo>
                      <a:lnTo>
                        <a:pt x="12764" y="38981"/>
                      </a:lnTo>
                      <a:lnTo>
                        <a:pt x="12805" y="38877"/>
                      </a:lnTo>
                      <a:lnTo>
                        <a:pt x="12722" y="38877"/>
                      </a:lnTo>
                      <a:lnTo>
                        <a:pt x="12680" y="38919"/>
                      </a:lnTo>
                      <a:lnTo>
                        <a:pt x="12554" y="38856"/>
                      </a:lnTo>
                      <a:lnTo>
                        <a:pt x="12554" y="38667"/>
                      </a:lnTo>
                      <a:lnTo>
                        <a:pt x="12450" y="38647"/>
                      </a:lnTo>
                      <a:lnTo>
                        <a:pt x="12366" y="38563"/>
                      </a:lnTo>
                      <a:lnTo>
                        <a:pt x="12282" y="38584"/>
                      </a:lnTo>
                      <a:lnTo>
                        <a:pt x="12178" y="38584"/>
                      </a:lnTo>
                      <a:lnTo>
                        <a:pt x="12136" y="38375"/>
                      </a:lnTo>
                      <a:lnTo>
                        <a:pt x="12157" y="38270"/>
                      </a:lnTo>
                      <a:lnTo>
                        <a:pt x="12199" y="38228"/>
                      </a:lnTo>
                      <a:lnTo>
                        <a:pt x="12199" y="38019"/>
                      </a:lnTo>
                      <a:lnTo>
                        <a:pt x="12261" y="37914"/>
                      </a:lnTo>
                      <a:lnTo>
                        <a:pt x="12282" y="37768"/>
                      </a:lnTo>
                      <a:lnTo>
                        <a:pt x="12345" y="37726"/>
                      </a:lnTo>
                      <a:lnTo>
                        <a:pt x="12366" y="37600"/>
                      </a:lnTo>
                      <a:lnTo>
                        <a:pt x="12408" y="37517"/>
                      </a:lnTo>
                      <a:lnTo>
                        <a:pt x="12408" y="37433"/>
                      </a:lnTo>
                      <a:lnTo>
                        <a:pt x="12471" y="37454"/>
                      </a:lnTo>
                      <a:lnTo>
                        <a:pt x="12513" y="37517"/>
                      </a:lnTo>
                      <a:lnTo>
                        <a:pt x="12575" y="37496"/>
                      </a:lnTo>
                      <a:lnTo>
                        <a:pt x="12596" y="37412"/>
                      </a:lnTo>
                      <a:lnTo>
                        <a:pt x="12659" y="37454"/>
                      </a:lnTo>
                      <a:lnTo>
                        <a:pt x="12701" y="37412"/>
                      </a:lnTo>
                      <a:lnTo>
                        <a:pt x="12785" y="37412"/>
                      </a:lnTo>
                      <a:lnTo>
                        <a:pt x="12868" y="37349"/>
                      </a:lnTo>
                      <a:lnTo>
                        <a:pt x="12826" y="37307"/>
                      </a:lnTo>
                      <a:lnTo>
                        <a:pt x="12764" y="37286"/>
                      </a:lnTo>
                      <a:lnTo>
                        <a:pt x="12805" y="37286"/>
                      </a:lnTo>
                      <a:cubicBezTo>
                        <a:pt x="12805" y="37286"/>
                        <a:pt x="12826" y="37307"/>
                        <a:pt x="12868" y="37307"/>
                      </a:cubicBezTo>
                      <a:cubicBezTo>
                        <a:pt x="12889" y="37307"/>
                        <a:pt x="12931" y="37286"/>
                        <a:pt x="12931" y="37286"/>
                      </a:cubicBezTo>
                      <a:lnTo>
                        <a:pt x="12994" y="37328"/>
                      </a:lnTo>
                      <a:lnTo>
                        <a:pt x="13036" y="37307"/>
                      </a:lnTo>
                      <a:lnTo>
                        <a:pt x="13015" y="37245"/>
                      </a:lnTo>
                      <a:lnTo>
                        <a:pt x="12847" y="37140"/>
                      </a:lnTo>
                      <a:lnTo>
                        <a:pt x="12931" y="37119"/>
                      </a:lnTo>
                      <a:lnTo>
                        <a:pt x="13036" y="37140"/>
                      </a:lnTo>
                      <a:lnTo>
                        <a:pt x="13098" y="37119"/>
                      </a:lnTo>
                      <a:lnTo>
                        <a:pt x="13161" y="37140"/>
                      </a:lnTo>
                      <a:lnTo>
                        <a:pt x="13161" y="37077"/>
                      </a:lnTo>
                      <a:lnTo>
                        <a:pt x="13119" y="37035"/>
                      </a:lnTo>
                      <a:lnTo>
                        <a:pt x="13161" y="37035"/>
                      </a:lnTo>
                      <a:lnTo>
                        <a:pt x="13161" y="36994"/>
                      </a:lnTo>
                      <a:lnTo>
                        <a:pt x="13119" y="36931"/>
                      </a:lnTo>
                      <a:lnTo>
                        <a:pt x="13203" y="36910"/>
                      </a:lnTo>
                      <a:lnTo>
                        <a:pt x="13203" y="36868"/>
                      </a:lnTo>
                      <a:lnTo>
                        <a:pt x="13203" y="36805"/>
                      </a:lnTo>
                      <a:lnTo>
                        <a:pt x="13057" y="36722"/>
                      </a:lnTo>
                      <a:lnTo>
                        <a:pt x="12910" y="36784"/>
                      </a:lnTo>
                      <a:lnTo>
                        <a:pt x="12701" y="36659"/>
                      </a:lnTo>
                      <a:lnTo>
                        <a:pt x="12701" y="36554"/>
                      </a:lnTo>
                      <a:lnTo>
                        <a:pt x="12910" y="36554"/>
                      </a:lnTo>
                      <a:lnTo>
                        <a:pt x="12680" y="36157"/>
                      </a:lnTo>
                      <a:lnTo>
                        <a:pt x="12408" y="35885"/>
                      </a:lnTo>
                      <a:lnTo>
                        <a:pt x="12052" y="35780"/>
                      </a:lnTo>
                      <a:lnTo>
                        <a:pt x="11989" y="35864"/>
                      </a:lnTo>
                      <a:lnTo>
                        <a:pt x="11822" y="35717"/>
                      </a:lnTo>
                      <a:lnTo>
                        <a:pt x="11843" y="35634"/>
                      </a:lnTo>
                      <a:lnTo>
                        <a:pt x="11738" y="35466"/>
                      </a:lnTo>
                      <a:lnTo>
                        <a:pt x="11508" y="35403"/>
                      </a:lnTo>
                      <a:lnTo>
                        <a:pt x="11571" y="35194"/>
                      </a:lnTo>
                      <a:lnTo>
                        <a:pt x="11634" y="34818"/>
                      </a:lnTo>
                      <a:lnTo>
                        <a:pt x="11550" y="34734"/>
                      </a:lnTo>
                      <a:lnTo>
                        <a:pt x="11529" y="34462"/>
                      </a:lnTo>
                      <a:lnTo>
                        <a:pt x="11634" y="34399"/>
                      </a:lnTo>
                      <a:lnTo>
                        <a:pt x="11780" y="34211"/>
                      </a:lnTo>
                      <a:lnTo>
                        <a:pt x="11780" y="34064"/>
                      </a:lnTo>
                      <a:lnTo>
                        <a:pt x="11864" y="33960"/>
                      </a:lnTo>
                      <a:lnTo>
                        <a:pt x="12178" y="34253"/>
                      </a:lnTo>
                      <a:lnTo>
                        <a:pt x="12199" y="34357"/>
                      </a:lnTo>
                      <a:lnTo>
                        <a:pt x="12387" y="34462"/>
                      </a:lnTo>
                      <a:lnTo>
                        <a:pt x="12575" y="34420"/>
                      </a:lnTo>
                      <a:lnTo>
                        <a:pt x="12554" y="34253"/>
                      </a:lnTo>
                      <a:lnTo>
                        <a:pt x="12617" y="34190"/>
                      </a:lnTo>
                      <a:lnTo>
                        <a:pt x="12492" y="33729"/>
                      </a:lnTo>
                      <a:lnTo>
                        <a:pt x="12680" y="33688"/>
                      </a:lnTo>
                      <a:lnTo>
                        <a:pt x="12868" y="33688"/>
                      </a:lnTo>
                      <a:lnTo>
                        <a:pt x="12868" y="33562"/>
                      </a:lnTo>
                      <a:lnTo>
                        <a:pt x="12785" y="33457"/>
                      </a:lnTo>
                      <a:lnTo>
                        <a:pt x="12805" y="33332"/>
                      </a:lnTo>
                      <a:lnTo>
                        <a:pt x="12994" y="33227"/>
                      </a:lnTo>
                      <a:lnTo>
                        <a:pt x="13077" y="33227"/>
                      </a:lnTo>
                      <a:lnTo>
                        <a:pt x="13119" y="33060"/>
                      </a:lnTo>
                      <a:lnTo>
                        <a:pt x="13203" y="32997"/>
                      </a:lnTo>
                      <a:lnTo>
                        <a:pt x="13329" y="33018"/>
                      </a:lnTo>
                      <a:lnTo>
                        <a:pt x="13349" y="32913"/>
                      </a:lnTo>
                      <a:lnTo>
                        <a:pt x="13329" y="32809"/>
                      </a:lnTo>
                      <a:lnTo>
                        <a:pt x="13349" y="32725"/>
                      </a:lnTo>
                      <a:lnTo>
                        <a:pt x="13538" y="32830"/>
                      </a:lnTo>
                      <a:lnTo>
                        <a:pt x="13663" y="32893"/>
                      </a:lnTo>
                      <a:lnTo>
                        <a:pt x="13642" y="32955"/>
                      </a:lnTo>
                      <a:lnTo>
                        <a:pt x="13559" y="33060"/>
                      </a:lnTo>
                      <a:lnTo>
                        <a:pt x="13621" y="33123"/>
                      </a:lnTo>
                      <a:lnTo>
                        <a:pt x="13726" y="33060"/>
                      </a:lnTo>
                      <a:lnTo>
                        <a:pt x="13747" y="32997"/>
                      </a:lnTo>
                      <a:lnTo>
                        <a:pt x="13831" y="32934"/>
                      </a:lnTo>
                      <a:lnTo>
                        <a:pt x="13831" y="33039"/>
                      </a:lnTo>
                      <a:lnTo>
                        <a:pt x="13914" y="32955"/>
                      </a:lnTo>
                      <a:lnTo>
                        <a:pt x="13935" y="32893"/>
                      </a:lnTo>
                      <a:lnTo>
                        <a:pt x="14040" y="32893"/>
                      </a:lnTo>
                      <a:lnTo>
                        <a:pt x="14165" y="32809"/>
                      </a:lnTo>
                      <a:lnTo>
                        <a:pt x="14270" y="32809"/>
                      </a:lnTo>
                      <a:lnTo>
                        <a:pt x="14312" y="32955"/>
                      </a:lnTo>
                      <a:lnTo>
                        <a:pt x="14458" y="33039"/>
                      </a:lnTo>
                      <a:lnTo>
                        <a:pt x="14668" y="32955"/>
                      </a:lnTo>
                      <a:lnTo>
                        <a:pt x="14772" y="32955"/>
                      </a:lnTo>
                      <a:lnTo>
                        <a:pt x="14814" y="33039"/>
                      </a:lnTo>
                      <a:lnTo>
                        <a:pt x="14898" y="33039"/>
                      </a:lnTo>
                      <a:lnTo>
                        <a:pt x="15002" y="33206"/>
                      </a:lnTo>
                      <a:lnTo>
                        <a:pt x="15128" y="33206"/>
                      </a:lnTo>
                      <a:lnTo>
                        <a:pt x="15233" y="33332"/>
                      </a:lnTo>
                      <a:lnTo>
                        <a:pt x="15400" y="33457"/>
                      </a:lnTo>
                      <a:lnTo>
                        <a:pt x="15463" y="33457"/>
                      </a:lnTo>
                      <a:lnTo>
                        <a:pt x="15526" y="33541"/>
                      </a:lnTo>
                      <a:lnTo>
                        <a:pt x="15526" y="33667"/>
                      </a:lnTo>
                      <a:lnTo>
                        <a:pt x="15609" y="33688"/>
                      </a:lnTo>
                      <a:lnTo>
                        <a:pt x="15672" y="33583"/>
                      </a:lnTo>
                      <a:lnTo>
                        <a:pt x="15672" y="33437"/>
                      </a:lnTo>
                      <a:lnTo>
                        <a:pt x="15777" y="33353"/>
                      </a:lnTo>
                      <a:lnTo>
                        <a:pt x="15860" y="33457"/>
                      </a:lnTo>
                      <a:lnTo>
                        <a:pt x="16070" y="33478"/>
                      </a:lnTo>
                      <a:lnTo>
                        <a:pt x="16153" y="33583"/>
                      </a:lnTo>
                      <a:lnTo>
                        <a:pt x="16258" y="33625"/>
                      </a:lnTo>
                      <a:lnTo>
                        <a:pt x="16383" y="33520"/>
                      </a:lnTo>
                      <a:lnTo>
                        <a:pt x="16383" y="33311"/>
                      </a:lnTo>
                      <a:lnTo>
                        <a:pt x="16509" y="33311"/>
                      </a:lnTo>
                      <a:lnTo>
                        <a:pt x="16509" y="33206"/>
                      </a:lnTo>
                      <a:lnTo>
                        <a:pt x="16614" y="33165"/>
                      </a:lnTo>
                      <a:lnTo>
                        <a:pt x="16697" y="33248"/>
                      </a:lnTo>
                      <a:lnTo>
                        <a:pt x="16760" y="33144"/>
                      </a:lnTo>
                      <a:lnTo>
                        <a:pt x="16886" y="33123"/>
                      </a:lnTo>
                      <a:lnTo>
                        <a:pt x="17032" y="33269"/>
                      </a:lnTo>
                      <a:lnTo>
                        <a:pt x="17074" y="33332"/>
                      </a:lnTo>
                      <a:lnTo>
                        <a:pt x="17220" y="33311"/>
                      </a:lnTo>
                      <a:lnTo>
                        <a:pt x="17199" y="33165"/>
                      </a:lnTo>
                      <a:lnTo>
                        <a:pt x="17283" y="33144"/>
                      </a:lnTo>
                      <a:lnTo>
                        <a:pt x="17409" y="33144"/>
                      </a:lnTo>
                      <a:lnTo>
                        <a:pt x="17451" y="33060"/>
                      </a:lnTo>
                      <a:lnTo>
                        <a:pt x="17597" y="33144"/>
                      </a:lnTo>
                      <a:lnTo>
                        <a:pt x="17660" y="33206"/>
                      </a:lnTo>
                      <a:lnTo>
                        <a:pt x="17639" y="33269"/>
                      </a:lnTo>
                      <a:lnTo>
                        <a:pt x="17555" y="33332"/>
                      </a:lnTo>
                      <a:lnTo>
                        <a:pt x="17660" y="33457"/>
                      </a:lnTo>
                      <a:lnTo>
                        <a:pt x="17764" y="33478"/>
                      </a:lnTo>
                      <a:lnTo>
                        <a:pt x="17827" y="33457"/>
                      </a:lnTo>
                      <a:lnTo>
                        <a:pt x="17911" y="33520"/>
                      </a:lnTo>
                      <a:lnTo>
                        <a:pt x="18078" y="33520"/>
                      </a:lnTo>
                      <a:lnTo>
                        <a:pt x="18287" y="33625"/>
                      </a:lnTo>
                      <a:lnTo>
                        <a:pt x="18434" y="33583"/>
                      </a:lnTo>
                      <a:lnTo>
                        <a:pt x="18476" y="33457"/>
                      </a:lnTo>
                      <a:lnTo>
                        <a:pt x="18476" y="33353"/>
                      </a:lnTo>
                      <a:lnTo>
                        <a:pt x="18539" y="33311"/>
                      </a:lnTo>
                      <a:lnTo>
                        <a:pt x="18706" y="33416"/>
                      </a:lnTo>
                      <a:lnTo>
                        <a:pt x="18873" y="33437"/>
                      </a:lnTo>
                      <a:lnTo>
                        <a:pt x="19062" y="33353"/>
                      </a:lnTo>
                      <a:lnTo>
                        <a:pt x="19103" y="33248"/>
                      </a:lnTo>
                      <a:lnTo>
                        <a:pt x="19083" y="32809"/>
                      </a:lnTo>
                      <a:lnTo>
                        <a:pt x="19020" y="32746"/>
                      </a:lnTo>
                      <a:lnTo>
                        <a:pt x="18852" y="32746"/>
                      </a:lnTo>
                      <a:lnTo>
                        <a:pt x="18748" y="32683"/>
                      </a:lnTo>
                      <a:lnTo>
                        <a:pt x="18706" y="32621"/>
                      </a:lnTo>
                      <a:lnTo>
                        <a:pt x="18580" y="32600"/>
                      </a:lnTo>
                      <a:lnTo>
                        <a:pt x="18497" y="32516"/>
                      </a:lnTo>
                      <a:lnTo>
                        <a:pt x="18371" y="32516"/>
                      </a:lnTo>
                      <a:lnTo>
                        <a:pt x="18371" y="32432"/>
                      </a:lnTo>
                      <a:lnTo>
                        <a:pt x="18350" y="32369"/>
                      </a:lnTo>
                      <a:lnTo>
                        <a:pt x="18371" y="32307"/>
                      </a:lnTo>
                      <a:lnTo>
                        <a:pt x="18476" y="32307"/>
                      </a:lnTo>
                      <a:lnTo>
                        <a:pt x="18497" y="32181"/>
                      </a:lnTo>
                      <a:lnTo>
                        <a:pt x="18580" y="32077"/>
                      </a:lnTo>
                      <a:lnTo>
                        <a:pt x="18559" y="31951"/>
                      </a:lnTo>
                      <a:lnTo>
                        <a:pt x="18476" y="31951"/>
                      </a:lnTo>
                      <a:lnTo>
                        <a:pt x="18476" y="31805"/>
                      </a:lnTo>
                      <a:lnTo>
                        <a:pt x="18601" y="31637"/>
                      </a:lnTo>
                      <a:lnTo>
                        <a:pt x="18748" y="31491"/>
                      </a:lnTo>
                      <a:lnTo>
                        <a:pt x="18978" y="31470"/>
                      </a:lnTo>
                      <a:lnTo>
                        <a:pt x="19083" y="31491"/>
                      </a:lnTo>
                      <a:lnTo>
                        <a:pt x="19166" y="31449"/>
                      </a:lnTo>
                      <a:lnTo>
                        <a:pt x="19166" y="31344"/>
                      </a:lnTo>
                      <a:lnTo>
                        <a:pt x="19062" y="31323"/>
                      </a:lnTo>
                      <a:lnTo>
                        <a:pt x="18978" y="31219"/>
                      </a:lnTo>
                      <a:lnTo>
                        <a:pt x="18873" y="31219"/>
                      </a:lnTo>
                      <a:lnTo>
                        <a:pt x="18790" y="31260"/>
                      </a:lnTo>
                      <a:lnTo>
                        <a:pt x="18685" y="31219"/>
                      </a:lnTo>
                      <a:lnTo>
                        <a:pt x="18539" y="31219"/>
                      </a:lnTo>
                      <a:lnTo>
                        <a:pt x="18539" y="31135"/>
                      </a:lnTo>
                      <a:lnTo>
                        <a:pt x="18580" y="31072"/>
                      </a:lnTo>
                      <a:lnTo>
                        <a:pt x="18748" y="31072"/>
                      </a:lnTo>
                      <a:lnTo>
                        <a:pt x="18685" y="30947"/>
                      </a:lnTo>
                      <a:lnTo>
                        <a:pt x="18539" y="30968"/>
                      </a:lnTo>
                      <a:lnTo>
                        <a:pt x="18434" y="30947"/>
                      </a:lnTo>
                      <a:lnTo>
                        <a:pt x="18476" y="30905"/>
                      </a:lnTo>
                      <a:lnTo>
                        <a:pt x="18434" y="30758"/>
                      </a:lnTo>
                      <a:lnTo>
                        <a:pt x="18476" y="30737"/>
                      </a:lnTo>
                      <a:lnTo>
                        <a:pt x="18601" y="30737"/>
                      </a:lnTo>
                      <a:lnTo>
                        <a:pt x="18664" y="30654"/>
                      </a:lnTo>
                      <a:lnTo>
                        <a:pt x="18748" y="30654"/>
                      </a:lnTo>
                      <a:lnTo>
                        <a:pt x="18769" y="30716"/>
                      </a:lnTo>
                      <a:lnTo>
                        <a:pt x="18894" y="30696"/>
                      </a:lnTo>
                      <a:lnTo>
                        <a:pt x="18999" y="30758"/>
                      </a:lnTo>
                      <a:lnTo>
                        <a:pt x="19062" y="30716"/>
                      </a:lnTo>
                      <a:lnTo>
                        <a:pt x="19062" y="30633"/>
                      </a:lnTo>
                      <a:lnTo>
                        <a:pt x="19166" y="30591"/>
                      </a:lnTo>
                      <a:lnTo>
                        <a:pt x="19271" y="30591"/>
                      </a:lnTo>
                      <a:lnTo>
                        <a:pt x="19334" y="30696"/>
                      </a:lnTo>
                      <a:lnTo>
                        <a:pt x="19396" y="30612"/>
                      </a:lnTo>
                      <a:lnTo>
                        <a:pt x="19396" y="30528"/>
                      </a:lnTo>
                      <a:lnTo>
                        <a:pt x="19606" y="30486"/>
                      </a:lnTo>
                      <a:lnTo>
                        <a:pt x="19731" y="30486"/>
                      </a:lnTo>
                      <a:lnTo>
                        <a:pt x="19899" y="30403"/>
                      </a:lnTo>
                      <a:lnTo>
                        <a:pt x="20045" y="30403"/>
                      </a:lnTo>
                      <a:lnTo>
                        <a:pt x="20066" y="30340"/>
                      </a:lnTo>
                      <a:lnTo>
                        <a:pt x="20233" y="30235"/>
                      </a:lnTo>
                      <a:lnTo>
                        <a:pt x="20359" y="30235"/>
                      </a:lnTo>
                      <a:lnTo>
                        <a:pt x="20443" y="30193"/>
                      </a:lnTo>
                      <a:lnTo>
                        <a:pt x="20526" y="30193"/>
                      </a:lnTo>
                      <a:lnTo>
                        <a:pt x="20589" y="30214"/>
                      </a:lnTo>
                      <a:lnTo>
                        <a:pt x="20652" y="30172"/>
                      </a:lnTo>
                      <a:lnTo>
                        <a:pt x="20652" y="30026"/>
                      </a:lnTo>
                      <a:lnTo>
                        <a:pt x="20736" y="29984"/>
                      </a:lnTo>
                      <a:lnTo>
                        <a:pt x="20861" y="29984"/>
                      </a:lnTo>
                      <a:lnTo>
                        <a:pt x="20882" y="29900"/>
                      </a:lnTo>
                      <a:lnTo>
                        <a:pt x="20966" y="29859"/>
                      </a:lnTo>
                      <a:lnTo>
                        <a:pt x="21008" y="29900"/>
                      </a:lnTo>
                      <a:lnTo>
                        <a:pt x="21091" y="29921"/>
                      </a:lnTo>
                      <a:lnTo>
                        <a:pt x="21196" y="29880"/>
                      </a:lnTo>
                      <a:lnTo>
                        <a:pt x="21321" y="29817"/>
                      </a:lnTo>
                      <a:lnTo>
                        <a:pt x="21572" y="29670"/>
                      </a:lnTo>
                      <a:lnTo>
                        <a:pt x="21614" y="29670"/>
                      </a:lnTo>
                      <a:lnTo>
                        <a:pt x="21677" y="29649"/>
                      </a:lnTo>
                      <a:lnTo>
                        <a:pt x="21803" y="29608"/>
                      </a:lnTo>
                      <a:lnTo>
                        <a:pt x="21886" y="29503"/>
                      </a:lnTo>
                      <a:lnTo>
                        <a:pt x="21949" y="29545"/>
                      </a:lnTo>
                      <a:lnTo>
                        <a:pt x="22116" y="29503"/>
                      </a:lnTo>
                      <a:lnTo>
                        <a:pt x="22116" y="29440"/>
                      </a:lnTo>
                      <a:lnTo>
                        <a:pt x="22054" y="29356"/>
                      </a:lnTo>
                      <a:lnTo>
                        <a:pt x="22116" y="29336"/>
                      </a:lnTo>
                      <a:lnTo>
                        <a:pt x="22284" y="29336"/>
                      </a:lnTo>
                      <a:lnTo>
                        <a:pt x="22305" y="29231"/>
                      </a:lnTo>
                      <a:lnTo>
                        <a:pt x="22409" y="29168"/>
                      </a:lnTo>
                      <a:lnTo>
                        <a:pt x="22472" y="29168"/>
                      </a:lnTo>
                      <a:lnTo>
                        <a:pt x="22556" y="29147"/>
                      </a:lnTo>
                      <a:lnTo>
                        <a:pt x="22681" y="29189"/>
                      </a:lnTo>
                      <a:lnTo>
                        <a:pt x="22849" y="29168"/>
                      </a:lnTo>
                      <a:lnTo>
                        <a:pt x="22974" y="29273"/>
                      </a:lnTo>
                      <a:lnTo>
                        <a:pt x="23100" y="29273"/>
                      </a:lnTo>
                      <a:lnTo>
                        <a:pt x="23246" y="29210"/>
                      </a:lnTo>
                      <a:lnTo>
                        <a:pt x="23372" y="29210"/>
                      </a:lnTo>
                      <a:lnTo>
                        <a:pt x="23414" y="29356"/>
                      </a:lnTo>
                      <a:lnTo>
                        <a:pt x="23477" y="29377"/>
                      </a:lnTo>
                      <a:lnTo>
                        <a:pt x="23539" y="29503"/>
                      </a:lnTo>
                      <a:lnTo>
                        <a:pt x="23602" y="29608"/>
                      </a:lnTo>
                      <a:lnTo>
                        <a:pt x="23686" y="29670"/>
                      </a:lnTo>
                      <a:lnTo>
                        <a:pt x="23686" y="29712"/>
                      </a:lnTo>
                      <a:lnTo>
                        <a:pt x="23665" y="29817"/>
                      </a:lnTo>
                      <a:lnTo>
                        <a:pt x="23686" y="29921"/>
                      </a:lnTo>
                      <a:lnTo>
                        <a:pt x="23686" y="29984"/>
                      </a:lnTo>
                      <a:lnTo>
                        <a:pt x="23602" y="30005"/>
                      </a:lnTo>
                      <a:lnTo>
                        <a:pt x="23665" y="30110"/>
                      </a:lnTo>
                      <a:lnTo>
                        <a:pt x="23749" y="30152"/>
                      </a:lnTo>
                      <a:lnTo>
                        <a:pt x="23874" y="30089"/>
                      </a:lnTo>
                      <a:lnTo>
                        <a:pt x="23937" y="30152"/>
                      </a:lnTo>
                      <a:lnTo>
                        <a:pt x="24000" y="30131"/>
                      </a:lnTo>
                      <a:lnTo>
                        <a:pt x="24021" y="30026"/>
                      </a:lnTo>
                      <a:lnTo>
                        <a:pt x="24104" y="30005"/>
                      </a:lnTo>
                      <a:lnTo>
                        <a:pt x="24125" y="30110"/>
                      </a:lnTo>
                      <a:lnTo>
                        <a:pt x="24209" y="30110"/>
                      </a:lnTo>
                      <a:lnTo>
                        <a:pt x="24230" y="30026"/>
                      </a:lnTo>
                      <a:lnTo>
                        <a:pt x="24188" y="29921"/>
                      </a:lnTo>
                      <a:lnTo>
                        <a:pt x="24209" y="29900"/>
                      </a:lnTo>
                      <a:lnTo>
                        <a:pt x="24418" y="30026"/>
                      </a:lnTo>
                      <a:lnTo>
                        <a:pt x="24439" y="30214"/>
                      </a:lnTo>
                      <a:lnTo>
                        <a:pt x="24523" y="30340"/>
                      </a:lnTo>
                      <a:lnTo>
                        <a:pt x="24606" y="30340"/>
                      </a:lnTo>
                      <a:lnTo>
                        <a:pt x="24669" y="30256"/>
                      </a:lnTo>
                      <a:lnTo>
                        <a:pt x="24627" y="30235"/>
                      </a:lnTo>
                      <a:lnTo>
                        <a:pt x="24606" y="30193"/>
                      </a:lnTo>
                      <a:lnTo>
                        <a:pt x="24732" y="30152"/>
                      </a:lnTo>
                      <a:lnTo>
                        <a:pt x="24941" y="30256"/>
                      </a:lnTo>
                      <a:lnTo>
                        <a:pt x="25025" y="30256"/>
                      </a:lnTo>
                      <a:lnTo>
                        <a:pt x="25088" y="30193"/>
                      </a:lnTo>
                      <a:lnTo>
                        <a:pt x="25150" y="30214"/>
                      </a:lnTo>
                      <a:lnTo>
                        <a:pt x="25088" y="30319"/>
                      </a:lnTo>
                      <a:lnTo>
                        <a:pt x="25025" y="30361"/>
                      </a:lnTo>
                      <a:lnTo>
                        <a:pt x="25025" y="30528"/>
                      </a:lnTo>
                      <a:lnTo>
                        <a:pt x="25088" y="30633"/>
                      </a:lnTo>
                      <a:lnTo>
                        <a:pt x="25171" y="30633"/>
                      </a:lnTo>
                      <a:lnTo>
                        <a:pt x="25255" y="30549"/>
                      </a:lnTo>
                      <a:lnTo>
                        <a:pt x="25381" y="30528"/>
                      </a:lnTo>
                      <a:lnTo>
                        <a:pt x="25611" y="30570"/>
                      </a:lnTo>
                      <a:lnTo>
                        <a:pt x="25673" y="30612"/>
                      </a:lnTo>
                      <a:lnTo>
                        <a:pt x="25757" y="30549"/>
                      </a:lnTo>
                      <a:lnTo>
                        <a:pt x="25715" y="30424"/>
                      </a:lnTo>
                      <a:lnTo>
                        <a:pt x="25820" y="30361"/>
                      </a:lnTo>
                      <a:lnTo>
                        <a:pt x="25987" y="30340"/>
                      </a:lnTo>
                      <a:lnTo>
                        <a:pt x="26092" y="30256"/>
                      </a:lnTo>
                      <a:lnTo>
                        <a:pt x="26134" y="30152"/>
                      </a:lnTo>
                      <a:lnTo>
                        <a:pt x="26217" y="30089"/>
                      </a:lnTo>
                      <a:lnTo>
                        <a:pt x="26217" y="30005"/>
                      </a:lnTo>
                      <a:lnTo>
                        <a:pt x="26343" y="29880"/>
                      </a:lnTo>
                      <a:lnTo>
                        <a:pt x="26448" y="29838"/>
                      </a:lnTo>
                      <a:lnTo>
                        <a:pt x="26531" y="29733"/>
                      </a:lnTo>
                      <a:lnTo>
                        <a:pt x="26657" y="29712"/>
                      </a:lnTo>
                      <a:lnTo>
                        <a:pt x="26824" y="29670"/>
                      </a:lnTo>
                      <a:lnTo>
                        <a:pt x="26866" y="29712"/>
                      </a:lnTo>
                      <a:lnTo>
                        <a:pt x="26866" y="29817"/>
                      </a:lnTo>
                      <a:lnTo>
                        <a:pt x="27138" y="29900"/>
                      </a:lnTo>
                      <a:lnTo>
                        <a:pt x="27054" y="29921"/>
                      </a:lnTo>
                      <a:lnTo>
                        <a:pt x="27117" y="30005"/>
                      </a:lnTo>
                      <a:lnTo>
                        <a:pt x="28163" y="30800"/>
                      </a:lnTo>
                      <a:lnTo>
                        <a:pt x="29565" y="32579"/>
                      </a:lnTo>
                      <a:lnTo>
                        <a:pt x="29712" y="32537"/>
                      </a:lnTo>
                      <a:lnTo>
                        <a:pt x="29816" y="32495"/>
                      </a:lnTo>
                      <a:lnTo>
                        <a:pt x="29837" y="32411"/>
                      </a:lnTo>
                      <a:lnTo>
                        <a:pt x="29816" y="32390"/>
                      </a:lnTo>
                      <a:lnTo>
                        <a:pt x="29816" y="32265"/>
                      </a:lnTo>
                      <a:lnTo>
                        <a:pt x="29879" y="32202"/>
                      </a:lnTo>
                      <a:lnTo>
                        <a:pt x="30047" y="32286"/>
                      </a:lnTo>
                      <a:lnTo>
                        <a:pt x="30026" y="32369"/>
                      </a:lnTo>
                      <a:lnTo>
                        <a:pt x="30026" y="32432"/>
                      </a:lnTo>
                      <a:lnTo>
                        <a:pt x="30151" y="32474"/>
                      </a:lnTo>
                      <a:lnTo>
                        <a:pt x="30214" y="32537"/>
                      </a:lnTo>
                      <a:lnTo>
                        <a:pt x="30319" y="32537"/>
                      </a:lnTo>
                      <a:lnTo>
                        <a:pt x="30402" y="32495"/>
                      </a:lnTo>
                      <a:lnTo>
                        <a:pt x="30507" y="32474"/>
                      </a:lnTo>
                      <a:lnTo>
                        <a:pt x="30674" y="32537"/>
                      </a:lnTo>
                      <a:lnTo>
                        <a:pt x="30800" y="32495"/>
                      </a:lnTo>
                      <a:lnTo>
                        <a:pt x="30904" y="32516"/>
                      </a:lnTo>
                      <a:lnTo>
                        <a:pt x="31009" y="32474"/>
                      </a:lnTo>
                      <a:lnTo>
                        <a:pt x="31030" y="32411"/>
                      </a:lnTo>
                      <a:lnTo>
                        <a:pt x="31009" y="32369"/>
                      </a:lnTo>
                      <a:lnTo>
                        <a:pt x="31030" y="32307"/>
                      </a:lnTo>
                      <a:lnTo>
                        <a:pt x="31218" y="32286"/>
                      </a:lnTo>
                      <a:lnTo>
                        <a:pt x="31427" y="32286"/>
                      </a:lnTo>
                      <a:lnTo>
                        <a:pt x="31616" y="32328"/>
                      </a:lnTo>
                      <a:lnTo>
                        <a:pt x="31783" y="32474"/>
                      </a:lnTo>
                      <a:lnTo>
                        <a:pt x="31888" y="32621"/>
                      </a:lnTo>
                      <a:lnTo>
                        <a:pt x="31951" y="32746"/>
                      </a:lnTo>
                      <a:lnTo>
                        <a:pt x="32013" y="32746"/>
                      </a:lnTo>
                      <a:lnTo>
                        <a:pt x="32139" y="32788"/>
                      </a:lnTo>
                      <a:lnTo>
                        <a:pt x="32264" y="32851"/>
                      </a:lnTo>
                      <a:lnTo>
                        <a:pt x="32327" y="32851"/>
                      </a:lnTo>
                      <a:lnTo>
                        <a:pt x="32390" y="32913"/>
                      </a:lnTo>
                      <a:lnTo>
                        <a:pt x="32390" y="32997"/>
                      </a:lnTo>
                      <a:lnTo>
                        <a:pt x="32369" y="33039"/>
                      </a:lnTo>
                      <a:lnTo>
                        <a:pt x="32369" y="33144"/>
                      </a:lnTo>
                      <a:lnTo>
                        <a:pt x="32390" y="33227"/>
                      </a:lnTo>
                      <a:lnTo>
                        <a:pt x="32453" y="33269"/>
                      </a:lnTo>
                      <a:lnTo>
                        <a:pt x="32474" y="33311"/>
                      </a:lnTo>
                      <a:lnTo>
                        <a:pt x="32536" y="33311"/>
                      </a:lnTo>
                      <a:lnTo>
                        <a:pt x="32641" y="33353"/>
                      </a:lnTo>
                      <a:lnTo>
                        <a:pt x="32704" y="33416"/>
                      </a:lnTo>
                      <a:lnTo>
                        <a:pt x="32746" y="33353"/>
                      </a:lnTo>
                      <a:lnTo>
                        <a:pt x="32850" y="33311"/>
                      </a:lnTo>
                      <a:lnTo>
                        <a:pt x="33101" y="33269"/>
                      </a:lnTo>
                      <a:lnTo>
                        <a:pt x="33227" y="33248"/>
                      </a:lnTo>
                      <a:lnTo>
                        <a:pt x="33290" y="33144"/>
                      </a:lnTo>
                      <a:lnTo>
                        <a:pt x="33394" y="33102"/>
                      </a:lnTo>
                      <a:lnTo>
                        <a:pt x="33436" y="33123"/>
                      </a:lnTo>
                      <a:lnTo>
                        <a:pt x="33394" y="33248"/>
                      </a:lnTo>
                      <a:lnTo>
                        <a:pt x="33415" y="33353"/>
                      </a:lnTo>
                      <a:lnTo>
                        <a:pt x="33499" y="33374"/>
                      </a:lnTo>
                      <a:lnTo>
                        <a:pt x="33624" y="33478"/>
                      </a:lnTo>
                      <a:lnTo>
                        <a:pt x="33792" y="33541"/>
                      </a:lnTo>
                      <a:lnTo>
                        <a:pt x="33813" y="33562"/>
                      </a:lnTo>
                      <a:lnTo>
                        <a:pt x="33896" y="33562"/>
                      </a:lnTo>
                      <a:lnTo>
                        <a:pt x="34001" y="33625"/>
                      </a:lnTo>
                      <a:lnTo>
                        <a:pt x="34043" y="33625"/>
                      </a:lnTo>
                      <a:lnTo>
                        <a:pt x="34043" y="33583"/>
                      </a:lnTo>
                      <a:lnTo>
                        <a:pt x="34127" y="33374"/>
                      </a:lnTo>
                      <a:lnTo>
                        <a:pt x="34231" y="33332"/>
                      </a:lnTo>
                      <a:lnTo>
                        <a:pt x="34482" y="33332"/>
                      </a:lnTo>
                      <a:lnTo>
                        <a:pt x="34524" y="33269"/>
                      </a:lnTo>
                      <a:lnTo>
                        <a:pt x="34629" y="33165"/>
                      </a:lnTo>
                      <a:lnTo>
                        <a:pt x="34796" y="33102"/>
                      </a:lnTo>
                      <a:lnTo>
                        <a:pt x="34796" y="32997"/>
                      </a:lnTo>
                      <a:lnTo>
                        <a:pt x="34859" y="32893"/>
                      </a:lnTo>
                      <a:lnTo>
                        <a:pt x="35005" y="32809"/>
                      </a:lnTo>
                      <a:lnTo>
                        <a:pt x="35005" y="32725"/>
                      </a:lnTo>
                      <a:lnTo>
                        <a:pt x="35110" y="32621"/>
                      </a:lnTo>
                      <a:lnTo>
                        <a:pt x="35215" y="32600"/>
                      </a:lnTo>
                      <a:lnTo>
                        <a:pt x="35298" y="32495"/>
                      </a:lnTo>
                      <a:lnTo>
                        <a:pt x="35361" y="32432"/>
                      </a:lnTo>
                      <a:lnTo>
                        <a:pt x="35298" y="32390"/>
                      </a:lnTo>
                      <a:lnTo>
                        <a:pt x="35298" y="32307"/>
                      </a:lnTo>
                      <a:lnTo>
                        <a:pt x="35319" y="32265"/>
                      </a:lnTo>
                      <a:lnTo>
                        <a:pt x="35508" y="32307"/>
                      </a:lnTo>
                      <a:lnTo>
                        <a:pt x="35591" y="32265"/>
                      </a:lnTo>
                      <a:lnTo>
                        <a:pt x="35633" y="32097"/>
                      </a:lnTo>
                      <a:lnTo>
                        <a:pt x="35717" y="32077"/>
                      </a:lnTo>
                      <a:lnTo>
                        <a:pt x="35926" y="32056"/>
                      </a:lnTo>
                      <a:lnTo>
                        <a:pt x="36031" y="32014"/>
                      </a:lnTo>
                      <a:lnTo>
                        <a:pt x="36261" y="32014"/>
                      </a:lnTo>
                      <a:lnTo>
                        <a:pt x="36345" y="31972"/>
                      </a:lnTo>
                      <a:lnTo>
                        <a:pt x="36365" y="31972"/>
                      </a:lnTo>
                      <a:lnTo>
                        <a:pt x="36449" y="32077"/>
                      </a:lnTo>
                      <a:lnTo>
                        <a:pt x="36449" y="32160"/>
                      </a:lnTo>
                      <a:lnTo>
                        <a:pt x="36533" y="32223"/>
                      </a:lnTo>
                      <a:lnTo>
                        <a:pt x="36658" y="32223"/>
                      </a:lnTo>
                      <a:lnTo>
                        <a:pt x="36700" y="32202"/>
                      </a:lnTo>
                      <a:lnTo>
                        <a:pt x="36805" y="32202"/>
                      </a:lnTo>
                      <a:lnTo>
                        <a:pt x="36889" y="32160"/>
                      </a:lnTo>
                      <a:lnTo>
                        <a:pt x="37077" y="32160"/>
                      </a:lnTo>
                      <a:lnTo>
                        <a:pt x="37098" y="32223"/>
                      </a:lnTo>
                      <a:lnTo>
                        <a:pt x="37119" y="32328"/>
                      </a:lnTo>
                      <a:lnTo>
                        <a:pt x="37161" y="32411"/>
                      </a:lnTo>
                      <a:lnTo>
                        <a:pt x="37453" y="32579"/>
                      </a:lnTo>
                      <a:lnTo>
                        <a:pt x="37537" y="32641"/>
                      </a:lnTo>
                      <a:lnTo>
                        <a:pt x="37746" y="32746"/>
                      </a:lnTo>
                      <a:lnTo>
                        <a:pt x="37830" y="32704"/>
                      </a:lnTo>
                      <a:lnTo>
                        <a:pt x="37935" y="32641"/>
                      </a:lnTo>
                      <a:lnTo>
                        <a:pt x="38060" y="32579"/>
                      </a:lnTo>
                      <a:lnTo>
                        <a:pt x="38165" y="32579"/>
                      </a:lnTo>
                      <a:lnTo>
                        <a:pt x="38269" y="32600"/>
                      </a:lnTo>
                      <a:lnTo>
                        <a:pt x="38353" y="32641"/>
                      </a:lnTo>
                      <a:lnTo>
                        <a:pt x="38437" y="32621"/>
                      </a:lnTo>
                      <a:lnTo>
                        <a:pt x="38688" y="32621"/>
                      </a:lnTo>
                      <a:lnTo>
                        <a:pt x="38793" y="32683"/>
                      </a:lnTo>
                      <a:lnTo>
                        <a:pt x="38897" y="32683"/>
                      </a:lnTo>
                      <a:lnTo>
                        <a:pt x="38939" y="32641"/>
                      </a:lnTo>
                      <a:lnTo>
                        <a:pt x="39044" y="32683"/>
                      </a:lnTo>
                      <a:lnTo>
                        <a:pt x="39211" y="32641"/>
                      </a:lnTo>
                      <a:lnTo>
                        <a:pt x="39316" y="32474"/>
                      </a:lnTo>
                      <a:lnTo>
                        <a:pt x="39274" y="32390"/>
                      </a:lnTo>
                      <a:lnTo>
                        <a:pt x="39169" y="32307"/>
                      </a:lnTo>
                      <a:lnTo>
                        <a:pt x="39169" y="32118"/>
                      </a:lnTo>
                      <a:lnTo>
                        <a:pt x="39190" y="31951"/>
                      </a:lnTo>
                      <a:lnTo>
                        <a:pt x="39169" y="31867"/>
                      </a:lnTo>
                      <a:lnTo>
                        <a:pt x="39065" y="31846"/>
                      </a:lnTo>
                      <a:lnTo>
                        <a:pt x="39002" y="31763"/>
                      </a:lnTo>
                      <a:lnTo>
                        <a:pt x="38834" y="31700"/>
                      </a:lnTo>
                      <a:lnTo>
                        <a:pt x="38772" y="31574"/>
                      </a:lnTo>
                      <a:lnTo>
                        <a:pt x="38772" y="31281"/>
                      </a:lnTo>
                      <a:lnTo>
                        <a:pt x="38876" y="31156"/>
                      </a:lnTo>
                      <a:lnTo>
                        <a:pt x="38876" y="31072"/>
                      </a:lnTo>
                      <a:lnTo>
                        <a:pt x="38939" y="30968"/>
                      </a:lnTo>
                      <a:lnTo>
                        <a:pt x="39044" y="30947"/>
                      </a:lnTo>
                      <a:lnTo>
                        <a:pt x="39086" y="30968"/>
                      </a:lnTo>
                      <a:lnTo>
                        <a:pt x="39148" y="30863"/>
                      </a:lnTo>
                      <a:lnTo>
                        <a:pt x="39106" y="30758"/>
                      </a:lnTo>
                      <a:lnTo>
                        <a:pt x="39148" y="30696"/>
                      </a:lnTo>
                      <a:lnTo>
                        <a:pt x="39211" y="30633"/>
                      </a:lnTo>
                      <a:lnTo>
                        <a:pt x="39316" y="30633"/>
                      </a:lnTo>
                      <a:lnTo>
                        <a:pt x="39399" y="30696"/>
                      </a:lnTo>
                      <a:lnTo>
                        <a:pt x="39567" y="30737"/>
                      </a:lnTo>
                      <a:lnTo>
                        <a:pt x="39713" y="30821"/>
                      </a:lnTo>
                      <a:lnTo>
                        <a:pt x="39734" y="30863"/>
                      </a:lnTo>
                      <a:lnTo>
                        <a:pt x="39881" y="30926"/>
                      </a:lnTo>
                      <a:lnTo>
                        <a:pt x="40236" y="30926"/>
                      </a:lnTo>
                      <a:lnTo>
                        <a:pt x="40320" y="30968"/>
                      </a:lnTo>
                      <a:lnTo>
                        <a:pt x="40362" y="31030"/>
                      </a:lnTo>
                      <a:lnTo>
                        <a:pt x="40529" y="31051"/>
                      </a:lnTo>
                      <a:lnTo>
                        <a:pt x="40613" y="31114"/>
                      </a:lnTo>
                      <a:lnTo>
                        <a:pt x="40718" y="31135"/>
                      </a:lnTo>
                      <a:lnTo>
                        <a:pt x="40948" y="31135"/>
                      </a:lnTo>
                      <a:lnTo>
                        <a:pt x="41031" y="31156"/>
                      </a:lnTo>
                      <a:lnTo>
                        <a:pt x="41073" y="31240"/>
                      </a:lnTo>
                      <a:lnTo>
                        <a:pt x="41073" y="31323"/>
                      </a:lnTo>
                      <a:lnTo>
                        <a:pt x="41136" y="31386"/>
                      </a:lnTo>
                      <a:lnTo>
                        <a:pt x="41136" y="31470"/>
                      </a:lnTo>
                      <a:lnTo>
                        <a:pt x="41178" y="31533"/>
                      </a:lnTo>
                      <a:lnTo>
                        <a:pt x="41241" y="31658"/>
                      </a:lnTo>
                      <a:lnTo>
                        <a:pt x="41241" y="31763"/>
                      </a:lnTo>
                      <a:lnTo>
                        <a:pt x="41303" y="31805"/>
                      </a:lnTo>
                      <a:lnTo>
                        <a:pt x="41387" y="31805"/>
                      </a:lnTo>
                      <a:lnTo>
                        <a:pt x="41492" y="31909"/>
                      </a:lnTo>
                      <a:lnTo>
                        <a:pt x="41513" y="31972"/>
                      </a:lnTo>
                      <a:lnTo>
                        <a:pt x="41680" y="32014"/>
                      </a:lnTo>
                      <a:lnTo>
                        <a:pt x="41868" y="32118"/>
                      </a:lnTo>
                      <a:lnTo>
                        <a:pt x="41931" y="32118"/>
                      </a:lnTo>
                      <a:lnTo>
                        <a:pt x="41994" y="32077"/>
                      </a:lnTo>
                      <a:lnTo>
                        <a:pt x="42182" y="32077"/>
                      </a:lnTo>
                      <a:lnTo>
                        <a:pt x="42245" y="32014"/>
                      </a:lnTo>
                      <a:lnTo>
                        <a:pt x="42329" y="32014"/>
                      </a:lnTo>
                      <a:lnTo>
                        <a:pt x="42412" y="32056"/>
                      </a:lnTo>
                      <a:lnTo>
                        <a:pt x="42496" y="32014"/>
                      </a:lnTo>
                      <a:lnTo>
                        <a:pt x="42601" y="31909"/>
                      </a:lnTo>
                      <a:lnTo>
                        <a:pt x="42747" y="31867"/>
                      </a:lnTo>
                      <a:lnTo>
                        <a:pt x="42977" y="31846"/>
                      </a:lnTo>
                      <a:lnTo>
                        <a:pt x="43124" y="31763"/>
                      </a:lnTo>
                      <a:lnTo>
                        <a:pt x="43270" y="31763"/>
                      </a:lnTo>
                      <a:lnTo>
                        <a:pt x="43396" y="31700"/>
                      </a:lnTo>
                      <a:lnTo>
                        <a:pt x="43542" y="31784"/>
                      </a:lnTo>
                      <a:lnTo>
                        <a:pt x="43710" y="31805"/>
                      </a:lnTo>
                      <a:lnTo>
                        <a:pt x="43961" y="31805"/>
                      </a:lnTo>
                      <a:lnTo>
                        <a:pt x="44065" y="31972"/>
                      </a:lnTo>
                      <a:lnTo>
                        <a:pt x="44275" y="32056"/>
                      </a:lnTo>
                      <a:lnTo>
                        <a:pt x="44421" y="32056"/>
                      </a:lnTo>
                      <a:lnTo>
                        <a:pt x="44547" y="32014"/>
                      </a:lnTo>
                      <a:lnTo>
                        <a:pt x="44609" y="32077"/>
                      </a:lnTo>
                      <a:lnTo>
                        <a:pt x="44651" y="32265"/>
                      </a:lnTo>
                      <a:lnTo>
                        <a:pt x="44756" y="32328"/>
                      </a:lnTo>
                      <a:lnTo>
                        <a:pt x="44840" y="32390"/>
                      </a:lnTo>
                      <a:lnTo>
                        <a:pt x="44923" y="32411"/>
                      </a:lnTo>
                      <a:lnTo>
                        <a:pt x="45028" y="32516"/>
                      </a:lnTo>
                      <a:lnTo>
                        <a:pt x="45112" y="32516"/>
                      </a:lnTo>
                      <a:lnTo>
                        <a:pt x="45363" y="32495"/>
                      </a:lnTo>
                      <a:lnTo>
                        <a:pt x="45593" y="32579"/>
                      </a:lnTo>
                      <a:lnTo>
                        <a:pt x="45948" y="32579"/>
                      </a:lnTo>
                      <a:lnTo>
                        <a:pt x="46095" y="32537"/>
                      </a:lnTo>
                      <a:lnTo>
                        <a:pt x="46158" y="32495"/>
                      </a:lnTo>
                      <a:lnTo>
                        <a:pt x="46283" y="32495"/>
                      </a:lnTo>
                      <a:lnTo>
                        <a:pt x="46388" y="32537"/>
                      </a:lnTo>
                      <a:lnTo>
                        <a:pt x="46472" y="32537"/>
                      </a:lnTo>
                      <a:lnTo>
                        <a:pt x="46534" y="32411"/>
                      </a:lnTo>
                      <a:lnTo>
                        <a:pt x="46744" y="32286"/>
                      </a:lnTo>
                      <a:lnTo>
                        <a:pt x="46890" y="32286"/>
                      </a:lnTo>
                      <a:lnTo>
                        <a:pt x="46953" y="32181"/>
                      </a:lnTo>
                      <a:lnTo>
                        <a:pt x="47329" y="32181"/>
                      </a:lnTo>
                      <a:lnTo>
                        <a:pt x="47434" y="32077"/>
                      </a:lnTo>
                      <a:lnTo>
                        <a:pt x="47455" y="31972"/>
                      </a:lnTo>
                      <a:lnTo>
                        <a:pt x="47455" y="31909"/>
                      </a:lnTo>
                      <a:lnTo>
                        <a:pt x="47539" y="31805"/>
                      </a:lnTo>
                      <a:lnTo>
                        <a:pt x="47664" y="31763"/>
                      </a:lnTo>
                      <a:lnTo>
                        <a:pt x="47748" y="31679"/>
                      </a:lnTo>
                      <a:lnTo>
                        <a:pt x="47790" y="31553"/>
                      </a:lnTo>
                      <a:lnTo>
                        <a:pt x="47873" y="31470"/>
                      </a:lnTo>
                      <a:lnTo>
                        <a:pt x="47978" y="31470"/>
                      </a:lnTo>
                      <a:lnTo>
                        <a:pt x="47999" y="31491"/>
                      </a:lnTo>
                      <a:lnTo>
                        <a:pt x="48187" y="31449"/>
                      </a:lnTo>
                      <a:lnTo>
                        <a:pt x="48292" y="31449"/>
                      </a:lnTo>
                      <a:lnTo>
                        <a:pt x="48417" y="31533"/>
                      </a:lnTo>
                      <a:lnTo>
                        <a:pt x="48501" y="31637"/>
                      </a:lnTo>
                      <a:lnTo>
                        <a:pt x="48585" y="31658"/>
                      </a:lnTo>
                      <a:lnTo>
                        <a:pt x="48689" y="31595"/>
                      </a:lnTo>
                      <a:lnTo>
                        <a:pt x="48731" y="31658"/>
                      </a:lnTo>
                      <a:lnTo>
                        <a:pt x="48836" y="31658"/>
                      </a:lnTo>
                      <a:lnTo>
                        <a:pt x="48982" y="31574"/>
                      </a:lnTo>
                      <a:lnTo>
                        <a:pt x="48982" y="31533"/>
                      </a:lnTo>
                      <a:lnTo>
                        <a:pt x="49150" y="31491"/>
                      </a:lnTo>
                      <a:lnTo>
                        <a:pt x="49359" y="31574"/>
                      </a:lnTo>
                      <a:lnTo>
                        <a:pt x="49422" y="31637"/>
                      </a:lnTo>
                      <a:lnTo>
                        <a:pt x="49464" y="31595"/>
                      </a:lnTo>
                      <a:lnTo>
                        <a:pt x="49547" y="31595"/>
                      </a:lnTo>
                      <a:lnTo>
                        <a:pt x="49568" y="31658"/>
                      </a:lnTo>
                      <a:lnTo>
                        <a:pt x="49673" y="31637"/>
                      </a:lnTo>
                      <a:lnTo>
                        <a:pt x="49840" y="31658"/>
                      </a:lnTo>
                      <a:lnTo>
                        <a:pt x="49924" y="31742"/>
                      </a:lnTo>
                      <a:lnTo>
                        <a:pt x="49966" y="31742"/>
                      </a:lnTo>
                      <a:lnTo>
                        <a:pt x="50259" y="31470"/>
                      </a:lnTo>
                      <a:lnTo>
                        <a:pt x="50384" y="31365"/>
                      </a:lnTo>
                      <a:lnTo>
                        <a:pt x="50594" y="31344"/>
                      </a:lnTo>
                      <a:lnTo>
                        <a:pt x="50677" y="31260"/>
                      </a:lnTo>
                      <a:lnTo>
                        <a:pt x="50698" y="31156"/>
                      </a:lnTo>
                      <a:lnTo>
                        <a:pt x="50677" y="31030"/>
                      </a:lnTo>
                      <a:lnTo>
                        <a:pt x="50614" y="31009"/>
                      </a:lnTo>
                      <a:lnTo>
                        <a:pt x="50573" y="31030"/>
                      </a:lnTo>
                      <a:lnTo>
                        <a:pt x="50510" y="31009"/>
                      </a:lnTo>
                      <a:lnTo>
                        <a:pt x="50468" y="31009"/>
                      </a:lnTo>
                      <a:lnTo>
                        <a:pt x="50468" y="30842"/>
                      </a:lnTo>
                      <a:lnTo>
                        <a:pt x="50489" y="30800"/>
                      </a:lnTo>
                      <a:lnTo>
                        <a:pt x="50489" y="30633"/>
                      </a:lnTo>
                      <a:lnTo>
                        <a:pt x="50447" y="30528"/>
                      </a:lnTo>
                      <a:lnTo>
                        <a:pt x="50468" y="30444"/>
                      </a:lnTo>
                      <a:lnTo>
                        <a:pt x="50552" y="30424"/>
                      </a:lnTo>
                      <a:lnTo>
                        <a:pt x="50552" y="30319"/>
                      </a:lnTo>
                      <a:lnTo>
                        <a:pt x="50468" y="30235"/>
                      </a:lnTo>
                      <a:lnTo>
                        <a:pt x="50447" y="30110"/>
                      </a:lnTo>
                      <a:lnTo>
                        <a:pt x="50468" y="30068"/>
                      </a:lnTo>
                      <a:lnTo>
                        <a:pt x="50405" y="29963"/>
                      </a:lnTo>
                      <a:lnTo>
                        <a:pt x="50405" y="29859"/>
                      </a:lnTo>
                      <a:lnTo>
                        <a:pt x="50489" y="29754"/>
                      </a:lnTo>
                      <a:lnTo>
                        <a:pt x="50573" y="29691"/>
                      </a:lnTo>
                      <a:lnTo>
                        <a:pt x="50594" y="29566"/>
                      </a:lnTo>
                      <a:lnTo>
                        <a:pt x="50677" y="29461"/>
                      </a:lnTo>
                      <a:lnTo>
                        <a:pt x="50761" y="29398"/>
                      </a:lnTo>
                      <a:lnTo>
                        <a:pt x="50761" y="29273"/>
                      </a:lnTo>
                      <a:lnTo>
                        <a:pt x="50719" y="29189"/>
                      </a:lnTo>
                      <a:lnTo>
                        <a:pt x="50719" y="29126"/>
                      </a:lnTo>
                      <a:lnTo>
                        <a:pt x="50656" y="29064"/>
                      </a:lnTo>
                      <a:lnTo>
                        <a:pt x="50594" y="28959"/>
                      </a:lnTo>
                      <a:lnTo>
                        <a:pt x="50510" y="28833"/>
                      </a:lnTo>
                      <a:lnTo>
                        <a:pt x="50447" y="28812"/>
                      </a:lnTo>
                      <a:lnTo>
                        <a:pt x="50363" y="28833"/>
                      </a:lnTo>
                      <a:lnTo>
                        <a:pt x="50238" y="28917"/>
                      </a:lnTo>
                      <a:lnTo>
                        <a:pt x="50175" y="28917"/>
                      </a:lnTo>
                      <a:lnTo>
                        <a:pt x="50154" y="28854"/>
                      </a:lnTo>
                      <a:lnTo>
                        <a:pt x="50154" y="28603"/>
                      </a:lnTo>
                      <a:lnTo>
                        <a:pt x="50175" y="28540"/>
                      </a:lnTo>
                      <a:lnTo>
                        <a:pt x="50175" y="28499"/>
                      </a:lnTo>
                      <a:lnTo>
                        <a:pt x="50238" y="28436"/>
                      </a:lnTo>
                      <a:lnTo>
                        <a:pt x="50259" y="28331"/>
                      </a:lnTo>
                      <a:lnTo>
                        <a:pt x="50342" y="28227"/>
                      </a:lnTo>
                      <a:lnTo>
                        <a:pt x="50342" y="28143"/>
                      </a:lnTo>
                      <a:lnTo>
                        <a:pt x="50384" y="28101"/>
                      </a:lnTo>
                      <a:lnTo>
                        <a:pt x="50552" y="28080"/>
                      </a:lnTo>
                      <a:lnTo>
                        <a:pt x="50614" y="28038"/>
                      </a:lnTo>
                      <a:lnTo>
                        <a:pt x="50698" y="28038"/>
                      </a:lnTo>
                      <a:lnTo>
                        <a:pt x="50719" y="28017"/>
                      </a:lnTo>
                      <a:lnTo>
                        <a:pt x="50803" y="28017"/>
                      </a:lnTo>
                      <a:lnTo>
                        <a:pt x="50886" y="27996"/>
                      </a:lnTo>
                      <a:lnTo>
                        <a:pt x="50928" y="27913"/>
                      </a:lnTo>
                      <a:lnTo>
                        <a:pt x="51033" y="27913"/>
                      </a:lnTo>
                      <a:lnTo>
                        <a:pt x="51117" y="27829"/>
                      </a:lnTo>
                      <a:lnTo>
                        <a:pt x="51242" y="27871"/>
                      </a:lnTo>
                      <a:lnTo>
                        <a:pt x="51451" y="27871"/>
                      </a:lnTo>
                      <a:lnTo>
                        <a:pt x="51514" y="27808"/>
                      </a:lnTo>
                      <a:lnTo>
                        <a:pt x="51556" y="27808"/>
                      </a:lnTo>
                      <a:lnTo>
                        <a:pt x="51598" y="27724"/>
                      </a:lnTo>
                      <a:lnTo>
                        <a:pt x="51744" y="27703"/>
                      </a:lnTo>
                      <a:lnTo>
                        <a:pt x="51765" y="27683"/>
                      </a:lnTo>
                      <a:lnTo>
                        <a:pt x="51849" y="27703"/>
                      </a:lnTo>
                      <a:lnTo>
                        <a:pt x="51933" y="27703"/>
                      </a:lnTo>
                      <a:lnTo>
                        <a:pt x="52016" y="27745"/>
                      </a:lnTo>
                      <a:lnTo>
                        <a:pt x="52184" y="27787"/>
                      </a:lnTo>
                      <a:lnTo>
                        <a:pt x="52267" y="27829"/>
                      </a:lnTo>
                      <a:lnTo>
                        <a:pt x="52288" y="27892"/>
                      </a:lnTo>
                      <a:lnTo>
                        <a:pt x="52435" y="27892"/>
                      </a:lnTo>
                      <a:lnTo>
                        <a:pt x="52498" y="27850"/>
                      </a:lnTo>
                      <a:lnTo>
                        <a:pt x="52539" y="27892"/>
                      </a:lnTo>
                      <a:lnTo>
                        <a:pt x="52644" y="27934"/>
                      </a:lnTo>
                      <a:lnTo>
                        <a:pt x="52686" y="27913"/>
                      </a:lnTo>
                      <a:lnTo>
                        <a:pt x="52686" y="27829"/>
                      </a:lnTo>
                      <a:lnTo>
                        <a:pt x="52749" y="27808"/>
                      </a:lnTo>
                      <a:lnTo>
                        <a:pt x="52790" y="27829"/>
                      </a:lnTo>
                      <a:lnTo>
                        <a:pt x="52874" y="27829"/>
                      </a:lnTo>
                      <a:lnTo>
                        <a:pt x="52916" y="27808"/>
                      </a:lnTo>
                      <a:lnTo>
                        <a:pt x="52979" y="27892"/>
                      </a:lnTo>
                      <a:lnTo>
                        <a:pt x="53021" y="27892"/>
                      </a:lnTo>
                      <a:lnTo>
                        <a:pt x="53104" y="27913"/>
                      </a:lnTo>
                      <a:lnTo>
                        <a:pt x="53125" y="27955"/>
                      </a:lnTo>
                      <a:lnTo>
                        <a:pt x="53104" y="28017"/>
                      </a:lnTo>
                      <a:lnTo>
                        <a:pt x="53125" y="28059"/>
                      </a:lnTo>
                      <a:lnTo>
                        <a:pt x="53188" y="28059"/>
                      </a:lnTo>
                      <a:lnTo>
                        <a:pt x="53209" y="28122"/>
                      </a:lnTo>
                      <a:lnTo>
                        <a:pt x="53272" y="28059"/>
                      </a:lnTo>
                      <a:lnTo>
                        <a:pt x="53335" y="28101"/>
                      </a:lnTo>
                      <a:lnTo>
                        <a:pt x="53376" y="28143"/>
                      </a:lnTo>
                      <a:lnTo>
                        <a:pt x="53335" y="28206"/>
                      </a:lnTo>
                      <a:lnTo>
                        <a:pt x="53376" y="28247"/>
                      </a:lnTo>
                      <a:lnTo>
                        <a:pt x="53481" y="28268"/>
                      </a:lnTo>
                      <a:lnTo>
                        <a:pt x="53523" y="28268"/>
                      </a:lnTo>
                      <a:lnTo>
                        <a:pt x="53586" y="28310"/>
                      </a:lnTo>
                      <a:lnTo>
                        <a:pt x="53586" y="28352"/>
                      </a:lnTo>
                      <a:lnTo>
                        <a:pt x="53627" y="28373"/>
                      </a:lnTo>
                      <a:lnTo>
                        <a:pt x="53690" y="28457"/>
                      </a:lnTo>
                      <a:lnTo>
                        <a:pt x="53690" y="28540"/>
                      </a:lnTo>
                      <a:lnTo>
                        <a:pt x="53711" y="28624"/>
                      </a:lnTo>
                      <a:lnTo>
                        <a:pt x="53711" y="28666"/>
                      </a:lnTo>
                      <a:lnTo>
                        <a:pt x="53732" y="28687"/>
                      </a:lnTo>
                      <a:lnTo>
                        <a:pt x="53899" y="28687"/>
                      </a:lnTo>
                      <a:lnTo>
                        <a:pt x="53920" y="28750"/>
                      </a:lnTo>
                      <a:lnTo>
                        <a:pt x="53899" y="28833"/>
                      </a:lnTo>
                      <a:lnTo>
                        <a:pt x="53899" y="28875"/>
                      </a:lnTo>
                      <a:lnTo>
                        <a:pt x="54025" y="28959"/>
                      </a:lnTo>
                      <a:lnTo>
                        <a:pt x="54067" y="29064"/>
                      </a:lnTo>
                      <a:lnTo>
                        <a:pt x="54151" y="29147"/>
                      </a:lnTo>
                      <a:lnTo>
                        <a:pt x="54171" y="29210"/>
                      </a:lnTo>
                      <a:lnTo>
                        <a:pt x="54234" y="29252"/>
                      </a:lnTo>
                      <a:lnTo>
                        <a:pt x="54255" y="29356"/>
                      </a:lnTo>
                      <a:lnTo>
                        <a:pt x="54339" y="29398"/>
                      </a:lnTo>
                      <a:lnTo>
                        <a:pt x="54339" y="29461"/>
                      </a:lnTo>
                      <a:lnTo>
                        <a:pt x="54318" y="29503"/>
                      </a:lnTo>
                      <a:lnTo>
                        <a:pt x="54339" y="29524"/>
                      </a:lnTo>
                      <a:lnTo>
                        <a:pt x="54381" y="29503"/>
                      </a:lnTo>
                      <a:lnTo>
                        <a:pt x="54443" y="29587"/>
                      </a:lnTo>
                      <a:lnTo>
                        <a:pt x="54464" y="29670"/>
                      </a:lnTo>
                      <a:lnTo>
                        <a:pt x="54569" y="29817"/>
                      </a:lnTo>
                      <a:lnTo>
                        <a:pt x="54778" y="29963"/>
                      </a:lnTo>
                      <a:lnTo>
                        <a:pt x="54799" y="30047"/>
                      </a:lnTo>
                      <a:lnTo>
                        <a:pt x="54841" y="30152"/>
                      </a:lnTo>
                      <a:lnTo>
                        <a:pt x="54883" y="30193"/>
                      </a:lnTo>
                      <a:lnTo>
                        <a:pt x="54883" y="30298"/>
                      </a:lnTo>
                      <a:lnTo>
                        <a:pt x="54967" y="30319"/>
                      </a:lnTo>
                      <a:lnTo>
                        <a:pt x="55008" y="30319"/>
                      </a:lnTo>
                      <a:lnTo>
                        <a:pt x="55050" y="30424"/>
                      </a:lnTo>
                      <a:lnTo>
                        <a:pt x="55050" y="30507"/>
                      </a:lnTo>
                      <a:lnTo>
                        <a:pt x="55092" y="30612"/>
                      </a:lnTo>
                      <a:lnTo>
                        <a:pt x="55218" y="30737"/>
                      </a:lnTo>
                      <a:lnTo>
                        <a:pt x="55322" y="30758"/>
                      </a:lnTo>
                      <a:lnTo>
                        <a:pt x="55385" y="30842"/>
                      </a:lnTo>
                      <a:lnTo>
                        <a:pt x="55469" y="30842"/>
                      </a:lnTo>
                      <a:lnTo>
                        <a:pt x="55511" y="30821"/>
                      </a:lnTo>
                      <a:lnTo>
                        <a:pt x="55573" y="30842"/>
                      </a:lnTo>
                      <a:lnTo>
                        <a:pt x="55615" y="30821"/>
                      </a:lnTo>
                      <a:lnTo>
                        <a:pt x="55741" y="30842"/>
                      </a:lnTo>
                      <a:lnTo>
                        <a:pt x="55803" y="30779"/>
                      </a:lnTo>
                      <a:lnTo>
                        <a:pt x="55887" y="30779"/>
                      </a:lnTo>
                      <a:lnTo>
                        <a:pt x="55887" y="30821"/>
                      </a:lnTo>
                      <a:lnTo>
                        <a:pt x="55824" y="30863"/>
                      </a:lnTo>
                      <a:lnTo>
                        <a:pt x="55845" y="30905"/>
                      </a:lnTo>
                      <a:lnTo>
                        <a:pt x="55992" y="30905"/>
                      </a:lnTo>
                      <a:lnTo>
                        <a:pt x="56034" y="30926"/>
                      </a:lnTo>
                      <a:lnTo>
                        <a:pt x="56055" y="30968"/>
                      </a:lnTo>
                      <a:lnTo>
                        <a:pt x="56138" y="31030"/>
                      </a:lnTo>
                      <a:lnTo>
                        <a:pt x="56159" y="30968"/>
                      </a:lnTo>
                      <a:lnTo>
                        <a:pt x="56222" y="30947"/>
                      </a:lnTo>
                      <a:lnTo>
                        <a:pt x="56264" y="30968"/>
                      </a:lnTo>
                      <a:lnTo>
                        <a:pt x="56306" y="30905"/>
                      </a:lnTo>
                      <a:lnTo>
                        <a:pt x="56348" y="30905"/>
                      </a:lnTo>
                      <a:lnTo>
                        <a:pt x="56410" y="30947"/>
                      </a:lnTo>
                      <a:lnTo>
                        <a:pt x="56431" y="31009"/>
                      </a:lnTo>
                      <a:lnTo>
                        <a:pt x="56473" y="31072"/>
                      </a:lnTo>
                      <a:lnTo>
                        <a:pt x="56536" y="31072"/>
                      </a:lnTo>
                      <a:lnTo>
                        <a:pt x="56557" y="31135"/>
                      </a:lnTo>
                      <a:lnTo>
                        <a:pt x="56620" y="31177"/>
                      </a:lnTo>
                      <a:lnTo>
                        <a:pt x="56640" y="31177"/>
                      </a:lnTo>
                      <a:lnTo>
                        <a:pt x="56682" y="31240"/>
                      </a:lnTo>
                      <a:lnTo>
                        <a:pt x="56724" y="31281"/>
                      </a:lnTo>
                      <a:lnTo>
                        <a:pt x="56850" y="31344"/>
                      </a:lnTo>
                      <a:lnTo>
                        <a:pt x="56871" y="31365"/>
                      </a:lnTo>
                      <a:lnTo>
                        <a:pt x="56933" y="31365"/>
                      </a:lnTo>
                      <a:lnTo>
                        <a:pt x="56975" y="31407"/>
                      </a:lnTo>
                      <a:lnTo>
                        <a:pt x="57059" y="31449"/>
                      </a:lnTo>
                      <a:lnTo>
                        <a:pt x="57122" y="31407"/>
                      </a:lnTo>
                      <a:lnTo>
                        <a:pt x="57184" y="31407"/>
                      </a:lnTo>
                      <a:lnTo>
                        <a:pt x="57247" y="31365"/>
                      </a:lnTo>
                      <a:lnTo>
                        <a:pt x="57289" y="31365"/>
                      </a:lnTo>
                      <a:lnTo>
                        <a:pt x="57352" y="31386"/>
                      </a:lnTo>
                      <a:lnTo>
                        <a:pt x="57352" y="31470"/>
                      </a:lnTo>
                      <a:lnTo>
                        <a:pt x="57289" y="31553"/>
                      </a:lnTo>
                      <a:lnTo>
                        <a:pt x="57289" y="31637"/>
                      </a:lnTo>
                      <a:lnTo>
                        <a:pt x="57289" y="31700"/>
                      </a:lnTo>
                      <a:lnTo>
                        <a:pt x="57394" y="31700"/>
                      </a:lnTo>
                      <a:lnTo>
                        <a:pt x="57436" y="31805"/>
                      </a:lnTo>
                      <a:lnTo>
                        <a:pt x="57456" y="31909"/>
                      </a:lnTo>
                      <a:lnTo>
                        <a:pt x="57436" y="32014"/>
                      </a:lnTo>
                      <a:lnTo>
                        <a:pt x="57394" y="32056"/>
                      </a:lnTo>
                      <a:lnTo>
                        <a:pt x="57394" y="32118"/>
                      </a:lnTo>
                      <a:lnTo>
                        <a:pt x="57498" y="32265"/>
                      </a:lnTo>
                      <a:lnTo>
                        <a:pt x="57561" y="32286"/>
                      </a:lnTo>
                      <a:lnTo>
                        <a:pt x="57645" y="32390"/>
                      </a:lnTo>
                      <a:lnTo>
                        <a:pt x="57666" y="32432"/>
                      </a:lnTo>
                      <a:lnTo>
                        <a:pt x="57749" y="32411"/>
                      </a:lnTo>
                      <a:lnTo>
                        <a:pt x="57812" y="32369"/>
                      </a:lnTo>
                      <a:lnTo>
                        <a:pt x="57896" y="32369"/>
                      </a:lnTo>
                      <a:lnTo>
                        <a:pt x="57938" y="32432"/>
                      </a:lnTo>
                      <a:lnTo>
                        <a:pt x="57980" y="32516"/>
                      </a:lnTo>
                      <a:lnTo>
                        <a:pt x="58042" y="32495"/>
                      </a:lnTo>
                      <a:lnTo>
                        <a:pt x="58105" y="32432"/>
                      </a:lnTo>
                      <a:lnTo>
                        <a:pt x="58189" y="32474"/>
                      </a:lnTo>
                      <a:lnTo>
                        <a:pt x="58231" y="32432"/>
                      </a:lnTo>
                      <a:lnTo>
                        <a:pt x="58398" y="32411"/>
                      </a:lnTo>
                      <a:lnTo>
                        <a:pt x="58461" y="32328"/>
                      </a:lnTo>
                      <a:lnTo>
                        <a:pt x="58524" y="32307"/>
                      </a:lnTo>
                      <a:lnTo>
                        <a:pt x="58524" y="32244"/>
                      </a:lnTo>
                      <a:lnTo>
                        <a:pt x="58544" y="32160"/>
                      </a:lnTo>
                      <a:lnTo>
                        <a:pt x="58628" y="32097"/>
                      </a:lnTo>
                      <a:lnTo>
                        <a:pt x="58628" y="31993"/>
                      </a:lnTo>
                      <a:lnTo>
                        <a:pt x="58649" y="31909"/>
                      </a:lnTo>
                      <a:lnTo>
                        <a:pt x="58837" y="31909"/>
                      </a:lnTo>
                      <a:lnTo>
                        <a:pt x="58858" y="31805"/>
                      </a:lnTo>
                      <a:lnTo>
                        <a:pt x="58921" y="31805"/>
                      </a:lnTo>
                      <a:lnTo>
                        <a:pt x="58963" y="31784"/>
                      </a:lnTo>
                      <a:lnTo>
                        <a:pt x="59005" y="31700"/>
                      </a:lnTo>
                      <a:lnTo>
                        <a:pt x="59047" y="31658"/>
                      </a:lnTo>
                      <a:lnTo>
                        <a:pt x="59151" y="31658"/>
                      </a:lnTo>
                      <a:lnTo>
                        <a:pt x="59214" y="31595"/>
                      </a:lnTo>
                      <a:lnTo>
                        <a:pt x="59319" y="31658"/>
                      </a:lnTo>
                      <a:lnTo>
                        <a:pt x="59361" y="31700"/>
                      </a:lnTo>
                      <a:lnTo>
                        <a:pt x="59465" y="31700"/>
                      </a:lnTo>
                      <a:lnTo>
                        <a:pt x="59486" y="31763"/>
                      </a:lnTo>
                      <a:lnTo>
                        <a:pt x="59549" y="31867"/>
                      </a:lnTo>
                      <a:lnTo>
                        <a:pt x="59486" y="31909"/>
                      </a:lnTo>
                      <a:lnTo>
                        <a:pt x="59528" y="31972"/>
                      </a:lnTo>
                      <a:lnTo>
                        <a:pt x="59633" y="32077"/>
                      </a:lnTo>
                      <a:lnTo>
                        <a:pt x="59633" y="32139"/>
                      </a:lnTo>
                      <a:lnTo>
                        <a:pt x="59674" y="32202"/>
                      </a:lnTo>
                      <a:lnTo>
                        <a:pt x="59758" y="32244"/>
                      </a:lnTo>
                      <a:lnTo>
                        <a:pt x="59737" y="32390"/>
                      </a:lnTo>
                      <a:lnTo>
                        <a:pt x="59737" y="32495"/>
                      </a:lnTo>
                      <a:lnTo>
                        <a:pt x="59695" y="32537"/>
                      </a:lnTo>
                      <a:lnTo>
                        <a:pt x="59633" y="32558"/>
                      </a:lnTo>
                      <a:lnTo>
                        <a:pt x="59549" y="32662"/>
                      </a:lnTo>
                      <a:lnTo>
                        <a:pt x="59549" y="32725"/>
                      </a:lnTo>
                      <a:lnTo>
                        <a:pt x="59591" y="32809"/>
                      </a:lnTo>
                      <a:lnTo>
                        <a:pt x="59633" y="32830"/>
                      </a:lnTo>
                      <a:lnTo>
                        <a:pt x="59633" y="32934"/>
                      </a:lnTo>
                      <a:lnTo>
                        <a:pt x="59591" y="33018"/>
                      </a:lnTo>
                      <a:lnTo>
                        <a:pt x="59633" y="33060"/>
                      </a:lnTo>
                      <a:lnTo>
                        <a:pt x="59674" y="33081"/>
                      </a:lnTo>
                      <a:lnTo>
                        <a:pt x="59674" y="33144"/>
                      </a:lnTo>
                      <a:lnTo>
                        <a:pt x="59695" y="33185"/>
                      </a:lnTo>
                      <a:lnTo>
                        <a:pt x="59695" y="33248"/>
                      </a:lnTo>
                      <a:lnTo>
                        <a:pt x="59674" y="33269"/>
                      </a:lnTo>
                      <a:lnTo>
                        <a:pt x="59653" y="33290"/>
                      </a:lnTo>
                      <a:lnTo>
                        <a:pt x="59653" y="33437"/>
                      </a:lnTo>
                      <a:lnTo>
                        <a:pt x="59695" y="33562"/>
                      </a:lnTo>
                      <a:lnTo>
                        <a:pt x="59737" y="33604"/>
                      </a:lnTo>
                      <a:lnTo>
                        <a:pt x="59737" y="33667"/>
                      </a:lnTo>
                      <a:lnTo>
                        <a:pt x="59674" y="33709"/>
                      </a:lnTo>
                      <a:lnTo>
                        <a:pt x="59653" y="33792"/>
                      </a:lnTo>
                      <a:lnTo>
                        <a:pt x="59674" y="33855"/>
                      </a:lnTo>
                      <a:lnTo>
                        <a:pt x="59674" y="33897"/>
                      </a:lnTo>
                      <a:lnTo>
                        <a:pt x="59695" y="33960"/>
                      </a:lnTo>
                      <a:lnTo>
                        <a:pt x="59633" y="34001"/>
                      </a:lnTo>
                      <a:lnTo>
                        <a:pt x="59591" y="34022"/>
                      </a:lnTo>
                      <a:lnTo>
                        <a:pt x="59633" y="34085"/>
                      </a:lnTo>
                      <a:lnTo>
                        <a:pt x="59653" y="34169"/>
                      </a:lnTo>
                      <a:lnTo>
                        <a:pt x="59633" y="34211"/>
                      </a:lnTo>
                      <a:lnTo>
                        <a:pt x="59570" y="34315"/>
                      </a:lnTo>
                      <a:lnTo>
                        <a:pt x="59591" y="34378"/>
                      </a:lnTo>
                      <a:lnTo>
                        <a:pt x="59633" y="34420"/>
                      </a:lnTo>
                      <a:lnTo>
                        <a:pt x="59591" y="34483"/>
                      </a:lnTo>
                      <a:lnTo>
                        <a:pt x="59591" y="34525"/>
                      </a:lnTo>
                      <a:lnTo>
                        <a:pt x="59633" y="34587"/>
                      </a:lnTo>
                      <a:lnTo>
                        <a:pt x="59653" y="34650"/>
                      </a:lnTo>
                      <a:lnTo>
                        <a:pt x="59591" y="34713"/>
                      </a:lnTo>
                      <a:lnTo>
                        <a:pt x="59549" y="34713"/>
                      </a:lnTo>
                      <a:lnTo>
                        <a:pt x="59486" y="34692"/>
                      </a:lnTo>
                      <a:lnTo>
                        <a:pt x="59130" y="34608"/>
                      </a:lnTo>
                      <a:lnTo>
                        <a:pt x="59047" y="34587"/>
                      </a:lnTo>
                      <a:lnTo>
                        <a:pt x="58942" y="34546"/>
                      </a:lnTo>
                      <a:lnTo>
                        <a:pt x="58900" y="34546"/>
                      </a:lnTo>
                      <a:lnTo>
                        <a:pt x="58796" y="34713"/>
                      </a:lnTo>
                      <a:lnTo>
                        <a:pt x="58754" y="34797"/>
                      </a:lnTo>
                      <a:lnTo>
                        <a:pt x="58712" y="34859"/>
                      </a:lnTo>
                      <a:lnTo>
                        <a:pt x="58628" y="34859"/>
                      </a:lnTo>
                      <a:lnTo>
                        <a:pt x="58544" y="34922"/>
                      </a:lnTo>
                      <a:lnTo>
                        <a:pt x="58524" y="34964"/>
                      </a:lnTo>
                      <a:lnTo>
                        <a:pt x="58586" y="35069"/>
                      </a:lnTo>
                      <a:lnTo>
                        <a:pt x="58712" y="35278"/>
                      </a:lnTo>
                      <a:lnTo>
                        <a:pt x="58733" y="35362"/>
                      </a:lnTo>
                      <a:lnTo>
                        <a:pt x="58754" y="35445"/>
                      </a:lnTo>
                      <a:lnTo>
                        <a:pt x="58837" y="35550"/>
                      </a:lnTo>
                      <a:lnTo>
                        <a:pt x="58837" y="35654"/>
                      </a:lnTo>
                      <a:lnTo>
                        <a:pt x="58837" y="35780"/>
                      </a:lnTo>
                      <a:lnTo>
                        <a:pt x="58837" y="35885"/>
                      </a:lnTo>
                      <a:lnTo>
                        <a:pt x="58837" y="36094"/>
                      </a:lnTo>
                      <a:lnTo>
                        <a:pt x="58921" y="36157"/>
                      </a:lnTo>
                      <a:lnTo>
                        <a:pt x="58921" y="36261"/>
                      </a:lnTo>
                      <a:lnTo>
                        <a:pt x="58921" y="36366"/>
                      </a:lnTo>
                      <a:lnTo>
                        <a:pt x="58900" y="36408"/>
                      </a:lnTo>
                      <a:lnTo>
                        <a:pt x="58900" y="36491"/>
                      </a:lnTo>
                      <a:lnTo>
                        <a:pt x="58921" y="36533"/>
                      </a:lnTo>
                      <a:lnTo>
                        <a:pt x="58921" y="36638"/>
                      </a:lnTo>
                      <a:lnTo>
                        <a:pt x="58858" y="36638"/>
                      </a:lnTo>
                      <a:lnTo>
                        <a:pt x="58733" y="36617"/>
                      </a:lnTo>
                      <a:lnTo>
                        <a:pt x="58649" y="36680"/>
                      </a:lnTo>
                      <a:lnTo>
                        <a:pt x="58649" y="36722"/>
                      </a:lnTo>
                      <a:lnTo>
                        <a:pt x="58691" y="36826"/>
                      </a:lnTo>
                      <a:lnTo>
                        <a:pt x="58733" y="36847"/>
                      </a:lnTo>
                      <a:lnTo>
                        <a:pt x="58733" y="36931"/>
                      </a:lnTo>
                      <a:lnTo>
                        <a:pt x="58733" y="36952"/>
                      </a:lnTo>
                      <a:lnTo>
                        <a:pt x="58837" y="37098"/>
                      </a:lnTo>
                      <a:lnTo>
                        <a:pt x="58858" y="37098"/>
                      </a:lnTo>
                      <a:lnTo>
                        <a:pt x="58921" y="36931"/>
                      </a:lnTo>
                      <a:lnTo>
                        <a:pt x="59068" y="36910"/>
                      </a:lnTo>
                      <a:lnTo>
                        <a:pt x="59130" y="36952"/>
                      </a:lnTo>
                      <a:lnTo>
                        <a:pt x="59172" y="36784"/>
                      </a:lnTo>
                      <a:lnTo>
                        <a:pt x="59256" y="36722"/>
                      </a:lnTo>
                      <a:lnTo>
                        <a:pt x="59256" y="36512"/>
                      </a:lnTo>
                      <a:lnTo>
                        <a:pt x="59361" y="36429"/>
                      </a:lnTo>
                      <a:lnTo>
                        <a:pt x="59361" y="36324"/>
                      </a:lnTo>
                      <a:lnTo>
                        <a:pt x="59381" y="36282"/>
                      </a:lnTo>
                      <a:lnTo>
                        <a:pt x="59528" y="36366"/>
                      </a:lnTo>
                      <a:lnTo>
                        <a:pt x="59653" y="36303"/>
                      </a:lnTo>
                      <a:lnTo>
                        <a:pt x="59695" y="36366"/>
                      </a:lnTo>
                      <a:lnTo>
                        <a:pt x="59695" y="36575"/>
                      </a:lnTo>
                      <a:lnTo>
                        <a:pt x="59884" y="36617"/>
                      </a:lnTo>
                      <a:lnTo>
                        <a:pt x="60072" y="36722"/>
                      </a:lnTo>
                      <a:lnTo>
                        <a:pt x="60114" y="36680"/>
                      </a:lnTo>
                      <a:lnTo>
                        <a:pt x="60197" y="36742"/>
                      </a:lnTo>
                      <a:lnTo>
                        <a:pt x="60323" y="36617"/>
                      </a:lnTo>
                      <a:lnTo>
                        <a:pt x="60490" y="36596"/>
                      </a:lnTo>
                      <a:lnTo>
                        <a:pt x="60511" y="36512"/>
                      </a:lnTo>
                      <a:lnTo>
                        <a:pt x="60595" y="36512"/>
                      </a:lnTo>
                      <a:lnTo>
                        <a:pt x="60679" y="36366"/>
                      </a:lnTo>
                      <a:lnTo>
                        <a:pt x="60846" y="36115"/>
                      </a:lnTo>
                      <a:lnTo>
                        <a:pt x="60825" y="36073"/>
                      </a:lnTo>
                      <a:lnTo>
                        <a:pt x="60951" y="36010"/>
                      </a:lnTo>
                      <a:lnTo>
                        <a:pt x="60951" y="35926"/>
                      </a:lnTo>
                      <a:lnTo>
                        <a:pt x="60909" y="35780"/>
                      </a:lnTo>
                      <a:lnTo>
                        <a:pt x="60993" y="35822"/>
                      </a:lnTo>
                      <a:lnTo>
                        <a:pt x="60993" y="35843"/>
                      </a:lnTo>
                      <a:lnTo>
                        <a:pt x="61118" y="35654"/>
                      </a:lnTo>
                      <a:lnTo>
                        <a:pt x="61055" y="35550"/>
                      </a:lnTo>
                      <a:lnTo>
                        <a:pt x="61118" y="35529"/>
                      </a:lnTo>
                      <a:lnTo>
                        <a:pt x="61118" y="35341"/>
                      </a:lnTo>
                      <a:lnTo>
                        <a:pt x="61223" y="35299"/>
                      </a:lnTo>
                      <a:lnTo>
                        <a:pt x="61223" y="35194"/>
                      </a:lnTo>
                      <a:lnTo>
                        <a:pt x="61369" y="35090"/>
                      </a:lnTo>
                      <a:lnTo>
                        <a:pt x="61411" y="35027"/>
                      </a:lnTo>
                      <a:lnTo>
                        <a:pt x="61348" y="34985"/>
                      </a:lnTo>
                      <a:lnTo>
                        <a:pt x="61369" y="34838"/>
                      </a:lnTo>
                      <a:lnTo>
                        <a:pt x="61453" y="34818"/>
                      </a:lnTo>
                      <a:lnTo>
                        <a:pt x="61557" y="34315"/>
                      </a:lnTo>
                      <a:lnTo>
                        <a:pt x="61683" y="34169"/>
                      </a:lnTo>
                      <a:lnTo>
                        <a:pt x="61683" y="34064"/>
                      </a:lnTo>
                      <a:lnTo>
                        <a:pt x="61829" y="33960"/>
                      </a:lnTo>
                      <a:lnTo>
                        <a:pt x="61850" y="33834"/>
                      </a:lnTo>
                      <a:lnTo>
                        <a:pt x="61976" y="33667"/>
                      </a:lnTo>
                      <a:lnTo>
                        <a:pt x="61976" y="33541"/>
                      </a:lnTo>
                      <a:lnTo>
                        <a:pt x="61934" y="33520"/>
                      </a:lnTo>
                      <a:lnTo>
                        <a:pt x="61892" y="33353"/>
                      </a:lnTo>
                      <a:lnTo>
                        <a:pt x="62039" y="33227"/>
                      </a:lnTo>
                      <a:lnTo>
                        <a:pt x="61976" y="32955"/>
                      </a:lnTo>
                      <a:lnTo>
                        <a:pt x="62081" y="32830"/>
                      </a:lnTo>
                      <a:lnTo>
                        <a:pt x="62081" y="32746"/>
                      </a:lnTo>
                      <a:lnTo>
                        <a:pt x="62039" y="32746"/>
                      </a:lnTo>
                      <a:lnTo>
                        <a:pt x="62101" y="32579"/>
                      </a:lnTo>
                      <a:lnTo>
                        <a:pt x="62101" y="32411"/>
                      </a:lnTo>
                      <a:lnTo>
                        <a:pt x="62206" y="32307"/>
                      </a:lnTo>
                      <a:lnTo>
                        <a:pt x="62206" y="32118"/>
                      </a:lnTo>
                      <a:lnTo>
                        <a:pt x="62185" y="32097"/>
                      </a:lnTo>
                      <a:lnTo>
                        <a:pt x="62164" y="31909"/>
                      </a:lnTo>
                      <a:lnTo>
                        <a:pt x="62248" y="31742"/>
                      </a:lnTo>
                      <a:lnTo>
                        <a:pt x="62248" y="31574"/>
                      </a:lnTo>
                      <a:lnTo>
                        <a:pt x="62394" y="31386"/>
                      </a:lnTo>
                      <a:lnTo>
                        <a:pt x="62394" y="31240"/>
                      </a:lnTo>
                      <a:lnTo>
                        <a:pt x="62353" y="31135"/>
                      </a:lnTo>
                      <a:lnTo>
                        <a:pt x="62353" y="30947"/>
                      </a:lnTo>
                      <a:lnTo>
                        <a:pt x="62394" y="30905"/>
                      </a:lnTo>
                      <a:lnTo>
                        <a:pt x="62394" y="30758"/>
                      </a:lnTo>
                      <a:lnTo>
                        <a:pt x="62311" y="30758"/>
                      </a:lnTo>
                      <a:lnTo>
                        <a:pt x="62269" y="30486"/>
                      </a:lnTo>
                      <a:lnTo>
                        <a:pt x="62269" y="30403"/>
                      </a:lnTo>
                      <a:lnTo>
                        <a:pt x="62248" y="30319"/>
                      </a:lnTo>
                      <a:lnTo>
                        <a:pt x="62248" y="30110"/>
                      </a:lnTo>
                      <a:lnTo>
                        <a:pt x="62081" y="29921"/>
                      </a:lnTo>
                      <a:lnTo>
                        <a:pt x="62039" y="29921"/>
                      </a:lnTo>
                      <a:lnTo>
                        <a:pt x="61976" y="29817"/>
                      </a:lnTo>
                      <a:lnTo>
                        <a:pt x="62039" y="29775"/>
                      </a:lnTo>
                      <a:lnTo>
                        <a:pt x="62101" y="29608"/>
                      </a:lnTo>
                      <a:lnTo>
                        <a:pt x="62101" y="29566"/>
                      </a:lnTo>
                      <a:lnTo>
                        <a:pt x="61997" y="29649"/>
                      </a:lnTo>
                      <a:lnTo>
                        <a:pt x="61892" y="29608"/>
                      </a:lnTo>
                      <a:lnTo>
                        <a:pt x="61788" y="29231"/>
                      </a:lnTo>
                      <a:lnTo>
                        <a:pt x="61788" y="29126"/>
                      </a:lnTo>
                      <a:lnTo>
                        <a:pt x="61767" y="29043"/>
                      </a:lnTo>
                      <a:lnTo>
                        <a:pt x="61746" y="28833"/>
                      </a:lnTo>
                      <a:lnTo>
                        <a:pt x="61788" y="28750"/>
                      </a:lnTo>
                      <a:lnTo>
                        <a:pt x="61683" y="28457"/>
                      </a:lnTo>
                      <a:lnTo>
                        <a:pt x="61767" y="28394"/>
                      </a:lnTo>
                      <a:lnTo>
                        <a:pt x="61725" y="28352"/>
                      </a:lnTo>
                      <a:lnTo>
                        <a:pt x="61746" y="28310"/>
                      </a:lnTo>
                      <a:lnTo>
                        <a:pt x="61746" y="28227"/>
                      </a:lnTo>
                      <a:lnTo>
                        <a:pt x="61683" y="28185"/>
                      </a:lnTo>
                      <a:lnTo>
                        <a:pt x="61746" y="28080"/>
                      </a:lnTo>
                      <a:lnTo>
                        <a:pt x="61683" y="27975"/>
                      </a:lnTo>
                      <a:lnTo>
                        <a:pt x="61683" y="27892"/>
                      </a:lnTo>
                      <a:lnTo>
                        <a:pt x="61767" y="27829"/>
                      </a:lnTo>
                      <a:lnTo>
                        <a:pt x="61662" y="27766"/>
                      </a:lnTo>
                      <a:lnTo>
                        <a:pt x="61641" y="27620"/>
                      </a:lnTo>
                      <a:lnTo>
                        <a:pt x="61683" y="27557"/>
                      </a:lnTo>
                      <a:lnTo>
                        <a:pt x="61662" y="27452"/>
                      </a:lnTo>
                      <a:lnTo>
                        <a:pt x="61578" y="27515"/>
                      </a:lnTo>
                      <a:lnTo>
                        <a:pt x="61474" y="27494"/>
                      </a:lnTo>
                      <a:lnTo>
                        <a:pt x="61348" y="27390"/>
                      </a:lnTo>
                      <a:lnTo>
                        <a:pt x="61348" y="27264"/>
                      </a:lnTo>
                      <a:lnTo>
                        <a:pt x="61411" y="27180"/>
                      </a:lnTo>
                      <a:lnTo>
                        <a:pt x="61411" y="27076"/>
                      </a:lnTo>
                      <a:lnTo>
                        <a:pt x="61244" y="26887"/>
                      </a:lnTo>
                      <a:lnTo>
                        <a:pt x="61160" y="26887"/>
                      </a:lnTo>
                      <a:lnTo>
                        <a:pt x="61055" y="26762"/>
                      </a:lnTo>
                      <a:lnTo>
                        <a:pt x="61139" y="26720"/>
                      </a:lnTo>
                      <a:lnTo>
                        <a:pt x="61139" y="26615"/>
                      </a:lnTo>
                      <a:lnTo>
                        <a:pt x="61202" y="26511"/>
                      </a:lnTo>
                      <a:lnTo>
                        <a:pt x="61097" y="26323"/>
                      </a:lnTo>
                      <a:lnTo>
                        <a:pt x="61013" y="26323"/>
                      </a:lnTo>
                      <a:lnTo>
                        <a:pt x="60930" y="26239"/>
                      </a:lnTo>
                      <a:lnTo>
                        <a:pt x="60825" y="26218"/>
                      </a:lnTo>
                      <a:lnTo>
                        <a:pt x="60804" y="26134"/>
                      </a:lnTo>
                      <a:lnTo>
                        <a:pt x="60532" y="26051"/>
                      </a:lnTo>
                      <a:lnTo>
                        <a:pt x="60490" y="25988"/>
                      </a:lnTo>
                      <a:lnTo>
                        <a:pt x="60323" y="25946"/>
                      </a:lnTo>
                      <a:lnTo>
                        <a:pt x="60260" y="25904"/>
                      </a:lnTo>
                      <a:lnTo>
                        <a:pt x="60197" y="25779"/>
                      </a:lnTo>
                      <a:lnTo>
                        <a:pt x="60114" y="25695"/>
                      </a:lnTo>
                      <a:lnTo>
                        <a:pt x="59988" y="25695"/>
                      </a:lnTo>
                      <a:lnTo>
                        <a:pt x="59863" y="25590"/>
                      </a:lnTo>
                      <a:lnTo>
                        <a:pt x="59737" y="25695"/>
                      </a:lnTo>
                      <a:lnTo>
                        <a:pt x="59633" y="25695"/>
                      </a:lnTo>
                      <a:lnTo>
                        <a:pt x="59570" y="25779"/>
                      </a:lnTo>
                      <a:lnTo>
                        <a:pt x="59486" y="25779"/>
                      </a:lnTo>
                      <a:lnTo>
                        <a:pt x="59444" y="25716"/>
                      </a:lnTo>
                      <a:lnTo>
                        <a:pt x="59444" y="25674"/>
                      </a:lnTo>
                      <a:lnTo>
                        <a:pt x="59340" y="25611"/>
                      </a:lnTo>
                      <a:lnTo>
                        <a:pt x="59235" y="25611"/>
                      </a:lnTo>
                      <a:lnTo>
                        <a:pt x="59277" y="25799"/>
                      </a:lnTo>
                      <a:lnTo>
                        <a:pt x="59381" y="25904"/>
                      </a:lnTo>
                      <a:lnTo>
                        <a:pt x="59340" y="26009"/>
                      </a:lnTo>
                      <a:lnTo>
                        <a:pt x="59381" y="26197"/>
                      </a:lnTo>
                      <a:lnTo>
                        <a:pt x="59340" y="26343"/>
                      </a:lnTo>
                      <a:lnTo>
                        <a:pt x="59256" y="26406"/>
                      </a:lnTo>
                      <a:lnTo>
                        <a:pt x="59256" y="26239"/>
                      </a:lnTo>
                      <a:lnTo>
                        <a:pt x="59277" y="26113"/>
                      </a:lnTo>
                      <a:lnTo>
                        <a:pt x="59214" y="25946"/>
                      </a:lnTo>
                      <a:lnTo>
                        <a:pt x="59151" y="26030"/>
                      </a:lnTo>
                      <a:lnTo>
                        <a:pt x="59172" y="26134"/>
                      </a:lnTo>
                      <a:lnTo>
                        <a:pt x="59130" y="26323"/>
                      </a:lnTo>
                      <a:lnTo>
                        <a:pt x="59005" y="26406"/>
                      </a:lnTo>
                      <a:lnTo>
                        <a:pt x="58733" y="26427"/>
                      </a:lnTo>
                      <a:lnTo>
                        <a:pt x="58712" y="26364"/>
                      </a:lnTo>
                      <a:lnTo>
                        <a:pt x="58816" y="26302"/>
                      </a:lnTo>
                      <a:lnTo>
                        <a:pt x="58858" y="26302"/>
                      </a:lnTo>
                      <a:lnTo>
                        <a:pt x="58858" y="26134"/>
                      </a:lnTo>
                      <a:lnTo>
                        <a:pt x="58921" y="26051"/>
                      </a:lnTo>
                      <a:lnTo>
                        <a:pt x="58963" y="26009"/>
                      </a:lnTo>
                      <a:lnTo>
                        <a:pt x="58837" y="26009"/>
                      </a:lnTo>
                      <a:lnTo>
                        <a:pt x="58796" y="26051"/>
                      </a:lnTo>
                      <a:lnTo>
                        <a:pt x="58733" y="26009"/>
                      </a:lnTo>
                      <a:lnTo>
                        <a:pt x="58649" y="26030"/>
                      </a:lnTo>
                      <a:lnTo>
                        <a:pt x="58607" y="26134"/>
                      </a:lnTo>
                      <a:lnTo>
                        <a:pt x="58524" y="26197"/>
                      </a:lnTo>
                      <a:lnTo>
                        <a:pt x="58503" y="26197"/>
                      </a:lnTo>
                      <a:lnTo>
                        <a:pt x="58419" y="26302"/>
                      </a:lnTo>
                      <a:lnTo>
                        <a:pt x="58272" y="26155"/>
                      </a:lnTo>
                      <a:lnTo>
                        <a:pt x="58293" y="26009"/>
                      </a:lnTo>
                      <a:lnTo>
                        <a:pt x="58231" y="25820"/>
                      </a:lnTo>
                      <a:lnTo>
                        <a:pt x="58105" y="25632"/>
                      </a:lnTo>
                      <a:lnTo>
                        <a:pt x="58105" y="25339"/>
                      </a:lnTo>
                      <a:lnTo>
                        <a:pt x="57980" y="25381"/>
                      </a:lnTo>
                      <a:lnTo>
                        <a:pt x="57917" y="25381"/>
                      </a:lnTo>
                      <a:lnTo>
                        <a:pt x="57812" y="25423"/>
                      </a:lnTo>
                      <a:lnTo>
                        <a:pt x="57749" y="25465"/>
                      </a:lnTo>
                      <a:lnTo>
                        <a:pt x="57603" y="25548"/>
                      </a:lnTo>
                      <a:lnTo>
                        <a:pt x="57498" y="25548"/>
                      </a:lnTo>
                      <a:lnTo>
                        <a:pt x="57394" y="25486"/>
                      </a:lnTo>
                      <a:lnTo>
                        <a:pt x="57289" y="25527"/>
                      </a:lnTo>
                      <a:lnTo>
                        <a:pt x="57184" y="25444"/>
                      </a:lnTo>
                      <a:lnTo>
                        <a:pt x="57143" y="25339"/>
                      </a:lnTo>
                      <a:lnTo>
                        <a:pt x="57184" y="25255"/>
                      </a:lnTo>
                      <a:lnTo>
                        <a:pt x="57226" y="25109"/>
                      </a:lnTo>
                      <a:lnTo>
                        <a:pt x="57331" y="24942"/>
                      </a:lnTo>
                      <a:lnTo>
                        <a:pt x="57477" y="24774"/>
                      </a:lnTo>
                      <a:lnTo>
                        <a:pt x="57477" y="24586"/>
                      </a:lnTo>
                      <a:lnTo>
                        <a:pt x="57666" y="24439"/>
                      </a:lnTo>
                      <a:lnTo>
                        <a:pt x="57666" y="24272"/>
                      </a:lnTo>
                      <a:lnTo>
                        <a:pt x="57708" y="24251"/>
                      </a:lnTo>
                      <a:lnTo>
                        <a:pt x="57708" y="24188"/>
                      </a:lnTo>
                      <a:lnTo>
                        <a:pt x="57812" y="24021"/>
                      </a:lnTo>
                      <a:lnTo>
                        <a:pt x="57854" y="23874"/>
                      </a:lnTo>
                      <a:lnTo>
                        <a:pt x="57917" y="23749"/>
                      </a:lnTo>
                      <a:lnTo>
                        <a:pt x="57875" y="23623"/>
                      </a:lnTo>
                      <a:lnTo>
                        <a:pt x="57917" y="23540"/>
                      </a:lnTo>
                      <a:lnTo>
                        <a:pt x="57917" y="23330"/>
                      </a:lnTo>
                      <a:lnTo>
                        <a:pt x="57980" y="23038"/>
                      </a:lnTo>
                      <a:lnTo>
                        <a:pt x="58021" y="23038"/>
                      </a:lnTo>
                      <a:lnTo>
                        <a:pt x="58063" y="22828"/>
                      </a:lnTo>
                      <a:lnTo>
                        <a:pt x="58168" y="22786"/>
                      </a:lnTo>
                      <a:lnTo>
                        <a:pt x="58126" y="22661"/>
                      </a:lnTo>
                      <a:lnTo>
                        <a:pt x="58293" y="22473"/>
                      </a:lnTo>
                      <a:lnTo>
                        <a:pt x="58314" y="22305"/>
                      </a:lnTo>
                      <a:lnTo>
                        <a:pt x="58419" y="22242"/>
                      </a:lnTo>
                      <a:lnTo>
                        <a:pt x="58377" y="22033"/>
                      </a:lnTo>
                      <a:lnTo>
                        <a:pt x="58419" y="21970"/>
                      </a:lnTo>
                      <a:lnTo>
                        <a:pt x="58419" y="21845"/>
                      </a:lnTo>
                      <a:lnTo>
                        <a:pt x="58503" y="21782"/>
                      </a:lnTo>
                      <a:lnTo>
                        <a:pt x="58544" y="21782"/>
                      </a:lnTo>
                      <a:lnTo>
                        <a:pt x="58544" y="21657"/>
                      </a:lnTo>
                      <a:lnTo>
                        <a:pt x="58503" y="21573"/>
                      </a:lnTo>
                      <a:lnTo>
                        <a:pt x="58503" y="21343"/>
                      </a:lnTo>
                      <a:lnTo>
                        <a:pt x="58482" y="21217"/>
                      </a:lnTo>
                      <a:lnTo>
                        <a:pt x="58544" y="21029"/>
                      </a:lnTo>
                      <a:lnTo>
                        <a:pt x="58712" y="20841"/>
                      </a:lnTo>
                      <a:lnTo>
                        <a:pt x="58754" y="20631"/>
                      </a:lnTo>
                      <a:lnTo>
                        <a:pt x="58607" y="20401"/>
                      </a:lnTo>
                      <a:lnTo>
                        <a:pt x="58628" y="20276"/>
                      </a:lnTo>
                      <a:lnTo>
                        <a:pt x="58733" y="20171"/>
                      </a:lnTo>
                      <a:lnTo>
                        <a:pt x="58754" y="20045"/>
                      </a:lnTo>
                      <a:lnTo>
                        <a:pt x="58963" y="19878"/>
                      </a:lnTo>
                      <a:lnTo>
                        <a:pt x="59005" y="19773"/>
                      </a:lnTo>
                      <a:lnTo>
                        <a:pt x="59068" y="19773"/>
                      </a:lnTo>
                      <a:lnTo>
                        <a:pt x="59151" y="19857"/>
                      </a:lnTo>
                      <a:lnTo>
                        <a:pt x="59277" y="19836"/>
                      </a:lnTo>
                      <a:lnTo>
                        <a:pt x="59486" y="19669"/>
                      </a:lnTo>
                      <a:lnTo>
                        <a:pt x="59674" y="19669"/>
                      </a:lnTo>
                      <a:lnTo>
                        <a:pt x="59842" y="19564"/>
                      </a:lnTo>
                      <a:lnTo>
                        <a:pt x="59967" y="19564"/>
                      </a:lnTo>
                      <a:lnTo>
                        <a:pt x="60072" y="19481"/>
                      </a:lnTo>
                      <a:lnTo>
                        <a:pt x="60177" y="19481"/>
                      </a:lnTo>
                      <a:lnTo>
                        <a:pt x="60281" y="19460"/>
                      </a:lnTo>
                      <a:lnTo>
                        <a:pt x="60323" y="19376"/>
                      </a:lnTo>
                      <a:lnTo>
                        <a:pt x="60428" y="19460"/>
                      </a:lnTo>
                      <a:lnTo>
                        <a:pt x="60386" y="19585"/>
                      </a:lnTo>
                      <a:lnTo>
                        <a:pt x="60469" y="19627"/>
                      </a:lnTo>
                      <a:lnTo>
                        <a:pt x="60574" y="19732"/>
                      </a:lnTo>
                      <a:lnTo>
                        <a:pt x="60616" y="19627"/>
                      </a:lnTo>
                      <a:lnTo>
                        <a:pt x="60721" y="19543"/>
                      </a:lnTo>
                      <a:lnTo>
                        <a:pt x="60574" y="19418"/>
                      </a:lnTo>
                      <a:lnTo>
                        <a:pt x="60574" y="19355"/>
                      </a:lnTo>
                      <a:lnTo>
                        <a:pt x="60700" y="19271"/>
                      </a:lnTo>
                      <a:lnTo>
                        <a:pt x="60909" y="19313"/>
                      </a:lnTo>
                      <a:lnTo>
                        <a:pt x="61013" y="19250"/>
                      </a:lnTo>
                      <a:lnTo>
                        <a:pt x="61244" y="19250"/>
                      </a:lnTo>
                      <a:lnTo>
                        <a:pt x="61306" y="19334"/>
                      </a:lnTo>
                      <a:lnTo>
                        <a:pt x="61348" y="19334"/>
                      </a:lnTo>
                      <a:lnTo>
                        <a:pt x="61432" y="19250"/>
                      </a:lnTo>
                      <a:lnTo>
                        <a:pt x="61516" y="19250"/>
                      </a:lnTo>
                      <a:lnTo>
                        <a:pt x="61474" y="19146"/>
                      </a:lnTo>
                      <a:lnTo>
                        <a:pt x="61557" y="19104"/>
                      </a:lnTo>
                      <a:lnTo>
                        <a:pt x="61746" y="19104"/>
                      </a:lnTo>
                      <a:lnTo>
                        <a:pt x="61829" y="19208"/>
                      </a:lnTo>
                      <a:lnTo>
                        <a:pt x="62039" y="19125"/>
                      </a:lnTo>
                      <a:lnTo>
                        <a:pt x="62039" y="19041"/>
                      </a:lnTo>
                      <a:lnTo>
                        <a:pt x="61955" y="18999"/>
                      </a:lnTo>
                      <a:lnTo>
                        <a:pt x="61892" y="19041"/>
                      </a:lnTo>
                      <a:lnTo>
                        <a:pt x="61767" y="18957"/>
                      </a:lnTo>
                      <a:lnTo>
                        <a:pt x="61850" y="18832"/>
                      </a:lnTo>
                      <a:lnTo>
                        <a:pt x="61871" y="18916"/>
                      </a:lnTo>
                      <a:lnTo>
                        <a:pt x="62039" y="18853"/>
                      </a:lnTo>
                      <a:lnTo>
                        <a:pt x="61871" y="18748"/>
                      </a:lnTo>
                      <a:lnTo>
                        <a:pt x="61871" y="18685"/>
                      </a:lnTo>
                      <a:lnTo>
                        <a:pt x="61955" y="18685"/>
                      </a:lnTo>
                      <a:lnTo>
                        <a:pt x="62101" y="18497"/>
                      </a:lnTo>
                      <a:lnTo>
                        <a:pt x="62269" y="18497"/>
                      </a:lnTo>
                      <a:lnTo>
                        <a:pt x="62353" y="18581"/>
                      </a:lnTo>
                      <a:lnTo>
                        <a:pt x="62457" y="18518"/>
                      </a:lnTo>
                      <a:lnTo>
                        <a:pt x="62666" y="18581"/>
                      </a:lnTo>
                      <a:lnTo>
                        <a:pt x="62813" y="18581"/>
                      </a:lnTo>
                      <a:lnTo>
                        <a:pt x="62813" y="18623"/>
                      </a:lnTo>
                      <a:lnTo>
                        <a:pt x="62897" y="18685"/>
                      </a:lnTo>
                      <a:lnTo>
                        <a:pt x="62959" y="18644"/>
                      </a:lnTo>
                      <a:lnTo>
                        <a:pt x="62918" y="18581"/>
                      </a:lnTo>
                      <a:lnTo>
                        <a:pt x="63106" y="18581"/>
                      </a:lnTo>
                      <a:lnTo>
                        <a:pt x="63252" y="18602"/>
                      </a:lnTo>
                      <a:lnTo>
                        <a:pt x="63357" y="18602"/>
                      </a:lnTo>
                      <a:lnTo>
                        <a:pt x="63462" y="18685"/>
                      </a:lnTo>
                      <a:lnTo>
                        <a:pt x="63462" y="18727"/>
                      </a:lnTo>
                      <a:lnTo>
                        <a:pt x="63629" y="18748"/>
                      </a:lnTo>
                      <a:lnTo>
                        <a:pt x="63734" y="18664"/>
                      </a:lnTo>
                      <a:lnTo>
                        <a:pt x="63796" y="18685"/>
                      </a:lnTo>
                      <a:lnTo>
                        <a:pt x="63838" y="18769"/>
                      </a:lnTo>
                      <a:lnTo>
                        <a:pt x="63629" y="18916"/>
                      </a:lnTo>
                      <a:lnTo>
                        <a:pt x="63441" y="18916"/>
                      </a:lnTo>
                      <a:lnTo>
                        <a:pt x="63378" y="18978"/>
                      </a:lnTo>
                      <a:lnTo>
                        <a:pt x="63378" y="19083"/>
                      </a:lnTo>
                      <a:lnTo>
                        <a:pt x="63273" y="19083"/>
                      </a:lnTo>
                      <a:lnTo>
                        <a:pt x="63252" y="19125"/>
                      </a:lnTo>
                      <a:lnTo>
                        <a:pt x="63315" y="19146"/>
                      </a:lnTo>
                      <a:lnTo>
                        <a:pt x="63378" y="19146"/>
                      </a:lnTo>
                      <a:lnTo>
                        <a:pt x="63545" y="19355"/>
                      </a:lnTo>
                      <a:lnTo>
                        <a:pt x="63587" y="19313"/>
                      </a:lnTo>
                      <a:lnTo>
                        <a:pt x="63775" y="19250"/>
                      </a:lnTo>
                      <a:lnTo>
                        <a:pt x="63859" y="19146"/>
                      </a:lnTo>
                      <a:lnTo>
                        <a:pt x="63838" y="19104"/>
                      </a:lnTo>
                      <a:lnTo>
                        <a:pt x="63964" y="19041"/>
                      </a:lnTo>
                      <a:lnTo>
                        <a:pt x="63880" y="18916"/>
                      </a:lnTo>
                      <a:lnTo>
                        <a:pt x="63964" y="18916"/>
                      </a:lnTo>
                      <a:lnTo>
                        <a:pt x="64089" y="19083"/>
                      </a:lnTo>
                      <a:lnTo>
                        <a:pt x="64173" y="19104"/>
                      </a:lnTo>
                      <a:lnTo>
                        <a:pt x="64215" y="19020"/>
                      </a:lnTo>
                      <a:lnTo>
                        <a:pt x="64173" y="18978"/>
                      </a:lnTo>
                      <a:lnTo>
                        <a:pt x="64257" y="18916"/>
                      </a:lnTo>
                      <a:lnTo>
                        <a:pt x="64298" y="18832"/>
                      </a:lnTo>
                      <a:lnTo>
                        <a:pt x="64319" y="18832"/>
                      </a:lnTo>
                      <a:lnTo>
                        <a:pt x="64319" y="18727"/>
                      </a:lnTo>
                      <a:lnTo>
                        <a:pt x="64298" y="18664"/>
                      </a:lnTo>
                      <a:lnTo>
                        <a:pt x="64382" y="18623"/>
                      </a:lnTo>
                      <a:lnTo>
                        <a:pt x="64466" y="18685"/>
                      </a:lnTo>
                      <a:lnTo>
                        <a:pt x="64529" y="18623"/>
                      </a:lnTo>
                      <a:lnTo>
                        <a:pt x="64591" y="18685"/>
                      </a:lnTo>
                      <a:lnTo>
                        <a:pt x="64612" y="18769"/>
                      </a:lnTo>
                      <a:lnTo>
                        <a:pt x="64696" y="18811"/>
                      </a:lnTo>
                      <a:lnTo>
                        <a:pt x="64842" y="18664"/>
                      </a:lnTo>
                      <a:lnTo>
                        <a:pt x="64780" y="18602"/>
                      </a:lnTo>
                      <a:lnTo>
                        <a:pt x="64780" y="18581"/>
                      </a:lnTo>
                      <a:lnTo>
                        <a:pt x="64842" y="18518"/>
                      </a:lnTo>
                      <a:lnTo>
                        <a:pt x="64926" y="18560"/>
                      </a:lnTo>
                      <a:lnTo>
                        <a:pt x="65010" y="18497"/>
                      </a:lnTo>
                      <a:lnTo>
                        <a:pt x="65094" y="18497"/>
                      </a:lnTo>
                      <a:lnTo>
                        <a:pt x="65114" y="18455"/>
                      </a:lnTo>
                      <a:lnTo>
                        <a:pt x="65010" y="18351"/>
                      </a:lnTo>
                      <a:lnTo>
                        <a:pt x="65031" y="18288"/>
                      </a:lnTo>
                      <a:lnTo>
                        <a:pt x="65031" y="18246"/>
                      </a:lnTo>
                      <a:lnTo>
                        <a:pt x="64926" y="18183"/>
                      </a:lnTo>
                      <a:lnTo>
                        <a:pt x="64884" y="18141"/>
                      </a:lnTo>
                      <a:lnTo>
                        <a:pt x="64884" y="18162"/>
                      </a:lnTo>
                      <a:lnTo>
                        <a:pt x="64884" y="18204"/>
                      </a:lnTo>
                      <a:lnTo>
                        <a:pt x="64822" y="18204"/>
                      </a:lnTo>
                      <a:lnTo>
                        <a:pt x="64717" y="18162"/>
                      </a:lnTo>
                      <a:lnTo>
                        <a:pt x="64696" y="18183"/>
                      </a:lnTo>
                      <a:lnTo>
                        <a:pt x="64696" y="18246"/>
                      </a:lnTo>
                      <a:lnTo>
                        <a:pt x="64591" y="18246"/>
                      </a:lnTo>
                      <a:lnTo>
                        <a:pt x="64529" y="18288"/>
                      </a:lnTo>
                      <a:lnTo>
                        <a:pt x="64466" y="18246"/>
                      </a:lnTo>
                      <a:lnTo>
                        <a:pt x="64487" y="18141"/>
                      </a:lnTo>
                      <a:lnTo>
                        <a:pt x="64529" y="18100"/>
                      </a:lnTo>
                      <a:lnTo>
                        <a:pt x="64382" y="17890"/>
                      </a:lnTo>
                      <a:lnTo>
                        <a:pt x="64487" y="17828"/>
                      </a:lnTo>
                      <a:lnTo>
                        <a:pt x="64382" y="17660"/>
                      </a:lnTo>
                      <a:lnTo>
                        <a:pt x="64424" y="17451"/>
                      </a:lnTo>
                      <a:lnTo>
                        <a:pt x="64424" y="17325"/>
                      </a:lnTo>
                      <a:lnTo>
                        <a:pt x="64508" y="17221"/>
                      </a:lnTo>
                      <a:lnTo>
                        <a:pt x="64508" y="17032"/>
                      </a:lnTo>
                      <a:lnTo>
                        <a:pt x="64612" y="16928"/>
                      </a:lnTo>
                      <a:lnTo>
                        <a:pt x="64612" y="16802"/>
                      </a:lnTo>
                      <a:lnTo>
                        <a:pt x="64591" y="16781"/>
                      </a:lnTo>
                      <a:lnTo>
                        <a:pt x="64717" y="16719"/>
                      </a:lnTo>
                      <a:lnTo>
                        <a:pt x="64591" y="16572"/>
                      </a:lnTo>
                      <a:lnTo>
                        <a:pt x="64633" y="16175"/>
                      </a:lnTo>
                      <a:lnTo>
                        <a:pt x="64738" y="16091"/>
                      </a:lnTo>
                      <a:lnTo>
                        <a:pt x="64633" y="15944"/>
                      </a:lnTo>
                      <a:lnTo>
                        <a:pt x="64612" y="15777"/>
                      </a:lnTo>
                      <a:lnTo>
                        <a:pt x="64529" y="15735"/>
                      </a:lnTo>
                      <a:lnTo>
                        <a:pt x="64529" y="15672"/>
                      </a:lnTo>
                      <a:lnTo>
                        <a:pt x="64633" y="15589"/>
                      </a:lnTo>
                      <a:lnTo>
                        <a:pt x="64612" y="15442"/>
                      </a:lnTo>
                      <a:lnTo>
                        <a:pt x="64696" y="15379"/>
                      </a:lnTo>
                      <a:lnTo>
                        <a:pt x="64822" y="15170"/>
                      </a:lnTo>
                      <a:lnTo>
                        <a:pt x="64947" y="15212"/>
                      </a:lnTo>
                      <a:lnTo>
                        <a:pt x="65031" y="15149"/>
                      </a:lnTo>
                      <a:lnTo>
                        <a:pt x="65114" y="15170"/>
                      </a:lnTo>
                      <a:lnTo>
                        <a:pt x="65156" y="15107"/>
                      </a:lnTo>
                      <a:lnTo>
                        <a:pt x="65366" y="15107"/>
                      </a:lnTo>
                      <a:lnTo>
                        <a:pt x="65407" y="15045"/>
                      </a:lnTo>
                      <a:lnTo>
                        <a:pt x="65470" y="15024"/>
                      </a:lnTo>
                      <a:lnTo>
                        <a:pt x="65512" y="14919"/>
                      </a:lnTo>
                      <a:lnTo>
                        <a:pt x="65554" y="14919"/>
                      </a:lnTo>
                      <a:lnTo>
                        <a:pt x="65617" y="14898"/>
                      </a:lnTo>
                      <a:lnTo>
                        <a:pt x="65742" y="14898"/>
                      </a:lnTo>
                      <a:lnTo>
                        <a:pt x="65763" y="15003"/>
                      </a:lnTo>
                      <a:lnTo>
                        <a:pt x="65826" y="14961"/>
                      </a:lnTo>
                      <a:lnTo>
                        <a:pt x="65868" y="14961"/>
                      </a:lnTo>
                      <a:lnTo>
                        <a:pt x="65951" y="15107"/>
                      </a:lnTo>
                      <a:lnTo>
                        <a:pt x="65993" y="15107"/>
                      </a:lnTo>
                      <a:lnTo>
                        <a:pt x="66098" y="14961"/>
                      </a:lnTo>
                      <a:lnTo>
                        <a:pt x="66098" y="14835"/>
                      </a:lnTo>
                      <a:lnTo>
                        <a:pt x="66182" y="14815"/>
                      </a:lnTo>
                      <a:lnTo>
                        <a:pt x="66203" y="14689"/>
                      </a:lnTo>
                      <a:lnTo>
                        <a:pt x="66265" y="14689"/>
                      </a:lnTo>
                      <a:lnTo>
                        <a:pt x="66286" y="14794"/>
                      </a:lnTo>
                      <a:lnTo>
                        <a:pt x="66412" y="14856"/>
                      </a:lnTo>
                      <a:lnTo>
                        <a:pt x="66412" y="15003"/>
                      </a:lnTo>
                      <a:lnTo>
                        <a:pt x="66391" y="15045"/>
                      </a:lnTo>
                      <a:lnTo>
                        <a:pt x="66454" y="15107"/>
                      </a:lnTo>
                      <a:lnTo>
                        <a:pt x="66475" y="15212"/>
                      </a:lnTo>
                      <a:lnTo>
                        <a:pt x="66391" y="15275"/>
                      </a:lnTo>
                      <a:lnTo>
                        <a:pt x="66454" y="15317"/>
                      </a:lnTo>
                      <a:lnTo>
                        <a:pt x="66475" y="15442"/>
                      </a:lnTo>
                      <a:lnTo>
                        <a:pt x="66454" y="15442"/>
                      </a:lnTo>
                      <a:lnTo>
                        <a:pt x="66454" y="15526"/>
                      </a:lnTo>
                      <a:lnTo>
                        <a:pt x="66475" y="15568"/>
                      </a:lnTo>
                      <a:lnTo>
                        <a:pt x="66412" y="15651"/>
                      </a:lnTo>
                      <a:lnTo>
                        <a:pt x="66391" y="15693"/>
                      </a:lnTo>
                      <a:lnTo>
                        <a:pt x="66412" y="15756"/>
                      </a:lnTo>
                      <a:lnTo>
                        <a:pt x="66516" y="15651"/>
                      </a:lnTo>
                      <a:lnTo>
                        <a:pt x="66558" y="15735"/>
                      </a:lnTo>
                      <a:lnTo>
                        <a:pt x="66663" y="15756"/>
                      </a:lnTo>
                      <a:lnTo>
                        <a:pt x="66684" y="15965"/>
                      </a:lnTo>
                      <a:lnTo>
                        <a:pt x="66726" y="15903"/>
                      </a:lnTo>
                      <a:lnTo>
                        <a:pt x="66726" y="15840"/>
                      </a:lnTo>
                      <a:lnTo>
                        <a:pt x="66830" y="15735"/>
                      </a:lnTo>
                      <a:lnTo>
                        <a:pt x="66914" y="15735"/>
                      </a:lnTo>
                      <a:lnTo>
                        <a:pt x="66977" y="15777"/>
                      </a:lnTo>
                      <a:lnTo>
                        <a:pt x="66872" y="15944"/>
                      </a:lnTo>
                      <a:lnTo>
                        <a:pt x="66977" y="16049"/>
                      </a:lnTo>
                      <a:lnTo>
                        <a:pt x="66998" y="16175"/>
                      </a:lnTo>
                      <a:lnTo>
                        <a:pt x="67081" y="15986"/>
                      </a:lnTo>
                      <a:lnTo>
                        <a:pt x="67144" y="15944"/>
                      </a:lnTo>
                      <a:lnTo>
                        <a:pt x="67144" y="15861"/>
                      </a:lnTo>
                      <a:lnTo>
                        <a:pt x="67207" y="15777"/>
                      </a:lnTo>
                      <a:lnTo>
                        <a:pt x="67207" y="15484"/>
                      </a:lnTo>
                      <a:lnTo>
                        <a:pt x="67291" y="15421"/>
                      </a:lnTo>
                      <a:lnTo>
                        <a:pt x="67207" y="15338"/>
                      </a:lnTo>
                      <a:lnTo>
                        <a:pt x="67311" y="15254"/>
                      </a:lnTo>
                      <a:lnTo>
                        <a:pt x="67311" y="15149"/>
                      </a:lnTo>
                      <a:lnTo>
                        <a:pt x="67249" y="15128"/>
                      </a:lnTo>
                      <a:lnTo>
                        <a:pt x="67249" y="15066"/>
                      </a:lnTo>
                      <a:lnTo>
                        <a:pt x="67311" y="15045"/>
                      </a:lnTo>
                      <a:lnTo>
                        <a:pt x="67332" y="14856"/>
                      </a:lnTo>
                      <a:lnTo>
                        <a:pt x="67249" y="14794"/>
                      </a:lnTo>
                      <a:lnTo>
                        <a:pt x="67311" y="14605"/>
                      </a:lnTo>
                      <a:lnTo>
                        <a:pt x="67395" y="14522"/>
                      </a:lnTo>
                      <a:lnTo>
                        <a:pt x="67542" y="14501"/>
                      </a:lnTo>
                      <a:lnTo>
                        <a:pt x="67604" y="14584"/>
                      </a:lnTo>
                      <a:lnTo>
                        <a:pt x="67667" y="14647"/>
                      </a:lnTo>
                      <a:lnTo>
                        <a:pt x="67730" y="14584"/>
                      </a:lnTo>
                      <a:lnTo>
                        <a:pt x="67646" y="14501"/>
                      </a:lnTo>
                      <a:lnTo>
                        <a:pt x="67688" y="14375"/>
                      </a:lnTo>
                      <a:lnTo>
                        <a:pt x="67521" y="14291"/>
                      </a:lnTo>
                      <a:lnTo>
                        <a:pt x="67479" y="14061"/>
                      </a:lnTo>
                      <a:lnTo>
                        <a:pt x="67395" y="13999"/>
                      </a:lnTo>
                      <a:lnTo>
                        <a:pt x="67395" y="13957"/>
                      </a:lnTo>
                      <a:lnTo>
                        <a:pt x="67291" y="13873"/>
                      </a:lnTo>
                      <a:lnTo>
                        <a:pt x="67270" y="13706"/>
                      </a:lnTo>
                      <a:lnTo>
                        <a:pt x="67311" y="13664"/>
                      </a:lnTo>
                      <a:lnTo>
                        <a:pt x="67291" y="13538"/>
                      </a:lnTo>
                      <a:lnTo>
                        <a:pt x="67165" y="13434"/>
                      </a:lnTo>
                      <a:lnTo>
                        <a:pt x="67186" y="13329"/>
                      </a:lnTo>
                      <a:lnTo>
                        <a:pt x="67123" y="13266"/>
                      </a:lnTo>
                      <a:lnTo>
                        <a:pt x="67291" y="13141"/>
                      </a:lnTo>
                      <a:lnTo>
                        <a:pt x="67416" y="13141"/>
                      </a:lnTo>
                      <a:lnTo>
                        <a:pt x="67521" y="13015"/>
                      </a:lnTo>
                      <a:lnTo>
                        <a:pt x="67688" y="13015"/>
                      </a:lnTo>
                      <a:lnTo>
                        <a:pt x="67730" y="12952"/>
                      </a:lnTo>
                      <a:lnTo>
                        <a:pt x="67897" y="13078"/>
                      </a:lnTo>
                      <a:lnTo>
                        <a:pt x="68044" y="13078"/>
                      </a:lnTo>
                      <a:lnTo>
                        <a:pt x="68107" y="13120"/>
                      </a:lnTo>
                      <a:lnTo>
                        <a:pt x="68211" y="13141"/>
                      </a:lnTo>
                      <a:lnTo>
                        <a:pt x="68274" y="13120"/>
                      </a:lnTo>
                      <a:lnTo>
                        <a:pt x="68127" y="13182"/>
                      </a:lnTo>
                      <a:lnTo>
                        <a:pt x="68211" y="13245"/>
                      </a:lnTo>
                      <a:lnTo>
                        <a:pt x="68065" y="13287"/>
                      </a:lnTo>
                      <a:lnTo>
                        <a:pt x="67939" y="13266"/>
                      </a:lnTo>
                      <a:lnTo>
                        <a:pt x="67793" y="13434"/>
                      </a:lnTo>
                      <a:lnTo>
                        <a:pt x="67793" y="13496"/>
                      </a:lnTo>
                      <a:lnTo>
                        <a:pt x="67835" y="13643"/>
                      </a:lnTo>
                      <a:lnTo>
                        <a:pt x="67835" y="13768"/>
                      </a:lnTo>
                      <a:lnTo>
                        <a:pt x="67918" y="13810"/>
                      </a:lnTo>
                      <a:lnTo>
                        <a:pt x="67939" y="13894"/>
                      </a:lnTo>
                      <a:lnTo>
                        <a:pt x="68065" y="14061"/>
                      </a:lnTo>
                      <a:lnTo>
                        <a:pt x="68065" y="14103"/>
                      </a:lnTo>
                      <a:lnTo>
                        <a:pt x="68107" y="14103"/>
                      </a:lnTo>
                      <a:lnTo>
                        <a:pt x="68065" y="14166"/>
                      </a:lnTo>
                      <a:lnTo>
                        <a:pt x="68211" y="14208"/>
                      </a:lnTo>
                      <a:lnTo>
                        <a:pt x="68232" y="14333"/>
                      </a:lnTo>
                      <a:lnTo>
                        <a:pt x="68232" y="14396"/>
                      </a:lnTo>
                      <a:lnTo>
                        <a:pt x="68169" y="14438"/>
                      </a:lnTo>
                      <a:lnTo>
                        <a:pt x="68211" y="14710"/>
                      </a:lnTo>
                      <a:lnTo>
                        <a:pt x="68253" y="14731"/>
                      </a:lnTo>
                      <a:lnTo>
                        <a:pt x="68316" y="14647"/>
                      </a:lnTo>
                      <a:lnTo>
                        <a:pt x="68358" y="14647"/>
                      </a:lnTo>
                      <a:lnTo>
                        <a:pt x="68441" y="14752"/>
                      </a:lnTo>
                      <a:lnTo>
                        <a:pt x="68483" y="14835"/>
                      </a:lnTo>
                      <a:lnTo>
                        <a:pt x="68420" y="15024"/>
                      </a:lnTo>
                      <a:lnTo>
                        <a:pt x="68420" y="15233"/>
                      </a:lnTo>
                      <a:lnTo>
                        <a:pt x="68483" y="15317"/>
                      </a:lnTo>
                      <a:lnTo>
                        <a:pt x="68567" y="15254"/>
                      </a:lnTo>
                      <a:lnTo>
                        <a:pt x="68672" y="15275"/>
                      </a:lnTo>
                      <a:lnTo>
                        <a:pt x="68692" y="15338"/>
                      </a:lnTo>
                      <a:lnTo>
                        <a:pt x="68672" y="15421"/>
                      </a:lnTo>
                      <a:lnTo>
                        <a:pt x="68588" y="15421"/>
                      </a:lnTo>
                      <a:lnTo>
                        <a:pt x="68483" y="15484"/>
                      </a:lnTo>
                      <a:lnTo>
                        <a:pt x="68462" y="15484"/>
                      </a:lnTo>
                      <a:lnTo>
                        <a:pt x="68337" y="15631"/>
                      </a:lnTo>
                      <a:lnTo>
                        <a:pt x="68316" y="15735"/>
                      </a:lnTo>
                      <a:lnTo>
                        <a:pt x="68169" y="15798"/>
                      </a:lnTo>
                      <a:lnTo>
                        <a:pt x="68148" y="15861"/>
                      </a:lnTo>
                      <a:lnTo>
                        <a:pt x="68065" y="15882"/>
                      </a:lnTo>
                      <a:lnTo>
                        <a:pt x="68065" y="15986"/>
                      </a:lnTo>
                      <a:lnTo>
                        <a:pt x="68023" y="16070"/>
                      </a:lnTo>
                      <a:lnTo>
                        <a:pt x="68065" y="16195"/>
                      </a:lnTo>
                      <a:lnTo>
                        <a:pt x="68148" y="16175"/>
                      </a:lnTo>
                      <a:lnTo>
                        <a:pt x="68148" y="16321"/>
                      </a:lnTo>
                      <a:lnTo>
                        <a:pt x="68044" y="16509"/>
                      </a:lnTo>
                      <a:lnTo>
                        <a:pt x="68065" y="16593"/>
                      </a:lnTo>
                      <a:lnTo>
                        <a:pt x="68127" y="16614"/>
                      </a:lnTo>
                      <a:lnTo>
                        <a:pt x="68107" y="16844"/>
                      </a:lnTo>
                      <a:lnTo>
                        <a:pt x="68127" y="17032"/>
                      </a:lnTo>
                      <a:lnTo>
                        <a:pt x="68065" y="17116"/>
                      </a:lnTo>
                      <a:lnTo>
                        <a:pt x="67939" y="17158"/>
                      </a:lnTo>
                      <a:lnTo>
                        <a:pt x="67918" y="17263"/>
                      </a:lnTo>
                      <a:lnTo>
                        <a:pt x="67960" y="17325"/>
                      </a:lnTo>
                      <a:lnTo>
                        <a:pt x="67939" y="17535"/>
                      </a:lnTo>
                      <a:lnTo>
                        <a:pt x="67918" y="17576"/>
                      </a:lnTo>
                      <a:lnTo>
                        <a:pt x="67939" y="17660"/>
                      </a:lnTo>
                      <a:lnTo>
                        <a:pt x="68044" y="17765"/>
                      </a:lnTo>
                      <a:lnTo>
                        <a:pt x="67960" y="17765"/>
                      </a:lnTo>
                      <a:lnTo>
                        <a:pt x="67939" y="17953"/>
                      </a:lnTo>
                      <a:lnTo>
                        <a:pt x="67960" y="17995"/>
                      </a:lnTo>
                      <a:lnTo>
                        <a:pt x="67960" y="18141"/>
                      </a:lnTo>
                      <a:lnTo>
                        <a:pt x="67855" y="18246"/>
                      </a:lnTo>
                      <a:lnTo>
                        <a:pt x="67939" y="18372"/>
                      </a:lnTo>
                      <a:lnTo>
                        <a:pt x="67939" y="18602"/>
                      </a:lnTo>
                      <a:lnTo>
                        <a:pt x="68023" y="18811"/>
                      </a:lnTo>
                      <a:lnTo>
                        <a:pt x="67835" y="19146"/>
                      </a:lnTo>
                      <a:lnTo>
                        <a:pt x="67939" y="19292"/>
                      </a:lnTo>
                      <a:lnTo>
                        <a:pt x="67835" y="19250"/>
                      </a:lnTo>
                      <a:lnTo>
                        <a:pt x="67625" y="19292"/>
                      </a:lnTo>
                      <a:lnTo>
                        <a:pt x="67625" y="19501"/>
                      </a:lnTo>
                      <a:lnTo>
                        <a:pt x="67646" y="19564"/>
                      </a:lnTo>
                      <a:lnTo>
                        <a:pt x="67521" y="19711"/>
                      </a:lnTo>
                      <a:lnTo>
                        <a:pt x="67291" y="19606"/>
                      </a:lnTo>
                      <a:lnTo>
                        <a:pt x="67186" y="19711"/>
                      </a:lnTo>
                      <a:lnTo>
                        <a:pt x="67186" y="19773"/>
                      </a:lnTo>
                      <a:lnTo>
                        <a:pt x="67332" y="19773"/>
                      </a:lnTo>
                      <a:lnTo>
                        <a:pt x="67542" y="20087"/>
                      </a:lnTo>
                      <a:lnTo>
                        <a:pt x="67542" y="20380"/>
                      </a:lnTo>
                      <a:lnTo>
                        <a:pt x="67500" y="20464"/>
                      </a:lnTo>
                      <a:lnTo>
                        <a:pt x="67542" y="20548"/>
                      </a:lnTo>
                      <a:lnTo>
                        <a:pt x="67437" y="20569"/>
                      </a:lnTo>
                      <a:lnTo>
                        <a:pt x="67416" y="20778"/>
                      </a:lnTo>
                      <a:lnTo>
                        <a:pt x="67291" y="20924"/>
                      </a:lnTo>
                      <a:lnTo>
                        <a:pt x="67270" y="21175"/>
                      </a:lnTo>
                      <a:lnTo>
                        <a:pt x="67374" y="21385"/>
                      </a:lnTo>
                      <a:lnTo>
                        <a:pt x="67416" y="21761"/>
                      </a:lnTo>
                      <a:lnTo>
                        <a:pt x="67583" y="22033"/>
                      </a:lnTo>
                      <a:lnTo>
                        <a:pt x="67583" y="22242"/>
                      </a:lnTo>
                      <a:lnTo>
                        <a:pt x="67835" y="22807"/>
                      </a:lnTo>
                      <a:lnTo>
                        <a:pt x="68148" y="23414"/>
                      </a:lnTo>
                      <a:lnTo>
                        <a:pt x="68462" y="23916"/>
                      </a:lnTo>
                      <a:lnTo>
                        <a:pt x="68630" y="24063"/>
                      </a:lnTo>
                      <a:lnTo>
                        <a:pt x="68630" y="24251"/>
                      </a:lnTo>
                      <a:lnTo>
                        <a:pt x="69048" y="24732"/>
                      </a:lnTo>
                      <a:lnTo>
                        <a:pt x="69488" y="25527"/>
                      </a:lnTo>
                      <a:lnTo>
                        <a:pt x="69697" y="25632"/>
                      </a:lnTo>
                      <a:lnTo>
                        <a:pt x="69843" y="25632"/>
                      </a:lnTo>
                      <a:lnTo>
                        <a:pt x="69927" y="25590"/>
                      </a:lnTo>
                      <a:lnTo>
                        <a:pt x="69927" y="25590"/>
                      </a:lnTo>
                      <a:lnTo>
                        <a:pt x="69885" y="25695"/>
                      </a:lnTo>
                      <a:lnTo>
                        <a:pt x="69780" y="25737"/>
                      </a:lnTo>
                      <a:lnTo>
                        <a:pt x="69697" y="25737"/>
                      </a:lnTo>
                      <a:lnTo>
                        <a:pt x="69843" y="25988"/>
                      </a:lnTo>
                      <a:lnTo>
                        <a:pt x="70052" y="26469"/>
                      </a:lnTo>
                      <a:lnTo>
                        <a:pt x="70094" y="26678"/>
                      </a:lnTo>
                      <a:lnTo>
                        <a:pt x="70220" y="26867"/>
                      </a:lnTo>
                      <a:lnTo>
                        <a:pt x="70450" y="26887"/>
                      </a:lnTo>
                      <a:lnTo>
                        <a:pt x="70471" y="26971"/>
                      </a:lnTo>
                      <a:lnTo>
                        <a:pt x="70471" y="27076"/>
                      </a:lnTo>
                      <a:lnTo>
                        <a:pt x="70513" y="27159"/>
                      </a:lnTo>
                      <a:lnTo>
                        <a:pt x="70471" y="27285"/>
                      </a:lnTo>
                      <a:lnTo>
                        <a:pt x="70617" y="27034"/>
                      </a:lnTo>
                      <a:lnTo>
                        <a:pt x="70659" y="26762"/>
                      </a:lnTo>
                      <a:lnTo>
                        <a:pt x="70680" y="26741"/>
                      </a:lnTo>
                      <a:lnTo>
                        <a:pt x="70680" y="26636"/>
                      </a:lnTo>
                      <a:lnTo>
                        <a:pt x="70827" y="26511"/>
                      </a:lnTo>
                      <a:lnTo>
                        <a:pt x="70848" y="26406"/>
                      </a:lnTo>
                      <a:lnTo>
                        <a:pt x="70827" y="26343"/>
                      </a:lnTo>
                      <a:lnTo>
                        <a:pt x="70868" y="26239"/>
                      </a:lnTo>
                      <a:lnTo>
                        <a:pt x="70931" y="25988"/>
                      </a:lnTo>
                      <a:lnTo>
                        <a:pt x="70868" y="25883"/>
                      </a:lnTo>
                      <a:lnTo>
                        <a:pt x="70889" y="25695"/>
                      </a:lnTo>
                      <a:lnTo>
                        <a:pt x="70994" y="25611"/>
                      </a:lnTo>
                      <a:lnTo>
                        <a:pt x="70889" y="25507"/>
                      </a:lnTo>
                      <a:lnTo>
                        <a:pt x="70848" y="25527"/>
                      </a:lnTo>
                      <a:lnTo>
                        <a:pt x="70764" y="25507"/>
                      </a:lnTo>
                      <a:lnTo>
                        <a:pt x="70827" y="25423"/>
                      </a:lnTo>
                      <a:lnTo>
                        <a:pt x="70743" y="25276"/>
                      </a:lnTo>
                      <a:lnTo>
                        <a:pt x="70785" y="25297"/>
                      </a:lnTo>
                      <a:lnTo>
                        <a:pt x="70848" y="25255"/>
                      </a:lnTo>
                      <a:lnTo>
                        <a:pt x="70743" y="25151"/>
                      </a:lnTo>
                      <a:lnTo>
                        <a:pt x="70764" y="25067"/>
                      </a:lnTo>
                      <a:lnTo>
                        <a:pt x="70785" y="24942"/>
                      </a:lnTo>
                      <a:lnTo>
                        <a:pt x="70659" y="24942"/>
                      </a:lnTo>
                      <a:lnTo>
                        <a:pt x="70576" y="24879"/>
                      </a:lnTo>
                      <a:lnTo>
                        <a:pt x="70638" y="24774"/>
                      </a:lnTo>
                      <a:lnTo>
                        <a:pt x="70743" y="24879"/>
                      </a:lnTo>
                      <a:lnTo>
                        <a:pt x="70889" y="24732"/>
                      </a:lnTo>
                      <a:lnTo>
                        <a:pt x="70973" y="24753"/>
                      </a:lnTo>
                      <a:lnTo>
                        <a:pt x="71078" y="24649"/>
                      </a:lnTo>
                      <a:lnTo>
                        <a:pt x="71182" y="24565"/>
                      </a:lnTo>
                      <a:lnTo>
                        <a:pt x="71203" y="24586"/>
                      </a:lnTo>
                      <a:lnTo>
                        <a:pt x="71350" y="24628"/>
                      </a:lnTo>
                      <a:lnTo>
                        <a:pt x="71266" y="24523"/>
                      </a:lnTo>
                      <a:lnTo>
                        <a:pt x="71099" y="24439"/>
                      </a:lnTo>
                      <a:lnTo>
                        <a:pt x="71099" y="24314"/>
                      </a:lnTo>
                      <a:lnTo>
                        <a:pt x="70952" y="24230"/>
                      </a:lnTo>
                      <a:lnTo>
                        <a:pt x="70848" y="23895"/>
                      </a:lnTo>
                      <a:lnTo>
                        <a:pt x="70931" y="23602"/>
                      </a:lnTo>
                      <a:lnTo>
                        <a:pt x="70827" y="23498"/>
                      </a:lnTo>
                      <a:lnTo>
                        <a:pt x="70889" y="23414"/>
                      </a:lnTo>
                      <a:lnTo>
                        <a:pt x="70931" y="23268"/>
                      </a:lnTo>
                      <a:lnTo>
                        <a:pt x="71036" y="23058"/>
                      </a:lnTo>
                      <a:lnTo>
                        <a:pt x="71078" y="23372"/>
                      </a:lnTo>
                      <a:lnTo>
                        <a:pt x="71161" y="23393"/>
                      </a:lnTo>
                      <a:lnTo>
                        <a:pt x="71350" y="23289"/>
                      </a:lnTo>
                      <a:lnTo>
                        <a:pt x="71371" y="23330"/>
                      </a:lnTo>
                      <a:lnTo>
                        <a:pt x="71705" y="23205"/>
                      </a:lnTo>
                      <a:lnTo>
                        <a:pt x="71705" y="23058"/>
                      </a:lnTo>
                      <a:lnTo>
                        <a:pt x="71789" y="22975"/>
                      </a:lnTo>
                      <a:lnTo>
                        <a:pt x="71664" y="22891"/>
                      </a:lnTo>
                      <a:lnTo>
                        <a:pt x="71454" y="22598"/>
                      </a:lnTo>
                      <a:lnTo>
                        <a:pt x="71371" y="22598"/>
                      </a:lnTo>
                      <a:lnTo>
                        <a:pt x="71078" y="22159"/>
                      </a:lnTo>
                      <a:lnTo>
                        <a:pt x="71078" y="22054"/>
                      </a:lnTo>
                      <a:lnTo>
                        <a:pt x="70994" y="21970"/>
                      </a:lnTo>
                      <a:lnTo>
                        <a:pt x="70973" y="21594"/>
                      </a:lnTo>
                      <a:lnTo>
                        <a:pt x="70994" y="21531"/>
                      </a:lnTo>
                      <a:lnTo>
                        <a:pt x="70952" y="21343"/>
                      </a:lnTo>
                      <a:lnTo>
                        <a:pt x="71036" y="21217"/>
                      </a:lnTo>
                      <a:lnTo>
                        <a:pt x="71036" y="21092"/>
                      </a:lnTo>
                      <a:lnTo>
                        <a:pt x="70889" y="21113"/>
                      </a:lnTo>
                      <a:lnTo>
                        <a:pt x="70868" y="21029"/>
                      </a:lnTo>
                      <a:lnTo>
                        <a:pt x="70973" y="20882"/>
                      </a:lnTo>
                      <a:lnTo>
                        <a:pt x="71078" y="20841"/>
                      </a:lnTo>
                      <a:lnTo>
                        <a:pt x="71078" y="20778"/>
                      </a:lnTo>
                      <a:lnTo>
                        <a:pt x="71078" y="20757"/>
                      </a:lnTo>
                      <a:lnTo>
                        <a:pt x="71161" y="20673"/>
                      </a:lnTo>
                      <a:lnTo>
                        <a:pt x="71182" y="20778"/>
                      </a:lnTo>
                      <a:lnTo>
                        <a:pt x="71182" y="20903"/>
                      </a:lnTo>
                      <a:lnTo>
                        <a:pt x="71140" y="21029"/>
                      </a:lnTo>
                      <a:lnTo>
                        <a:pt x="71140" y="21196"/>
                      </a:lnTo>
                      <a:lnTo>
                        <a:pt x="71308" y="21238"/>
                      </a:lnTo>
                      <a:lnTo>
                        <a:pt x="71475" y="21343"/>
                      </a:lnTo>
                      <a:lnTo>
                        <a:pt x="71559" y="21322"/>
                      </a:lnTo>
                      <a:lnTo>
                        <a:pt x="71559" y="21154"/>
                      </a:lnTo>
                      <a:lnTo>
                        <a:pt x="71601" y="21092"/>
                      </a:lnTo>
                      <a:lnTo>
                        <a:pt x="71496" y="20903"/>
                      </a:lnTo>
                      <a:lnTo>
                        <a:pt x="71245" y="20673"/>
                      </a:lnTo>
                      <a:lnTo>
                        <a:pt x="71245" y="20401"/>
                      </a:lnTo>
                      <a:lnTo>
                        <a:pt x="71099" y="20359"/>
                      </a:lnTo>
                      <a:lnTo>
                        <a:pt x="71078" y="20317"/>
                      </a:lnTo>
                      <a:lnTo>
                        <a:pt x="71057" y="20380"/>
                      </a:lnTo>
                      <a:lnTo>
                        <a:pt x="70973" y="20464"/>
                      </a:lnTo>
                      <a:lnTo>
                        <a:pt x="70973" y="20506"/>
                      </a:lnTo>
                      <a:lnTo>
                        <a:pt x="70931" y="20569"/>
                      </a:lnTo>
                      <a:lnTo>
                        <a:pt x="70785" y="20485"/>
                      </a:lnTo>
                      <a:lnTo>
                        <a:pt x="70785" y="20276"/>
                      </a:lnTo>
                      <a:lnTo>
                        <a:pt x="70722" y="20150"/>
                      </a:lnTo>
                      <a:lnTo>
                        <a:pt x="70617" y="19941"/>
                      </a:lnTo>
                      <a:lnTo>
                        <a:pt x="70680" y="19836"/>
                      </a:lnTo>
                      <a:lnTo>
                        <a:pt x="70743" y="19794"/>
                      </a:lnTo>
                      <a:lnTo>
                        <a:pt x="70722" y="19690"/>
                      </a:lnTo>
                      <a:lnTo>
                        <a:pt x="70785" y="19585"/>
                      </a:lnTo>
                      <a:lnTo>
                        <a:pt x="70722" y="19522"/>
                      </a:lnTo>
                      <a:lnTo>
                        <a:pt x="70743" y="19439"/>
                      </a:lnTo>
                      <a:lnTo>
                        <a:pt x="70743" y="19334"/>
                      </a:lnTo>
                      <a:lnTo>
                        <a:pt x="70659" y="19271"/>
                      </a:lnTo>
                      <a:lnTo>
                        <a:pt x="70555" y="19313"/>
                      </a:lnTo>
                      <a:lnTo>
                        <a:pt x="70366" y="19146"/>
                      </a:lnTo>
                      <a:lnTo>
                        <a:pt x="70241" y="19146"/>
                      </a:lnTo>
                      <a:lnTo>
                        <a:pt x="70157" y="19229"/>
                      </a:lnTo>
                      <a:lnTo>
                        <a:pt x="70157" y="19313"/>
                      </a:lnTo>
                      <a:lnTo>
                        <a:pt x="70304" y="19460"/>
                      </a:lnTo>
                      <a:lnTo>
                        <a:pt x="70262" y="19564"/>
                      </a:lnTo>
                      <a:lnTo>
                        <a:pt x="70220" y="19627"/>
                      </a:lnTo>
                      <a:lnTo>
                        <a:pt x="70094" y="19564"/>
                      </a:lnTo>
                      <a:lnTo>
                        <a:pt x="69927" y="19355"/>
                      </a:lnTo>
                      <a:lnTo>
                        <a:pt x="69822" y="19250"/>
                      </a:lnTo>
                      <a:lnTo>
                        <a:pt x="69739" y="19208"/>
                      </a:lnTo>
                      <a:lnTo>
                        <a:pt x="69801" y="19146"/>
                      </a:lnTo>
                      <a:lnTo>
                        <a:pt x="69697" y="18936"/>
                      </a:lnTo>
                      <a:lnTo>
                        <a:pt x="69697" y="18811"/>
                      </a:lnTo>
                      <a:lnTo>
                        <a:pt x="69697" y="18727"/>
                      </a:lnTo>
                      <a:lnTo>
                        <a:pt x="69634" y="18623"/>
                      </a:lnTo>
                      <a:lnTo>
                        <a:pt x="69697" y="18539"/>
                      </a:lnTo>
                      <a:lnTo>
                        <a:pt x="69634" y="18372"/>
                      </a:lnTo>
                      <a:lnTo>
                        <a:pt x="69718" y="18267"/>
                      </a:lnTo>
                      <a:lnTo>
                        <a:pt x="69718" y="18162"/>
                      </a:lnTo>
                      <a:lnTo>
                        <a:pt x="69739" y="18037"/>
                      </a:lnTo>
                      <a:lnTo>
                        <a:pt x="69739" y="17890"/>
                      </a:lnTo>
                      <a:lnTo>
                        <a:pt x="69697" y="17932"/>
                      </a:lnTo>
                      <a:lnTo>
                        <a:pt x="69592" y="17786"/>
                      </a:lnTo>
                      <a:lnTo>
                        <a:pt x="69613" y="17744"/>
                      </a:lnTo>
                      <a:lnTo>
                        <a:pt x="69697" y="17723"/>
                      </a:lnTo>
                      <a:lnTo>
                        <a:pt x="69801" y="17786"/>
                      </a:lnTo>
                      <a:lnTo>
                        <a:pt x="69801" y="17744"/>
                      </a:lnTo>
                      <a:lnTo>
                        <a:pt x="69718" y="17660"/>
                      </a:lnTo>
                      <a:lnTo>
                        <a:pt x="69634" y="17576"/>
                      </a:lnTo>
                      <a:lnTo>
                        <a:pt x="69676" y="17514"/>
                      </a:lnTo>
                      <a:lnTo>
                        <a:pt x="69718" y="17514"/>
                      </a:lnTo>
                      <a:lnTo>
                        <a:pt x="69697" y="17430"/>
                      </a:lnTo>
                      <a:lnTo>
                        <a:pt x="69613" y="17346"/>
                      </a:lnTo>
                      <a:lnTo>
                        <a:pt x="69488" y="17325"/>
                      </a:lnTo>
                      <a:lnTo>
                        <a:pt x="69467" y="17242"/>
                      </a:lnTo>
                      <a:lnTo>
                        <a:pt x="69508" y="17221"/>
                      </a:lnTo>
                      <a:lnTo>
                        <a:pt x="69488" y="17074"/>
                      </a:lnTo>
                      <a:lnTo>
                        <a:pt x="69383" y="16970"/>
                      </a:lnTo>
                      <a:lnTo>
                        <a:pt x="69404" y="16886"/>
                      </a:lnTo>
                      <a:lnTo>
                        <a:pt x="69425" y="16781"/>
                      </a:lnTo>
                      <a:lnTo>
                        <a:pt x="69488" y="16719"/>
                      </a:lnTo>
                      <a:lnTo>
                        <a:pt x="69404" y="16614"/>
                      </a:lnTo>
                      <a:lnTo>
                        <a:pt x="69425" y="16530"/>
                      </a:lnTo>
                      <a:lnTo>
                        <a:pt x="69508" y="16530"/>
                      </a:lnTo>
                      <a:lnTo>
                        <a:pt x="69613" y="16593"/>
                      </a:lnTo>
                      <a:lnTo>
                        <a:pt x="69697" y="16572"/>
                      </a:lnTo>
                      <a:lnTo>
                        <a:pt x="69739" y="16405"/>
                      </a:lnTo>
                      <a:lnTo>
                        <a:pt x="69822" y="16405"/>
                      </a:lnTo>
                      <a:lnTo>
                        <a:pt x="69885" y="16488"/>
                      </a:lnTo>
                      <a:lnTo>
                        <a:pt x="69927" y="16488"/>
                      </a:lnTo>
                      <a:lnTo>
                        <a:pt x="70011" y="16614"/>
                      </a:lnTo>
                      <a:lnTo>
                        <a:pt x="70136" y="16363"/>
                      </a:lnTo>
                      <a:lnTo>
                        <a:pt x="70011" y="16300"/>
                      </a:lnTo>
                      <a:lnTo>
                        <a:pt x="70032" y="16195"/>
                      </a:lnTo>
                      <a:lnTo>
                        <a:pt x="70115" y="16154"/>
                      </a:lnTo>
                      <a:lnTo>
                        <a:pt x="70241" y="15903"/>
                      </a:lnTo>
                      <a:lnTo>
                        <a:pt x="70241" y="15777"/>
                      </a:lnTo>
                      <a:lnTo>
                        <a:pt x="70324" y="15882"/>
                      </a:lnTo>
                      <a:lnTo>
                        <a:pt x="70429" y="15944"/>
                      </a:lnTo>
                      <a:lnTo>
                        <a:pt x="70429" y="16070"/>
                      </a:lnTo>
                      <a:lnTo>
                        <a:pt x="70555" y="16426"/>
                      </a:lnTo>
                      <a:lnTo>
                        <a:pt x="70638" y="16509"/>
                      </a:lnTo>
                      <a:lnTo>
                        <a:pt x="70680" y="16468"/>
                      </a:lnTo>
                      <a:lnTo>
                        <a:pt x="70722" y="16154"/>
                      </a:lnTo>
                      <a:lnTo>
                        <a:pt x="70743" y="16049"/>
                      </a:lnTo>
                      <a:lnTo>
                        <a:pt x="70722" y="15903"/>
                      </a:lnTo>
                      <a:lnTo>
                        <a:pt x="70785" y="15798"/>
                      </a:lnTo>
                      <a:lnTo>
                        <a:pt x="70722" y="15651"/>
                      </a:lnTo>
                      <a:lnTo>
                        <a:pt x="70827" y="15693"/>
                      </a:lnTo>
                      <a:lnTo>
                        <a:pt x="70889" y="15631"/>
                      </a:lnTo>
                      <a:lnTo>
                        <a:pt x="70952" y="15421"/>
                      </a:lnTo>
                      <a:lnTo>
                        <a:pt x="71057" y="15421"/>
                      </a:lnTo>
                      <a:lnTo>
                        <a:pt x="71182" y="15254"/>
                      </a:lnTo>
                      <a:lnTo>
                        <a:pt x="71308" y="15233"/>
                      </a:lnTo>
                      <a:lnTo>
                        <a:pt x="71371" y="15275"/>
                      </a:lnTo>
                      <a:lnTo>
                        <a:pt x="71559" y="15149"/>
                      </a:lnTo>
                      <a:lnTo>
                        <a:pt x="71705" y="15170"/>
                      </a:lnTo>
                      <a:lnTo>
                        <a:pt x="72019" y="15359"/>
                      </a:lnTo>
                      <a:lnTo>
                        <a:pt x="72040" y="15463"/>
                      </a:lnTo>
                      <a:lnTo>
                        <a:pt x="72124" y="15484"/>
                      </a:lnTo>
                      <a:lnTo>
                        <a:pt x="72229" y="15463"/>
                      </a:lnTo>
                      <a:lnTo>
                        <a:pt x="72291" y="15484"/>
                      </a:lnTo>
                      <a:lnTo>
                        <a:pt x="72229" y="15547"/>
                      </a:lnTo>
                      <a:lnTo>
                        <a:pt x="72396" y="15714"/>
                      </a:lnTo>
                      <a:lnTo>
                        <a:pt x="72438" y="15672"/>
                      </a:lnTo>
                      <a:lnTo>
                        <a:pt x="72542" y="15777"/>
                      </a:lnTo>
                      <a:lnTo>
                        <a:pt x="72668" y="15756"/>
                      </a:lnTo>
                      <a:lnTo>
                        <a:pt x="72752" y="15777"/>
                      </a:lnTo>
                      <a:lnTo>
                        <a:pt x="72752" y="15672"/>
                      </a:lnTo>
                      <a:lnTo>
                        <a:pt x="72647" y="15526"/>
                      </a:lnTo>
                      <a:lnTo>
                        <a:pt x="72710" y="15442"/>
                      </a:lnTo>
                      <a:lnTo>
                        <a:pt x="72668" y="15359"/>
                      </a:lnTo>
                      <a:lnTo>
                        <a:pt x="72605" y="15338"/>
                      </a:lnTo>
                      <a:lnTo>
                        <a:pt x="72605" y="15233"/>
                      </a:lnTo>
                      <a:lnTo>
                        <a:pt x="72668" y="15128"/>
                      </a:lnTo>
                      <a:lnTo>
                        <a:pt x="72731" y="14856"/>
                      </a:lnTo>
                      <a:lnTo>
                        <a:pt x="72814" y="14647"/>
                      </a:lnTo>
                      <a:lnTo>
                        <a:pt x="72773" y="14543"/>
                      </a:lnTo>
                      <a:lnTo>
                        <a:pt x="72919" y="14375"/>
                      </a:lnTo>
                      <a:lnTo>
                        <a:pt x="72856" y="14291"/>
                      </a:lnTo>
                      <a:lnTo>
                        <a:pt x="72940" y="14229"/>
                      </a:lnTo>
                      <a:lnTo>
                        <a:pt x="72856" y="14061"/>
                      </a:lnTo>
                      <a:lnTo>
                        <a:pt x="72773" y="13999"/>
                      </a:lnTo>
                      <a:lnTo>
                        <a:pt x="72773" y="13957"/>
                      </a:lnTo>
                      <a:lnTo>
                        <a:pt x="72940" y="13957"/>
                      </a:lnTo>
                      <a:lnTo>
                        <a:pt x="72982" y="13810"/>
                      </a:lnTo>
                      <a:lnTo>
                        <a:pt x="72814" y="13747"/>
                      </a:lnTo>
                      <a:lnTo>
                        <a:pt x="72752" y="13643"/>
                      </a:lnTo>
                      <a:lnTo>
                        <a:pt x="72835" y="13601"/>
                      </a:lnTo>
                      <a:lnTo>
                        <a:pt x="72877" y="13664"/>
                      </a:lnTo>
                      <a:lnTo>
                        <a:pt x="72961" y="13643"/>
                      </a:lnTo>
                      <a:lnTo>
                        <a:pt x="72982" y="13559"/>
                      </a:lnTo>
                      <a:lnTo>
                        <a:pt x="72940" y="13475"/>
                      </a:lnTo>
                      <a:lnTo>
                        <a:pt x="73065" y="13371"/>
                      </a:lnTo>
                      <a:lnTo>
                        <a:pt x="73065" y="13287"/>
                      </a:lnTo>
                      <a:lnTo>
                        <a:pt x="72982" y="13224"/>
                      </a:lnTo>
                      <a:lnTo>
                        <a:pt x="73065" y="13162"/>
                      </a:lnTo>
                      <a:lnTo>
                        <a:pt x="73149" y="13182"/>
                      </a:lnTo>
                      <a:lnTo>
                        <a:pt x="73191" y="13078"/>
                      </a:lnTo>
                      <a:lnTo>
                        <a:pt x="73233" y="13036"/>
                      </a:lnTo>
                      <a:lnTo>
                        <a:pt x="73170" y="12973"/>
                      </a:lnTo>
                      <a:lnTo>
                        <a:pt x="73275" y="12952"/>
                      </a:lnTo>
                      <a:lnTo>
                        <a:pt x="73400" y="12827"/>
                      </a:lnTo>
                      <a:lnTo>
                        <a:pt x="73358" y="12743"/>
                      </a:lnTo>
                      <a:lnTo>
                        <a:pt x="73379" y="12638"/>
                      </a:lnTo>
                      <a:lnTo>
                        <a:pt x="73421" y="12722"/>
                      </a:lnTo>
                      <a:lnTo>
                        <a:pt x="73526" y="12618"/>
                      </a:lnTo>
                      <a:lnTo>
                        <a:pt x="73463" y="12450"/>
                      </a:lnTo>
                      <a:lnTo>
                        <a:pt x="73463" y="12304"/>
                      </a:lnTo>
                      <a:lnTo>
                        <a:pt x="73568" y="12304"/>
                      </a:lnTo>
                      <a:lnTo>
                        <a:pt x="73589" y="12325"/>
                      </a:lnTo>
                      <a:lnTo>
                        <a:pt x="73651" y="12283"/>
                      </a:lnTo>
                      <a:lnTo>
                        <a:pt x="73819" y="12074"/>
                      </a:lnTo>
                      <a:lnTo>
                        <a:pt x="73756" y="12032"/>
                      </a:lnTo>
                      <a:lnTo>
                        <a:pt x="73756" y="11927"/>
                      </a:lnTo>
                      <a:lnTo>
                        <a:pt x="73861" y="11927"/>
                      </a:lnTo>
                      <a:lnTo>
                        <a:pt x="74070" y="11760"/>
                      </a:lnTo>
                      <a:lnTo>
                        <a:pt x="73986" y="11697"/>
                      </a:lnTo>
                      <a:lnTo>
                        <a:pt x="74028" y="11655"/>
                      </a:lnTo>
                      <a:lnTo>
                        <a:pt x="74174" y="11655"/>
                      </a:lnTo>
                      <a:lnTo>
                        <a:pt x="74342" y="11550"/>
                      </a:lnTo>
                      <a:lnTo>
                        <a:pt x="74300" y="11467"/>
                      </a:lnTo>
                      <a:lnTo>
                        <a:pt x="74321" y="11404"/>
                      </a:lnTo>
                      <a:lnTo>
                        <a:pt x="74405" y="11467"/>
                      </a:lnTo>
                      <a:lnTo>
                        <a:pt x="74426" y="11571"/>
                      </a:lnTo>
                      <a:lnTo>
                        <a:pt x="74530" y="11592"/>
                      </a:lnTo>
                      <a:lnTo>
                        <a:pt x="74614" y="11550"/>
                      </a:lnTo>
                      <a:lnTo>
                        <a:pt x="74739" y="11613"/>
                      </a:lnTo>
                      <a:lnTo>
                        <a:pt x="75158" y="11613"/>
                      </a:lnTo>
                      <a:lnTo>
                        <a:pt x="75242" y="11676"/>
                      </a:lnTo>
                      <a:lnTo>
                        <a:pt x="75283" y="11655"/>
                      </a:lnTo>
                      <a:lnTo>
                        <a:pt x="75242" y="11488"/>
                      </a:lnTo>
                      <a:lnTo>
                        <a:pt x="75137" y="11404"/>
                      </a:lnTo>
                      <a:lnTo>
                        <a:pt x="75137" y="11362"/>
                      </a:lnTo>
                      <a:lnTo>
                        <a:pt x="75221" y="11341"/>
                      </a:lnTo>
                      <a:lnTo>
                        <a:pt x="75221" y="10986"/>
                      </a:lnTo>
                      <a:lnTo>
                        <a:pt x="75053" y="10755"/>
                      </a:lnTo>
                      <a:lnTo>
                        <a:pt x="74928" y="10734"/>
                      </a:lnTo>
                      <a:lnTo>
                        <a:pt x="74760" y="10525"/>
                      </a:lnTo>
                      <a:lnTo>
                        <a:pt x="74844" y="10442"/>
                      </a:lnTo>
                      <a:lnTo>
                        <a:pt x="74677" y="10316"/>
                      </a:lnTo>
                      <a:lnTo>
                        <a:pt x="74426" y="10253"/>
                      </a:lnTo>
                      <a:lnTo>
                        <a:pt x="74153" y="10086"/>
                      </a:lnTo>
                      <a:lnTo>
                        <a:pt x="74049" y="9918"/>
                      </a:lnTo>
                      <a:lnTo>
                        <a:pt x="74028" y="10023"/>
                      </a:lnTo>
                      <a:lnTo>
                        <a:pt x="73944" y="10002"/>
                      </a:lnTo>
                      <a:lnTo>
                        <a:pt x="73902" y="10023"/>
                      </a:lnTo>
                      <a:lnTo>
                        <a:pt x="73881" y="10149"/>
                      </a:lnTo>
                      <a:lnTo>
                        <a:pt x="73735" y="10190"/>
                      </a:lnTo>
                      <a:lnTo>
                        <a:pt x="73693" y="10107"/>
                      </a:lnTo>
                      <a:lnTo>
                        <a:pt x="73693" y="9981"/>
                      </a:lnTo>
                      <a:lnTo>
                        <a:pt x="73819" y="9897"/>
                      </a:lnTo>
                      <a:lnTo>
                        <a:pt x="73735" y="9793"/>
                      </a:lnTo>
                      <a:lnTo>
                        <a:pt x="73777" y="9730"/>
                      </a:lnTo>
                      <a:lnTo>
                        <a:pt x="73840" y="9730"/>
                      </a:lnTo>
                      <a:lnTo>
                        <a:pt x="73923" y="9814"/>
                      </a:lnTo>
                      <a:lnTo>
                        <a:pt x="73693" y="9458"/>
                      </a:lnTo>
                      <a:lnTo>
                        <a:pt x="73526" y="9312"/>
                      </a:lnTo>
                      <a:lnTo>
                        <a:pt x="73526" y="9479"/>
                      </a:lnTo>
                      <a:lnTo>
                        <a:pt x="73526" y="9521"/>
                      </a:lnTo>
                      <a:lnTo>
                        <a:pt x="73463" y="9521"/>
                      </a:lnTo>
                      <a:lnTo>
                        <a:pt x="73254" y="9312"/>
                      </a:lnTo>
                      <a:lnTo>
                        <a:pt x="73254" y="9207"/>
                      </a:lnTo>
                      <a:lnTo>
                        <a:pt x="73358" y="9249"/>
                      </a:lnTo>
                      <a:lnTo>
                        <a:pt x="73296" y="9144"/>
                      </a:lnTo>
                      <a:lnTo>
                        <a:pt x="73003" y="8893"/>
                      </a:lnTo>
                      <a:lnTo>
                        <a:pt x="72961" y="8893"/>
                      </a:lnTo>
                      <a:lnTo>
                        <a:pt x="72982" y="8977"/>
                      </a:lnTo>
                      <a:lnTo>
                        <a:pt x="72940" y="9081"/>
                      </a:lnTo>
                      <a:lnTo>
                        <a:pt x="72773" y="9102"/>
                      </a:lnTo>
                      <a:lnTo>
                        <a:pt x="72647" y="8977"/>
                      </a:lnTo>
                      <a:lnTo>
                        <a:pt x="72521" y="8956"/>
                      </a:lnTo>
                      <a:lnTo>
                        <a:pt x="72375" y="8726"/>
                      </a:lnTo>
                      <a:lnTo>
                        <a:pt x="72375" y="8642"/>
                      </a:lnTo>
                      <a:lnTo>
                        <a:pt x="72312" y="8579"/>
                      </a:lnTo>
                      <a:lnTo>
                        <a:pt x="72208" y="8621"/>
                      </a:lnTo>
                      <a:lnTo>
                        <a:pt x="72019" y="8768"/>
                      </a:lnTo>
                      <a:lnTo>
                        <a:pt x="72019" y="8830"/>
                      </a:lnTo>
                      <a:lnTo>
                        <a:pt x="71915" y="8789"/>
                      </a:lnTo>
                      <a:lnTo>
                        <a:pt x="71831" y="8851"/>
                      </a:lnTo>
                      <a:lnTo>
                        <a:pt x="71831" y="9081"/>
                      </a:lnTo>
                      <a:lnTo>
                        <a:pt x="71894" y="9144"/>
                      </a:lnTo>
                      <a:lnTo>
                        <a:pt x="71894" y="9144"/>
                      </a:lnTo>
                      <a:lnTo>
                        <a:pt x="71789" y="9081"/>
                      </a:lnTo>
                      <a:lnTo>
                        <a:pt x="71705" y="8872"/>
                      </a:lnTo>
                      <a:lnTo>
                        <a:pt x="71747" y="8726"/>
                      </a:lnTo>
                      <a:lnTo>
                        <a:pt x="71580" y="8621"/>
                      </a:lnTo>
                      <a:lnTo>
                        <a:pt x="71517" y="8454"/>
                      </a:lnTo>
                      <a:lnTo>
                        <a:pt x="71475" y="8454"/>
                      </a:lnTo>
                      <a:lnTo>
                        <a:pt x="71580" y="8433"/>
                      </a:lnTo>
                      <a:lnTo>
                        <a:pt x="71685" y="8558"/>
                      </a:lnTo>
                      <a:lnTo>
                        <a:pt x="71685" y="8433"/>
                      </a:lnTo>
                      <a:lnTo>
                        <a:pt x="71810" y="8433"/>
                      </a:lnTo>
                      <a:lnTo>
                        <a:pt x="71915" y="8475"/>
                      </a:lnTo>
                      <a:lnTo>
                        <a:pt x="72061" y="8370"/>
                      </a:lnTo>
                      <a:lnTo>
                        <a:pt x="72019" y="8265"/>
                      </a:lnTo>
                      <a:lnTo>
                        <a:pt x="71705" y="8140"/>
                      </a:lnTo>
                      <a:lnTo>
                        <a:pt x="71622" y="8265"/>
                      </a:lnTo>
                      <a:lnTo>
                        <a:pt x="71475" y="8265"/>
                      </a:lnTo>
                      <a:lnTo>
                        <a:pt x="71329" y="8224"/>
                      </a:lnTo>
                      <a:lnTo>
                        <a:pt x="71475" y="8224"/>
                      </a:lnTo>
                      <a:lnTo>
                        <a:pt x="71580" y="8098"/>
                      </a:lnTo>
                      <a:lnTo>
                        <a:pt x="71685" y="8056"/>
                      </a:lnTo>
                      <a:lnTo>
                        <a:pt x="71789" y="8119"/>
                      </a:lnTo>
                      <a:lnTo>
                        <a:pt x="71936" y="8140"/>
                      </a:lnTo>
                      <a:lnTo>
                        <a:pt x="72061" y="8245"/>
                      </a:lnTo>
                      <a:lnTo>
                        <a:pt x="72229" y="8433"/>
                      </a:lnTo>
                      <a:lnTo>
                        <a:pt x="72354" y="8433"/>
                      </a:lnTo>
                      <a:lnTo>
                        <a:pt x="72417" y="8537"/>
                      </a:lnTo>
                      <a:lnTo>
                        <a:pt x="72480" y="8558"/>
                      </a:lnTo>
                      <a:lnTo>
                        <a:pt x="72626" y="8475"/>
                      </a:lnTo>
                      <a:lnTo>
                        <a:pt x="72668" y="8558"/>
                      </a:lnTo>
                      <a:lnTo>
                        <a:pt x="72940" y="8349"/>
                      </a:lnTo>
                      <a:lnTo>
                        <a:pt x="72961" y="8391"/>
                      </a:lnTo>
                      <a:lnTo>
                        <a:pt x="72940" y="8496"/>
                      </a:lnTo>
                      <a:lnTo>
                        <a:pt x="73045" y="8433"/>
                      </a:lnTo>
                      <a:lnTo>
                        <a:pt x="73045" y="8286"/>
                      </a:lnTo>
                      <a:lnTo>
                        <a:pt x="73170" y="8077"/>
                      </a:lnTo>
                      <a:lnTo>
                        <a:pt x="73149" y="8014"/>
                      </a:lnTo>
                      <a:lnTo>
                        <a:pt x="73149" y="7847"/>
                      </a:lnTo>
                      <a:lnTo>
                        <a:pt x="73086" y="7617"/>
                      </a:lnTo>
                      <a:lnTo>
                        <a:pt x="73191" y="7240"/>
                      </a:lnTo>
                      <a:lnTo>
                        <a:pt x="73191" y="7010"/>
                      </a:lnTo>
                      <a:lnTo>
                        <a:pt x="73086" y="6884"/>
                      </a:lnTo>
                      <a:lnTo>
                        <a:pt x="73045" y="6759"/>
                      </a:lnTo>
                      <a:lnTo>
                        <a:pt x="72877" y="6612"/>
                      </a:lnTo>
                      <a:lnTo>
                        <a:pt x="72793" y="6445"/>
                      </a:lnTo>
                      <a:lnTo>
                        <a:pt x="72856" y="6445"/>
                      </a:lnTo>
                      <a:lnTo>
                        <a:pt x="72961" y="6571"/>
                      </a:lnTo>
                      <a:lnTo>
                        <a:pt x="72982" y="6571"/>
                      </a:lnTo>
                      <a:lnTo>
                        <a:pt x="72940" y="6403"/>
                      </a:lnTo>
                      <a:lnTo>
                        <a:pt x="72773" y="6340"/>
                      </a:lnTo>
                      <a:lnTo>
                        <a:pt x="72647" y="6382"/>
                      </a:lnTo>
                      <a:lnTo>
                        <a:pt x="72417" y="6340"/>
                      </a:lnTo>
                      <a:lnTo>
                        <a:pt x="72103" y="5943"/>
                      </a:lnTo>
                      <a:lnTo>
                        <a:pt x="72019" y="5880"/>
                      </a:lnTo>
                      <a:lnTo>
                        <a:pt x="72040" y="5817"/>
                      </a:lnTo>
                      <a:lnTo>
                        <a:pt x="72208" y="5817"/>
                      </a:lnTo>
                      <a:lnTo>
                        <a:pt x="72249" y="5671"/>
                      </a:lnTo>
                      <a:lnTo>
                        <a:pt x="72166" y="5608"/>
                      </a:lnTo>
                      <a:lnTo>
                        <a:pt x="72040" y="5608"/>
                      </a:lnTo>
                      <a:lnTo>
                        <a:pt x="71998" y="5545"/>
                      </a:lnTo>
                      <a:lnTo>
                        <a:pt x="72061" y="5504"/>
                      </a:lnTo>
                      <a:lnTo>
                        <a:pt x="72019" y="5336"/>
                      </a:lnTo>
                      <a:lnTo>
                        <a:pt x="72040" y="5315"/>
                      </a:lnTo>
                      <a:lnTo>
                        <a:pt x="72166" y="5462"/>
                      </a:lnTo>
                      <a:lnTo>
                        <a:pt x="72354" y="5566"/>
                      </a:lnTo>
                      <a:lnTo>
                        <a:pt x="72375" y="5504"/>
                      </a:lnTo>
                      <a:lnTo>
                        <a:pt x="72312" y="5420"/>
                      </a:lnTo>
                      <a:lnTo>
                        <a:pt x="72312" y="5315"/>
                      </a:lnTo>
                      <a:lnTo>
                        <a:pt x="72270" y="5232"/>
                      </a:lnTo>
                      <a:lnTo>
                        <a:pt x="72333" y="5190"/>
                      </a:lnTo>
                      <a:lnTo>
                        <a:pt x="72375" y="5252"/>
                      </a:lnTo>
                      <a:lnTo>
                        <a:pt x="72417" y="5336"/>
                      </a:lnTo>
                      <a:lnTo>
                        <a:pt x="72521" y="5357"/>
                      </a:lnTo>
                      <a:lnTo>
                        <a:pt x="72563" y="5650"/>
                      </a:lnTo>
                      <a:lnTo>
                        <a:pt x="72542" y="5734"/>
                      </a:lnTo>
                      <a:lnTo>
                        <a:pt x="72835" y="5943"/>
                      </a:lnTo>
                      <a:lnTo>
                        <a:pt x="72940" y="5880"/>
                      </a:lnTo>
                      <a:lnTo>
                        <a:pt x="73065" y="5943"/>
                      </a:lnTo>
                      <a:lnTo>
                        <a:pt x="73065" y="6152"/>
                      </a:lnTo>
                      <a:lnTo>
                        <a:pt x="73170" y="6152"/>
                      </a:lnTo>
                      <a:lnTo>
                        <a:pt x="73379" y="5859"/>
                      </a:lnTo>
                      <a:lnTo>
                        <a:pt x="73421" y="5734"/>
                      </a:lnTo>
                      <a:lnTo>
                        <a:pt x="73379" y="5608"/>
                      </a:lnTo>
                      <a:lnTo>
                        <a:pt x="73400" y="5357"/>
                      </a:lnTo>
                      <a:lnTo>
                        <a:pt x="73379" y="5252"/>
                      </a:lnTo>
                      <a:lnTo>
                        <a:pt x="73421" y="5357"/>
                      </a:lnTo>
                      <a:lnTo>
                        <a:pt x="73421" y="5524"/>
                      </a:lnTo>
                      <a:lnTo>
                        <a:pt x="73505" y="5524"/>
                      </a:lnTo>
                      <a:lnTo>
                        <a:pt x="73609" y="5420"/>
                      </a:lnTo>
                      <a:lnTo>
                        <a:pt x="73798" y="5357"/>
                      </a:lnTo>
                      <a:lnTo>
                        <a:pt x="73819" y="5232"/>
                      </a:lnTo>
                      <a:lnTo>
                        <a:pt x="74007" y="5294"/>
                      </a:lnTo>
                      <a:lnTo>
                        <a:pt x="73986" y="5336"/>
                      </a:lnTo>
                      <a:lnTo>
                        <a:pt x="74007" y="5399"/>
                      </a:lnTo>
                      <a:lnTo>
                        <a:pt x="74300" y="5608"/>
                      </a:lnTo>
                      <a:lnTo>
                        <a:pt x="74342" y="5629"/>
                      </a:lnTo>
                      <a:lnTo>
                        <a:pt x="74405" y="5776"/>
                      </a:lnTo>
                      <a:lnTo>
                        <a:pt x="74405" y="5838"/>
                      </a:lnTo>
                      <a:lnTo>
                        <a:pt x="74446" y="5859"/>
                      </a:lnTo>
                      <a:lnTo>
                        <a:pt x="74698" y="5817"/>
                      </a:lnTo>
                      <a:lnTo>
                        <a:pt x="74739" y="5838"/>
                      </a:lnTo>
                      <a:lnTo>
                        <a:pt x="74739" y="5880"/>
                      </a:lnTo>
                      <a:lnTo>
                        <a:pt x="74760" y="5880"/>
                      </a:lnTo>
                      <a:lnTo>
                        <a:pt x="74865" y="5776"/>
                      </a:lnTo>
                      <a:lnTo>
                        <a:pt x="74823" y="5671"/>
                      </a:lnTo>
                      <a:lnTo>
                        <a:pt x="74844" y="5650"/>
                      </a:lnTo>
                      <a:lnTo>
                        <a:pt x="74928" y="5650"/>
                      </a:lnTo>
                      <a:lnTo>
                        <a:pt x="74886" y="5504"/>
                      </a:lnTo>
                      <a:lnTo>
                        <a:pt x="74970" y="5524"/>
                      </a:lnTo>
                      <a:lnTo>
                        <a:pt x="75032" y="5608"/>
                      </a:lnTo>
                      <a:lnTo>
                        <a:pt x="74990" y="5671"/>
                      </a:lnTo>
                      <a:lnTo>
                        <a:pt x="75095" y="5671"/>
                      </a:lnTo>
                      <a:lnTo>
                        <a:pt x="75200" y="5629"/>
                      </a:lnTo>
                      <a:lnTo>
                        <a:pt x="75472" y="5650"/>
                      </a:lnTo>
                      <a:lnTo>
                        <a:pt x="75555" y="5713"/>
                      </a:lnTo>
                      <a:lnTo>
                        <a:pt x="75618" y="5713"/>
                      </a:lnTo>
                      <a:lnTo>
                        <a:pt x="75660" y="5755"/>
                      </a:lnTo>
                      <a:lnTo>
                        <a:pt x="75702" y="5755"/>
                      </a:lnTo>
                      <a:lnTo>
                        <a:pt x="75786" y="5671"/>
                      </a:lnTo>
                      <a:lnTo>
                        <a:pt x="75723" y="5462"/>
                      </a:lnTo>
                      <a:lnTo>
                        <a:pt x="75786" y="5504"/>
                      </a:lnTo>
                      <a:lnTo>
                        <a:pt x="75911" y="5671"/>
                      </a:lnTo>
                      <a:lnTo>
                        <a:pt x="76078" y="5608"/>
                      </a:lnTo>
                      <a:lnTo>
                        <a:pt x="76078" y="5524"/>
                      </a:lnTo>
                      <a:lnTo>
                        <a:pt x="75995" y="5357"/>
                      </a:lnTo>
                      <a:lnTo>
                        <a:pt x="75869" y="5378"/>
                      </a:lnTo>
                      <a:lnTo>
                        <a:pt x="75744" y="5294"/>
                      </a:lnTo>
                      <a:lnTo>
                        <a:pt x="75806" y="5190"/>
                      </a:lnTo>
                      <a:lnTo>
                        <a:pt x="75911" y="5232"/>
                      </a:lnTo>
                      <a:lnTo>
                        <a:pt x="75995" y="5211"/>
                      </a:lnTo>
                      <a:lnTo>
                        <a:pt x="75995" y="5064"/>
                      </a:lnTo>
                      <a:lnTo>
                        <a:pt x="75890" y="5022"/>
                      </a:lnTo>
                      <a:lnTo>
                        <a:pt x="75806" y="4980"/>
                      </a:lnTo>
                      <a:lnTo>
                        <a:pt x="75744" y="5022"/>
                      </a:lnTo>
                      <a:lnTo>
                        <a:pt x="75744" y="5127"/>
                      </a:lnTo>
                      <a:lnTo>
                        <a:pt x="75681" y="5064"/>
                      </a:lnTo>
                      <a:lnTo>
                        <a:pt x="75555" y="5085"/>
                      </a:lnTo>
                      <a:lnTo>
                        <a:pt x="75576" y="4918"/>
                      </a:lnTo>
                      <a:lnTo>
                        <a:pt x="75493" y="4855"/>
                      </a:lnTo>
                      <a:lnTo>
                        <a:pt x="75388" y="4876"/>
                      </a:lnTo>
                      <a:lnTo>
                        <a:pt x="75388" y="4980"/>
                      </a:lnTo>
                      <a:lnTo>
                        <a:pt x="75346" y="4897"/>
                      </a:lnTo>
                      <a:lnTo>
                        <a:pt x="75346" y="4813"/>
                      </a:lnTo>
                      <a:lnTo>
                        <a:pt x="75472" y="4771"/>
                      </a:lnTo>
                      <a:lnTo>
                        <a:pt x="75451" y="4583"/>
                      </a:lnTo>
                      <a:lnTo>
                        <a:pt x="75367" y="4562"/>
                      </a:lnTo>
                      <a:lnTo>
                        <a:pt x="75493" y="4457"/>
                      </a:lnTo>
                      <a:lnTo>
                        <a:pt x="75430" y="4290"/>
                      </a:lnTo>
                      <a:lnTo>
                        <a:pt x="75451" y="4227"/>
                      </a:lnTo>
                      <a:lnTo>
                        <a:pt x="75283" y="4081"/>
                      </a:lnTo>
                      <a:lnTo>
                        <a:pt x="75158" y="4102"/>
                      </a:lnTo>
                      <a:lnTo>
                        <a:pt x="75032" y="4248"/>
                      </a:lnTo>
                      <a:lnTo>
                        <a:pt x="75053" y="4060"/>
                      </a:lnTo>
                      <a:lnTo>
                        <a:pt x="75158" y="4018"/>
                      </a:lnTo>
                      <a:lnTo>
                        <a:pt x="75053" y="3851"/>
                      </a:lnTo>
                      <a:lnTo>
                        <a:pt x="75053" y="3746"/>
                      </a:lnTo>
                      <a:lnTo>
                        <a:pt x="75011" y="3746"/>
                      </a:lnTo>
                      <a:lnTo>
                        <a:pt x="74928" y="3830"/>
                      </a:lnTo>
                      <a:lnTo>
                        <a:pt x="74865" y="3746"/>
                      </a:lnTo>
                      <a:lnTo>
                        <a:pt x="74739" y="3746"/>
                      </a:lnTo>
                      <a:lnTo>
                        <a:pt x="74593" y="3767"/>
                      </a:lnTo>
                      <a:lnTo>
                        <a:pt x="74718" y="3662"/>
                      </a:lnTo>
                      <a:lnTo>
                        <a:pt x="74865" y="3662"/>
                      </a:lnTo>
                      <a:lnTo>
                        <a:pt x="75011" y="3558"/>
                      </a:lnTo>
                      <a:lnTo>
                        <a:pt x="75053" y="3620"/>
                      </a:lnTo>
                      <a:lnTo>
                        <a:pt x="75158" y="3432"/>
                      </a:lnTo>
                      <a:lnTo>
                        <a:pt x="75283" y="3411"/>
                      </a:lnTo>
                      <a:lnTo>
                        <a:pt x="75325" y="3307"/>
                      </a:lnTo>
                      <a:lnTo>
                        <a:pt x="75242" y="3202"/>
                      </a:lnTo>
                      <a:lnTo>
                        <a:pt x="74970" y="3139"/>
                      </a:lnTo>
                      <a:lnTo>
                        <a:pt x="75158" y="3118"/>
                      </a:lnTo>
                      <a:lnTo>
                        <a:pt x="75346" y="3118"/>
                      </a:lnTo>
                      <a:lnTo>
                        <a:pt x="75388" y="3035"/>
                      </a:lnTo>
                      <a:lnTo>
                        <a:pt x="75346" y="2909"/>
                      </a:lnTo>
                      <a:lnTo>
                        <a:pt x="75221" y="2867"/>
                      </a:lnTo>
                      <a:lnTo>
                        <a:pt x="75137" y="2721"/>
                      </a:lnTo>
                      <a:lnTo>
                        <a:pt x="75032" y="2763"/>
                      </a:lnTo>
                      <a:lnTo>
                        <a:pt x="75011" y="2679"/>
                      </a:lnTo>
                      <a:lnTo>
                        <a:pt x="75053" y="2511"/>
                      </a:lnTo>
                      <a:lnTo>
                        <a:pt x="74949" y="2198"/>
                      </a:lnTo>
                      <a:lnTo>
                        <a:pt x="74970" y="2135"/>
                      </a:lnTo>
                      <a:lnTo>
                        <a:pt x="75032" y="2051"/>
                      </a:lnTo>
                      <a:lnTo>
                        <a:pt x="75032" y="1967"/>
                      </a:lnTo>
                      <a:lnTo>
                        <a:pt x="74928" y="1905"/>
                      </a:lnTo>
                      <a:lnTo>
                        <a:pt x="74823" y="2051"/>
                      </a:lnTo>
                      <a:lnTo>
                        <a:pt x="74718" y="2135"/>
                      </a:lnTo>
                      <a:lnTo>
                        <a:pt x="74718" y="1967"/>
                      </a:lnTo>
                      <a:lnTo>
                        <a:pt x="74614" y="1967"/>
                      </a:lnTo>
                      <a:lnTo>
                        <a:pt x="74614" y="2051"/>
                      </a:lnTo>
                      <a:lnTo>
                        <a:pt x="74530" y="2072"/>
                      </a:lnTo>
                      <a:lnTo>
                        <a:pt x="74509" y="2030"/>
                      </a:lnTo>
                      <a:lnTo>
                        <a:pt x="74530" y="1884"/>
                      </a:lnTo>
                      <a:lnTo>
                        <a:pt x="74174" y="1842"/>
                      </a:lnTo>
                      <a:lnTo>
                        <a:pt x="74091" y="1884"/>
                      </a:lnTo>
                      <a:lnTo>
                        <a:pt x="73923" y="1863"/>
                      </a:lnTo>
                      <a:lnTo>
                        <a:pt x="73819" y="1758"/>
                      </a:lnTo>
                      <a:lnTo>
                        <a:pt x="73798" y="1716"/>
                      </a:lnTo>
                      <a:lnTo>
                        <a:pt x="73693" y="1675"/>
                      </a:lnTo>
                      <a:lnTo>
                        <a:pt x="73651" y="1716"/>
                      </a:lnTo>
                      <a:lnTo>
                        <a:pt x="73589" y="1633"/>
                      </a:lnTo>
                      <a:lnTo>
                        <a:pt x="73484" y="1633"/>
                      </a:lnTo>
                      <a:lnTo>
                        <a:pt x="73379" y="1779"/>
                      </a:lnTo>
                      <a:lnTo>
                        <a:pt x="73275" y="1821"/>
                      </a:lnTo>
                      <a:lnTo>
                        <a:pt x="73233" y="1842"/>
                      </a:lnTo>
                      <a:lnTo>
                        <a:pt x="73170" y="1884"/>
                      </a:lnTo>
                      <a:lnTo>
                        <a:pt x="73296" y="1884"/>
                      </a:lnTo>
                      <a:lnTo>
                        <a:pt x="73254" y="1967"/>
                      </a:lnTo>
                      <a:lnTo>
                        <a:pt x="73128" y="2051"/>
                      </a:lnTo>
                      <a:lnTo>
                        <a:pt x="73065" y="2051"/>
                      </a:lnTo>
                      <a:lnTo>
                        <a:pt x="73086" y="2156"/>
                      </a:lnTo>
                      <a:lnTo>
                        <a:pt x="73191" y="2239"/>
                      </a:lnTo>
                      <a:lnTo>
                        <a:pt x="73170" y="2281"/>
                      </a:lnTo>
                      <a:lnTo>
                        <a:pt x="73065" y="2260"/>
                      </a:lnTo>
                      <a:lnTo>
                        <a:pt x="72982" y="2051"/>
                      </a:lnTo>
                      <a:lnTo>
                        <a:pt x="73024" y="1988"/>
                      </a:lnTo>
                      <a:lnTo>
                        <a:pt x="73024" y="1988"/>
                      </a:lnTo>
                      <a:lnTo>
                        <a:pt x="72940" y="2030"/>
                      </a:lnTo>
                      <a:lnTo>
                        <a:pt x="72773" y="2239"/>
                      </a:lnTo>
                      <a:lnTo>
                        <a:pt x="72710" y="2386"/>
                      </a:lnTo>
                      <a:lnTo>
                        <a:pt x="72605" y="2491"/>
                      </a:lnTo>
                      <a:lnTo>
                        <a:pt x="72626" y="2553"/>
                      </a:lnTo>
                      <a:lnTo>
                        <a:pt x="72773" y="2407"/>
                      </a:lnTo>
                      <a:lnTo>
                        <a:pt x="72856" y="2407"/>
                      </a:lnTo>
                      <a:lnTo>
                        <a:pt x="72919" y="2511"/>
                      </a:lnTo>
                      <a:lnTo>
                        <a:pt x="73024" y="2616"/>
                      </a:lnTo>
                      <a:lnTo>
                        <a:pt x="73233" y="2783"/>
                      </a:lnTo>
                      <a:lnTo>
                        <a:pt x="73254" y="2909"/>
                      </a:lnTo>
                      <a:lnTo>
                        <a:pt x="73170" y="2993"/>
                      </a:lnTo>
                      <a:lnTo>
                        <a:pt x="73191" y="3097"/>
                      </a:lnTo>
                      <a:lnTo>
                        <a:pt x="73358" y="3076"/>
                      </a:lnTo>
                      <a:lnTo>
                        <a:pt x="73505" y="2993"/>
                      </a:lnTo>
                      <a:lnTo>
                        <a:pt x="73589" y="3097"/>
                      </a:lnTo>
                      <a:lnTo>
                        <a:pt x="73589" y="3202"/>
                      </a:lnTo>
                      <a:lnTo>
                        <a:pt x="73672" y="3390"/>
                      </a:lnTo>
                      <a:lnTo>
                        <a:pt x="73672" y="3432"/>
                      </a:lnTo>
                      <a:lnTo>
                        <a:pt x="73568" y="3327"/>
                      </a:lnTo>
                      <a:lnTo>
                        <a:pt x="73484" y="3181"/>
                      </a:lnTo>
                      <a:lnTo>
                        <a:pt x="73400" y="3139"/>
                      </a:lnTo>
                      <a:lnTo>
                        <a:pt x="73358" y="3244"/>
                      </a:lnTo>
                      <a:lnTo>
                        <a:pt x="73379" y="3348"/>
                      </a:lnTo>
                      <a:lnTo>
                        <a:pt x="73442" y="3390"/>
                      </a:lnTo>
                      <a:lnTo>
                        <a:pt x="73400" y="3411"/>
                      </a:lnTo>
                      <a:lnTo>
                        <a:pt x="73296" y="3390"/>
                      </a:lnTo>
                      <a:lnTo>
                        <a:pt x="73191" y="3223"/>
                      </a:lnTo>
                      <a:lnTo>
                        <a:pt x="73045" y="3202"/>
                      </a:lnTo>
                      <a:lnTo>
                        <a:pt x="72940" y="3307"/>
                      </a:lnTo>
                      <a:lnTo>
                        <a:pt x="72856" y="3286"/>
                      </a:lnTo>
                      <a:lnTo>
                        <a:pt x="72835" y="3139"/>
                      </a:lnTo>
                      <a:lnTo>
                        <a:pt x="72877" y="3097"/>
                      </a:lnTo>
                      <a:lnTo>
                        <a:pt x="72814" y="2972"/>
                      </a:lnTo>
                      <a:lnTo>
                        <a:pt x="72710" y="2888"/>
                      </a:lnTo>
                      <a:lnTo>
                        <a:pt x="72668" y="2763"/>
                      </a:lnTo>
                      <a:lnTo>
                        <a:pt x="72459" y="2700"/>
                      </a:lnTo>
                      <a:lnTo>
                        <a:pt x="72291" y="2365"/>
                      </a:lnTo>
                      <a:lnTo>
                        <a:pt x="72187" y="2239"/>
                      </a:lnTo>
                      <a:lnTo>
                        <a:pt x="72208" y="2177"/>
                      </a:lnTo>
                      <a:lnTo>
                        <a:pt x="72124" y="2093"/>
                      </a:lnTo>
                      <a:lnTo>
                        <a:pt x="72019" y="2072"/>
                      </a:lnTo>
                      <a:lnTo>
                        <a:pt x="72019" y="2072"/>
                      </a:lnTo>
                      <a:lnTo>
                        <a:pt x="72040" y="2135"/>
                      </a:lnTo>
                      <a:lnTo>
                        <a:pt x="72019" y="2239"/>
                      </a:lnTo>
                      <a:lnTo>
                        <a:pt x="71977" y="2198"/>
                      </a:lnTo>
                      <a:lnTo>
                        <a:pt x="71915" y="2072"/>
                      </a:lnTo>
                      <a:lnTo>
                        <a:pt x="71685" y="1947"/>
                      </a:lnTo>
                      <a:lnTo>
                        <a:pt x="71559" y="1926"/>
                      </a:lnTo>
                      <a:lnTo>
                        <a:pt x="71454" y="1947"/>
                      </a:lnTo>
                      <a:lnTo>
                        <a:pt x="71475" y="2030"/>
                      </a:lnTo>
                      <a:lnTo>
                        <a:pt x="71580" y="2072"/>
                      </a:lnTo>
                      <a:lnTo>
                        <a:pt x="71789" y="2156"/>
                      </a:lnTo>
                      <a:lnTo>
                        <a:pt x="71622" y="2198"/>
                      </a:lnTo>
                      <a:lnTo>
                        <a:pt x="71413" y="2135"/>
                      </a:lnTo>
                      <a:lnTo>
                        <a:pt x="71308" y="2030"/>
                      </a:lnTo>
                      <a:lnTo>
                        <a:pt x="71350" y="1947"/>
                      </a:lnTo>
                      <a:lnTo>
                        <a:pt x="71287" y="1926"/>
                      </a:lnTo>
                      <a:lnTo>
                        <a:pt x="71099" y="1926"/>
                      </a:lnTo>
                      <a:lnTo>
                        <a:pt x="71161" y="1947"/>
                      </a:lnTo>
                      <a:lnTo>
                        <a:pt x="71161" y="1988"/>
                      </a:lnTo>
                      <a:lnTo>
                        <a:pt x="70994" y="2051"/>
                      </a:lnTo>
                      <a:lnTo>
                        <a:pt x="70931" y="1947"/>
                      </a:lnTo>
                      <a:lnTo>
                        <a:pt x="70952" y="1884"/>
                      </a:lnTo>
                      <a:lnTo>
                        <a:pt x="70764" y="1863"/>
                      </a:lnTo>
                      <a:lnTo>
                        <a:pt x="70722" y="1884"/>
                      </a:lnTo>
                      <a:lnTo>
                        <a:pt x="70743" y="1988"/>
                      </a:lnTo>
                      <a:lnTo>
                        <a:pt x="70638" y="1967"/>
                      </a:lnTo>
                      <a:lnTo>
                        <a:pt x="70576" y="1863"/>
                      </a:lnTo>
                      <a:lnTo>
                        <a:pt x="70429" y="1863"/>
                      </a:lnTo>
                      <a:lnTo>
                        <a:pt x="70471" y="1967"/>
                      </a:lnTo>
                      <a:lnTo>
                        <a:pt x="70471" y="1967"/>
                      </a:lnTo>
                      <a:lnTo>
                        <a:pt x="69990" y="1863"/>
                      </a:lnTo>
                      <a:lnTo>
                        <a:pt x="69843" y="1926"/>
                      </a:lnTo>
                      <a:lnTo>
                        <a:pt x="69676" y="1842"/>
                      </a:lnTo>
                      <a:lnTo>
                        <a:pt x="69676" y="1758"/>
                      </a:lnTo>
                      <a:lnTo>
                        <a:pt x="69508" y="1716"/>
                      </a:lnTo>
                      <a:lnTo>
                        <a:pt x="69488" y="1737"/>
                      </a:lnTo>
                      <a:lnTo>
                        <a:pt x="69488" y="1779"/>
                      </a:lnTo>
                      <a:lnTo>
                        <a:pt x="69425" y="1737"/>
                      </a:lnTo>
                      <a:lnTo>
                        <a:pt x="69320" y="1716"/>
                      </a:lnTo>
                      <a:lnTo>
                        <a:pt x="69216" y="1633"/>
                      </a:lnTo>
                      <a:lnTo>
                        <a:pt x="69153" y="1654"/>
                      </a:lnTo>
                      <a:lnTo>
                        <a:pt x="69174" y="1758"/>
                      </a:lnTo>
                      <a:lnTo>
                        <a:pt x="69006" y="1758"/>
                      </a:lnTo>
                      <a:lnTo>
                        <a:pt x="68860" y="1779"/>
                      </a:lnTo>
                      <a:lnTo>
                        <a:pt x="68839" y="1884"/>
                      </a:lnTo>
                      <a:lnTo>
                        <a:pt x="68651" y="1884"/>
                      </a:lnTo>
                      <a:lnTo>
                        <a:pt x="68316" y="1758"/>
                      </a:lnTo>
                      <a:lnTo>
                        <a:pt x="68337" y="1716"/>
                      </a:lnTo>
                      <a:lnTo>
                        <a:pt x="68546" y="1779"/>
                      </a:lnTo>
                      <a:lnTo>
                        <a:pt x="68651" y="1842"/>
                      </a:lnTo>
                      <a:lnTo>
                        <a:pt x="68672" y="1779"/>
                      </a:lnTo>
                      <a:lnTo>
                        <a:pt x="68337" y="1549"/>
                      </a:lnTo>
                      <a:lnTo>
                        <a:pt x="67939" y="1507"/>
                      </a:lnTo>
                      <a:lnTo>
                        <a:pt x="67793" y="1549"/>
                      </a:lnTo>
                      <a:lnTo>
                        <a:pt x="67730" y="1507"/>
                      </a:lnTo>
                      <a:lnTo>
                        <a:pt x="67793" y="1444"/>
                      </a:lnTo>
                      <a:lnTo>
                        <a:pt x="67688" y="1402"/>
                      </a:lnTo>
                      <a:lnTo>
                        <a:pt x="67542" y="1423"/>
                      </a:lnTo>
                      <a:lnTo>
                        <a:pt x="67604" y="1444"/>
                      </a:lnTo>
                      <a:lnTo>
                        <a:pt x="67521" y="1465"/>
                      </a:lnTo>
                      <a:lnTo>
                        <a:pt x="67395" y="1423"/>
                      </a:lnTo>
                      <a:lnTo>
                        <a:pt x="67019" y="1319"/>
                      </a:lnTo>
                      <a:lnTo>
                        <a:pt x="66851" y="1340"/>
                      </a:lnTo>
                      <a:lnTo>
                        <a:pt x="66788" y="1423"/>
                      </a:lnTo>
                      <a:lnTo>
                        <a:pt x="66705" y="1402"/>
                      </a:lnTo>
                      <a:lnTo>
                        <a:pt x="66663" y="1319"/>
                      </a:lnTo>
                      <a:lnTo>
                        <a:pt x="66558" y="1361"/>
                      </a:lnTo>
                      <a:lnTo>
                        <a:pt x="66349" y="1361"/>
                      </a:lnTo>
                      <a:lnTo>
                        <a:pt x="66244" y="1298"/>
                      </a:lnTo>
                      <a:lnTo>
                        <a:pt x="66161" y="1319"/>
                      </a:lnTo>
                      <a:lnTo>
                        <a:pt x="66014" y="1340"/>
                      </a:lnTo>
                      <a:lnTo>
                        <a:pt x="65951" y="1319"/>
                      </a:lnTo>
                      <a:lnTo>
                        <a:pt x="65847" y="1402"/>
                      </a:lnTo>
                      <a:lnTo>
                        <a:pt x="65826" y="1507"/>
                      </a:lnTo>
                      <a:lnTo>
                        <a:pt x="65763" y="1402"/>
                      </a:lnTo>
                      <a:lnTo>
                        <a:pt x="65303" y="1528"/>
                      </a:lnTo>
                      <a:lnTo>
                        <a:pt x="65303" y="1633"/>
                      </a:lnTo>
                      <a:lnTo>
                        <a:pt x="65198" y="1612"/>
                      </a:lnTo>
                      <a:lnTo>
                        <a:pt x="65135" y="1737"/>
                      </a:lnTo>
                      <a:lnTo>
                        <a:pt x="65094" y="1737"/>
                      </a:lnTo>
                      <a:lnTo>
                        <a:pt x="65031" y="1654"/>
                      </a:lnTo>
                      <a:lnTo>
                        <a:pt x="64884" y="1675"/>
                      </a:lnTo>
                      <a:lnTo>
                        <a:pt x="64884" y="1779"/>
                      </a:lnTo>
                      <a:lnTo>
                        <a:pt x="64801" y="1779"/>
                      </a:lnTo>
                      <a:lnTo>
                        <a:pt x="64696" y="1842"/>
                      </a:lnTo>
                      <a:lnTo>
                        <a:pt x="64529" y="1737"/>
                      </a:lnTo>
                      <a:lnTo>
                        <a:pt x="64403" y="1779"/>
                      </a:lnTo>
                      <a:lnTo>
                        <a:pt x="64403" y="1863"/>
                      </a:lnTo>
                      <a:lnTo>
                        <a:pt x="64152" y="1863"/>
                      </a:lnTo>
                      <a:lnTo>
                        <a:pt x="63838" y="1884"/>
                      </a:lnTo>
                      <a:lnTo>
                        <a:pt x="63754" y="1842"/>
                      </a:lnTo>
                      <a:lnTo>
                        <a:pt x="63482" y="1884"/>
                      </a:lnTo>
                      <a:lnTo>
                        <a:pt x="63462" y="1905"/>
                      </a:lnTo>
                      <a:lnTo>
                        <a:pt x="63629" y="2009"/>
                      </a:lnTo>
                      <a:lnTo>
                        <a:pt x="63692" y="2198"/>
                      </a:lnTo>
                      <a:lnTo>
                        <a:pt x="63775" y="2260"/>
                      </a:lnTo>
                      <a:lnTo>
                        <a:pt x="63796" y="2386"/>
                      </a:lnTo>
                      <a:lnTo>
                        <a:pt x="63880" y="2574"/>
                      </a:lnTo>
                      <a:lnTo>
                        <a:pt x="63838" y="2637"/>
                      </a:lnTo>
                      <a:lnTo>
                        <a:pt x="63838" y="2804"/>
                      </a:lnTo>
                      <a:lnTo>
                        <a:pt x="63880" y="2804"/>
                      </a:lnTo>
                      <a:lnTo>
                        <a:pt x="63985" y="2700"/>
                      </a:lnTo>
                      <a:lnTo>
                        <a:pt x="64194" y="2804"/>
                      </a:lnTo>
                      <a:lnTo>
                        <a:pt x="64257" y="2888"/>
                      </a:lnTo>
                      <a:lnTo>
                        <a:pt x="64319" y="2909"/>
                      </a:lnTo>
                      <a:lnTo>
                        <a:pt x="64529" y="3118"/>
                      </a:lnTo>
                      <a:lnTo>
                        <a:pt x="64570" y="3307"/>
                      </a:lnTo>
                      <a:lnTo>
                        <a:pt x="64717" y="3348"/>
                      </a:lnTo>
                      <a:lnTo>
                        <a:pt x="64822" y="3516"/>
                      </a:lnTo>
                      <a:lnTo>
                        <a:pt x="64822" y="3579"/>
                      </a:lnTo>
                      <a:lnTo>
                        <a:pt x="64842" y="3662"/>
                      </a:lnTo>
                      <a:lnTo>
                        <a:pt x="64801" y="3725"/>
                      </a:lnTo>
                      <a:lnTo>
                        <a:pt x="64884" y="3830"/>
                      </a:lnTo>
                      <a:lnTo>
                        <a:pt x="64822" y="3871"/>
                      </a:lnTo>
                      <a:lnTo>
                        <a:pt x="64738" y="3851"/>
                      </a:lnTo>
                      <a:lnTo>
                        <a:pt x="64612" y="3934"/>
                      </a:lnTo>
                      <a:lnTo>
                        <a:pt x="64633" y="4039"/>
                      </a:lnTo>
                      <a:lnTo>
                        <a:pt x="64508" y="4060"/>
                      </a:lnTo>
                      <a:lnTo>
                        <a:pt x="64403" y="4143"/>
                      </a:lnTo>
                      <a:lnTo>
                        <a:pt x="64215" y="4102"/>
                      </a:lnTo>
                      <a:lnTo>
                        <a:pt x="64152" y="4039"/>
                      </a:lnTo>
                      <a:lnTo>
                        <a:pt x="64152" y="3892"/>
                      </a:lnTo>
                      <a:lnTo>
                        <a:pt x="63964" y="3641"/>
                      </a:lnTo>
                      <a:lnTo>
                        <a:pt x="63880" y="3641"/>
                      </a:lnTo>
                      <a:lnTo>
                        <a:pt x="63838" y="3662"/>
                      </a:lnTo>
                      <a:lnTo>
                        <a:pt x="63566" y="3620"/>
                      </a:lnTo>
                      <a:lnTo>
                        <a:pt x="63378" y="3641"/>
                      </a:lnTo>
                      <a:lnTo>
                        <a:pt x="63315" y="3579"/>
                      </a:lnTo>
                      <a:lnTo>
                        <a:pt x="63148" y="3411"/>
                      </a:lnTo>
                      <a:lnTo>
                        <a:pt x="63148" y="3286"/>
                      </a:lnTo>
                      <a:lnTo>
                        <a:pt x="63043" y="3202"/>
                      </a:lnTo>
                      <a:lnTo>
                        <a:pt x="62897" y="3181"/>
                      </a:lnTo>
                      <a:lnTo>
                        <a:pt x="62855" y="3097"/>
                      </a:lnTo>
                      <a:lnTo>
                        <a:pt x="62813" y="2951"/>
                      </a:lnTo>
                      <a:lnTo>
                        <a:pt x="62625" y="2909"/>
                      </a:lnTo>
                      <a:lnTo>
                        <a:pt x="62583" y="2951"/>
                      </a:lnTo>
                      <a:lnTo>
                        <a:pt x="62583" y="3097"/>
                      </a:lnTo>
                      <a:lnTo>
                        <a:pt x="62583" y="3244"/>
                      </a:lnTo>
                      <a:lnTo>
                        <a:pt x="62604" y="3327"/>
                      </a:lnTo>
                      <a:lnTo>
                        <a:pt x="62478" y="3516"/>
                      </a:lnTo>
                      <a:lnTo>
                        <a:pt x="62415" y="3641"/>
                      </a:lnTo>
                      <a:lnTo>
                        <a:pt x="62332" y="3558"/>
                      </a:lnTo>
                      <a:lnTo>
                        <a:pt x="62311" y="3474"/>
                      </a:lnTo>
                      <a:lnTo>
                        <a:pt x="62269" y="3474"/>
                      </a:lnTo>
                      <a:lnTo>
                        <a:pt x="62164" y="3558"/>
                      </a:lnTo>
                      <a:lnTo>
                        <a:pt x="61913" y="3537"/>
                      </a:lnTo>
                      <a:lnTo>
                        <a:pt x="61704" y="3620"/>
                      </a:lnTo>
                      <a:lnTo>
                        <a:pt x="61641" y="3579"/>
                      </a:lnTo>
                      <a:lnTo>
                        <a:pt x="61474" y="3725"/>
                      </a:lnTo>
                      <a:lnTo>
                        <a:pt x="61327" y="3746"/>
                      </a:lnTo>
                      <a:lnTo>
                        <a:pt x="61223" y="3725"/>
                      </a:lnTo>
                      <a:lnTo>
                        <a:pt x="61118" y="3620"/>
                      </a:lnTo>
                      <a:lnTo>
                        <a:pt x="61034" y="3620"/>
                      </a:lnTo>
                      <a:lnTo>
                        <a:pt x="60972" y="3662"/>
                      </a:lnTo>
                      <a:lnTo>
                        <a:pt x="61013" y="3746"/>
                      </a:lnTo>
                      <a:lnTo>
                        <a:pt x="60804" y="3830"/>
                      </a:lnTo>
                      <a:lnTo>
                        <a:pt x="60700" y="3913"/>
                      </a:lnTo>
                      <a:lnTo>
                        <a:pt x="60449" y="3934"/>
                      </a:lnTo>
                      <a:lnTo>
                        <a:pt x="60323" y="4081"/>
                      </a:lnTo>
                      <a:lnTo>
                        <a:pt x="60323" y="4290"/>
                      </a:lnTo>
                      <a:lnTo>
                        <a:pt x="60323" y="4562"/>
                      </a:lnTo>
                      <a:lnTo>
                        <a:pt x="60532" y="4855"/>
                      </a:lnTo>
                      <a:lnTo>
                        <a:pt x="60553" y="5022"/>
                      </a:lnTo>
                      <a:lnTo>
                        <a:pt x="60407" y="4813"/>
                      </a:lnTo>
                      <a:lnTo>
                        <a:pt x="60281" y="4688"/>
                      </a:lnTo>
                      <a:lnTo>
                        <a:pt x="60177" y="4708"/>
                      </a:lnTo>
                      <a:lnTo>
                        <a:pt x="60030" y="4625"/>
                      </a:lnTo>
                      <a:lnTo>
                        <a:pt x="60072" y="4729"/>
                      </a:lnTo>
                      <a:lnTo>
                        <a:pt x="60177" y="4792"/>
                      </a:lnTo>
                      <a:lnTo>
                        <a:pt x="60218" y="4980"/>
                      </a:lnTo>
                      <a:lnTo>
                        <a:pt x="60218" y="5022"/>
                      </a:lnTo>
                      <a:lnTo>
                        <a:pt x="60072" y="4813"/>
                      </a:lnTo>
                      <a:lnTo>
                        <a:pt x="59967" y="4813"/>
                      </a:lnTo>
                      <a:lnTo>
                        <a:pt x="59925" y="4604"/>
                      </a:lnTo>
                      <a:lnTo>
                        <a:pt x="59758" y="4415"/>
                      </a:lnTo>
                      <a:lnTo>
                        <a:pt x="59674" y="4269"/>
                      </a:lnTo>
                      <a:lnTo>
                        <a:pt x="59570" y="4269"/>
                      </a:lnTo>
                      <a:lnTo>
                        <a:pt x="59612" y="4457"/>
                      </a:lnTo>
                      <a:lnTo>
                        <a:pt x="59591" y="4562"/>
                      </a:lnTo>
                      <a:lnTo>
                        <a:pt x="59549" y="4415"/>
                      </a:lnTo>
                      <a:lnTo>
                        <a:pt x="59402" y="4353"/>
                      </a:lnTo>
                      <a:lnTo>
                        <a:pt x="59256" y="4374"/>
                      </a:lnTo>
                      <a:lnTo>
                        <a:pt x="59256" y="4457"/>
                      </a:lnTo>
                      <a:lnTo>
                        <a:pt x="59172" y="4374"/>
                      </a:lnTo>
                      <a:lnTo>
                        <a:pt x="59026" y="4374"/>
                      </a:lnTo>
                      <a:lnTo>
                        <a:pt x="58879" y="4520"/>
                      </a:lnTo>
                      <a:lnTo>
                        <a:pt x="58754" y="4562"/>
                      </a:lnTo>
                      <a:lnTo>
                        <a:pt x="58837" y="4415"/>
                      </a:lnTo>
                      <a:lnTo>
                        <a:pt x="58837" y="4311"/>
                      </a:lnTo>
                      <a:lnTo>
                        <a:pt x="58712" y="4081"/>
                      </a:lnTo>
                      <a:lnTo>
                        <a:pt x="58712" y="3934"/>
                      </a:lnTo>
                      <a:lnTo>
                        <a:pt x="58649" y="3871"/>
                      </a:lnTo>
                      <a:lnTo>
                        <a:pt x="58649" y="3767"/>
                      </a:lnTo>
                      <a:lnTo>
                        <a:pt x="58544" y="3558"/>
                      </a:lnTo>
                      <a:lnTo>
                        <a:pt x="58335" y="3327"/>
                      </a:lnTo>
                      <a:lnTo>
                        <a:pt x="58105" y="3202"/>
                      </a:lnTo>
                      <a:lnTo>
                        <a:pt x="57875" y="2930"/>
                      </a:lnTo>
                      <a:lnTo>
                        <a:pt x="57310" y="2742"/>
                      </a:lnTo>
                      <a:lnTo>
                        <a:pt x="57038" y="2742"/>
                      </a:lnTo>
                      <a:lnTo>
                        <a:pt x="56892" y="2783"/>
                      </a:lnTo>
                      <a:lnTo>
                        <a:pt x="56661" y="2930"/>
                      </a:lnTo>
                      <a:lnTo>
                        <a:pt x="56661" y="2993"/>
                      </a:lnTo>
                      <a:lnTo>
                        <a:pt x="56536" y="2951"/>
                      </a:lnTo>
                      <a:lnTo>
                        <a:pt x="56327" y="3035"/>
                      </a:lnTo>
                      <a:lnTo>
                        <a:pt x="55887" y="3244"/>
                      </a:lnTo>
                      <a:lnTo>
                        <a:pt x="55720" y="3265"/>
                      </a:lnTo>
                      <a:lnTo>
                        <a:pt x="55531" y="3453"/>
                      </a:lnTo>
                      <a:lnTo>
                        <a:pt x="55427" y="3516"/>
                      </a:lnTo>
                      <a:lnTo>
                        <a:pt x="55197" y="3683"/>
                      </a:lnTo>
                      <a:lnTo>
                        <a:pt x="55071" y="3746"/>
                      </a:lnTo>
                      <a:lnTo>
                        <a:pt x="54946" y="3871"/>
                      </a:lnTo>
                      <a:lnTo>
                        <a:pt x="54757" y="3934"/>
                      </a:lnTo>
                      <a:lnTo>
                        <a:pt x="54590" y="3871"/>
                      </a:lnTo>
                      <a:lnTo>
                        <a:pt x="54360" y="3934"/>
                      </a:lnTo>
                      <a:lnTo>
                        <a:pt x="54213" y="3997"/>
                      </a:lnTo>
                      <a:lnTo>
                        <a:pt x="54339" y="3871"/>
                      </a:lnTo>
                      <a:lnTo>
                        <a:pt x="54527" y="3767"/>
                      </a:lnTo>
                      <a:lnTo>
                        <a:pt x="54548" y="3662"/>
                      </a:lnTo>
                      <a:lnTo>
                        <a:pt x="54381" y="3474"/>
                      </a:lnTo>
                      <a:lnTo>
                        <a:pt x="54109" y="3411"/>
                      </a:lnTo>
                      <a:lnTo>
                        <a:pt x="53837" y="3223"/>
                      </a:lnTo>
                      <a:lnTo>
                        <a:pt x="53753" y="3160"/>
                      </a:lnTo>
                      <a:lnTo>
                        <a:pt x="53711" y="3223"/>
                      </a:lnTo>
                      <a:lnTo>
                        <a:pt x="53607" y="3453"/>
                      </a:lnTo>
                      <a:lnTo>
                        <a:pt x="53607" y="3579"/>
                      </a:lnTo>
                      <a:lnTo>
                        <a:pt x="53544" y="3516"/>
                      </a:lnTo>
                      <a:lnTo>
                        <a:pt x="53502" y="3537"/>
                      </a:lnTo>
                      <a:lnTo>
                        <a:pt x="53439" y="3662"/>
                      </a:lnTo>
                      <a:lnTo>
                        <a:pt x="53376" y="3725"/>
                      </a:lnTo>
                      <a:lnTo>
                        <a:pt x="53335" y="3662"/>
                      </a:lnTo>
                      <a:lnTo>
                        <a:pt x="53397" y="3516"/>
                      </a:lnTo>
                      <a:lnTo>
                        <a:pt x="53439" y="3432"/>
                      </a:lnTo>
                      <a:lnTo>
                        <a:pt x="53397" y="3265"/>
                      </a:lnTo>
                      <a:lnTo>
                        <a:pt x="53272" y="3202"/>
                      </a:lnTo>
                      <a:lnTo>
                        <a:pt x="53125" y="3327"/>
                      </a:lnTo>
                      <a:lnTo>
                        <a:pt x="53167" y="3411"/>
                      </a:lnTo>
                      <a:lnTo>
                        <a:pt x="53083" y="3537"/>
                      </a:lnTo>
                      <a:lnTo>
                        <a:pt x="53000" y="3453"/>
                      </a:lnTo>
                      <a:lnTo>
                        <a:pt x="52979" y="3307"/>
                      </a:lnTo>
                      <a:lnTo>
                        <a:pt x="52916" y="3160"/>
                      </a:lnTo>
                      <a:lnTo>
                        <a:pt x="52874" y="3014"/>
                      </a:lnTo>
                      <a:lnTo>
                        <a:pt x="52770" y="3118"/>
                      </a:lnTo>
                      <a:lnTo>
                        <a:pt x="52560" y="3139"/>
                      </a:lnTo>
                      <a:lnTo>
                        <a:pt x="52246" y="3223"/>
                      </a:lnTo>
                      <a:lnTo>
                        <a:pt x="52163" y="3202"/>
                      </a:lnTo>
                      <a:lnTo>
                        <a:pt x="52267" y="3118"/>
                      </a:lnTo>
                      <a:lnTo>
                        <a:pt x="52246" y="3014"/>
                      </a:lnTo>
                      <a:lnTo>
                        <a:pt x="52246" y="2909"/>
                      </a:lnTo>
                      <a:lnTo>
                        <a:pt x="52226" y="2783"/>
                      </a:lnTo>
                      <a:lnTo>
                        <a:pt x="52246" y="2763"/>
                      </a:lnTo>
                      <a:lnTo>
                        <a:pt x="52456" y="2909"/>
                      </a:lnTo>
                      <a:lnTo>
                        <a:pt x="52560" y="2825"/>
                      </a:lnTo>
                      <a:lnTo>
                        <a:pt x="52581" y="2700"/>
                      </a:lnTo>
                      <a:lnTo>
                        <a:pt x="52393" y="2428"/>
                      </a:lnTo>
                      <a:lnTo>
                        <a:pt x="52016" y="2302"/>
                      </a:lnTo>
                      <a:lnTo>
                        <a:pt x="51702" y="2281"/>
                      </a:lnTo>
                      <a:lnTo>
                        <a:pt x="51347" y="2365"/>
                      </a:lnTo>
                      <a:lnTo>
                        <a:pt x="51033" y="2407"/>
                      </a:lnTo>
                      <a:lnTo>
                        <a:pt x="50824" y="2574"/>
                      </a:lnTo>
                      <a:lnTo>
                        <a:pt x="50886" y="3139"/>
                      </a:lnTo>
                      <a:lnTo>
                        <a:pt x="50866" y="3307"/>
                      </a:lnTo>
                      <a:lnTo>
                        <a:pt x="50907" y="3411"/>
                      </a:lnTo>
                      <a:lnTo>
                        <a:pt x="50803" y="3579"/>
                      </a:lnTo>
                      <a:lnTo>
                        <a:pt x="50803" y="3746"/>
                      </a:lnTo>
                      <a:lnTo>
                        <a:pt x="50656" y="3851"/>
                      </a:lnTo>
                      <a:lnTo>
                        <a:pt x="50552" y="3851"/>
                      </a:lnTo>
                      <a:lnTo>
                        <a:pt x="50489" y="3788"/>
                      </a:lnTo>
                      <a:lnTo>
                        <a:pt x="50489" y="3725"/>
                      </a:lnTo>
                      <a:lnTo>
                        <a:pt x="50363" y="3620"/>
                      </a:lnTo>
                      <a:lnTo>
                        <a:pt x="50447" y="3537"/>
                      </a:lnTo>
                      <a:lnTo>
                        <a:pt x="50510" y="3558"/>
                      </a:lnTo>
                      <a:lnTo>
                        <a:pt x="50594" y="3369"/>
                      </a:lnTo>
                      <a:lnTo>
                        <a:pt x="50552" y="3139"/>
                      </a:lnTo>
                      <a:lnTo>
                        <a:pt x="50405" y="3097"/>
                      </a:lnTo>
                      <a:lnTo>
                        <a:pt x="50342" y="2888"/>
                      </a:lnTo>
                      <a:lnTo>
                        <a:pt x="50405" y="2909"/>
                      </a:lnTo>
                      <a:lnTo>
                        <a:pt x="50510" y="2804"/>
                      </a:lnTo>
                      <a:lnTo>
                        <a:pt x="50510" y="2930"/>
                      </a:lnTo>
                      <a:lnTo>
                        <a:pt x="50614" y="3035"/>
                      </a:lnTo>
                      <a:lnTo>
                        <a:pt x="50698" y="3223"/>
                      </a:lnTo>
                      <a:lnTo>
                        <a:pt x="50719" y="3160"/>
                      </a:lnTo>
                      <a:lnTo>
                        <a:pt x="50698" y="2888"/>
                      </a:lnTo>
                      <a:lnTo>
                        <a:pt x="50656" y="2679"/>
                      </a:lnTo>
                      <a:lnTo>
                        <a:pt x="50259" y="2825"/>
                      </a:lnTo>
                      <a:lnTo>
                        <a:pt x="49945" y="3035"/>
                      </a:lnTo>
                      <a:lnTo>
                        <a:pt x="49945" y="3160"/>
                      </a:lnTo>
                      <a:lnTo>
                        <a:pt x="49757" y="3307"/>
                      </a:lnTo>
                      <a:lnTo>
                        <a:pt x="49652" y="3223"/>
                      </a:lnTo>
                      <a:lnTo>
                        <a:pt x="49673" y="3139"/>
                      </a:lnTo>
                      <a:lnTo>
                        <a:pt x="49777" y="3118"/>
                      </a:lnTo>
                      <a:lnTo>
                        <a:pt x="49673" y="2993"/>
                      </a:lnTo>
                      <a:lnTo>
                        <a:pt x="49757" y="2742"/>
                      </a:lnTo>
                      <a:lnTo>
                        <a:pt x="49882" y="2804"/>
                      </a:lnTo>
                      <a:lnTo>
                        <a:pt x="49945" y="2783"/>
                      </a:lnTo>
                      <a:lnTo>
                        <a:pt x="50070" y="2825"/>
                      </a:lnTo>
                      <a:lnTo>
                        <a:pt x="50468" y="2637"/>
                      </a:lnTo>
                      <a:lnTo>
                        <a:pt x="50614" y="2595"/>
                      </a:lnTo>
                      <a:lnTo>
                        <a:pt x="50342" y="2595"/>
                      </a:lnTo>
                      <a:lnTo>
                        <a:pt x="50175" y="2616"/>
                      </a:lnTo>
                      <a:lnTo>
                        <a:pt x="49945" y="2595"/>
                      </a:lnTo>
                      <a:lnTo>
                        <a:pt x="49443" y="2595"/>
                      </a:lnTo>
                      <a:lnTo>
                        <a:pt x="49338" y="2637"/>
                      </a:lnTo>
                      <a:lnTo>
                        <a:pt x="48669" y="2700"/>
                      </a:lnTo>
                      <a:lnTo>
                        <a:pt x="48271" y="2700"/>
                      </a:lnTo>
                      <a:lnTo>
                        <a:pt x="48041" y="2742"/>
                      </a:lnTo>
                      <a:lnTo>
                        <a:pt x="47769" y="2637"/>
                      </a:lnTo>
                      <a:lnTo>
                        <a:pt x="47539" y="2679"/>
                      </a:lnTo>
                      <a:lnTo>
                        <a:pt x="47371" y="2742"/>
                      </a:lnTo>
                      <a:lnTo>
                        <a:pt x="47518" y="2909"/>
                      </a:lnTo>
                      <a:lnTo>
                        <a:pt x="47685" y="2909"/>
                      </a:lnTo>
                      <a:lnTo>
                        <a:pt x="47790" y="2951"/>
                      </a:lnTo>
                      <a:lnTo>
                        <a:pt x="47894" y="2930"/>
                      </a:lnTo>
                      <a:lnTo>
                        <a:pt x="48041" y="3055"/>
                      </a:lnTo>
                      <a:lnTo>
                        <a:pt x="48041" y="3139"/>
                      </a:lnTo>
                      <a:lnTo>
                        <a:pt x="47832" y="3327"/>
                      </a:lnTo>
                      <a:lnTo>
                        <a:pt x="47685" y="3307"/>
                      </a:lnTo>
                      <a:lnTo>
                        <a:pt x="47518" y="3369"/>
                      </a:lnTo>
                      <a:lnTo>
                        <a:pt x="47476" y="3537"/>
                      </a:lnTo>
                      <a:lnTo>
                        <a:pt x="47434" y="3641"/>
                      </a:lnTo>
                      <a:lnTo>
                        <a:pt x="47560" y="3871"/>
                      </a:lnTo>
                      <a:lnTo>
                        <a:pt x="47769" y="3934"/>
                      </a:lnTo>
                      <a:lnTo>
                        <a:pt x="47790" y="3788"/>
                      </a:lnTo>
                      <a:lnTo>
                        <a:pt x="47936" y="3662"/>
                      </a:lnTo>
                      <a:lnTo>
                        <a:pt x="48145" y="3579"/>
                      </a:lnTo>
                      <a:lnTo>
                        <a:pt x="48104" y="3788"/>
                      </a:lnTo>
                      <a:lnTo>
                        <a:pt x="47894" y="3788"/>
                      </a:lnTo>
                      <a:lnTo>
                        <a:pt x="47999" y="3934"/>
                      </a:lnTo>
                      <a:lnTo>
                        <a:pt x="47978" y="3955"/>
                      </a:lnTo>
                      <a:lnTo>
                        <a:pt x="48041" y="4060"/>
                      </a:lnTo>
                      <a:lnTo>
                        <a:pt x="47894" y="4143"/>
                      </a:lnTo>
                      <a:lnTo>
                        <a:pt x="48041" y="4164"/>
                      </a:lnTo>
                      <a:lnTo>
                        <a:pt x="48166" y="4102"/>
                      </a:lnTo>
                      <a:lnTo>
                        <a:pt x="48208" y="4206"/>
                      </a:lnTo>
                      <a:lnTo>
                        <a:pt x="48187" y="4353"/>
                      </a:lnTo>
                      <a:lnTo>
                        <a:pt x="48313" y="4478"/>
                      </a:lnTo>
                      <a:lnTo>
                        <a:pt x="48459" y="4499"/>
                      </a:lnTo>
                      <a:lnTo>
                        <a:pt x="48627" y="4708"/>
                      </a:lnTo>
                      <a:lnTo>
                        <a:pt x="48606" y="4813"/>
                      </a:lnTo>
                      <a:lnTo>
                        <a:pt x="48522" y="4771"/>
                      </a:lnTo>
                      <a:lnTo>
                        <a:pt x="48397" y="4813"/>
                      </a:lnTo>
                      <a:lnTo>
                        <a:pt x="48459" y="4939"/>
                      </a:lnTo>
                      <a:lnTo>
                        <a:pt x="48376" y="5001"/>
                      </a:lnTo>
                      <a:lnTo>
                        <a:pt x="48313" y="4939"/>
                      </a:lnTo>
                      <a:lnTo>
                        <a:pt x="48250" y="4980"/>
                      </a:lnTo>
                      <a:lnTo>
                        <a:pt x="48187" y="4834"/>
                      </a:lnTo>
                      <a:lnTo>
                        <a:pt x="47999" y="4708"/>
                      </a:lnTo>
                      <a:lnTo>
                        <a:pt x="47936" y="4729"/>
                      </a:lnTo>
                      <a:lnTo>
                        <a:pt x="47978" y="4813"/>
                      </a:lnTo>
                      <a:lnTo>
                        <a:pt x="47873" y="4897"/>
                      </a:lnTo>
                      <a:lnTo>
                        <a:pt x="47790" y="4834"/>
                      </a:lnTo>
                      <a:lnTo>
                        <a:pt x="47727" y="4897"/>
                      </a:lnTo>
                      <a:lnTo>
                        <a:pt x="47769" y="5022"/>
                      </a:lnTo>
                      <a:lnTo>
                        <a:pt x="47790" y="5211"/>
                      </a:lnTo>
                      <a:lnTo>
                        <a:pt x="47936" y="5232"/>
                      </a:lnTo>
                      <a:lnTo>
                        <a:pt x="48083" y="5148"/>
                      </a:lnTo>
                      <a:lnTo>
                        <a:pt x="48187" y="5252"/>
                      </a:lnTo>
                      <a:lnTo>
                        <a:pt x="48104" y="5336"/>
                      </a:lnTo>
                      <a:lnTo>
                        <a:pt x="48250" y="5399"/>
                      </a:lnTo>
                      <a:lnTo>
                        <a:pt x="48145" y="5462"/>
                      </a:lnTo>
                      <a:lnTo>
                        <a:pt x="47978" y="5420"/>
                      </a:lnTo>
                      <a:lnTo>
                        <a:pt x="47978" y="5462"/>
                      </a:lnTo>
                      <a:lnTo>
                        <a:pt x="48145" y="5566"/>
                      </a:lnTo>
                      <a:lnTo>
                        <a:pt x="47873" y="5566"/>
                      </a:lnTo>
                      <a:lnTo>
                        <a:pt x="47832" y="5462"/>
                      </a:lnTo>
                      <a:lnTo>
                        <a:pt x="47643" y="5462"/>
                      </a:lnTo>
                      <a:lnTo>
                        <a:pt x="47560" y="5336"/>
                      </a:lnTo>
                      <a:lnTo>
                        <a:pt x="47434" y="5315"/>
                      </a:lnTo>
                      <a:lnTo>
                        <a:pt x="47308" y="5190"/>
                      </a:lnTo>
                      <a:lnTo>
                        <a:pt x="47120" y="5190"/>
                      </a:lnTo>
                      <a:lnTo>
                        <a:pt x="46995" y="5106"/>
                      </a:lnTo>
                      <a:lnTo>
                        <a:pt x="46890" y="5127"/>
                      </a:lnTo>
                      <a:lnTo>
                        <a:pt x="46827" y="5106"/>
                      </a:lnTo>
                      <a:lnTo>
                        <a:pt x="46430" y="5252"/>
                      </a:lnTo>
                      <a:lnTo>
                        <a:pt x="46409" y="5357"/>
                      </a:lnTo>
                      <a:lnTo>
                        <a:pt x="46367" y="5420"/>
                      </a:lnTo>
                      <a:lnTo>
                        <a:pt x="46430" y="5504"/>
                      </a:lnTo>
                      <a:lnTo>
                        <a:pt x="46409" y="5566"/>
                      </a:lnTo>
                      <a:lnTo>
                        <a:pt x="46492" y="5713"/>
                      </a:lnTo>
                      <a:lnTo>
                        <a:pt x="46472" y="5734"/>
                      </a:lnTo>
                      <a:lnTo>
                        <a:pt x="46367" y="5629"/>
                      </a:lnTo>
                      <a:lnTo>
                        <a:pt x="46283" y="5671"/>
                      </a:lnTo>
                      <a:lnTo>
                        <a:pt x="46179" y="5629"/>
                      </a:lnTo>
                      <a:lnTo>
                        <a:pt x="45739" y="5671"/>
                      </a:lnTo>
                      <a:lnTo>
                        <a:pt x="45530" y="5650"/>
                      </a:lnTo>
                      <a:lnTo>
                        <a:pt x="45384" y="5524"/>
                      </a:lnTo>
                      <a:lnTo>
                        <a:pt x="45258" y="5504"/>
                      </a:lnTo>
                      <a:lnTo>
                        <a:pt x="45132" y="5357"/>
                      </a:lnTo>
                      <a:lnTo>
                        <a:pt x="45049" y="5211"/>
                      </a:lnTo>
                      <a:lnTo>
                        <a:pt x="44944" y="5148"/>
                      </a:lnTo>
                      <a:lnTo>
                        <a:pt x="44944" y="5232"/>
                      </a:lnTo>
                      <a:lnTo>
                        <a:pt x="45028" y="5420"/>
                      </a:lnTo>
                      <a:lnTo>
                        <a:pt x="45049" y="5734"/>
                      </a:lnTo>
                      <a:lnTo>
                        <a:pt x="45216" y="6068"/>
                      </a:lnTo>
                      <a:lnTo>
                        <a:pt x="45342" y="6340"/>
                      </a:lnTo>
                      <a:lnTo>
                        <a:pt x="45446" y="6926"/>
                      </a:lnTo>
                      <a:lnTo>
                        <a:pt x="45425" y="7073"/>
                      </a:lnTo>
                      <a:lnTo>
                        <a:pt x="45342" y="7073"/>
                      </a:lnTo>
                      <a:lnTo>
                        <a:pt x="45258" y="6968"/>
                      </a:lnTo>
                      <a:lnTo>
                        <a:pt x="45237" y="6864"/>
                      </a:lnTo>
                      <a:lnTo>
                        <a:pt x="45132" y="6759"/>
                      </a:lnTo>
                      <a:lnTo>
                        <a:pt x="45070" y="6801"/>
                      </a:lnTo>
                      <a:lnTo>
                        <a:pt x="45132" y="6884"/>
                      </a:lnTo>
                      <a:lnTo>
                        <a:pt x="45112" y="6968"/>
                      </a:lnTo>
                      <a:lnTo>
                        <a:pt x="44923" y="6905"/>
                      </a:lnTo>
                      <a:lnTo>
                        <a:pt x="44756" y="6717"/>
                      </a:lnTo>
                      <a:lnTo>
                        <a:pt x="44505" y="6696"/>
                      </a:lnTo>
                      <a:lnTo>
                        <a:pt x="44379" y="6550"/>
                      </a:lnTo>
                      <a:lnTo>
                        <a:pt x="44275" y="6508"/>
                      </a:lnTo>
                      <a:lnTo>
                        <a:pt x="43898" y="6173"/>
                      </a:lnTo>
                      <a:lnTo>
                        <a:pt x="43877" y="6173"/>
                      </a:lnTo>
                      <a:lnTo>
                        <a:pt x="43793" y="6236"/>
                      </a:lnTo>
                      <a:lnTo>
                        <a:pt x="43689" y="6236"/>
                      </a:lnTo>
                      <a:lnTo>
                        <a:pt x="43647" y="6152"/>
                      </a:lnTo>
                      <a:lnTo>
                        <a:pt x="43877" y="5943"/>
                      </a:lnTo>
                      <a:lnTo>
                        <a:pt x="43982" y="5943"/>
                      </a:lnTo>
                      <a:lnTo>
                        <a:pt x="43898" y="5880"/>
                      </a:lnTo>
                      <a:lnTo>
                        <a:pt x="43772" y="5817"/>
                      </a:lnTo>
                      <a:lnTo>
                        <a:pt x="43647" y="5671"/>
                      </a:lnTo>
                      <a:lnTo>
                        <a:pt x="43626" y="5671"/>
                      </a:lnTo>
                      <a:lnTo>
                        <a:pt x="43647" y="5755"/>
                      </a:lnTo>
                      <a:lnTo>
                        <a:pt x="43751" y="5859"/>
                      </a:lnTo>
                      <a:lnTo>
                        <a:pt x="43751" y="5964"/>
                      </a:lnTo>
                      <a:lnTo>
                        <a:pt x="43626" y="6048"/>
                      </a:lnTo>
                      <a:lnTo>
                        <a:pt x="43417" y="5985"/>
                      </a:lnTo>
                      <a:lnTo>
                        <a:pt x="43207" y="5838"/>
                      </a:lnTo>
                      <a:lnTo>
                        <a:pt x="43145" y="5755"/>
                      </a:lnTo>
                      <a:lnTo>
                        <a:pt x="42935" y="5734"/>
                      </a:lnTo>
                      <a:lnTo>
                        <a:pt x="42894" y="5608"/>
                      </a:lnTo>
                      <a:lnTo>
                        <a:pt x="42789" y="5545"/>
                      </a:lnTo>
                      <a:lnTo>
                        <a:pt x="43040" y="5545"/>
                      </a:lnTo>
                      <a:lnTo>
                        <a:pt x="43270" y="5608"/>
                      </a:lnTo>
                      <a:lnTo>
                        <a:pt x="43375" y="5671"/>
                      </a:lnTo>
                      <a:lnTo>
                        <a:pt x="43521" y="5629"/>
                      </a:lnTo>
                      <a:lnTo>
                        <a:pt x="43626" y="5441"/>
                      </a:lnTo>
                      <a:lnTo>
                        <a:pt x="43626" y="5378"/>
                      </a:lnTo>
                      <a:lnTo>
                        <a:pt x="43542" y="5420"/>
                      </a:lnTo>
                      <a:lnTo>
                        <a:pt x="43521" y="5336"/>
                      </a:lnTo>
                      <a:lnTo>
                        <a:pt x="43417" y="5357"/>
                      </a:lnTo>
                      <a:lnTo>
                        <a:pt x="43459" y="5190"/>
                      </a:lnTo>
                      <a:lnTo>
                        <a:pt x="43333" y="5043"/>
                      </a:lnTo>
                      <a:lnTo>
                        <a:pt x="43249" y="5106"/>
                      </a:lnTo>
                      <a:lnTo>
                        <a:pt x="43228" y="5001"/>
                      </a:lnTo>
                      <a:lnTo>
                        <a:pt x="43145" y="4980"/>
                      </a:lnTo>
                      <a:lnTo>
                        <a:pt x="43061" y="5022"/>
                      </a:lnTo>
                      <a:lnTo>
                        <a:pt x="43019" y="5085"/>
                      </a:lnTo>
                      <a:lnTo>
                        <a:pt x="42831" y="5043"/>
                      </a:lnTo>
                      <a:lnTo>
                        <a:pt x="42810" y="4897"/>
                      </a:lnTo>
                      <a:lnTo>
                        <a:pt x="43019" y="4708"/>
                      </a:lnTo>
                      <a:lnTo>
                        <a:pt x="42998" y="4625"/>
                      </a:lnTo>
                      <a:lnTo>
                        <a:pt x="42894" y="4625"/>
                      </a:lnTo>
                      <a:lnTo>
                        <a:pt x="42726" y="4792"/>
                      </a:lnTo>
                      <a:lnTo>
                        <a:pt x="42705" y="4667"/>
                      </a:lnTo>
                      <a:lnTo>
                        <a:pt x="42768" y="4562"/>
                      </a:lnTo>
                      <a:lnTo>
                        <a:pt x="42726" y="4415"/>
                      </a:lnTo>
                      <a:lnTo>
                        <a:pt x="42663" y="4457"/>
                      </a:lnTo>
                      <a:lnTo>
                        <a:pt x="42622" y="4499"/>
                      </a:lnTo>
                      <a:lnTo>
                        <a:pt x="42601" y="4395"/>
                      </a:lnTo>
                      <a:lnTo>
                        <a:pt x="42496" y="4395"/>
                      </a:lnTo>
                      <a:lnTo>
                        <a:pt x="42454" y="4353"/>
                      </a:lnTo>
                      <a:lnTo>
                        <a:pt x="42391" y="4269"/>
                      </a:lnTo>
                      <a:lnTo>
                        <a:pt x="42433" y="4102"/>
                      </a:lnTo>
                      <a:lnTo>
                        <a:pt x="42391" y="4060"/>
                      </a:lnTo>
                      <a:lnTo>
                        <a:pt x="42308" y="4102"/>
                      </a:lnTo>
                      <a:lnTo>
                        <a:pt x="42224" y="4248"/>
                      </a:lnTo>
                      <a:lnTo>
                        <a:pt x="42203" y="4039"/>
                      </a:lnTo>
                      <a:lnTo>
                        <a:pt x="42099" y="3955"/>
                      </a:lnTo>
                      <a:lnTo>
                        <a:pt x="41994" y="4039"/>
                      </a:lnTo>
                      <a:lnTo>
                        <a:pt x="41910" y="4039"/>
                      </a:lnTo>
                      <a:lnTo>
                        <a:pt x="41868" y="3871"/>
                      </a:lnTo>
                      <a:lnTo>
                        <a:pt x="41764" y="3976"/>
                      </a:lnTo>
                      <a:lnTo>
                        <a:pt x="41701" y="3976"/>
                      </a:lnTo>
                      <a:lnTo>
                        <a:pt x="41680" y="4060"/>
                      </a:lnTo>
                      <a:lnTo>
                        <a:pt x="41659" y="3892"/>
                      </a:lnTo>
                      <a:lnTo>
                        <a:pt x="41659" y="3830"/>
                      </a:lnTo>
                      <a:lnTo>
                        <a:pt x="41492" y="3830"/>
                      </a:lnTo>
                      <a:lnTo>
                        <a:pt x="41408" y="3851"/>
                      </a:lnTo>
                      <a:lnTo>
                        <a:pt x="41366" y="3788"/>
                      </a:lnTo>
                      <a:lnTo>
                        <a:pt x="41199" y="3851"/>
                      </a:lnTo>
                      <a:lnTo>
                        <a:pt x="41094" y="3851"/>
                      </a:lnTo>
                      <a:lnTo>
                        <a:pt x="41073" y="3892"/>
                      </a:lnTo>
                      <a:lnTo>
                        <a:pt x="41136" y="3955"/>
                      </a:lnTo>
                      <a:lnTo>
                        <a:pt x="41178" y="4081"/>
                      </a:lnTo>
                      <a:lnTo>
                        <a:pt x="41115" y="4060"/>
                      </a:lnTo>
                      <a:lnTo>
                        <a:pt x="41052" y="4081"/>
                      </a:lnTo>
                      <a:lnTo>
                        <a:pt x="41052" y="4164"/>
                      </a:lnTo>
                      <a:lnTo>
                        <a:pt x="41031" y="4143"/>
                      </a:lnTo>
                      <a:lnTo>
                        <a:pt x="40885" y="4164"/>
                      </a:lnTo>
                      <a:lnTo>
                        <a:pt x="40843" y="4143"/>
                      </a:lnTo>
                      <a:lnTo>
                        <a:pt x="40885" y="4039"/>
                      </a:lnTo>
                      <a:lnTo>
                        <a:pt x="40969" y="3976"/>
                      </a:lnTo>
                      <a:lnTo>
                        <a:pt x="40927" y="3871"/>
                      </a:lnTo>
                      <a:lnTo>
                        <a:pt x="40822" y="3851"/>
                      </a:lnTo>
                      <a:lnTo>
                        <a:pt x="40822" y="3955"/>
                      </a:lnTo>
                      <a:lnTo>
                        <a:pt x="40738" y="3997"/>
                      </a:lnTo>
                      <a:lnTo>
                        <a:pt x="40655" y="3892"/>
                      </a:lnTo>
                      <a:lnTo>
                        <a:pt x="40550" y="3871"/>
                      </a:lnTo>
                      <a:lnTo>
                        <a:pt x="40446" y="3767"/>
                      </a:lnTo>
                      <a:lnTo>
                        <a:pt x="40425" y="3851"/>
                      </a:lnTo>
                      <a:lnTo>
                        <a:pt x="40341" y="3871"/>
                      </a:lnTo>
                      <a:lnTo>
                        <a:pt x="40194" y="3871"/>
                      </a:lnTo>
                      <a:lnTo>
                        <a:pt x="40132" y="3788"/>
                      </a:lnTo>
                      <a:lnTo>
                        <a:pt x="40111" y="3892"/>
                      </a:lnTo>
                      <a:lnTo>
                        <a:pt x="40027" y="3955"/>
                      </a:lnTo>
                      <a:lnTo>
                        <a:pt x="39902" y="3851"/>
                      </a:lnTo>
                      <a:lnTo>
                        <a:pt x="39818" y="3851"/>
                      </a:lnTo>
                      <a:lnTo>
                        <a:pt x="39860" y="3955"/>
                      </a:lnTo>
                      <a:lnTo>
                        <a:pt x="39881" y="3997"/>
                      </a:lnTo>
                      <a:lnTo>
                        <a:pt x="39755" y="4102"/>
                      </a:lnTo>
                      <a:lnTo>
                        <a:pt x="39692" y="4081"/>
                      </a:lnTo>
                      <a:lnTo>
                        <a:pt x="39671" y="3997"/>
                      </a:lnTo>
                      <a:lnTo>
                        <a:pt x="39609" y="4102"/>
                      </a:lnTo>
                      <a:lnTo>
                        <a:pt x="39630" y="4269"/>
                      </a:lnTo>
                      <a:lnTo>
                        <a:pt x="39713" y="4353"/>
                      </a:lnTo>
                      <a:lnTo>
                        <a:pt x="39734" y="4457"/>
                      </a:lnTo>
                      <a:lnTo>
                        <a:pt x="39797" y="4478"/>
                      </a:lnTo>
                      <a:lnTo>
                        <a:pt x="39818" y="4625"/>
                      </a:lnTo>
                      <a:lnTo>
                        <a:pt x="39964" y="4667"/>
                      </a:lnTo>
                      <a:lnTo>
                        <a:pt x="40006" y="4729"/>
                      </a:lnTo>
                      <a:lnTo>
                        <a:pt x="40006" y="4834"/>
                      </a:lnTo>
                      <a:lnTo>
                        <a:pt x="40111" y="4918"/>
                      </a:lnTo>
                      <a:lnTo>
                        <a:pt x="40132" y="5001"/>
                      </a:lnTo>
                      <a:lnTo>
                        <a:pt x="40069" y="5106"/>
                      </a:lnTo>
                      <a:lnTo>
                        <a:pt x="40006" y="5085"/>
                      </a:lnTo>
                      <a:lnTo>
                        <a:pt x="39985" y="5001"/>
                      </a:lnTo>
                      <a:lnTo>
                        <a:pt x="39818" y="5043"/>
                      </a:lnTo>
                      <a:lnTo>
                        <a:pt x="39713" y="5022"/>
                      </a:lnTo>
                      <a:lnTo>
                        <a:pt x="39609" y="5043"/>
                      </a:lnTo>
                      <a:lnTo>
                        <a:pt x="39671" y="5127"/>
                      </a:lnTo>
                      <a:lnTo>
                        <a:pt x="39588" y="5232"/>
                      </a:lnTo>
                      <a:lnTo>
                        <a:pt x="39462" y="5232"/>
                      </a:lnTo>
                      <a:lnTo>
                        <a:pt x="39378" y="5211"/>
                      </a:lnTo>
                      <a:lnTo>
                        <a:pt x="39127" y="5336"/>
                      </a:lnTo>
                      <a:lnTo>
                        <a:pt x="38751" y="5399"/>
                      </a:lnTo>
                      <a:lnTo>
                        <a:pt x="38625" y="5336"/>
                      </a:lnTo>
                      <a:lnTo>
                        <a:pt x="38437" y="5336"/>
                      </a:lnTo>
                      <a:lnTo>
                        <a:pt x="38416" y="5357"/>
                      </a:lnTo>
                      <a:lnTo>
                        <a:pt x="38311" y="5336"/>
                      </a:lnTo>
                      <a:lnTo>
                        <a:pt x="37788" y="5315"/>
                      </a:lnTo>
                      <a:lnTo>
                        <a:pt x="37621" y="5190"/>
                      </a:lnTo>
                      <a:lnTo>
                        <a:pt x="37579" y="4980"/>
                      </a:lnTo>
                      <a:lnTo>
                        <a:pt x="37663" y="4834"/>
                      </a:lnTo>
                      <a:lnTo>
                        <a:pt x="37705" y="4813"/>
                      </a:lnTo>
                      <a:lnTo>
                        <a:pt x="37705" y="4729"/>
                      </a:lnTo>
                      <a:lnTo>
                        <a:pt x="37558" y="4688"/>
                      </a:lnTo>
                      <a:lnTo>
                        <a:pt x="37370" y="4688"/>
                      </a:lnTo>
                      <a:lnTo>
                        <a:pt x="37035" y="4834"/>
                      </a:lnTo>
                      <a:lnTo>
                        <a:pt x="36554" y="4876"/>
                      </a:lnTo>
                      <a:lnTo>
                        <a:pt x="36156" y="4980"/>
                      </a:lnTo>
                      <a:lnTo>
                        <a:pt x="35926" y="5022"/>
                      </a:lnTo>
                      <a:lnTo>
                        <a:pt x="35884" y="5106"/>
                      </a:lnTo>
                      <a:lnTo>
                        <a:pt x="35801" y="5106"/>
                      </a:lnTo>
                      <a:lnTo>
                        <a:pt x="35738" y="5190"/>
                      </a:lnTo>
                      <a:lnTo>
                        <a:pt x="35612" y="5252"/>
                      </a:lnTo>
                      <a:lnTo>
                        <a:pt x="35466" y="5399"/>
                      </a:lnTo>
                      <a:lnTo>
                        <a:pt x="35529" y="5545"/>
                      </a:lnTo>
                      <a:lnTo>
                        <a:pt x="35612" y="5566"/>
                      </a:lnTo>
                      <a:lnTo>
                        <a:pt x="35717" y="5524"/>
                      </a:lnTo>
                      <a:lnTo>
                        <a:pt x="35780" y="5545"/>
                      </a:lnTo>
                      <a:lnTo>
                        <a:pt x="35717" y="5629"/>
                      </a:lnTo>
                      <a:lnTo>
                        <a:pt x="35654" y="5650"/>
                      </a:lnTo>
                      <a:lnTo>
                        <a:pt x="35549" y="5755"/>
                      </a:lnTo>
                      <a:lnTo>
                        <a:pt x="35549" y="5817"/>
                      </a:lnTo>
                      <a:lnTo>
                        <a:pt x="35508" y="5755"/>
                      </a:lnTo>
                      <a:lnTo>
                        <a:pt x="35487" y="5545"/>
                      </a:lnTo>
                      <a:lnTo>
                        <a:pt x="35319" y="5420"/>
                      </a:lnTo>
                      <a:lnTo>
                        <a:pt x="35298" y="5336"/>
                      </a:lnTo>
                      <a:lnTo>
                        <a:pt x="35319" y="5252"/>
                      </a:lnTo>
                      <a:lnTo>
                        <a:pt x="35194" y="5148"/>
                      </a:lnTo>
                      <a:lnTo>
                        <a:pt x="35110" y="5148"/>
                      </a:lnTo>
                      <a:lnTo>
                        <a:pt x="34880" y="4939"/>
                      </a:lnTo>
                      <a:lnTo>
                        <a:pt x="34817" y="4939"/>
                      </a:lnTo>
                      <a:lnTo>
                        <a:pt x="34817" y="5022"/>
                      </a:lnTo>
                      <a:lnTo>
                        <a:pt x="35005" y="5232"/>
                      </a:lnTo>
                      <a:lnTo>
                        <a:pt x="35026" y="5357"/>
                      </a:lnTo>
                      <a:lnTo>
                        <a:pt x="34922" y="5462"/>
                      </a:lnTo>
                      <a:lnTo>
                        <a:pt x="34733" y="5504"/>
                      </a:lnTo>
                      <a:lnTo>
                        <a:pt x="34650" y="5545"/>
                      </a:lnTo>
                      <a:lnTo>
                        <a:pt x="34482" y="5545"/>
                      </a:lnTo>
                      <a:lnTo>
                        <a:pt x="34168" y="5294"/>
                      </a:lnTo>
                      <a:lnTo>
                        <a:pt x="34168" y="5190"/>
                      </a:lnTo>
                      <a:lnTo>
                        <a:pt x="34231" y="5106"/>
                      </a:lnTo>
                      <a:lnTo>
                        <a:pt x="34210" y="5022"/>
                      </a:lnTo>
                      <a:lnTo>
                        <a:pt x="34043" y="5085"/>
                      </a:lnTo>
                      <a:lnTo>
                        <a:pt x="34043" y="5211"/>
                      </a:lnTo>
                      <a:lnTo>
                        <a:pt x="33959" y="5294"/>
                      </a:lnTo>
                      <a:lnTo>
                        <a:pt x="33750" y="5148"/>
                      </a:lnTo>
                      <a:lnTo>
                        <a:pt x="33604" y="5148"/>
                      </a:lnTo>
                      <a:lnTo>
                        <a:pt x="33499" y="5252"/>
                      </a:lnTo>
                      <a:lnTo>
                        <a:pt x="33520" y="5441"/>
                      </a:lnTo>
                      <a:lnTo>
                        <a:pt x="33436" y="5566"/>
                      </a:lnTo>
                      <a:lnTo>
                        <a:pt x="33520" y="5734"/>
                      </a:lnTo>
                      <a:lnTo>
                        <a:pt x="33645" y="5776"/>
                      </a:lnTo>
                      <a:lnTo>
                        <a:pt x="33813" y="5650"/>
                      </a:lnTo>
                      <a:lnTo>
                        <a:pt x="33834" y="5566"/>
                      </a:lnTo>
                      <a:lnTo>
                        <a:pt x="34043" y="5441"/>
                      </a:lnTo>
                      <a:lnTo>
                        <a:pt x="34106" y="5524"/>
                      </a:lnTo>
                      <a:lnTo>
                        <a:pt x="34064" y="5650"/>
                      </a:lnTo>
                      <a:lnTo>
                        <a:pt x="33855" y="5817"/>
                      </a:lnTo>
                      <a:lnTo>
                        <a:pt x="33938" y="5880"/>
                      </a:lnTo>
                      <a:lnTo>
                        <a:pt x="33855" y="6027"/>
                      </a:lnTo>
                      <a:lnTo>
                        <a:pt x="33729" y="6068"/>
                      </a:lnTo>
                      <a:lnTo>
                        <a:pt x="33604" y="5985"/>
                      </a:lnTo>
                      <a:lnTo>
                        <a:pt x="33604" y="6048"/>
                      </a:lnTo>
                      <a:lnTo>
                        <a:pt x="33645" y="6173"/>
                      </a:lnTo>
                      <a:lnTo>
                        <a:pt x="33583" y="6299"/>
                      </a:lnTo>
                      <a:lnTo>
                        <a:pt x="33394" y="6445"/>
                      </a:lnTo>
                      <a:lnTo>
                        <a:pt x="33436" y="6550"/>
                      </a:lnTo>
                      <a:lnTo>
                        <a:pt x="33394" y="6592"/>
                      </a:lnTo>
                      <a:lnTo>
                        <a:pt x="33311" y="6592"/>
                      </a:lnTo>
                      <a:lnTo>
                        <a:pt x="33164" y="6759"/>
                      </a:lnTo>
                      <a:lnTo>
                        <a:pt x="32955" y="6780"/>
                      </a:lnTo>
                      <a:lnTo>
                        <a:pt x="32746" y="6801"/>
                      </a:lnTo>
                      <a:lnTo>
                        <a:pt x="32683" y="6926"/>
                      </a:lnTo>
                      <a:lnTo>
                        <a:pt x="32746" y="7094"/>
                      </a:lnTo>
                      <a:lnTo>
                        <a:pt x="32913" y="7303"/>
                      </a:lnTo>
                      <a:lnTo>
                        <a:pt x="32997" y="7324"/>
                      </a:lnTo>
                      <a:lnTo>
                        <a:pt x="32913" y="7345"/>
                      </a:lnTo>
                      <a:lnTo>
                        <a:pt x="32767" y="7345"/>
                      </a:lnTo>
                      <a:lnTo>
                        <a:pt x="32746" y="7429"/>
                      </a:lnTo>
                      <a:lnTo>
                        <a:pt x="32767" y="7491"/>
                      </a:lnTo>
                      <a:lnTo>
                        <a:pt x="32704" y="7596"/>
                      </a:lnTo>
                      <a:lnTo>
                        <a:pt x="32599" y="7701"/>
                      </a:lnTo>
                      <a:lnTo>
                        <a:pt x="32495" y="7701"/>
                      </a:lnTo>
                      <a:lnTo>
                        <a:pt x="32474" y="7763"/>
                      </a:lnTo>
                      <a:lnTo>
                        <a:pt x="32495" y="7659"/>
                      </a:lnTo>
                      <a:lnTo>
                        <a:pt x="32599" y="7596"/>
                      </a:lnTo>
                      <a:lnTo>
                        <a:pt x="32683" y="7282"/>
                      </a:lnTo>
                      <a:lnTo>
                        <a:pt x="32599" y="7219"/>
                      </a:lnTo>
                      <a:lnTo>
                        <a:pt x="32599" y="7115"/>
                      </a:lnTo>
                      <a:lnTo>
                        <a:pt x="32662" y="7073"/>
                      </a:lnTo>
                      <a:lnTo>
                        <a:pt x="32662" y="6926"/>
                      </a:lnTo>
                      <a:lnTo>
                        <a:pt x="32599" y="6780"/>
                      </a:lnTo>
                      <a:lnTo>
                        <a:pt x="32662" y="6612"/>
                      </a:lnTo>
                      <a:lnTo>
                        <a:pt x="32767" y="6550"/>
                      </a:lnTo>
                      <a:lnTo>
                        <a:pt x="32808" y="6445"/>
                      </a:lnTo>
                      <a:lnTo>
                        <a:pt x="32767" y="6194"/>
                      </a:lnTo>
                      <a:lnTo>
                        <a:pt x="32746" y="6152"/>
                      </a:lnTo>
                      <a:lnTo>
                        <a:pt x="32788" y="6068"/>
                      </a:lnTo>
                      <a:lnTo>
                        <a:pt x="32871" y="6068"/>
                      </a:lnTo>
                      <a:lnTo>
                        <a:pt x="32913" y="6089"/>
                      </a:lnTo>
                      <a:lnTo>
                        <a:pt x="33080" y="6048"/>
                      </a:lnTo>
                      <a:lnTo>
                        <a:pt x="33185" y="5776"/>
                      </a:lnTo>
                      <a:lnTo>
                        <a:pt x="33164" y="5671"/>
                      </a:lnTo>
                      <a:lnTo>
                        <a:pt x="33101" y="5545"/>
                      </a:lnTo>
                      <a:lnTo>
                        <a:pt x="33185" y="5252"/>
                      </a:lnTo>
                      <a:lnTo>
                        <a:pt x="33269" y="5127"/>
                      </a:lnTo>
                      <a:lnTo>
                        <a:pt x="33373" y="4939"/>
                      </a:lnTo>
                      <a:lnTo>
                        <a:pt x="33311" y="4792"/>
                      </a:lnTo>
                      <a:lnTo>
                        <a:pt x="33290" y="4792"/>
                      </a:lnTo>
                      <a:lnTo>
                        <a:pt x="33206" y="4876"/>
                      </a:lnTo>
                      <a:lnTo>
                        <a:pt x="33122" y="4876"/>
                      </a:lnTo>
                      <a:lnTo>
                        <a:pt x="32997" y="4813"/>
                      </a:lnTo>
                      <a:lnTo>
                        <a:pt x="33122" y="4813"/>
                      </a:lnTo>
                      <a:lnTo>
                        <a:pt x="33269" y="4708"/>
                      </a:lnTo>
                      <a:lnTo>
                        <a:pt x="33373" y="4667"/>
                      </a:lnTo>
                      <a:lnTo>
                        <a:pt x="33415" y="4562"/>
                      </a:lnTo>
                      <a:lnTo>
                        <a:pt x="33394" y="4499"/>
                      </a:lnTo>
                      <a:lnTo>
                        <a:pt x="33436" y="4415"/>
                      </a:lnTo>
                      <a:lnTo>
                        <a:pt x="33520" y="4248"/>
                      </a:lnTo>
                      <a:lnTo>
                        <a:pt x="33499" y="4185"/>
                      </a:lnTo>
                      <a:lnTo>
                        <a:pt x="33541" y="4081"/>
                      </a:lnTo>
                      <a:lnTo>
                        <a:pt x="33708" y="3997"/>
                      </a:lnTo>
                      <a:lnTo>
                        <a:pt x="33708" y="3892"/>
                      </a:lnTo>
                      <a:lnTo>
                        <a:pt x="33624" y="3830"/>
                      </a:lnTo>
                      <a:lnTo>
                        <a:pt x="33624" y="3767"/>
                      </a:lnTo>
                      <a:lnTo>
                        <a:pt x="33708" y="3641"/>
                      </a:lnTo>
                      <a:lnTo>
                        <a:pt x="33687" y="3537"/>
                      </a:lnTo>
                      <a:lnTo>
                        <a:pt x="33729" y="3432"/>
                      </a:lnTo>
                      <a:lnTo>
                        <a:pt x="33792" y="3411"/>
                      </a:lnTo>
                      <a:lnTo>
                        <a:pt x="33855" y="3223"/>
                      </a:lnTo>
                      <a:lnTo>
                        <a:pt x="33855" y="3014"/>
                      </a:lnTo>
                      <a:lnTo>
                        <a:pt x="33813" y="2804"/>
                      </a:lnTo>
                      <a:lnTo>
                        <a:pt x="33708" y="2616"/>
                      </a:lnTo>
                      <a:lnTo>
                        <a:pt x="33729" y="2574"/>
                      </a:lnTo>
                      <a:lnTo>
                        <a:pt x="33708" y="2491"/>
                      </a:lnTo>
                      <a:lnTo>
                        <a:pt x="33645" y="2470"/>
                      </a:lnTo>
                      <a:lnTo>
                        <a:pt x="33604" y="2491"/>
                      </a:lnTo>
                      <a:lnTo>
                        <a:pt x="33520" y="2428"/>
                      </a:lnTo>
                      <a:lnTo>
                        <a:pt x="33478" y="2365"/>
                      </a:lnTo>
                      <a:lnTo>
                        <a:pt x="33436" y="2365"/>
                      </a:lnTo>
                      <a:lnTo>
                        <a:pt x="33394" y="2491"/>
                      </a:lnTo>
                      <a:lnTo>
                        <a:pt x="33332" y="2532"/>
                      </a:lnTo>
                      <a:lnTo>
                        <a:pt x="33290" y="2491"/>
                      </a:lnTo>
                      <a:lnTo>
                        <a:pt x="33206" y="2365"/>
                      </a:lnTo>
                      <a:lnTo>
                        <a:pt x="33227" y="2323"/>
                      </a:lnTo>
                      <a:lnTo>
                        <a:pt x="33185" y="2302"/>
                      </a:lnTo>
                      <a:lnTo>
                        <a:pt x="33018" y="2281"/>
                      </a:lnTo>
                      <a:lnTo>
                        <a:pt x="32955" y="2177"/>
                      </a:lnTo>
                      <a:lnTo>
                        <a:pt x="32976" y="2156"/>
                      </a:lnTo>
                      <a:lnTo>
                        <a:pt x="33122" y="2156"/>
                      </a:lnTo>
                      <a:lnTo>
                        <a:pt x="33332" y="2219"/>
                      </a:lnTo>
                      <a:lnTo>
                        <a:pt x="33415" y="2302"/>
                      </a:lnTo>
                      <a:lnTo>
                        <a:pt x="33478" y="2260"/>
                      </a:lnTo>
                      <a:lnTo>
                        <a:pt x="33520" y="2260"/>
                      </a:lnTo>
                      <a:lnTo>
                        <a:pt x="33583" y="2323"/>
                      </a:lnTo>
                      <a:lnTo>
                        <a:pt x="33604" y="2386"/>
                      </a:lnTo>
                      <a:lnTo>
                        <a:pt x="33645" y="2386"/>
                      </a:lnTo>
                      <a:lnTo>
                        <a:pt x="33645" y="2302"/>
                      </a:lnTo>
                      <a:lnTo>
                        <a:pt x="33541" y="2177"/>
                      </a:lnTo>
                      <a:lnTo>
                        <a:pt x="33541" y="2072"/>
                      </a:lnTo>
                      <a:lnTo>
                        <a:pt x="33478" y="1967"/>
                      </a:lnTo>
                      <a:lnTo>
                        <a:pt x="33394" y="1905"/>
                      </a:lnTo>
                      <a:lnTo>
                        <a:pt x="33332" y="1905"/>
                      </a:lnTo>
                      <a:lnTo>
                        <a:pt x="33290" y="1967"/>
                      </a:lnTo>
                      <a:lnTo>
                        <a:pt x="33206" y="1947"/>
                      </a:lnTo>
                      <a:lnTo>
                        <a:pt x="33185" y="1800"/>
                      </a:lnTo>
                      <a:lnTo>
                        <a:pt x="33018" y="1654"/>
                      </a:lnTo>
                      <a:lnTo>
                        <a:pt x="33018" y="1549"/>
                      </a:lnTo>
                      <a:lnTo>
                        <a:pt x="32955" y="1465"/>
                      </a:lnTo>
                      <a:lnTo>
                        <a:pt x="32892" y="1382"/>
                      </a:lnTo>
                      <a:lnTo>
                        <a:pt x="32808" y="1382"/>
                      </a:lnTo>
                      <a:lnTo>
                        <a:pt x="32704" y="1444"/>
                      </a:lnTo>
                      <a:lnTo>
                        <a:pt x="32704" y="1549"/>
                      </a:lnTo>
                      <a:lnTo>
                        <a:pt x="32808" y="1549"/>
                      </a:lnTo>
                      <a:lnTo>
                        <a:pt x="32892" y="1591"/>
                      </a:lnTo>
                      <a:lnTo>
                        <a:pt x="32871" y="1654"/>
                      </a:lnTo>
                      <a:lnTo>
                        <a:pt x="32788" y="1695"/>
                      </a:lnTo>
                      <a:lnTo>
                        <a:pt x="32788" y="1779"/>
                      </a:lnTo>
                      <a:lnTo>
                        <a:pt x="32746" y="1800"/>
                      </a:lnTo>
                      <a:lnTo>
                        <a:pt x="32536" y="1570"/>
                      </a:lnTo>
                      <a:lnTo>
                        <a:pt x="32536" y="1486"/>
                      </a:lnTo>
                      <a:lnTo>
                        <a:pt x="32474" y="1361"/>
                      </a:lnTo>
                      <a:lnTo>
                        <a:pt x="32369" y="1340"/>
                      </a:lnTo>
                      <a:lnTo>
                        <a:pt x="31930" y="1068"/>
                      </a:lnTo>
                      <a:lnTo>
                        <a:pt x="31825" y="1026"/>
                      </a:lnTo>
                      <a:lnTo>
                        <a:pt x="31804" y="1005"/>
                      </a:lnTo>
                      <a:lnTo>
                        <a:pt x="31532" y="1026"/>
                      </a:lnTo>
                      <a:lnTo>
                        <a:pt x="31511" y="921"/>
                      </a:lnTo>
                      <a:lnTo>
                        <a:pt x="31553" y="858"/>
                      </a:lnTo>
                      <a:lnTo>
                        <a:pt x="31532" y="796"/>
                      </a:lnTo>
                      <a:lnTo>
                        <a:pt x="31407" y="817"/>
                      </a:lnTo>
                      <a:lnTo>
                        <a:pt x="31344" y="754"/>
                      </a:lnTo>
                      <a:lnTo>
                        <a:pt x="31218" y="796"/>
                      </a:lnTo>
                      <a:lnTo>
                        <a:pt x="31135" y="858"/>
                      </a:lnTo>
                      <a:lnTo>
                        <a:pt x="31093" y="838"/>
                      </a:lnTo>
                      <a:lnTo>
                        <a:pt x="30988" y="942"/>
                      </a:lnTo>
                      <a:lnTo>
                        <a:pt x="30925" y="1047"/>
                      </a:lnTo>
                      <a:lnTo>
                        <a:pt x="30779" y="1047"/>
                      </a:lnTo>
                      <a:lnTo>
                        <a:pt x="30695" y="1026"/>
                      </a:lnTo>
                      <a:lnTo>
                        <a:pt x="30570" y="1172"/>
                      </a:lnTo>
                      <a:lnTo>
                        <a:pt x="30381" y="1235"/>
                      </a:lnTo>
                      <a:lnTo>
                        <a:pt x="30298" y="1256"/>
                      </a:lnTo>
                      <a:lnTo>
                        <a:pt x="30256" y="1214"/>
                      </a:lnTo>
                      <a:lnTo>
                        <a:pt x="30172" y="1214"/>
                      </a:lnTo>
                      <a:lnTo>
                        <a:pt x="30130" y="1256"/>
                      </a:lnTo>
                      <a:lnTo>
                        <a:pt x="30130" y="1361"/>
                      </a:lnTo>
                      <a:lnTo>
                        <a:pt x="30193" y="1382"/>
                      </a:lnTo>
                      <a:lnTo>
                        <a:pt x="30256" y="1382"/>
                      </a:lnTo>
                      <a:lnTo>
                        <a:pt x="30298" y="1549"/>
                      </a:lnTo>
                      <a:lnTo>
                        <a:pt x="30339" y="1758"/>
                      </a:lnTo>
                      <a:lnTo>
                        <a:pt x="30256" y="1905"/>
                      </a:lnTo>
                      <a:lnTo>
                        <a:pt x="30067" y="1905"/>
                      </a:lnTo>
                      <a:lnTo>
                        <a:pt x="29942" y="2051"/>
                      </a:lnTo>
                      <a:lnTo>
                        <a:pt x="29733" y="2093"/>
                      </a:lnTo>
                      <a:lnTo>
                        <a:pt x="29649" y="2072"/>
                      </a:lnTo>
                      <a:lnTo>
                        <a:pt x="29754" y="1988"/>
                      </a:lnTo>
                      <a:lnTo>
                        <a:pt x="29837" y="1967"/>
                      </a:lnTo>
                      <a:lnTo>
                        <a:pt x="29858" y="1842"/>
                      </a:lnTo>
                      <a:lnTo>
                        <a:pt x="29733" y="1591"/>
                      </a:lnTo>
                      <a:lnTo>
                        <a:pt x="29816" y="1444"/>
                      </a:lnTo>
                      <a:lnTo>
                        <a:pt x="29816" y="1340"/>
                      </a:lnTo>
                      <a:lnTo>
                        <a:pt x="29858" y="1256"/>
                      </a:lnTo>
                      <a:lnTo>
                        <a:pt x="29775" y="1068"/>
                      </a:lnTo>
                      <a:lnTo>
                        <a:pt x="29775" y="963"/>
                      </a:lnTo>
                      <a:lnTo>
                        <a:pt x="29628" y="817"/>
                      </a:lnTo>
                      <a:lnTo>
                        <a:pt x="29523" y="858"/>
                      </a:lnTo>
                      <a:lnTo>
                        <a:pt x="29440" y="817"/>
                      </a:lnTo>
                      <a:lnTo>
                        <a:pt x="29398" y="817"/>
                      </a:lnTo>
                      <a:lnTo>
                        <a:pt x="29356" y="942"/>
                      </a:lnTo>
                      <a:lnTo>
                        <a:pt x="29210" y="963"/>
                      </a:lnTo>
                      <a:lnTo>
                        <a:pt x="29147" y="921"/>
                      </a:lnTo>
                      <a:lnTo>
                        <a:pt x="29042" y="963"/>
                      </a:lnTo>
                      <a:lnTo>
                        <a:pt x="28938" y="1130"/>
                      </a:lnTo>
                      <a:lnTo>
                        <a:pt x="28707" y="1130"/>
                      </a:lnTo>
                      <a:lnTo>
                        <a:pt x="28707" y="1047"/>
                      </a:lnTo>
                      <a:lnTo>
                        <a:pt x="28791" y="921"/>
                      </a:lnTo>
                      <a:lnTo>
                        <a:pt x="28791" y="838"/>
                      </a:lnTo>
                      <a:lnTo>
                        <a:pt x="28707" y="817"/>
                      </a:lnTo>
                      <a:lnTo>
                        <a:pt x="28519" y="1110"/>
                      </a:lnTo>
                      <a:lnTo>
                        <a:pt x="28268" y="1214"/>
                      </a:lnTo>
                      <a:lnTo>
                        <a:pt x="28163" y="1172"/>
                      </a:lnTo>
                      <a:lnTo>
                        <a:pt x="28268" y="1026"/>
                      </a:lnTo>
                      <a:lnTo>
                        <a:pt x="28394" y="1005"/>
                      </a:lnTo>
                      <a:lnTo>
                        <a:pt x="28519" y="817"/>
                      </a:lnTo>
                      <a:lnTo>
                        <a:pt x="28498" y="691"/>
                      </a:lnTo>
                      <a:lnTo>
                        <a:pt x="28561" y="586"/>
                      </a:lnTo>
                      <a:lnTo>
                        <a:pt x="28561" y="524"/>
                      </a:lnTo>
                      <a:lnTo>
                        <a:pt x="28645" y="440"/>
                      </a:lnTo>
                      <a:lnTo>
                        <a:pt x="28645" y="398"/>
                      </a:lnTo>
                      <a:lnTo>
                        <a:pt x="28477" y="335"/>
                      </a:lnTo>
                      <a:lnTo>
                        <a:pt x="28414" y="294"/>
                      </a:lnTo>
                      <a:lnTo>
                        <a:pt x="28414" y="126"/>
                      </a:lnTo>
                      <a:lnTo>
                        <a:pt x="28373" y="105"/>
                      </a:lnTo>
                      <a:lnTo>
                        <a:pt x="28205" y="231"/>
                      </a:lnTo>
                      <a:lnTo>
                        <a:pt x="28059" y="210"/>
                      </a:lnTo>
                      <a:lnTo>
                        <a:pt x="27996" y="63"/>
                      </a:lnTo>
                      <a:lnTo>
                        <a:pt x="27891" y="63"/>
                      </a:lnTo>
                      <a:lnTo>
                        <a:pt x="27787" y="168"/>
                      </a:lnTo>
                      <a:lnTo>
                        <a:pt x="2766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359" name="Google Shape;5826;p93">
                  <a:extLst>
                    <a:ext uri="{FF2B5EF4-FFF2-40B4-BE49-F238E27FC236}">
                      <a16:creationId xmlns:a16="http://schemas.microsoft.com/office/drawing/2014/main" id="{E2A83F3F-8022-42A6-AB96-E1CC50CB5E05}"/>
                    </a:ext>
                  </a:extLst>
                </p:cNvPr>
                <p:cNvSpPr/>
                <p:nvPr/>
              </p:nvSpPr>
              <p:spPr>
                <a:xfrm>
                  <a:off x="5538025" y="2213300"/>
                  <a:ext cx="94175" cy="208750"/>
                </a:xfrm>
                <a:custGeom>
                  <a:avLst/>
                  <a:gdLst/>
                  <a:ahLst/>
                  <a:cxnLst/>
                  <a:rect l="l" t="t" r="r" b="b"/>
                  <a:pathLst>
                    <a:path w="3767" h="8350" extrusionOk="0">
                      <a:moveTo>
                        <a:pt x="251" y="1"/>
                      </a:moveTo>
                      <a:lnTo>
                        <a:pt x="209" y="63"/>
                      </a:lnTo>
                      <a:lnTo>
                        <a:pt x="251" y="105"/>
                      </a:lnTo>
                      <a:lnTo>
                        <a:pt x="251" y="189"/>
                      </a:lnTo>
                      <a:lnTo>
                        <a:pt x="188" y="210"/>
                      </a:lnTo>
                      <a:lnTo>
                        <a:pt x="105" y="168"/>
                      </a:lnTo>
                      <a:lnTo>
                        <a:pt x="0" y="168"/>
                      </a:lnTo>
                      <a:lnTo>
                        <a:pt x="168" y="314"/>
                      </a:lnTo>
                      <a:lnTo>
                        <a:pt x="356" y="461"/>
                      </a:lnTo>
                      <a:lnTo>
                        <a:pt x="419" y="524"/>
                      </a:lnTo>
                      <a:lnTo>
                        <a:pt x="398" y="670"/>
                      </a:lnTo>
                      <a:lnTo>
                        <a:pt x="460" y="607"/>
                      </a:lnTo>
                      <a:lnTo>
                        <a:pt x="502" y="607"/>
                      </a:lnTo>
                      <a:lnTo>
                        <a:pt x="565" y="691"/>
                      </a:lnTo>
                      <a:lnTo>
                        <a:pt x="502" y="733"/>
                      </a:lnTo>
                      <a:lnTo>
                        <a:pt x="419" y="775"/>
                      </a:lnTo>
                      <a:lnTo>
                        <a:pt x="460" y="838"/>
                      </a:lnTo>
                      <a:lnTo>
                        <a:pt x="523" y="838"/>
                      </a:lnTo>
                      <a:lnTo>
                        <a:pt x="565" y="984"/>
                      </a:lnTo>
                      <a:lnTo>
                        <a:pt x="481" y="1026"/>
                      </a:lnTo>
                      <a:lnTo>
                        <a:pt x="377" y="1005"/>
                      </a:lnTo>
                      <a:lnTo>
                        <a:pt x="314" y="900"/>
                      </a:lnTo>
                      <a:lnTo>
                        <a:pt x="251" y="984"/>
                      </a:lnTo>
                      <a:lnTo>
                        <a:pt x="168" y="1130"/>
                      </a:lnTo>
                      <a:lnTo>
                        <a:pt x="272" y="1235"/>
                      </a:lnTo>
                      <a:lnTo>
                        <a:pt x="314" y="1382"/>
                      </a:lnTo>
                      <a:lnTo>
                        <a:pt x="419" y="1528"/>
                      </a:lnTo>
                      <a:lnTo>
                        <a:pt x="523" y="1716"/>
                      </a:lnTo>
                      <a:lnTo>
                        <a:pt x="523" y="1946"/>
                      </a:lnTo>
                      <a:lnTo>
                        <a:pt x="586" y="1988"/>
                      </a:lnTo>
                      <a:lnTo>
                        <a:pt x="607" y="2177"/>
                      </a:lnTo>
                      <a:lnTo>
                        <a:pt x="691" y="2470"/>
                      </a:lnTo>
                      <a:lnTo>
                        <a:pt x="774" y="2658"/>
                      </a:lnTo>
                      <a:lnTo>
                        <a:pt x="900" y="2700"/>
                      </a:lnTo>
                      <a:lnTo>
                        <a:pt x="900" y="2762"/>
                      </a:lnTo>
                      <a:lnTo>
                        <a:pt x="837" y="2804"/>
                      </a:lnTo>
                      <a:lnTo>
                        <a:pt x="1130" y="3097"/>
                      </a:lnTo>
                      <a:lnTo>
                        <a:pt x="1235" y="3118"/>
                      </a:lnTo>
                      <a:lnTo>
                        <a:pt x="1360" y="3307"/>
                      </a:lnTo>
                      <a:lnTo>
                        <a:pt x="1402" y="3516"/>
                      </a:lnTo>
                      <a:lnTo>
                        <a:pt x="1402" y="3641"/>
                      </a:lnTo>
                      <a:lnTo>
                        <a:pt x="1465" y="3809"/>
                      </a:lnTo>
                      <a:lnTo>
                        <a:pt x="1465" y="3934"/>
                      </a:lnTo>
                      <a:lnTo>
                        <a:pt x="1569" y="3976"/>
                      </a:lnTo>
                      <a:lnTo>
                        <a:pt x="1674" y="4123"/>
                      </a:lnTo>
                      <a:lnTo>
                        <a:pt x="1653" y="4143"/>
                      </a:lnTo>
                      <a:lnTo>
                        <a:pt x="1653" y="4227"/>
                      </a:lnTo>
                      <a:lnTo>
                        <a:pt x="1779" y="4436"/>
                      </a:lnTo>
                      <a:lnTo>
                        <a:pt x="1821" y="4562"/>
                      </a:lnTo>
                      <a:lnTo>
                        <a:pt x="1883" y="4708"/>
                      </a:lnTo>
                      <a:lnTo>
                        <a:pt x="1883" y="4918"/>
                      </a:lnTo>
                      <a:lnTo>
                        <a:pt x="1946" y="5001"/>
                      </a:lnTo>
                      <a:lnTo>
                        <a:pt x="1925" y="5106"/>
                      </a:lnTo>
                      <a:lnTo>
                        <a:pt x="1946" y="5315"/>
                      </a:lnTo>
                      <a:lnTo>
                        <a:pt x="2051" y="5524"/>
                      </a:lnTo>
                      <a:lnTo>
                        <a:pt x="2030" y="5608"/>
                      </a:lnTo>
                      <a:lnTo>
                        <a:pt x="2030" y="5755"/>
                      </a:lnTo>
                      <a:lnTo>
                        <a:pt x="2155" y="5859"/>
                      </a:lnTo>
                      <a:lnTo>
                        <a:pt x="2365" y="6131"/>
                      </a:lnTo>
                      <a:lnTo>
                        <a:pt x="2365" y="6257"/>
                      </a:lnTo>
                      <a:lnTo>
                        <a:pt x="2448" y="6424"/>
                      </a:lnTo>
                      <a:lnTo>
                        <a:pt x="2406" y="6654"/>
                      </a:lnTo>
                      <a:lnTo>
                        <a:pt x="2448" y="6843"/>
                      </a:lnTo>
                      <a:lnTo>
                        <a:pt x="2553" y="7010"/>
                      </a:lnTo>
                      <a:lnTo>
                        <a:pt x="2574" y="7156"/>
                      </a:lnTo>
                      <a:lnTo>
                        <a:pt x="2720" y="7324"/>
                      </a:lnTo>
                      <a:lnTo>
                        <a:pt x="2762" y="7408"/>
                      </a:lnTo>
                      <a:lnTo>
                        <a:pt x="2699" y="7596"/>
                      </a:lnTo>
                      <a:lnTo>
                        <a:pt x="2699" y="7847"/>
                      </a:lnTo>
                      <a:lnTo>
                        <a:pt x="2762" y="7993"/>
                      </a:lnTo>
                      <a:lnTo>
                        <a:pt x="2867" y="8098"/>
                      </a:lnTo>
                      <a:lnTo>
                        <a:pt x="2929" y="8244"/>
                      </a:lnTo>
                      <a:lnTo>
                        <a:pt x="3097" y="8349"/>
                      </a:lnTo>
                      <a:lnTo>
                        <a:pt x="3097" y="8349"/>
                      </a:lnTo>
                      <a:lnTo>
                        <a:pt x="3076" y="8224"/>
                      </a:lnTo>
                      <a:lnTo>
                        <a:pt x="3097" y="8098"/>
                      </a:lnTo>
                      <a:lnTo>
                        <a:pt x="3034" y="7993"/>
                      </a:lnTo>
                      <a:lnTo>
                        <a:pt x="3013" y="7847"/>
                      </a:lnTo>
                      <a:lnTo>
                        <a:pt x="3034" y="7680"/>
                      </a:lnTo>
                      <a:lnTo>
                        <a:pt x="3139" y="7575"/>
                      </a:lnTo>
                      <a:lnTo>
                        <a:pt x="3201" y="7596"/>
                      </a:lnTo>
                      <a:lnTo>
                        <a:pt x="3201" y="7680"/>
                      </a:lnTo>
                      <a:lnTo>
                        <a:pt x="3243" y="7721"/>
                      </a:lnTo>
                      <a:lnTo>
                        <a:pt x="3494" y="7700"/>
                      </a:lnTo>
                      <a:lnTo>
                        <a:pt x="3515" y="7638"/>
                      </a:lnTo>
                      <a:lnTo>
                        <a:pt x="3557" y="7638"/>
                      </a:lnTo>
                      <a:lnTo>
                        <a:pt x="3599" y="7700"/>
                      </a:lnTo>
                      <a:lnTo>
                        <a:pt x="3557" y="7721"/>
                      </a:lnTo>
                      <a:lnTo>
                        <a:pt x="3557" y="7826"/>
                      </a:lnTo>
                      <a:lnTo>
                        <a:pt x="3704" y="7952"/>
                      </a:lnTo>
                      <a:lnTo>
                        <a:pt x="3725" y="8056"/>
                      </a:lnTo>
                      <a:lnTo>
                        <a:pt x="3766" y="8119"/>
                      </a:lnTo>
                      <a:lnTo>
                        <a:pt x="3766" y="8035"/>
                      </a:lnTo>
                      <a:lnTo>
                        <a:pt x="3745" y="7993"/>
                      </a:lnTo>
                      <a:lnTo>
                        <a:pt x="3766" y="7847"/>
                      </a:lnTo>
                      <a:lnTo>
                        <a:pt x="3766" y="7721"/>
                      </a:lnTo>
                      <a:lnTo>
                        <a:pt x="3662" y="7638"/>
                      </a:lnTo>
                      <a:lnTo>
                        <a:pt x="3641" y="7491"/>
                      </a:lnTo>
                      <a:lnTo>
                        <a:pt x="3599" y="7387"/>
                      </a:lnTo>
                      <a:lnTo>
                        <a:pt x="3515" y="7428"/>
                      </a:lnTo>
                      <a:lnTo>
                        <a:pt x="3432" y="7428"/>
                      </a:lnTo>
                      <a:lnTo>
                        <a:pt x="3285" y="7324"/>
                      </a:lnTo>
                      <a:lnTo>
                        <a:pt x="3243" y="7156"/>
                      </a:lnTo>
                      <a:lnTo>
                        <a:pt x="3181" y="7010"/>
                      </a:lnTo>
                      <a:lnTo>
                        <a:pt x="3034" y="6905"/>
                      </a:lnTo>
                      <a:lnTo>
                        <a:pt x="2929" y="6884"/>
                      </a:lnTo>
                      <a:lnTo>
                        <a:pt x="2867" y="6780"/>
                      </a:lnTo>
                      <a:lnTo>
                        <a:pt x="2804" y="6571"/>
                      </a:lnTo>
                      <a:lnTo>
                        <a:pt x="2720" y="6424"/>
                      </a:lnTo>
                      <a:lnTo>
                        <a:pt x="2678" y="6278"/>
                      </a:lnTo>
                      <a:lnTo>
                        <a:pt x="2678" y="6089"/>
                      </a:lnTo>
                      <a:lnTo>
                        <a:pt x="2657" y="5859"/>
                      </a:lnTo>
                      <a:lnTo>
                        <a:pt x="2595" y="5755"/>
                      </a:lnTo>
                      <a:lnTo>
                        <a:pt x="2616" y="5545"/>
                      </a:lnTo>
                      <a:lnTo>
                        <a:pt x="2595" y="5441"/>
                      </a:lnTo>
                      <a:lnTo>
                        <a:pt x="2511" y="5294"/>
                      </a:lnTo>
                      <a:lnTo>
                        <a:pt x="2574" y="5211"/>
                      </a:lnTo>
                      <a:lnTo>
                        <a:pt x="2595" y="5127"/>
                      </a:lnTo>
                      <a:lnTo>
                        <a:pt x="2595" y="5085"/>
                      </a:lnTo>
                      <a:lnTo>
                        <a:pt x="2657" y="5043"/>
                      </a:lnTo>
                      <a:lnTo>
                        <a:pt x="2720" y="5085"/>
                      </a:lnTo>
                      <a:lnTo>
                        <a:pt x="2867" y="5043"/>
                      </a:lnTo>
                      <a:lnTo>
                        <a:pt x="2992" y="5043"/>
                      </a:lnTo>
                      <a:lnTo>
                        <a:pt x="3118" y="5127"/>
                      </a:lnTo>
                      <a:lnTo>
                        <a:pt x="3201" y="5315"/>
                      </a:lnTo>
                      <a:lnTo>
                        <a:pt x="3306" y="5336"/>
                      </a:lnTo>
                      <a:lnTo>
                        <a:pt x="3411" y="5420"/>
                      </a:lnTo>
                      <a:lnTo>
                        <a:pt x="3515" y="5566"/>
                      </a:lnTo>
                      <a:lnTo>
                        <a:pt x="3599" y="5608"/>
                      </a:lnTo>
                      <a:lnTo>
                        <a:pt x="3536" y="5483"/>
                      </a:lnTo>
                      <a:lnTo>
                        <a:pt x="3411" y="5315"/>
                      </a:lnTo>
                      <a:lnTo>
                        <a:pt x="3243" y="5211"/>
                      </a:lnTo>
                      <a:lnTo>
                        <a:pt x="3139" y="5022"/>
                      </a:lnTo>
                      <a:lnTo>
                        <a:pt x="3034" y="4897"/>
                      </a:lnTo>
                      <a:lnTo>
                        <a:pt x="3034" y="4813"/>
                      </a:lnTo>
                      <a:lnTo>
                        <a:pt x="2992" y="4771"/>
                      </a:lnTo>
                      <a:lnTo>
                        <a:pt x="2888" y="4562"/>
                      </a:lnTo>
                      <a:lnTo>
                        <a:pt x="2825" y="4436"/>
                      </a:lnTo>
                      <a:lnTo>
                        <a:pt x="2762" y="4395"/>
                      </a:lnTo>
                      <a:lnTo>
                        <a:pt x="2720" y="4269"/>
                      </a:lnTo>
                      <a:lnTo>
                        <a:pt x="2574" y="4060"/>
                      </a:lnTo>
                      <a:lnTo>
                        <a:pt x="2406" y="3809"/>
                      </a:lnTo>
                      <a:lnTo>
                        <a:pt x="2365" y="3641"/>
                      </a:lnTo>
                      <a:lnTo>
                        <a:pt x="2155" y="3390"/>
                      </a:lnTo>
                      <a:lnTo>
                        <a:pt x="2072" y="3181"/>
                      </a:lnTo>
                      <a:lnTo>
                        <a:pt x="1967" y="3118"/>
                      </a:lnTo>
                      <a:lnTo>
                        <a:pt x="1967" y="3014"/>
                      </a:lnTo>
                      <a:lnTo>
                        <a:pt x="1925" y="2888"/>
                      </a:lnTo>
                      <a:lnTo>
                        <a:pt x="1841" y="2867"/>
                      </a:lnTo>
                      <a:lnTo>
                        <a:pt x="1841" y="2909"/>
                      </a:lnTo>
                      <a:lnTo>
                        <a:pt x="1758" y="2909"/>
                      </a:lnTo>
                      <a:lnTo>
                        <a:pt x="1737" y="2867"/>
                      </a:lnTo>
                      <a:lnTo>
                        <a:pt x="1758" y="2762"/>
                      </a:lnTo>
                      <a:lnTo>
                        <a:pt x="1737" y="2679"/>
                      </a:lnTo>
                      <a:lnTo>
                        <a:pt x="1632" y="2616"/>
                      </a:lnTo>
                      <a:lnTo>
                        <a:pt x="1528" y="2490"/>
                      </a:lnTo>
                      <a:lnTo>
                        <a:pt x="1465" y="2344"/>
                      </a:lnTo>
                      <a:lnTo>
                        <a:pt x="1402" y="2260"/>
                      </a:lnTo>
                      <a:lnTo>
                        <a:pt x="1402" y="2135"/>
                      </a:lnTo>
                      <a:lnTo>
                        <a:pt x="1423" y="2030"/>
                      </a:lnTo>
                      <a:lnTo>
                        <a:pt x="1444" y="2051"/>
                      </a:lnTo>
                      <a:lnTo>
                        <a:pt x="1423" y="1884"/>
                      </a:lnTo>
                      <a:lnTo>
                        <a:pt x="1402" y="1716"/>
                      </a:lnTo>
                      <a:lnTo>
                        <a:pt x="1360" y="1570"/>
                      </a:lnTo>
                      <a:lnTo>
                        <a:pt x="1235" y="1528"/>
                      </a:lnTo>
                      <a:lnTo>
                        <a:pt x="1109" y="1382"/>
                      </a:lnTo>
                      <a:lnTo>
                        <a:pt x="1109" y="1319"/>
                      </a:lnTo>
                      <a:lnTo>
                        <a:pt x="1046" y="1256"/>
                      </a:lnTo>
                      <a:lnTo>
                        <a:pt x="1046" y="1193"/>
                      </a:lnTo>
                      <a:lnTo>
                        <a:pt x="1109" y="1193"/>
                      </a:lnTo>
                      <a:lnTo>
                        <a:pt x="1214" y="1298"/>
                      </a:lnTo>
                      <a:lnTo>
                        <a:pt x="1318" y="1444"/>
                      </a:lnTo>
                      <a:lnTo>
                        <a:pt x="1318" y="1444"/>
                      </a:lnTo>
                      <a:lnTo>
                        <a:pt x="1256" y="1298"/>
                      </a:lnTo>
                      <a:lnTo>
                        <a:pt x="1130" y="1110"/>
                      </a:lnTo>
                      <a:lnTo>
                        <a:pt x="1005" y="942"/>
                      </a:lnTo>
                      <a:lnTo>
                        <a:pt x="942" y="942"/>
                      </a:lnTo>
                      <a:lnTo>
                        <a:pt x="921" y="858"/>
                      </a:lnTo>
                      <a:lnTo>
                        <a:pt x="691" y="670"/>
                      </a:lnTo>
                      <a:lnTo>
                        <a:pt x="607" y="566"/>
                      </a:lnTo>
                      <a:lnTo>
                        <a:pt x="607" y="335"/>
                      </a:lnTo>
                      <a:lnTo>
                        <a:pt x="523" y="273"/>
                      </a:lnTo>
                      <a:lnTo>
                        <a:pt x="377" y="210"/>
                      </a:lnTo>
                      <a:lnTo>
                        <a:pt x="293" y="63"/>
                      </a:lnTo>
                      <a:lnTo>
                        <a:pt x="25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107" name="Google Shape;5827;p93">
              <a:extLst>
                <a:ext uri="{FF2B5EF4-FFF2-40B4-BE49-F238E27FC236}">
                  <a16:creationId xmlns:a16="http://schemas.microsoft.com/office/drawing/2014/main" id="{501DCED6-593C-4DAF-AEA8-7F6EED07BB22}"/>
                </a:ext>
              </a:extLst>
            </p:cNvPr>
            <p:cNvGrpSpPr/>
            <p:nvPr/>
          </p:nvGrpSpPr>
          <p:grpSpPr>
            <a:xfrm>
              <a:off x="3875768" y="2846704"/>
              <a:ext cx="44796" cy="47366"/>
              <a:chOff x="3960625" y="2587825"/>
              <a:chExt cx="94050" cy="104125"/>
            </a:xfrm>
          </p:grpSpPr>
          <p:sp>
            <p:nvSpPr>
              <p:cNvPr id="1350" name="Google Shape;5828;p93">
                <a:extLst>
                  <a:ext uri="{FF2B5EF4-FFF2-40B4-BE49-F238E27FC236}">
                    <a16:creationId xmlns:a16="http://schemas.microsoft.com/office/drawing/2014/main" id="{B867988C-18D4-4C5C-AB35-167CD12F1F54}"/>
                  </a:ext>
                </a:extLst>
              </p:cNvPr>
              <p:cNvSpPr/>
              <p:nvPr/>
            </p:nvSpPr>
            <p:spPr>
              <a:xfrm>
                <a:off x="3960625" y="2587825"/>
                <a:ext cx="94050" cy="51200"/>
              </a:xfrm>
              <a:custGeom>
                <a:avLst/>
                <a:gdLst/>
                <a:ahLst/>
                <a:cxnLst/>
                <a:rect l="l" t="t" r="r" b="b"/>
                <a:pathLst>
                  <a:path w="3762" h="2048" extrusionOk="0">
                    <a:moveTo>
                      <a:pt x="190" y="2048"/>
                    </a:moveTo>
                    <a:lnTo>
                      <a:pt x="0" y="1762"/>
                    </a:lnTo>
                    <a:lnTo>
                      <a:pt x="309" y="1048"/>
                    </a:lnTo>
                    <a:lnTo>
                      <a:pt x="3762" y="0"/>
                    </a:lnTo>
                    <a:lnTo>
                      <a:pt x="3714" y="1072"/>
                    </a:lnTo>
                    <a:lnTo>
                      <a:pt x="2929" y="1143"/>
                    </a:lnTo>
                    <a:lnTo>
                      <a:pt x="2167" y="1000"/>
                    </a:lnTo>
                    <a:close/>
                  </a:path>
                </a:pathLst>
              </a:custGeom>
              <a:ln/>
            </p:spPr>
            <p:style>
              <a:lnRef idx="2">
                <a:schemeClr val="dk1"/>
              </a:lnRef>
              <a:fillRef idx="1">
                <a:schemeClr val="lt1"/>
              </a:fillRef>
              <a:effectRef idx="0">
                <a:schemeClr val="dk1"/>
              </a:effectRef>
              <a:fontRef idx="minor">
                <a:schemeClr val="dk1"/>
              </a:fontRef>
            </p:style>
          </p:sp>
          <p:sp>
            <p:nvSpPr>
              <p:cNvPr id="1351" name="Google Shape;5829;p93">
                <a:extLst>
                  <a:ext uri="{FF2B5EF4-FFF2-40B4-BE49-F238E27FC236}">
                    <a16:creationId xmlns:a16="http://schemas.microsoft.com/office/drawing/2014/main" id="{2772A1F3-0D1D-43CF-89CF-79DD0724D19F}"/>
                  </a:ext>
                </a:extLst>
              </p:cNvPr>
              <p:cNvSpPr/>
              <p:nvPr/>
            </p:nvSpPr>
            <p:spPr>
              <a:xfrm>
                <a:off x="3963000" y="2596725"/>
                <a:ext cx="86850" cy="95225"/>
              </a:xfrm>
              <a:custGeom>
                <a:avLst/>
                <a:gdLst/>
                <a:ahLst/>
                <a:cxnLst/>
                <a:rect l="l" t="t" r="r" b="b"/>
                <a:pathLst>
                  <a:path w="3474" h="3809" extrusionOk="0">
                    <a:moveTo>
                      <a:pt x="1549" y="2009"/>
                    </a:moveTo>
                    <a:lnTo>
                      <a:pt x="1632" y="2030"/>
                    </a:lnTo>
                    <a:lnTo>
                      <a:pt x="1695" y="2093"/>
                    </a:lnTo>
                    <a:lnTo>
                      <a:pt x="1674" y="2135"/>
                    </a:lnTo>
                    <a:lnTo>
                      <a:pt x="1674" y="2189"/>
                    </a:lnTo>
                    <a:lnTo>
                      <a:pt x="1674" y="2189"/>
                    </a:lnTo>
                    <a:cubicBezTo>
                      <a:pt x="1645" y="2167"/>
                      <a:pt x="1613" y="2146"/>
                      <a:pt x="1569" y="2135"/>
                    </a:cubicBezTo>
                    <a:cubicBezTo>
                      <a:pt x="1549" y="2114"/>
                      <a:pt x="1528" y="2114"/>
                      <a:pt x="1486" y="2114"/>
                    </a:cubicBezTo>
                    <a:lnTo>
                      <a:pt x="1549" y="2072"/>
                    </a:lnTo>
                    <a:lnTo>
                      <a:pt x="1549" y="2009"/>
                    </a:lnTo>
                    <a:close/>
                    <a:moveTo>
                      <a:pt x="3327" y="1"/>
                    </a:moveTo>
                    <a:lnTo>
                      <a:pt x="3201" y="105"/>
                    </a:lnTo>
                    <a:lnTo>
                      <a:pt x="3201" y="231"/>
                    </a:lnTo>
                    <a:lnTo>
                      <a:pt x="3243" y="335"/>
                    </a:lnTo>
                    <a:lnTo>
                      <a:pt x="3160" y="377"/>
                    </a:lnTo>
                    <a:lnTo>
                      <a:pt x="2929" y="356"/>
                    </a:lnTo>
                    <a:lnTo>
                      <a:pt x="2825" y="419"/>
                    </a:lnTo>
                    <a:lnTo>
                      <a:pt x="2720" y="356"/>
                    </a:lnTo>
                    <a:lnTo>
                      <a:pt x="2616" y="356"/>
                    </a:lnTo>
                    <a:lnTo>
                      <a:pt x="2532" y="419"/>
                    </a:lnTo>
                    <a:lnTo>
                      <a:pt x="2427" y="419"/>
                    </a:lnTo>
                    <a:lnTo>
                      <a:pt x="2406" y="314"/>
                    </a:lnTo>
                    <a:lnTo>
                      <a:pt x="2260" y="314"/>
                    </a:lnTo>
                    <a:lnTo>
                      <a:pt x="2113" y="273"/>
                    </a:lnTo>
                    <a:lnTo>
                      <a:pt x="2009" y="377"/>
                    </a:lnTo>
                    <a:lnTo>
                      <a:pt x="1862" y="419"/>
                    </a:lnTo>
                    <a:lnTo>
                      <a:pt x="1674" y="419"/>
                    </a:lnTo>
                    <a:lnTo>
                      <a:pt x="1632" y="377"/>
                    </a:lnTo>
                    <a:lnTo>
                      <a:pt x="1549" y="440"/>
                    </a:lnTo>
                    <a:lnTo>
                      <a:pt x="1444" y="440"/>
                    </a:lnTo>
                    <a:lnTo>
                      <a:pt x="1318" y="524"/>
                    </a:lnTo>
                    <a:lnTo>
                      <a:pt x="1025" y="524"/>
                    </a:lnTo>
                    <a:lnTo>
                      <a:pt x="900" y="586"/>
                    </a:lnTo>
                    <a:lnTo>
                      <a:pt x="900" y="649"/>
                    </a:lnTo>
                    <a:lnTo>
                      <a:pt x="732" y="691"/>
                    </a:lnTo>
                    <a:lnTo>
                      <a:pt x="502" y="838"/>
                    </a:lnTo>
                    <a:lnTo>
                      <a:pt x="481" y="984"/>
                    </a:lnTo>
                    <a:lnTo>
                      <a:pt x="398" y="1151"/>
                    </a:lnTo>
                    <a:lnTo>
                      <a:pt x="168" y="1214"/>
                    </a:lnTo>
                    <a:lnTo>
                      <a:pt x="168" y="1361"/>
                    </a:lnTo>
                    <a:lnTo>
                      <a:pt x="84" y="1507"/>
                    </a:lnTo>
                    <a:lnTo>
                      <a:pt x="0" y="1570"/>
                    </a:lnTo>
                    <a:lnTo>
                      <a:pt x="0" y="1716"/>
                    </a:lnTo>
                    <a:lnTo>
                      <a:pt x="209" y="1884"/>
                    </a:lnTo>
                    <a:lnTo>
                      <a:pt x="335" y="2072"/>
                    </a:lnTo>
                    <a:lnTo>
                      <a:pt x="398" y="2093"/>
                    </a:lnTo>
                    <a:lnTo>
                      <a:pt x="398" y="2135"/>
                    </a:lnTo>
                    <a:lnTo>
                      <a:pt x="544" y="2365"/>
                    </a:lnTo>
                    <a:lnTo>
                      <a:pt x="586" y="2532"/>
                    </a:lnTo>
                    <a:lnTo>
                      <a:pt x="649" y="2553"/>
                    </a:lnTo>
                    <a:lnTo>
                      <a:pt x="753" y="2449"/>
                    </a:lnTo>
                    <a:lnTo>
                      <a:pt x="837" y="2553"/>
                    </a:lnTo>
                    <a:lnTo>
                      <a:pt x="963" y="2595"/>
                    </a:lnTo>
                    <a:lnTo>
                      <a:pt x="1025" y="2511"/>
                    </a:lnTo>
                    <a:lnTo>
                      <a:pt x="1130" y="2511"/>
                    </a:lnTo>
                    <a:lnTo>
                      <a:pt x="1277" y="2595"/>
                    </a:lnTo>
                    <a:lnTo>
                      <a:pt x="1360" y="2532"/>
                    </a:lnTo>
                    <a:lnTo>
                      <a:pt x="1381" y="2616"/>
                    </a:lnTo>
                    <a:lnTo>
                      <a:pt x="1465" y="2616"/>
                    </a:lnTo>
                    <a:lnTo>
                      <a:pt x="1528" y="2658"/>
                    </a:lnTo>
                    <a:lnTo>
                      <a:pt x="1653" y="2700"/>
                    </a:lnTo>
                    <a:lnTo>
                      <a:pt x="1569" y="2742"/>
                    </a:lnTo>
                    <a:lnTo>
                      <a:pt x="1486" y="2825"/>
                    </a:lnTo>
                    <a:lnTo>
                      <a:pt x="1423" y="2762"/>
                    </a:lnTo>
                    <a:lnTo>
                      <a:pt x="1318" y="2742"/>
                    </a:lnTo>
                    <a:lnTo>
                      <a:pt x="1067" y="2595"/>
                    </a:lnTo>
                    <a:lnTo>
                      <a:pt x="963" y="2616"/>
                    </a:lnTo>
                    <a:lnTo>
                      <a:pt x="858" y="2658"/>
                    </a:lnTo>
                    <a:lnTo>
                      <a:pt x="753" y="2616"/>
                    </a:lnTo>
                    <a:lnTo>
                      <a:pt x="691" y="2721"/>
                    </a:lnTo>
                    <a:lnTo>
                      <a:pt x="628" y="2742"/>
                    </a:lnTo>
                    <a:lnTo>
                      <a:pt x="607" y="2846"/>
                    </a:lnTo>
                    <a:lnTo>
                      <a:pt x="732" y="2972"/>
                    </a:lnTo>
                    <a:lnTo>
                      <a:pt x="858" y="3035"/>
                    </a:lnTo>
                    <a:lnTo>
                      <a:pt x="1004" y="3139"/>
                    </a:lnTo>
                    <a:lnTo>
                      <a:pt x="1004" y="3223"/>
                    </a:lnTo>
                    <a:lnTo>
                      <a:pt x="942" y="3265"/>
                    </a:lnTo>
                    <a:lnTo>
                      <a:pt x="942" y="3369"/>
                    </a:lnTo>
                    <a:lnTo>
                      <a:pt x="1046" y="3495"/>
                    </a:lnTo>
                    <a:lnTo>
                      <a:pt x="1130" y="3579"/>
                    </a:lnTo>
                    <a:lnTo>
                      <a:pt x="1151" y="3495"/>
                    </a:lnTo>
                    <a:lnTo>
                      <a:pt x="1130" y="3453"/>
                    </a:lnTo>
                    <a:lnTo>
                      <a:pt x="1172" y="3348"/>
                    </a:lnTo>
                    <a:lnTo>
                      <a:pt x="1214" y="3474"/>
                    </a:lnTo>
                    <a:lnTo>
                      <a:pt x="1360" y="3537"/>
                    </a:lnTo>
                    <a:lnTo>
                      <a:pt x="1381" y="3599"/>
                    </a:lnTo>
                    <a:lnTo>
                      <a:pt x="1360" y="3704"/>
                    </a:lnTo>
                    <a:lnTo>
                      <a:pt x="1423" y="3788"/>
                    </a:lnTo>
                    <a:lnTo>
                      <a:pt x="1423" y="3746"/>
                    </a:lnTo>
                    <a:lnTo>
                      <a:pt x="1465" y="3599"/>
                    </a:lnTo>
                    <a:lnTo>
                      <a:pt x="1569" y="3599"/>
                    </a:lnTo>
                    <a:lnTo>
                      <a:pt x="1632" y="3704"/>
                    </a:lnTo>
                    <a:lnTo>
                      <a:pt x="1800" y="3809"/>
                    </a:lnTo>
                    <a:lnTo>
                      <a:pt x="1800" y="3809"/>
                    </a:lnTo>
                    <a:lnTo>
                      <a:pt x="1737" y="3704"/>
                    </a:lnTo>
                    <a:lnTo>
                      <a:pt x="1758" y="3641"/>
                    </a:lnTo>
                    <a:lnTo>
                      <a:pt x="1695" y="3537"/>
                    </a:lnTo>
                    <a:lnTo>
                      <a:pt x="1632" y="3348"/>
                    </a:lnTo>
                    <a:lnTo>
                      <a:pt x="1549" y="3244"/>
                    </a:lnTo>
                    <a:lnTo>
                      <a:pt x="1549" y="3181"/>
                    </a:lnTo>
                    <a:lnTo>
                      <a:pt x="1632" y="3181"/>
                    </a:lnTo>
                    <a:lnTo>
                      <a:pt x="1758" y="3265"/>
                    </a:lnTo>
                    <a:lnTo>
                      <a:pt x="1737" y="3327"/>
                    </a:lnTo>
                    <a:lnTo>
                      <a:pt x="1758" y="3369"/>
                    </a:lnTo>
                    <a:lnTo>
                      <a:pt x="1841" y="3286"/>
                    </a:lnTo>
                    <a:lnTo>
                      <a:pt x="1967" y="3348"/>
                    </a:lnTo>
                    <a:lnTo>
                      <a:pt x="1967" y="3286"/>
                    </a:lnTo>
                    <a:lnTo>
                      <a:pt x="1904" y="3244"/>
                    </a:lnTo>
                    <a:lnTo>
                      <a:pt x="1904" y="3181"/>
                    </a:lnTo>
                    <a:lnTo>
                      <a:pt x="1862" y="3181"/>
                    </a:lnTo>
                    <a:lnTo>
                      <a:pt x="1758" y="3139"/>
                    </a:lnTo>
                    <a:lnTo>
                      <a:pt x="1758" y="3076"/>
                    </a:lnTo>
                    <a:lnTo>
                      <a:pt x="1653" y="3014"/>
                    </a:lnTo>
                    <a:lnTo>
                      <a:pt x="1758" y="2951"/>
                    </a:lnTo>
                    <a:lnTo>
                      <a:pt x="1862" y="2951"/>
                    </a:lnTo>
                    <a:lnTo>
                      <a:pt x="1904" y="2909"/>
                    </a:lnTo>
                    <a:lnTo>
                      <a:pt x="2072" y="3014"/>
                    </a:lnTo>
                    <a:lnTo>
                      <a:pt x="2093" y="3055"/>
                    </a:lnTo>
                    <a:lnTo>
                      <a:pt x="2197" y="3076"/>
                    </a:lnTo>
                    <a:lnTo>
                      <a:pt x="2218" y="3035"/>
                    </a:lnTo>
                    <a:lnTo>
                      <a:pt x="2113" y="2909"/>
                    </a:lnTo>
                    <a:lnTo>
                      <a:pt x="2155" y="2762"/>
                    </a:lnTo>
                    <a:lnTo>
                      <a:pt x="2093" y="2700"/>
                    </a:lnTo>
                    <a:lnTo>
                      <a:pt x="1841" y="2532"/>
                    </a:lnTo>
                    <a:lnTo>
                      <a:pt x="1758" y="2511"/>
                    </a:lnTo>
                    <a:lnTo>
                      <a:pt x="1737" y="2490"/>
                    </a:lnTo>
                    <a:cubicBezTo>
                      <a:pt x="1758" y="2490"/>
                      <a:pt x="1779" y="2449"/>
                      <a:pt x="1800" y="2407"/>
                    </a:cubicBezTo>
                    <a:lnTo>
                      <a:pt x="1862" y="2449"/>
                    </a:lnTo>
                    <a:lnTo>
                      <a:pt x="1946" y="2490"/>
                    </a:lnTo>
                    <a:lnTo>
                      <a:pt x="1988" y="2553"/>
                    </a:lnTo>
                    <a:lnTo>
                      <a:pt x="2093" y="2616"/>
                    </a:lnTo>
                    <a:lnTo>
                      <a:pt x="2176" y="2616"/>
                    </a:lnTo>
                    <a:lnTo>
                      <a:pt x="2197" y="2658"/>
                    </a:lnTo>
                    <a:lnTo>
                      <a:pt x="2281" y="2762"/>
                    </a:lnTo>
                    <a:lnTo>
                      <a:pt x="2323" y="2825"/>
                    </a:lnTo>
                    <a:lnTo>
                      <a:pt x="2323" y="2867"/>
                    </a:lnTo>
                    <a:lnTo>
                      <a:pt x="2365" y="2930"/>
                    </a:lnTo>
                    <a:lnTo>
                      <a:pt x="2427" y="2972"/>
                    </a:lnTo>
                    <a:lnTo>
                      <a:pt x="2490" y="2951"/>
                    </a:lnTo>
                    <a:lnTo>
                      <a:pt x="2532" y="2972"/>
                    </a:lnTo>
                    <a:lnTo>
                      <a:pt x="2595" y="2867"/>
                    </a:lnTo>
                    <a:lnTo>
                      <a:pt x="2490" y="2867"/>
                    </a:lnTo>
                    <a:lnTo>
                      <a:pt x="2469" y="2888"/>
                    </a:lnTo>
                    <a:lnTo>
                      <a:pt x="2385" y="2825"/>
                    </a:lnTo>
                    <a:lnTo>
                      <a:pt x="2385" y="2742"/>
                    </a:lnTo>
                    <a:lnTo>
                      <a:pt x="2365" y="2679"/>
                    </a:lnTo>
                    <a:lnTo>
                      <a:pt x="2365" y="2637"/>
                    </a:lnTo>
                    <a:lnTo>
                      <a:pt x="2302" y="2553"/>
                    </a:lnTo>
                    <a:lnTo>
                      <a:pt x="2176" y="2428"/>
                    </a:lnTo>
                    <a:lnTo>
                      <a:pt x="2176" y="2449"/>
                    </a:lnTo>
                    <a:lnTo>
                      <a:pt x="2093" y="2449"/>
                    </a:lnTo>
                    <a:lnTo>
                      <a:pt x="2093" y="2428"/>
                    </a:lnTo>
                    <a:lnTo>
                      <a:pt x="1988" y="2365"/>
                    </a:lnTo>
                    <a:lnTo>
                      <a:pt x="1883" y="2344"/>
                    </a:lnTo>
                    <a:lnTo>
                      <a:pt x="1800" y="2239"/>
                    </a:lnTo>
                    <a:lnTo>
                      <a:pt x="1758" y="2239"/>
                    </a:lnTo>
                    <a:cubicBezTo>
                      <a:pt x="1730" y="2230"/>
                      <a:pt x="1706" y="2212"/>
                      <a:pt x="1680" y="2193"/>
                    </a:cubicBezTo>
                    <a:lnTo>
                      <a:pt x="1680" y="2193"/>
                    </a:lnTo>
                    <a:lnTo>
                      <a:pt x="1737" y="2156"/>
                    </a:lnTo>
                    <a:lnTo>
                      <a:pt x="1758" y="2030"/>
                    </a:lnTo>
                    <a:lnTo>
                      <a:pt x="1674" y="1946"/>
                    </a:lnTo>
                    <a:lnTo>
                      <a:pt x="1486" y="1737"/>
                    </a:lnTo>
                    <a:lnTo>
                      <a:pt x="1423" y="1695"/>
                    </a:lnTo>
                    <a:lnTo>
                      <a:pt x="1381" y="1612"/>
                    </a:lnTo>
                    <a:lnTo>
                      <a:pt x="1256" y="1507"/>
                    </a:lnTo>
                    <a:lnTo>
                      <a:pt x="1318" y="1465"/>
                    </a:lnTo>
                    <a:lnTo>
                      <a:pt x="1277" y="1235"/>
                    </a:lnTo>
                    <a:lnTo>
                      <a:pt x="1360" y="1130"/>
                    </a:lnTo>
                    <a:lnTo>
                      <a:pt x="1486" y="1089"/>
                    </a:lnTo>
                    <a:lnTo>
                      <a:pt x="1528" y="1193"/>
                    </a:lnTo>
                    <a:lnTo>
                      <a:pt x="1465" y="1193"/>
                    </a:lnTo>
                    <a:lnTo>
                      <a:pt x="1465" y="1256"/>
                    </a:lnTo>
                    <a:lnTo>
                      <a:pt x="1653" y="1319"/>
                    </a:lnTo>
                    <a:lnTo>
                      <a:pt x="1674" y="1465"/>
                    </a:lnTo>
                    <a:lnTo>
                      <a:pt x="1779" y="1570"/>
                    </a:lnTo>
                    <a:lnTo>
                      <a:pt x="1904" y="1570"/>
                    </a:lnTo>
                    <a:lnTo>
                      <a:pt x="1841" y="1507"/>
                    </a:lnTo>
                    <a:lnTo>
                      <a:pt x="1779" y="1423"/>
                    </a:lnTo>
                    <a:lnTo>
                      <a:pt x="1800" y="1361"/>
                    </a:lnTo>
                    <a:lnTo>
                      <a:pt x="1946" y="1402"/>
                    </a:lnTo>
                    <a:lnTo>
                      <a:pt x="2009" y="1528"/>
                    </a:lnTo>
                    <a:lnTo>
                      <a:pt x="2093" y="1570"/>
                    </a:lnTo>
                    <a:lnTo>
                      <a:pt x="2155" y="1486"/>
                    </a:lnTo>
                    <a:lnTo>
                      <a:pt x="2072" y="1423"/>
                    </a:lnTo>
                    <a:lnTo>
                      <a:pt x="1988" y="1402"/>
                    </a:lnTo>
                    <a:lnTo>
                      <a:pt x="1988" y="1361"/>
                    </a:lnTo>
                    <a:lnTo>
                      <a:pt x="2197" y="1361"/>
                    </a:lnTo>
                    <a:lnTo>
                      <a:pt x="2281" y="1423"/>
                    </a:lnTo>
                    <a:lnTo>
                      <a:pt x="2302" y="1402"/>
                    </a:lnTo>
                    <a:lnTo>
                      <a:pt x="2176" y="1298"/>
                    </a:lnTo>
                    <a:lnTo>
                      <a:pt x="2051" y="1277"/>
                    </a:lnTo>
                    <a:lnTo>
                      <a:pt x="1946" y="1151"/>
                    </a:lnTo>
                    <a:lnTo>
                      <a:pt x="1988" y="1068"/>
                    </a:lnTo>
                    <a:lnTo>
                      <a:pt x="2093" y="1089"/>
                    </a:lnTo>
                    <a:lnTo>
                      <a:pt x="2176" y="1047"/>
                    </a:lnTo>
                    <a:lnTo>
                      <a:pt x="2218" y="879"/>
                    </a:lnTo>
                    <a:lnTo>
                      <a:pt x="2302" y="858"/>
                    </a:lnTo>
                    <a:lnTo>
                      <a:pt x="2427" y="963"/>
                    </a:lnTo>
                    <a:lnTo>
                      <a:pt x="2532" y="963"/>
                    </a:lnTo>
                    <a:lnTo>
                      <a:pt x="2637" y="858"/>
                    </a:lnTo>
                    <a:lnTo>
                      <a:pt x="2637" y="796"/>
                    </a:lnTo>
                    <a:lnTo>
                      <a:pt x="2699" y="796"/>
                    </a:lnTo>
                    <a:lnTo>
                      <a:pt x="2783" y="879"/>
                    </a:lnTo>
                    <a:lnTo>
                      <a:pt x="3013" y="879"/>
                    </a:lnTo>
                    <a:lnTo>
                      <a:pt x="3201" y="942"/>
                    </a:lnTo>
                    <a:lnTo>
                      <a:pt x="3327" y="900"/>
                    </a:lnTo>
                    <a:lnTo>
                      <a:pt x="3348" y="566"/>
                    </a:lnTo>
                    <a:lnTo>
                      <a:pt x="3327" y="440"/>
                    </a:lnTo>
                    <a:lnTo>
                      <a:pt x="3473" y="335"/>
                    </a:lnTo>
                    <a:lnTo>
                      <a:pt x="3473" y="210"/>
                    </a:lnTo>
                    <a:lnTo>
                      <a:pt x="3369" y="147"/>
                    </a:lnTo>
                    <a:lnTo>
                      <a:pt x="341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8" name="Google Shape;5830;p93">
              <a:extLst>
                <a:ext uri="{FF2B5EF4-FFF2-40B4-BE49-F238E27FC236}">
                  <a16:creationId xmlns:a16="http://schemas.microsoft.com/office/drawing/2014/main" id="{7E2829BC-6271-457B-AFF5-09ACD6EF1759}"/>
                </a:ext>
              </a:extLst>
            </p:cNvPr>
            <p:cNvGrpSpPr/>
            <p:nvPr/>
          </p:nvGrpSpPr>
          <p:grpSpPr>
            <a:xfrm>
              <a:off x="3782759" y="2807162"/>
              <a:ext cx="82686" cy="85487"/>
              <a:chOff x="3765350" y="2500900"/>
              <a:chExt cx="173600" cy="187925"/>
            </a:xfrm>
          </p:grpSpPr>
          <p:sp>
            <p:nvSpPr>
              <p:cNvPr id="1344" name="Google Shape;5831;p93">
                <a:extLst>
                  <a:ext uri="{FF2B5EF4-FFF2-40B4-BE49-F238E27FC236}">
                    <a16:creationId xmlns:a16="http://schemas.microsoft.com/office/drawing/2014/main" id="{61158FE9-777F-4C2A-91C3-D6F6D8E4A26D}"/>
                  </a:ext>
                </a:extLst>
              </p:cNvPr>
              <p:cNvSpPr/>
              <p:nvPr/>
            </p:nvSpPr>
            <p:spPr>
              <a:xfrm>
                <a:off x="3765350" y="2500900"/>
                <a:ext cx="108950" cy="64300"/>
              </a:xfrm>
              <a:custGeom>
                <a:avLst/>
                <a:gdLst/>
                <a:ahLst/>
                <a:cxnLst/>
                <a:rect l="l" t="t" r="r" b="b"/>
                <a:pathLst>
                  <a:path w="4358" h="2572" extrusionOk="0">
                    <a:moveTo>
                      <a:pt x="1286" y="596"/>
                    </a:moveTo>
                    <a:lnTo>
                      <a:pt x="0" y="1072"/>
                    </a:lnTo>
                    <a:lnTo>
                      <a:pt x="429" y="2239"/>
                    </a:lnTo>
                    <a:lnTo>
                      <a:pt x="857" y="2572"/>
                    </a:lnTo>
                    <a:lnTo>
                      <a:pt x="2191" y="1215"/>
                    </a:lnTo>
                    <a:lnTo>
                      <a:pt x="4024" y="1072"/>
                    </a:lnTo>
                    <a:lnTo>
                      <a:pt x="4358" y="429"/>
                    </a:lnTo>
                    <a:lnTo>
                      <a:pt x="3120" y="0"/>
                    </a:lnTo>
                    <a:lnTo>
                      <a:pt x="2477" y="358"/>
                    </a:lnTo>
                    <a:close/>
                  </a:path>
                </a:pathLst>
              </a:custGeom>
              <a:ln/>
            </p:spPr>
            <p:style>
              <a:lnRef idx="2">
                <a:schemeClr val="dk1"/>
              </a:lnRef>
              <a:fillRef idx="1">
                <a:schemeClr val="lt1"/>
              </a:fillRef>
              <a:effectRef idx="0">
                <a:schemeClr val="dk1"/>
              </a:effectRef>
              <a:fontRef idx="minor">
                <a:schemeClr val="dk1"/>
              </a:fontRef>
            </p:style>
          </p:sp>
          <p:sp>
            <p:nvSpPr>
              <p:cNvPr id="1345" name="Google Shape;5832;p93">
                <a:extLst>
                  <a:ext uri="{FF2B5EF4-FFF2-40B4-BE49-F238E27FC236}">
                    <a16:creationId xmlns:a16="http://schemas.microsoft.com/office/drawing/2014/main" id="{6292896D-C478-40A5-950D-366FC8A08DEC}"/>
                  </a:ext>
                </a:extLst>
              </p:cNvPr>
              <p:cNvSpPr/>
              <p:nvPr/>
            </p:nvSpPr>
            <p:spPr>
              <a:xfrm>
                <a:off x="3797175" y="2609800"/>
                <a:ext cx="2625" cy="3700"/>
              </a:xfrm>
              <a:custGeom>
                <a:avLst/>
                <a:gdLst/>
                <a:ahLst/>
                <a:cxnLst/>
                <a:rect l="l" t="t" r="r" b="b"/>
                <a:pathLst>
                  <a:path w="105" h="148" extrusionOk="0">
                    <a:moveTo>
                      <a:pt x="42" y="1"/>
                    </a:moveTo>
                    <a:lnTo>
                      <a:pt x="21" y="43"/>
                    </a:lnTo>
                    <a:lnTo>
                      <a:pt x="0" y="84"/>
                    </a:lnTo>
                    <a:lnTo>
                      <a:pt x="0" y="147"/>
                    </a:lnTo>
                    <a:lnTo>
                      <a:pt x="21" y="147"/>
                    </a:lnTo>
                    <a:lnTo>
                      <a:pt x="42" y="105"/>
                    </a:lnTo>
                    <a:lnTo>
                      <a:pt x="105" y="22"/>
                    </a:lnTo>
                    <a:lnTo>
                      <a:pt x="4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 name="Google Shape;5833;p93">
                <a:extLst>
                  <a:ext uri="{FF2B5EF4-FFF2-40B4-BE49-F238E27FC236}">
                    <a16:creationId xmlns:a16="http://schemas.microsoft.com/office/drawing/2014/main" id="{D270CEFB-BD25-47D4-A023-4990EAF945F4}"/>
                  </a:ext>
                </a:extLst>
              </p:cNvPr>
              <p:cNvSpPr/>
              <p:nvPr/>
            </p:nvSpPr>
            <p:spPr>
              <a:xfrm>
                <a:off x="3796125" y="2610325"/>
                <a:ext cx="22525" cy="41875"/>
              </a:xfrm>
              <a:custGeom>
                <a:avLst/>
                <a:gdLst/>
                <a:ahLst/>
                <a:cxnLst/>
                <a:rect l="l" t="t" r="r" b="b"/>
                <a:pathLst>
                  <a:path w="901" h="1675" extrusionOk="0">
                    <a:moveTo>
                      <a:pt x="565" y="1"/>
                    </a:moveTo>
                    <a:lnTo>
                      <a:pt x="461" y="22"/>
                    </a:lnTo>
                    <a:lnTo>
                      <a:pt x="252" y="273"/>
                    </a:lnTo>
                    <a:lnTo>
                      <a:pt x="168" y="273"/>
                    </a:lnTo>
                    <a:lnTo>
                      <a:pt x="42" y="189"/>
                    </a:lnTo>
                    <a:lnTo>
                      <a:pt x="42" y="314"/>
                    </a:lnTo>
                    <a:lnTo>
                      <a:pt x="1" y="398"/>
                    </a:lnTo>
                    <a:lnTo>
                      <a:pt x="105" y="503"/>
                    </a:lnTo>
                    <a:lnTo>
                      <a:pt x="105" y="586"/>
                    </a:lnTo>
                    <a:lnTo>
                      <a:pt x="189" y="649"/>
                    </a:lnTo>
                    <a:lnTo>
                      <a:pt x="189" y="796"/>
                    </a:lnTo>
                    <a:lnTo>
                      <a:pt x="105" y="858"/>
                    </a:lnTo>
                    <a:lnTo>
                      <a:pt x="147" y="942"/>
                    </a:lnTo>
                    <a:lnTo>
                      <a:pt x="273" y="942"/>
                    </a:lnTo>
                    <a:lnTo>
                      <a:pt x="273" y="1005"/>
                    </a:lnTo>
                    <a:lnTo>
                      <a:pt x="189" y="1068"/>
                    </a:lnTo>
                    <a:lnTo>
                      <a:pt x="147" y="1277"/>
                    </a:lnTo>
                    <a:lnTo>
                      <a:pt x="189" y="1361"/>
                    </a:lnTo>
                    <a:lnTo>
                      <a:pt x="252" y="1591"/>
                    </a:lnTo>
                    <a:lnTo>
                      <a:pt x="314" y="1674"/>
                    </a:lnTo>
                    <a:lnTo>
                      <a:pt x="377" y="1654"/>
                    </a:lnTo>
                    <a:lnTo>
                      <a:pt x="419" y="1674"/>
                    </a:lnTo>
                    <a:lnTo>
                      <a:pt x="503" y="1654"/>
                    </a:lnTo>
                    <a:lnTo>
                      <a:pt x="524" y="1528"/>
                    </a:lnTo>
                    <a:lnTo>
                      <a:pt x="565" y="1444"/>
                    </a:lnTo>
                    <a:lnTo>
                      <a:pt x="670" y="1444"/>
                    </a:lnTo>
                    <a:lnTo>
                      <a:pt x="733" y="1528"/>
                    </a:lnTo>
                    <a:lnTo>
                      <a:pt x="796" y="1528"/>
                    </a:lnTo>
                    <a:lnTo>
                      <a:pt x="837" y="1444"/>
                    </a:lnTo>
                    <a:lnTo>
                      <a:pt x="837" y="1214"/>
                    </a:lnTo>
                    <a:lnTo>
                      <a:pt x="879" y="1151"/>
                    </a:lnTo>
                    <a:lnTo>
                      <a:pt x="837" y="921"/>
                    </a:lnTo>
                    <a:lnTo>
                      <a:pt x="900" y="712"/>
                    </a:lnTo>
                    <a:lnTo>
                      <a:pt x="733" y="586"/>
                    </a:lnTo>
                    <a:lnTo>
                      <a:pt x="879" y="503"/>
                    </a:lnTo>
                    <a:lnTo>
                      <a:pt x="879" y="419"/>
                    </a:lnTo>
                    <a:lnTo>
                      <a:pt x="837" y="294"/>
                    </a:lnTo>
                    <a:lnTo>
                      <a:pt x="775" y="189"/>
                    </a:lnTo>
                    <a:lnTo>
                      <a:pt x="691" y="63"/>
                    </a:lnTo>
                    <a:lnTo>
                      <a:pt x="670" y="84"/>
                    </a:lnTo>
                    <a:lnTo>
                      <a:pt x="56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 name="Google Shape;5834;p93">
                <a:extLst>
                  <a:ext uri="{FF2B5EF4-FFF2-40B4-BE49-F238E27FC236}">
                    <a16:creationId xmlns:a16="http://schemas.microsoft.com/office/drawing/2014/main" id="{EFB6ABBC-22E3-4E1F-8D52-E688842B929B}"/>
                  </a:ext>
                </a:extLst>
              </p:cNvPr>
              <p:cNvSpPr/>
              <p:nvPr/>
            </p:nvSpPr>
            <p:spPr>
              <a:xfrm>
                <a:off x="3821225" y="2579475"/>
                <a:ext cx="6300" cy="4200"/>
              </a:xfrm>
              <a:custGeom>
                <a:avLst/>
                <a:gdLst/>
                <a:ahLst/>
                <a:cxnLst/>
                <a:rect l="l" t="t" r="r" b="b"/>
                <a:pathLst>
                  <a:path w="252" h="168" extrusionOk="0">
                    <a:moveTo>
                      <a:pt x="189" y="0"/>
                    </a:moveTo>
                    <a:lnTo>
                      <a:pt x="147" y="42"/>
                    </a:lnTo>
                    <a:lnTo>
                      <a:pt x="43" y="84"/>
                    </a:lnTo>
                    <a:lnTo>
                      <a:pt x="1" y="147"/>
                    </a:lnTo>
                    <a:lnTo>
                      <a:pt x="43" y="167"/>
                    </a:lnTo>
                    <a:lnTo>
                      <a:pt x="189" y="147"/>
                    </a:lnTo>
                    <a:lnTo>
                      <a:pt x="252" y="147"/>
                    </a:lnTo>
                    <a:lnTo>
                      <a:pt x="252" y="63"/>
                    </a:lnTo>
                    <a:lnTo>
                      <a:pt x="1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 name="Google Shape;5835;p93">
                <a:extLst>
                  <a:ext uri="{FF2B5EF4-FFF2-40B4-BE49-F238E27FC236}">
                    <a16:creationId xmlns:a16="http://schemas.microsoft.com/office/drawing/2014/main" id="{F4DC77F9-E20C-4AA5-A3D5-C185450B5F33}"/>
                  </a:ext>
                </a:extLst>
              </p:cNvPr>
              <p:cNvSpPr/>
              <p:nvPr/>
            </p:nvSpPr>
            <p:spPr>
              <a:xfrm>
                <a:off x="3833800" y="2589400"/>
                <a:ext cx="1575" cy="1600"/>
              </a:xfrm>
              <a:custGeom>
                <a:avLst/>
                <a:gdLst/>
                <a:ahLst/>
                <a:cxnLst/>
                <a:rect l="l" t="t" r="r" b="b"/>
                <a:pathLst>
                  <a:path w="63" h="64" extrusionOk="0">
                    <a:moveTo>
                      <a:pt x="42" y="1"/>
                    </a:moveTo>
                    <a:lnTo>
                      <a:pt x="0" y="22"/>
                    </a:lnTo>
                    <a:lnTo>
                      <a:pt x="63" y="63"/>
                    </a:lnTo>
                    <a:lnTo>
                      <a:pt x="4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9" name="Google Shape;5836;p93">
                <a:extLst>
                  <a:ext uri="{FF2B5EF4-FFF2-40B4-BE49-F238E27FC236}">
                    <a16:creationId xmlns:a16="http://schemas.microsoft.com/office/drawing/2014/main" id="{63490878-CCDD-4877-97D8-3427FAB9C020}"/>
                  </a:ext>
                </a:extLst>
              </p:cNvPr>
              <p:cNvSpPr/>
              <p:nvPr/>
            </p:nvSpPr>
            <p:spPr>
              <a:xfrm>
                <a:off x="3774675" y="2506225"/>
                <a:ext cx="164275" cy="182600"/>
              </a:xfrm>
              <a:custGeom>
                <a:avLst/>
                <a:gdLst/>
                <a:ahLst/>
                <a:cxnLst/>
                <a:rect l="l" t="t" r="r" b="b"/>
                <a:pathLst>
                  <a:path w="6571" h="7304" extrusionOk="0">
                    <a:moveTo>
                      <a:pt x="2595" y="1"/>
                    </a:moveTo>
                    <a:lnTo>
                      <a:pt x="2302" y="189"/>
                    </a:lnTo>
                    <a:lnTo>
                      <a:pt x="2114" y="105"/>
                    </a:lnTo>
                    <a:lnTo>
                      <a:pt x="2009" y="252"/>
                    </a:lnTo>
                    <a:lnTo>
                      <a:pt x="2072" y="419"/>
                    </a:lnTo>
                    <a:lnTo>
                      <a:pt x="1842" y="482"/>
                    </a:lnTo>
                    <a:lnTo>
                      <a:pt x="1800" y="691"/>
                    </a:lnTo>
                    <a:lnTo>
                      <a:pt x="1695" y="608"/>
                    </a:lnTo>
                    <a:lnTo>
                      <a:pt x="1591" y="608"/>
                    </a:lnTo>
                    <a:lnTo>
                      <a:pt x="1340" y="524"/>
                    </a:lnTo>
                    <a:lnTo>
                      <a:pt x="1340" y="691"/>
                    </a:lnTo>
                    <a:lnTo>
                      <a:pt x="1235" y="901"/>
                    </a:lnTo>
                    <a:lnTo>
                      <a:pt x="1172" y="796"/>
                    </a:lnTo>
                    <a:lnTo>
                      <a:pt x="1005" y="712"/>
                    </a:lnTo>
                    <a:lnTo>
                      <a:pt x="1026" y="587"/>
                    </a:lnTo>
                    <a:lnTo>
                      <a:pt x="900" y="503"/>
                    </a:lnTo>
                    <a:lnTo>
                      <a:pt x="691" y="880"/>
                    </a:lnTo>
                    <a:lnTo>
                      <a:pt x="524" y="796"/>
                    </a:lnTo>
                    <a:lnTo>
                      <a:pt x="294" y="942"/>
                    </a:lnTo>
                    <a:lnTo>
                      <a:pt x="168" y="901"/>
                    </a:lnTo>
                    <a:lnTo>
                      <a:pt x="105" y="942"/>
                    </a:lnTo>
                    <a:lnTo>
                      <a:pt x="126" y="1089"/>
                    </a:lnTo>
                    <a:lnTo>
                      <a:pt x="231" y="1193"/>
                    </a:lnTo>
                    <a:lnTo>
                      <a:pt x="210" y="1361"/>
                    </a:lnTo>
                    <a:lnTo>
                      <a:pt x="84" y="1403"/>
                    </a:lnTo>
                    <a:lnTo>
                      <a:pt x="1" y="1465"/>
                    </a:lnTo>
                    <a:lnTo>
                      <a:pt x="126" y="1633"/>
                    </a:lnTo>
                    <a:lnTo>
                      <a:pt x="168" y="1926"/>
                    </a:lnTo>
                    <a:lnTo>
                      <a:pt x="335" y="2051"/>
                    </a:lnTo>
                    <a:lnTo>
                      <a:pt x="524" y="2051"/>
                    </a:lnTo>
                    <a:lnTo>
                      <a:pt x="440" y="2240"/>
                    </a:lnTo>
                    <a:lnTo>
                      <a:pt x="503" y="2365"/>
                    </a:lnTo>
                    <a:lnTo>
                      <a:pt x="796" y="2302"/>
                    </a:lnTo>
                    <a:lnTo>
                      <a:pt x="900" y="2177"/>
                    </a:lnTo>
                    <a:lnTo>
                      <a:pt x="900" y="2072"/>
                    </a:lnTo>
                    <a:lnTo>
                      <a:pt x="1172" y="1926"/>
                    </a:lnTo>
                    <a:lnTo>
                      <a:pt x="1570" y="2030"/>
                    </a:lnTo>
                    <a:lnTo>
                      <a:pt x="1675" y="2093"/>
                    </a:lnTo>
                    <a:lnTo>
                      <a:pt x="1842" y="2156"/>
                    </a:lnTo>
                    <a:lnTo>
                      <a:pt x="1884" y="2261"/>
                    </a:lnTo>
                    <a:lnTo>
                      <a:pt x="1905" y="2302"/>
                    </a:lnTo>
                    <a:lnTo>
                      <a:pt x="1967" y="2386"/>
                    </a:lnTo>
                    <a:lnTo>
                      <a:pt x="2072" y="2574"/>
                    </a:lnTo>
                    <a:lnTo>
                      <a:pt x="2072" y="2679"/>
                    </a:lnTo>
                    <a:lnTo>
                      <a:pt x="2156" y="2721"/>
                    </a:lnTo>
                    <a:lnTo>
                      <a:pt x="2156" y="2888"/>
                    </a:lnTo>
                    <a:lnTo>
                      <a:pt x="2281" y="2930"/>
                    </a:lnTo>
                    <a:lnTo>
                      <a:pt x="2365" y="3035"/>
                    </a:lnTo>
                    <a:lnTo>
                      <a:pt x="2511" y="3202"/>
                    </a:lnTo>
                    <a:lnTo>
                      <a:pt x="2532" y="3307"/>
                    </a:lnTo>
                    <a:lnTo>
                      <a:pt x="2700" y="3307"/>
                    </a:lnTo>
                    <a:lnTo>
                      <a:pt x="2804" y="3432"/>
                    </a:lnTo>
                    <a:lnTo>
                      <a:pt x="2825" y="3537"/>
                    </a:lnTo>
                    <a:lnTo>
                      <a:pt x="2909" y="3558"/>
                    </a:lnTo>
                    <a:lnTo>
                      <a:pt x="3139" y="3851"/>
                    </a:lnTo>
                    <a:lnTo>
                      <a:pt x="3369" y="4018"/>
                    </a:lnTo>
                    <a:lnTo>
                      <a:pt x="3474" y="4039"/>
                    </a:lnTo>
                    <a:lnTo>
                      <a:pt x="3579" y="4081"/>
                    </a:lnTo>
                    <a:lnTo>
                      <a:pt x="3620" y="4186"/>
                    </a:lnTo>
                    <a:lnTo>
                      <a:pt x="3725" y="4186"/>
                    </a:lnTo>
                    <a:lnTo>
                      <a:pt x="3788" y="4123"/>
                    </a:lnTo>
                    <a:lnTo>
                      <a:pt x="3934" y="4165"/>
                    </a:lnTo>
                    <a:lnTo>
                      <a:pt x="4039" y="4165"/>
                    </a:lnTo>
                    <a:lnTo>
                      <a:pt x="4164" y="4395"/>
                    </a:lnTo>
                    <a:lnTo>
                      <a:pt x="4248" y="4458"/>
                    </a:lnTo>
                    <a:lnTo>
                      <a:pt x="4290" y="4416"/>
                    </a:lnTo>
                    <a:lnTo>
                      <a:pt x="4395" y="4458"/>
                    </a:lnTo>
                    <a:lnTo>
                      <a:pt x="4395" y="4520"/>
                    </a:lnTo>
                    <a:lnTo>
                      <a:pt x="4604" y="4520"/>
                    </a:lnTo>
                    <a:lnTo>
                      <a:pt x="4688" y="4625"/>
                    </a:lnTo>
                    <a:lnTo>
                      <a:pt x="4688" y="4730"/>
                    </a:lnTo>
                    <a:lnTo>
                      <a:pt x="4646" y="4792"/>
                    </a:lnTo>
                    <a:lnTo>
                      <a:pt x="4708" y="4834"/>
                    </a:lnTo>
                    <a:lnTo>
                      <a:pt x="4834" y="4834"/>
                    </a:lnTo>
                    <a:lnTo>
                      <a:pt x="4897" y="4939"/>
                    </a:lnTo>
                    <a:lnTo>
                      <a:pt x="5043" y="4981"/>
                    </a:lnTo>
                    <a:lnTo>
                      <a:pt x="5106" y="4939"/>
                    </a:lnTo>
                    <a:lnTo>
                      <a:pt x="5169" y="5002"/>
                    </a:lnTo>
                    <a:lnTo>
                      <a:pt x="5232" y="5190"/>
                    </a:lnTo>
                    <a:lnTo>
                      <a:pt x="5252" y="5357"/>
                    </a:lnTo>
                    <a:lnTo>
                      <a:pt x="5315" y="5441"/>
                    </a:lnTo>
                    <a:lnTo>
                      <a:pt x="5357" y="5650"/>
                    </a:lnTo>
                    <a:lnTo>
                      <a:pt x="5420" y="5755"/>
                    </a:lnTo>
                    <a:lnTo>
                      <a:pt x="5420" y="5859"/>
                    </a:lnTo>
                    <a:lnTo>
                      <a:pt x="5357" y="5943"/>
                    </a:lnTo>
                    <a:lnTo>
                      <a:pt x="5315" y="5943"/>
                    </a:lnTo>
                    <a:lnTo>
                      <a:pt x="5273" y="5964"/>
                    </a:lnTo>
                    <a:lnTo>
                      <a:pt x="5315" y="6069"/>
                    </a:lnTo>
                    <a:lnTo>
                      <a:pt x="5273" y="6173"/>
                    </a:lnTo>
                    <a:lnTo>
                      <a:pt x="5211" y="6257"/>
                    </a:lnTo>
                    <a:lnTo>
                      <a:pt x="5127" y="6278"/>
                    </a:lnTo>
                    <a:lnTo>
                      <a:pt x="5106" y="6341"/>
                    </a:lnTo>
                    <a:lnTo>
                      <a:pt x="5106" y="6362"/>
                    </a:lnTo>
                    <a:lnTo>
                      <a:pt x="5211" y="6466"/>
                    </a:lnTo>
                    <a:lnTo>
                      <a:pt x="5357" y="6445"/>
                    </a:lnTo>
                    <a:lnTo>
                      <a:pt x="5441" y="6341"/>
                    </a:lnTo>
                    <a:lnTo>
                      <a:pt x="5462" y="6194"/>
                    </a:lnTo>
                    <a:lnTo>
                      <a:pt x="5629" y="6069"/>
                    </a:lnTo>
                    <a:lnTo>
                      <a:pt x="5650" y="5818"/>
                    </a:lnTo>
                    <a:lnTo>
                      <a:pt x="5755" y="5713"/>
                    </a:lnTo>
                    <a:lnTo>
                      <a:pt x="5859" y="5671"/>
                    </a:lnTo>
                    <a:lnTo>
                      <a:pt x="5880" y="5608"/>
                    </a:lnTo>
                    <a:lnTo>
                      <a:pt x="5859" y="5546"/>
                    </a:lnTo>
                    <a:lnTo>
                      <a:pt x="5880" y="5399"/>
                    </a:lnTo>
                    <a:lnTo>
                      <a:pt x="5859" y="5336"/>
                    </a:lnTo>
                    <a:lnTo>
                      <a:pt x="5692" y="5190"/>
                    </a:lnTo>
                    <a:lnTo>
                      <a:pt x="5587" y="5190"/>
                    </a:lnTo>
                    <a:lnTo>
                      <a:pt x="5566" y="5127"/>
                    </a:lnTo>
                    <a:lnTo>
                      <a:pt x="5566" y="5043"/>
                    </a:lnTo>
                    <a:lnTo>
                      <a:pt x="5650" y="5002"/>
                    </a:lnTo>
                    <a:lnTo>
                      <a:pt x="5671" y="4918"/>
                    </a:lnTo>
                    <a:lnTo>
                      <a:pt x="5671" y="4834"/>
                    </a:lnTo>
                    <a:lnTo>
                      <a:pt x="5734" y="4771"/>
                    </a:lnTo>
                    <a:lnTo>
                      <a:pt x="5776" y="4625"/>
                    </a:lnTo>
                    <a:lnTo>
                      <a:pt x="5838" y="4604"/>
                    </a:lnTo>
                    <a:lnTo>
                      <a:pt x="5901" y="4604"/>
                    </a:lnTo>
                    <a:lnTo>
                      <a:pt x="6006" y="4667"/>
                    </a:lnTo>
                    <a:lnTo>
                      <a:pt x="6048" y="4709"/>
                    </a:lnTo>
                    <a:lnTo>
                      <a:pt x="6215" y="4709"/>
                    </a:lnTo>
                    <a:lnTo>
                      <a:pt x="6278" y="4730"/>
                    </a:lnTo>
                    <a:lnTo>
                      <a:pt x="6257" y="4813"/>
                    </a:lnTo>
                    <a:lnTo>
                      <a:pt x="6299" y="4918"/>
                    </a:lnTo>
                    <a:lnTo>
                      <a:pt x="6382" y="5022"/>
                    </a:lnTo>
                    <a:lnTo>
                      <a:pt x="6487" y="5085"/>
                    </a:lnTo>
                    <a:lnTo>
                      <a:pt x="6487" y="5043"/>
                    </a:lnTo>
                    <a:lnTo>
                      <a:pt x="6508" y="5022"/>
                    </a:lnTo>
                    <a:lnTo>
                      <a:pt x="6487" y="5002"/>
                    </a:lnTo>
                    <a:lnTo>
                      <a:pt x="6550" y="4918"/>
                    </a:lnTo>
                    <a:lnTo>
                      <a:pt x="6571" y="4771"/>
                    </a:lnTo>
                    <a:lnTo>
                      <a:pt x="6508" y="4688"/>
                    </a:lnTo>
                    <a:lnTo>
                      <a:pt x="6403" y="4604"/>
                    </a:lnTo>
                    <a:lnTo>
                      <a:pt x="6236" y="4562"/>
                    </a:lnTo>
                    <a:lnTo>
                      <a:pt x="6131" y="4416"/>
                    </a:lnTo>
                    <a:lnTo>
                      <a:pt x="5943" y="4290"/>
                    </a:lnTo>
                    <a:lnTo>
                      <a:pt x="5504" y="4060"/>
                    </a:lnTo>
                    <a:lnTo>
                      <a:pt x="5294" y="4018"/>
                    </a:lnTo>
                    <a:lnTo>
                      <a:pt x="5148" y="4018"/>
                    </a:lnTo>
                    <a:lnTo>
                      <a:pt x="5106" y="3914"/>
                    </a:lnTo>
                    <a:lnTo>
                      <a:pt x="5106" y="3851"/>
                    </a:lnTo>
                    <a:lnTo>
                      <a:pt x="5232" y="3746"/>
                    </a:lnTo>
                    <a:lnTo>
                      <a:pt x="5252" y="3662"/>
                    </a:lnTo>
                    <a:lnTo>
                      <a:pt x="5148" y="3621"/>
                    </a:lnTo>
                    <a:lnTo>
                      <a:pt x="5022" y="3642"/>
                    </a:lnTo>
                    <a:lnTo>
                      <a:pt x="4918" y="3621"/>
                    </a:lnTo>
                    <a:lnTo>
                      <a:pt x="4708" y="3621"/>
                    </a:lnTo>
                    <a:lnTo>
                      <a:pt x="4625" y="3558"/>
                    </a:lnTo>
                    <a:lnTo>
                      <a:pt x="4520" y="3537"/>
                    </a:lnTo>
                    <a:lnTo>
                      <a:pt x="4457" y="3453"/>
                    </a:lnTo>
                    <a:lnTo>
                      <a:pt x="4290" y="3328"/>
                    </a:lnTo>
                    <a:lnTo>
                      <a:pt x="4206" y="3202"/>
                    </a:lnTo>
                    <a:lnTo>
                      <a:pt x="4102" y="3097"/>
                    </a:lnTo>
                    <a:lnTo>
                      <a:pt x="4039" y="2993"/>
                    </a:lnTo>
                    <a:lnTo>
                      <a:pt x="4039" y="2867"/>
                    </a:lnTo>
                    <a:lnTo>
                      <a:pt x="3976" y="2825"/>
                    </a:lnTo>
                    <a:lnTo>
                      <a:pt x="3976" y="2721"/>
                    </a:lnTo>
                    <a:lnTo>
                      <a:pt x="3620" y="2365"/>
                    </a:lnTo>
                    <a:lnTo>
                      <a:pt x="3537" y="2261"/>
                    </a:lnTo>
                    <a:lnTo>
                      <a:pt x="3411" y="2177"/>
                    </a:lnTo>
                    <a:lnTo>
                      <a:pt x="3139" y="2051"/>
                    </a:lnTo>
                    <a:lnTo>
                      <a:pt x="3097" y="1968"/>
                    </a:lnTo>
                    <a:lnTo>
                      <a:pt x="3056" y="1821"/>
                    </a:lnTo>
                    <a:lnTo>
                      <a:pt x="3014" y="1654"/>
                    </a:lnTo>
                    <a:lnTo>
                      <a:pt x="3056" y="1612"/>
                    </a:lnTo>
                    <a:lnTo>
                      <a:pt x="3139" y="1465"/>
                    </a:lnTo>
                    <a:lnTo>
                      <a:pt x="3056" y="1361"/>
                    </a:lnTo>
                    <a:lnTo>
                      <a:pt x="3014" y="1235"/>
                    </a:lnTo>
                    <a:lnTo>
                      <a:pt x="3056" y="1152"/>
                    </a:lnTo>
                    <a:lnTo>
                      <a:pt x="3202" y="1131"/>
                    </a:lnTo>
                    <a:lnTo>
                      <a:pt x="3307" y="1026"/>
                    </a:lnTo>
                    <a:lnTo>
                      <a:pt x="3432" y="1026"/>
                    </a:lnTo>
                    <a:lnTo>
                      <a:pt x="3516" y="942"/>
                    </a:lnTo>
                    <a:lnTo>
                      <a:pt x="3579" y="901"/>
                    </a:lnTo>
                    <a:lnTo>
                      <a:pt x="3725" y="921"/>
                    </a:lnTo>
                    <a:lnTo>
                      <a:pt x="3683" y="712"/>
                    </a:lnTo>
                    <a:lnTo>
                      <a:pt x="3725" y="691"/>
                    </a:lnTo>
                    <a:lnTo>
                      <a:pt x="3662" y="587"/>
                    </a:lnTo>
                    <a:lnTo>
                      <a:pt x="3788" y="398"/>
                    </a:lnTo>
                    <a:lnTo>
                      <a:pt x="3725" y="315"/>
                    </a:lnTo>
                    <a:lnTo>
                      <a:pt x="3537" y="356"/>
                    </a:lnTo>
                    <a:lnTo>
                      <a:pt x="3202" y="273"/>
                    </a:lnTo>
                    <a:lnTo>
                      <a:pt x="2909" y="105"/>
                    </a:lnTo>
                    <a:lnTo>
                      <a:pt x="2930" y="1"/>
                    </a:lnTo>
                    <a:lnTo>
                      <a:pt x="2721" y="43"/>
                    </a:lnTo>
                    <a:lnTo>
                      <a:pt x="2595" y="1"/>
                    </a:lnTo>
                    <a:close/>
                    <a:moveTo>
                      <a:pt x="4960" y="6236"/>
                    </a:moveTo>
                    <a:lnTo>
                      <a:pt x="4813" y="6362"/>
                    </a:lnTo>
                    <a:lnTo>
                      <a:pt x="4750" y="6362"/>
                    </a:lnTo>
                    <a:lnTo>
                      <a:pt x="4625" y="6278"/>
                    </a:lnTo>
                    <a:lnTo>
                      <a:pt x="4499" y="6403"/>
                    </a:lnTo>
                    <a:lnTo>
                      <a:pt x="4227" y="6382"/>
                    </a:lnTo>
                    <a:lnTo>
                      <a:pt x="4018" y="6445"/>
                    </a:lnTo>
                    <a:lnTo>
                      <a:pt x="3872" y="6403"/>
                    </a:lnTo>
                    <a:lnTo>
                      <a:pt x="3767" y="6341"/>
                    </a:lnTo>
                    <a:lnTo>
                      <a:pt x="3641" y="6341"/>
                    </a:lnTo>
                    <a:lnTo>
                      <a:pt x="3558" y="6382"/>
                    </a:lnTo>
                    <a:lnTo>
                      <a:pt x="3495" y="6341"/>
                    </a:lnTo>
                    <a:lnTo>
                      <a:pt x="3369" y="6382"/>
                    </a:lnTo>
                    <a:lnTo>
                      <a:pt x="3348" y="6571"/>
                    </a:lnTo>
                    <a:lnTo>
                      <a:pt x="3474" y="6675"/>
                    </a:lnTo>
                    <a:lnTo>
                      <a:pt x="3600" y="6655"/>
                    </a:lnTo>
                    <a:lnTo>
                      <a:pt x="3809" y="6801"/>
                    </a:lnTo>
                    <a:lnTo>
                      <a:pt x="3955" y="6822"/>
                    </a:lnTo>
                    <a:lnTo>
                      <a:pt x="4060" y="6927"/>
                    </a:lnTo>
                    <a:lnTo>
                      <a:pt x="4311" y="7031"/>
                    </a:lnTo>
                    <a:lnTo>
                      <a:pt x="4374" y="7010"/>
                    </a:lnTo>
                    <a:lnTo>
                      <a:pt x="4478" y="7094"/>
                    </a:lnTo>
                    <a:lnTo>
                      <a:pt x="4499" y="7199"/>
                    </a:lnTo>
                    <a:lnTo>
                      <a:pt x="4750" y="7303"/>
                    </a:lnTo>
                    <a:lnTo>
                      <a:pt x="4855" y="7282"/>
                    </a:lnTo>
                    <a:lnTo>
                      <a:pt x="4855" y="7136"/>
                    </a:lnTo>
                    <a:lnTo>
                      <a:pt x="4918" y="7073"/>
                    </a:lnTo>
                    <a:lnTo>
                      <a:pt x="4918" y="6927"/>
                    </a:lnTo>
                    <a:lnTo>
                      <a:pt x="4813" y="6801"/>
                    </a:lnTo>
                    <a:lnTo>
                      <a:pt x="4918" y="6508"/>
                    </a:lnTo>
                    <a:lnTo>
                      <a:pt x="5022" y="6403"/>
                    </a:lnTo>
                    <a:lnTo>
                      <a:pt x="5022" y="6362"/>
                    </a:lnTo>
                    <a:lnTo>
                      <a:pt x="5043" y="6362"/>
                    </a:lnTo>
                    <a:lnTo>
                      <a:pt x="5043" y="6341"/>
                    </a:lnTo>
                    <a:lnTo>
                      <a:pt x="4960" y="6236"/>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9" name="Google Shape;5837;p93">
              <a:extLst>
                <a:ext uri="{FF2B5EF4-FFF2-40B4-BE49-F238E27FC236}">
                  <a16:creationId xmlns:a16="http://schemas.microsoft.com/office/drawing/2014/main" id="{D60FCDCC-2E2C-470F-A947-3AB634194A05}"/>
                </a:ext>
              </a:extLst>
            </p:cNvPr>
            <p:cNvGrpSpPr/>
            <p:nvPr/>
          </p:nvGrpSpPr>
          <p:grpSpPr>
            <a:xfrm>
              <a:off x="3775674" y="2798496"/>
              <a:ext cx="40545" cy="23564"/>
              <a:chOff x="3750475" y="2481850"/>
              <a:chExt cx="85125" cy="51800"/>
            </a:xfrm>
          </p:grpSpPr>
          <p:sp>
            <p:nvSpPr>
              <p:cNvPr id="1342" name="Google Shape;5838;p93">
                <a:extLst>
                  <a:ext uri="{FF2B5EF4-FFF2-40B4-BE49-F238E27FC236}">
                    <a16:creationId xmlns:a16="http://schemas.microsoft.com/office/drawing/2014/main" id="{9986C700-616A-4830-A208-2D65AF03BD54}"/>
                  </a:ext>
                </a:extLst>
              </p:cNvPr>
              <p:cNvSpPr/>
              <p:nvPr/>
            </p:nvSpPr>
            <p:spPr>
              <a:xfrm>
                <a:off x="3762125" y="2492625"/>
                <a:ext cx="64900" cy="36650"/>
              </a:xfrm>
              <a:custGeom>
                <a:avLst/>
                <a:gdLst/>
                <a:ahLst/>
                <a:cxnLst/>
                <a:rect l="l" t="t" r="r" b="b"/>
                <a:pathLst>
                  <a:path w="2596" h="1466" extrusionOk="0">
                    <a:moveTo>
                      <a:pt x="1507" y="1"/>
                    </a:moveTo>
                    <a:lnTo>
                      <a:pt x="1361" y="64"/>
                    </a:lnTo>
                    <a:lnTo>
                      <a:pt x="1402" y="105"/>
                    </a:lnTo>
                    <a:lnTo>
                      <a:pt x="1340" y="189"/>
                    </a:lnTo>
                    <a:lnTo>
                      <a:pt x="1214" y="126"/>
                    </a:lnTo>
                    <a:lnTo>
                      <a:pt x="1109" y="189"/>
                    </a:lnTo>
                    <a:lnTo>
                      <a:pt x="1005" y="168"/>
                    </a:lnTo>
                    <a:lnTo>
                      <a:pt x="817" y="210"/>
                    </a:lnTo>
                    <a:lnTo>
                      <a:pt x="712" y="210"/>
                    </a:lnTo>
                    <a:lnTo>
                      <a:pt x="691" y="126"/>
                    </a:lnTo>
                    <a:lnTo>
                      <a:pt x="565" y="126"/>
                    </a:lnTo>
                    <a:lnTo>
                      <a:pt x="482" y="231"/>
                    </a:lnTo>
                    <a:lnTo>
                      <a:pt x="607" y="294"/>
                    </a:lnTo>
                    <a:lnTo>
                      <a:pt x="607" y="398"/>
                    </a:lnTo>
                    <a:lnTo>
                      <a:pt x="503" y="440"/>
                    </a:lnTo>
                    <a:lnTo>
                      <a:pt x="398" y="608"/>
                    </a:lnTo>
                    <a:lnTo>
                      <a:pt x="314" y="628"/>
                    </a:lnTo>
                    <a:lnTo>
                      <a:pt x="168" y="859"/>
                    </a:lnTo>
                    <a:lnTo>
                      <a:pt x="147" y="1047"/>
                    </a:lnTo>
                    <a:lnTo>
                      <a:pt x="147" y="1152"/>
                    </a:lnTo>
                    <a:lnTo>
                      <a:pt x="84" y="1152"/>
                    </a:lnTo>
                    <a:lnTo>
                      <a:pt x="0" y="1173"/>
                    </a:lnTo>
                    <a:lnTo>
                      <a:pt x="42" y="1277"/>
                    </a:lnTo>
                    <a:lnTo>
                      <a:pt x="147" y="1277"/>
                    </a:lnTo>
                    <a:lnTo>
                      <a:pt x="293" y="1235"/>
                    </a:lnTo>
                    <a:lnTo>
                      <a:pt x="252" y="1068"/>
                    </a:lnTo>
                    <a:lnTo>
                      <a:pt x="314" y="1026"/>
                    </a:lnTo>
                    <a:lnTo>
                      <a:pt x="482" y="1026"/>
                    </a:lnTo>
                    <a:lnTo>
                      <a:pt x="524" y="1131"/>
                    </a:lnTo>
                    <a:lnTo>
                      <a:pt x="586" y="1277"/>
                    </a:lnTo>
                    <a:lnTo>
                      <a:pt x="670" y="1340"/>
                    </a:lnTo>
                    <a:lnTo>
                      <a:pt x="670" y="1424"/>
                    </a:lnTo>
                    <a:lnTo>
                      <a:pt x="796" y="1465"/>
                    </a:lnTo>
                    <a:lnTo>
                      <a:pt x="1026" y="1319"/>
                    </a:lnTo>
                    <a:lnTo>
                      <a:pt x="1151" y="1361"/>
                    </a:lnTo>
                    <a:lnTo>
                      <a:pt x="1361" y="1026"/>
                    </a:lnTo>
                    <a:lnTo>
                      <a:pt x="1507" y="1110"/>
                    </a:lnTo>
                    <a:lnTo>
                      <a:pt x="1507" y="1235"/>
                    </a:lnTo>
                    <a:lnTo>
                      <a:pt x="1674" y="1319"/>
                    </a:lnTo>
                    <a:lnTo>
                      <a:pt x="1737" y="1445"/>
                    </a:lnTo>
                    <a:lnTo>
                      <a:pt x="1842" y="1235"/>
                    </a:lnTo>
                    <a:lnTo>
                      <a:pt x="1842" y="1068"/>
                    </a:lnTo>
                    <a:lnTo>
                      <a:pt x="2093" y="1131"/>
                    </a:lnTo>
                    <a:lnTo>
                      <a:pt x="2197" y="1131"/>
                    </a:lnTo>
                    <a:lnTo>
                      <a:pt x="2302" y="1214"/>
                    </a:lnTo>
                    <a:lnTo>
                      <a:pt x="2302" y="1005"/>
                    </a:lnTo>
                    <a:lnTo>
                      <a:pt x="2553" y="942"/>
                    </a:lnTo>
                    <a:lnTo>
                      <a:pt x="2490" y="754"/>
                    </a:lnTo>
                    <a:lnTo>
                      <a:pt x="2595" y="628"/>
                    </a:lnTo>
                    <a:lnTo>
                      <a:pt x="2553" y="524"/>
                    </a:lnTo>
                    <a:lnTo>
                      <a:pt x="2469" y="524"/>
                    </a:lnTo>
                    <a:lnTo>
                      <a:pt x="2365" y="628"/>
                    </a:lnTo>
                    <a:lnTo>
                      <a:pt x="2260" y="503"/>
                    </a:lnTo>
                    <a:lnTo>
                      <a:pt x="2177" y="524"/>
                    </a:lnTo>
                    <a:lnTo>
                      <a:pt x="2030" y="524"/>
                    </a:lnTo>
                    <a:lnTo>
                      <a:pt x="1988" y="440"/>
                    </a:lnTo>
                    <a:lnTo>
                      <a:pt x="2030" y="398"/>
                    </a:lnTo>
                    <a:lnTo>
                      <a:pt x="2030" y="294"/>
                    </a:lnTo>
                    <a:lnTo>
                      <a:pt x="1884" y="210"/>
                    </a:lnTo>
                    <a:lnTo>
                      <a:pt x="1737" y="84"/>
                    </a:lnTo>
                    <a:lnTo>
                      <a:pt x="1653" y="84"/>
                    </a:lnTo>
                    <a:lnTo>
                      <a:pt x="1612" y="126"/>
                    </a:lnTo>
                    <a:lnTo>
                      <a:pt x="1528" y="105"/>
                    </a:lnTo>
                    <a:lnTo>
                      <a:pt x="15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 name="Google Shape;5839;p93">
                <a:extLst>
                  <a:ext uri="{FF2B5EF4-FFF2-40B4-BE49-F238E27FC236}">
                    <a16:creationId xmlns:a16="http://schemas.microsoft.com/office/drawing/2014/main" id="{CE1D6B2A-98CE-4089-BED9-02386CF0C32A}"/>
                  </a:ext>
                </a:extLst>
              </p:cNvPr>
              <p:cNvSpPr/>
              <p:nvPr/>
            </p:nvSpPr>
            <p:spPr>
              <a:xfrm>
                <a:off x="3750475" y="2481850"/>
                <a:ext cx="85125" cy="51800"/>
              </a:xfrm>
              <a:custGeom>
                <a:avLst/>
                <a:gdLst/>
                <a:ahLst/>
                <a:cxnLst/>
                <a:rect l="l" t="t" r="r" b="b"/>
                <a:pathLst>
                  <a:path w="3405" h="2072" extrusionOk="0">
                    <a:moveTo>
                      <a:pt x="1095" y="286"/>
                    </a:moveTo>
                    <a:lnTo>
                      <a:pt x="0" y="1667"/>
                    </a:lnTo>
                    <a:lnTo>
                      <a:pt x="547" y="2072"/>
                    </a:lnTo>
                    <a:lnTo>
                      <a:pt x="1214" y="1858"/>
                    </a:lnTo>
                    <a:lnTo>
                      <a:pt x="1881" y="1262"/>
                    </a:lnTo>
                    <a:lnTo>
                      <a:pt x="2976" y="1286"/>
                    </a:lnTo>
                    <a:lnTo>
                      <a:pt x="3405" y="786"/>
                    </a:lnTo>
                    <a:lnTo>
                      <a:pt x="2167" y="0"/>
                    </a:lnTo>
                    <a:close/>
                  </a:path>
                </a:pathLst>
              </a:custGeom>
              <a:ln/>
            </p:spPr>
            <p:style>
              <a:lnRef idx="2">
                <a:schemeClr val="dk1"/>
              </a:lnRef>
              <a:fillRef idx="1">
                <a:schemeClr val="lt1"/>
              </a:fillRef>
              <a:effectRef idx="0">
                <a:schemeClr val="dk1"/>
              </a:effectRef>
              <a:fontRef idx="minor">
                <a:schemeClr val="dk1"/>
              </a:fontRef>
            </p:style>
          </p:sp>
        </p:grpSp>
        <p:grpSp>
          <p:nvGrpSpPr>
            <p:cNvPr id="1110" name="Google Shape;5840;p93">
              <a:extLst>
                <a:ext uri="{FF2B5EF4-FFF2-40B4-BE49-F238E27FC236}">
                  <a16:creationId xmlns:a16="http://schemas.microsoft.com/office/drawing/2014/main" id="{F64D4CC1-B99F-43CF-B1BA-1DE9AA79DD14}"/>
                </a:ext>
              </a:extLst>
            </p:cNvPr>
            <p:cNvGrpSpPr/>
            <p:nvPr/>
          </p:nvGrpSpPr>
          <p:grpSpPr>
            <a:xfrm>
              <a:off x="3716946" y="2776024"/>
              <a:ext cx="81971" cy="76912"/>
              <a:chOff x="3627175" y="2432450"/>
              <a:chExt cx="172100" cy="169075"/>
            </a:xfrm>
          </p:grpSpPr>
          <p:sp>
            <p:nvSpPr>
              <p:cNvPr id="1339" name="Google Shape;5841;p93">
                <a:extLst>
                  <a:ext uri="{FF2B5EF4-FFF2-40B4-BE49-F238E27FC236}">
                    <a16:creationId xmlns:a16="http://schemas.microsoft.com/office/drawing/2014/main" id="{EAB9A5E3-EBC2-4B13-9BCA-CE013F8E5A14}"/>
                  </a:ext>
                </a:extLst>
              </p:cNvPr>
              <p:cNvSpPr/>
              <p:nvPr/>
            </p:nvSpPr>
            <p:spPr>
              <a:xfrm>
                <a:off x="3627175" y="2433000"/>
                <a:ext cx="164800" cy="156950"/>
              </a:xfrm>
              <a:custGeom>
                <a:avLst/>
                <a:gdLst/>
                <a:ahLst/>
                <a:cxnLst/>
                <a:rect l="l" t="t" r="r" b="b"/>
                <a:pathLst>
                  <a:path w="6592" h="6278" extrusionOk="0">
                    <a:moveTo>
                      <a:pt x="3829" y="0"/>
                    </a:moveTo>
                    <a:lnTo>
                      <a:pt x="3808" y="42"/>
                    </a:lnTo>
                    <a:lnTo>
                      <a:pt x="3599" y="105"/>
                    </a:lnTo>
                    <a:lnTo>
                      <a:pt x="3578" y="63"/>
                    </a:lnTo>
                    <a:lnTo>
                      <a:pt x="3390" y="168"/>
                    </a:lnTo>
                    <a:lnTo>
                      <a:pt x="3369" y="272"/>
                    </a:lnTo>
                    <a:lnTo>
                      <a:pt x="3390" y="398"/>
                    </a:lnTo>
                    <a:lnTo>
                      <a:pt x="3348" y="607"/>
                    </a:lnTo>
                    <a:lnTo>
                      <a:pt x="3181" y="796"/>
                    </a:lnTo>
                    <a:lnTo>
                      <a:pt x="3181" y="837"/>
                    </a:lnTo>
                    <a:lnTo>
                      <a:pt x="2992" y="900"/>
                    </a:lnTo>
                    <a:lnTo>
                      <a:pt x="2888" y="900"/>
                    </a:lnTo>
                    <a:lnTo>
                      <a:pt x="2783" y="879"/>
                    </a:lnTo>
                    <a:lnTo>
                      <a:pt x="2574" y="1005"/>
                    </a:lnTo>
                    <a:lnTo>
                      <a:pt x="2532" y="1089"/>
                    </a:lnTo>
                    <a:lnTo>
                      <a:pt x="2574" y="1151"/>
                    </a:lnTo>
                    <a:lnTo>
                      <a:pt x="2658" y="1193"/>
                    </a:lnTo>
                    <a:lnTo>
                      <a:pt x="2532" y="1298"/>
                    </a:lnTo>
                    <a:lnTo>
                      <a:pt x="2365" y="1319"/>
                    </a:lnTo>
                    <a:lnTo>
                      <a:pt x="2134" y="1298"/>
                    </a:lnTo>
                    <a:lnTo>
                      <a:pt x="2030" y="1235"/>
                    </a:lnTo>
                    <a:lnTo>
                      <a:pt x="1946" y="1298"/>
                    </a:lnTo>
                    <a:lnTo>
                      <a:pt x="1925" y="1214"/>
                    </a:lnTo>
                    <a:lnTo>
                      <a:pt x="1841" y="1151"/>
                    </a:lnTo>
                    <a:lnTo>
                      <a:pt x="1883" y="1047"/>
                    </a:lnTo>
                    <a:lnTo>
                      <a:pt x="1800" y="1026"/>
                    </a:lnTo>
                    <a:lnTo>
                      <a:pt x="1695" y="1047"/>
                    </a:lnTo>
                    <a:lnTo>
                      <a:pt x="1569" y="1047"/>
                    </a:lnTo>
                    <a:lnTo>
                      <a:pt x="1507" y="1026"/>
                    </a:lnTo>
                    <a:lnTo>
                      <a:pt x="1528" y="1151"/>
                    </a:lnTo>
                    <a:lnTo>
                      <a:pt x="1507" y="1214"/>
                    </a:lnTo>
                    <a:lnTo>
                      <a:pt x="1716" y="1402"/>
                    </a:lnTo>
                    <a:lnTo>
                      <a:pt x="1674" y="1444"/>
                    </a:lnTo>
                    <a:lnTo>
                      <a:pt x="1695" y="1528"/>
                    </a:lnTo>
                    <a:lnTo>
                      <a:pt x="1695" y="1633"/>
                    </a:lnTo>
                    <a:lnTo>
                      <a:pt x="1737" y="1716"/>
                    </a:lnTo>
                    <a:lnTo>
                      <a:pt x="1737" y="1821"/>
                    </a:lnTo>
                    <a:lnTo>
                      <a:pt x="1569" y="1779"/>
                    </a:lnTo>
                    <a:lnTo>
                      <a:pt x="1465" y="1821"/>
                    </a:lnTo>
                    <a:lnTo>
                      <a:pt x="1381" y="1779"/>
                    </a:lnTo>
                    <a:lnTo>
                      <a:pt x="1277" y="1821"/>
                    </a:lnTo>
                    <a:lnTo>
                      <a:pt x="1256" y="1758"/>
                    </a:lnTo>
                    <a:lnTo>
                      <a:pt x="1109" y="1863"/>
                    </a:lnTo>
                    <a:lnTo>
                      <a:pt x="963" y="1653"/>
                    </a:lnTo>
                    <a:lnTo>
                      <a:pt x="858" y="1633"/>
                    </a:lnTo>
                    <a:lnTo>
                      <a:pt x="733" y="1653"/>
                    </a:lnTo>
                    <a:lnTo>
                      <a:pt x="628" y="1758"/>
                    </a:lnTo>
                    <a:lnTo>
                      <a:pt x="565" y="1737"/>
                    </a:lnTo>
                    <a:lnTo>
                      <a:pt x="481" y="1779"/>
                    </a:lnTo>
                    <a:lnTo>
                      <a:pt x="440" y="1758"/>
                    </a:lnTo>
                    <a:lnTo>
                      <a:pt x="335" y="1758"/>
                    </a:lnTo>
                    <a:lnTo>
                      <a:pt x="251" y="1842"/>
                    </a:lnTo>
                    <a:lnTo>
                      <a:pt x="63" y="1863"/>
                    </a:lnTo>
                    <a:lnTo>
                      <a:pt x="0" y="1946"/>
                    </a:lnTo>
                    <a:lnTo>
                      <a:pt x="42" y="2030"/>
                    </a:lnTo>
                    <a:lnTo>
                      <a:pt x="147" y="1988"/>
                    </a:lnTo>
                    <a:lnTo>
                      <a:pt x="251" y="2030"/>
                    </a:lnTo>
                    <a:lnTo>
                      <a:pt x="272" y="2051"/>
                    </a:lnTo>
                    <a:lnTo>
                      <a:pt x="272" y="2051"/>
                    </a:lnTo>
                    <a:lnTo>
                      <a:pt x="147" y="2030"/>
                    </a:lnTo>
                    <a:lnTo>
                      <a:pt x="105" y="2051"/>
                    </a:lnTo>
                    <a:lnTo>
                      <a:pt x="126" y="2156"/>
                    </a:lnTo>
                    <a:lnTo>
                      <a:pt x="168" y="2072"/>
                    </a:lnTo>
                    <a:lnTo>
                      <a:pt x="230" y="2093"/>
                    </a:lnTo>
                    <a:lnTo>
                      <a:pt x="251" y="2177"/>
                    </a:lnTo>
                    <a:lnTo>
                      <a:pt x="209" y="2197"/>
                    </a:lnTo>
                    <a:lnTo>
                      <a:pt x="105" y="2239"/>
                    </a:lnTo>
                    <a:lnTo>
                      <a:pt x="105" y="2260"/>
                    </a:lnTo>
                    <a:lnTo>
                      <a:pt x="209" y="2260"/>
                    </a:lnTo>
                    <a:lnTo>
                      <a:pt x="230" y="2386"/>
                    </a:lnTo>
                    <a:lnTo>
                      <a:pt x="230" y="2469"/>
                    </a:lnTo>
                    <a:lnTo>
                      <a:pt x="335" y="2386"/>
                    </a:lnTo>
                    <a:lnTo>
                      <a:pt x="481" y="2386"/>
                    </a:lnTo>
                    <a:lnTo>
                      <a:pt x="670" y="2469"/>
                    </a:lnTo>
                    <a:lnTo>
                      <a:pt x="733" y="2511"/>
                    </a:lnTo>
                    <a:lnTo>
                      <a:pt x="774" y="2511"/>
                    </a:lnTo>
                    <a:lnTo>
                      <a:pt x="900" y="2595"/>
                    </a:lnTo>
                    <a:lnTo>
                      <a:pt x="1005" y="2511"/>
                    </a:lnTo>
                    <a:lnTo>
                      <a:pt x="1067" y="2553"/>
                    </a:lnTo>
                    <a:lnTo>
                      <a:pt x="1046" y="2595"/>
                    </a:lnTo>
                    <a:lnTo>
                      <a:pt x="1067" y="2658"/>
                    </a:lnTo>
                    <a:lnTo>
                      <a:pt x="1172" y="2595"/>
                    </a:lnTo>
                    <a:lnTo>
                      <a:pt x="1214" y="2658"/>
                    </a:lnTo>
                    <a:lnTo>
                      <a:pt x="1172" y="2762"/>
                    </a:lnTo>
                    <a:lnTo>
                      <a:pt x="1214" y="2825"/>
                    </a:lnTo>
                    <a:lnTo>
                      <a:pt x="1297" y="2825"/>
                    </a:lnTo>
                    <a:lnTo>
                      <a:pt x="1402" y="2783"/>
                    </a:lnTo>
                    <a:lnTo>
                      <a:pt x="1528" y="2783"/>
                    </a:lnTo>
                    <a:lnTo>
                      <a:pt x="1611" y="2888"/>
                    </a:lnTo>
                    <a:lnTo>
                      <a:pt x="1507" y="2825"/>
                    </a:lnTo>
                    <a:lnTo>
                      <a:pt x="1402" y="2825"/>
                    </a:lnTo>
                    <a:lnTo>
                      <a:pt x="1360" y="2930"/>
                    </a:lnTo>
                    <a:lnTo>
                      <a:pt x="1402" y="2972"/>
                    </a:lnTo>
                    <a:lnTo>
                      <a:pt x="1423" y="3076"/>
                    </a:lnTo>
                    <a:lnTo>
                      <a:pt x="1381" y="3181"/>
                    </a:lnTo>
                    <a:lnTo>
                      <a:pt x="1402" y="3244"/>
                    </a:lnTo>
                    <a:lnTo>
                      <a:pt x="1486" y="3244"/>
                    </a:lnTo>
                    <a:lnTo>
                      <a:pt x="1632" y="3432"/>
                    </a:lnTo>
                    <a:lnTo>
                      <a:pt x="1779" y="3453"/>
                    </a:lnTo>
                    <a:lnTo>
                      <a:pt x="1904" y="3537"/>
                    </a:lnTo>
                    <a:lnTo>
                      <a:pt x="1904" y="3641"/>
                    </a:lnTo>
                    <a:lnTo>
                      <a:pt x="1946" y="3725"/>
                    </a:lnTo>
                    <a:lnTo>
                      <a:pt x="1904" y="3830"/>
                    </a:lnTo>
                    <a:lnTo>
                      <a:pt x="1883" y="3850"/>
                    </a:lnTo>
                    <a:lnTo>
                      <a:pt x="1841" y="3934"/>
                    </a:lnTo>
                    <a:lnTo>
                      <a:pt x="1946" y="3955"/>
                    </a:lnTo>
                    <a:lnTo>
                      <a:pt x="2134" y="4081"/>
                    </a:lnTo>
                    <a:lnTo>
                      <a:pt x="2260" y="4436"/>
                    </a:lnTo>
                    <a:lnTo>
                      <a:pt x="2260" y="4436"/>
                    </a:lnTo>
                    <a:lnTo>
                      <a:pt x="2113" y="4269"/>
                    </a:lnTo>
                    <a:lnTo>
                      <a:pt x="2093" y="4143"/>
                    </a:lnTo>
                    <a:lnTo>
                      <a:pt x="1946" y="4081"/>
                    </a:lnTo>
                    <a:lnTo>
                      <a:pt x="1904" y="4122"/>
                    </a:lnTo>
                    <a:lnTo>
                      <a:pt x="1841" y="4394"/>
                    </a:lnTo>
                    <a:lnTo>
                      <a:pt x="1841" y="4604"/>
                    </a:lnTo>
                    <a:lnTo>
                      <a:pt x="1946" y="4687"/>
                    </a:lnTo>
                    <a:lnTo>
                      <a:pt x="1883" y="4750"/>
                    </a:lnTo>
                    <a:lnTo>
                      <a:pt x="1841" y="5127"/>
                    </a:lnTo>
                    <a:lnTo>
                      <a:pt x="1737" y="5482"/>
                    </a:lnTo>
                    <a:lnTo>
                      <a:pt x="1590" y="5545"/>
                    </a:lnTo>
                    <a:lnTo>
                      <a:pt x="1695" y="5608"/>
                    </a:lnTo>
                    <a:lnTo>
                      <a:pt x="1716" y="5629"/>
                    </a:lnTo>
                    <a:lnTo>
                      <a:pt x="1779" y="5629"/>
                    </a:lnTo>
                    <a:lnTo>
                      <a:pt x="1800" y="5754"/>
                    </a:lnTo>
                    <a:lnTo>
                      <a:pt x="1800" y="5859"/>
                    </a:lnTo>
                    <a:lnTo>
                      <a:pt x="1946" y="5838"/>
                    </a:lnTo>
                    <a:lnTo>
                      <a:pt x="2197" y="5922"/>
                    </a:lnTo>
                    <a:lnTo>
                      <a:pt x="2302" y="6047"/>
                    </a:lnTo>
                    <a:lnTo>
                      <a:pt x="2406" y="6006"/>
                    </a:lnTo>
                    <a:lnTo>
                      <a:pt x="2532" y="6131"/>
                    </a:lnTo>
                    <a:lnTo>
                      <a:pt x="2678" y="6131"/>
                    </a:lnTo>
                    <a:lnTo>
                      <a:pt x="2762" y="6152"/>
                    </a:lnTo>
                    <a:lnTo>
                      <a:pt x="2867" y="6047"/>
                    </a:lnTo>
                    <a:lnTo>
                      <a:pt x="3139" y="6047"/>
                    </a:lnTo>
                    <a:lnTo>
                      <a:pt x="3243" y="6110"/>
                    </a:lnTo>
                    <a:lnTo>
                      <a:pt x="3390" y="6068"/>
                    </a:lnTo>
                    <a:lnTo>
                      <a:pt x="3557" y="6173"/>
                    </a:lnTo>
                    <a:lnTo>
                      <a:pt x="3829" y="6152"/>
                    </a:lnTo>
                    <a:lnTo>
                      <a:pt x="4018" y="6257"/>
                    </a:lnTo>
                    <a:lnTo>
                      <a:pt x="4101" y="6278"/>
                    </a:lnTo>
                    <a:lnTo>
                      <a:pt x="4101" y="6236"/>
                    </a:lnTo>
                    <a:lnTo>
                      <a:pt x="4038" y="6068"/>
                    </a:lnTo>
                    <a:lnTo>
                      <a:pt x="4101" y="5859"/>
                    </a:lnTo>
                    <a:lnTo>
                      <a:pt x="4101" y="5796"/>
                    </a:lnTo>
                    <a:lnTo>
                      <a:pt x="4227" y="5650"/>
                    </a:lnTo>
                    <a:lnTo>
                      <a:pt x="4436" y="5441"/>
                    </a:lnTo>
                    <a:lnTo>
                      <a:pt x="4499" y="5441"/>
                    </a:lnTo>
                    <a:lnTo>
                      <a:pt x="4562" y="5503"/>
                    </a:lnTo>
                    <a:lnTo>
                      <a:pt x="4708" y="5503"/>
                    </a:lnTo>
                    <a:lnTo>
                      <a:pt x="4834" y="5587"/>
                    </a:lnTo>
                    <a:lnTo>
                      <a:pt x="4938" y="5587"/>
                    </a:lnTo>
                    <a:lnTo>
                      <a:pt x="5022" y="5524"/>
                    </a:lnTo>
                    <a:lnTo>
                      <a:pt x="5085" y="5503"/>
                    </a:lnTo>
                    <a:lnTo>
                      <a:pt x="5461" y="5734"/>
                    </a:lnTo>
                    <a:lnTo>
                      <a:pt x="5545" y="5817"/>
                    </a:lnTo>
                    <a:lnTo>
                      <a:pt x="5796" y="5817"/>
                    </a:lnTo>
                    <a:lnTo>
                      <a:pt x="5901" y="5734"/>
                    </a:lnTo>
                    <a:lnTo>
                      <a:pt x="5880" y="5692"/>
                    </a:lnTo>
                    <a:lnTo>
                      <a:pt x="5984" y="5545"/>
                    </a:lnTo>
                    <a:lnTo>
                      <a:pt x="6340" y="5294"/>
                    </a:lnTo>
                    <a:lnTo>
                      <a:pt x="6382" y="5273"/>
                    </a:lnTo>
                    <a:lnTo>
                      <a:pt x="6319" y="5169"/>
                    </a:lnTo>
                    <a:lnTo>
                      <a:pt x="6403" y="4980"/>
                    </a:lnTo>
                    <a:lnTo>
                      <a:pt x="6235" y="4980"/>
                    </a:lnTo>
                    <a:lnTo>
                      <a:pt x="6068" y="4855"/>
                    </a:lnTo>
                    <a:lnTo>
                      <a:pt x="6026" y="4562"/>
                    </a:lnTo>
                    <a:lnTo>
                      <a:pt x="5880" y="4394"/>
                    </a:lnTo>
                    <a:lnTo>
                      <a:pt x="5963" y="4332"/>
                    </a:lnTo>
                    <a:lnTo>
                      <a:pt x="6089" y="4290"/>
                    </a:lnTo>
                    <a:lnTo>
                      <a:pt x="6131" y="4122"/>
                    </a:lnTo>
                    <a:lnTo>
                      <a:pt x="6026" y="4018"/>
                    </a:lnTo>
                    <a:lnTo>
                      <a:pt x="6005" y="3850"/>
                    </a:lnTo>
                    <a:lnTo>
                      <a:pt x="6068" y="3809"/>
                    </a:lnTo>
                    <a:lnTo>
                      <a:pt x="6068" y="3725"/>
                    </a:lnTo>
                    <a:lnTo>
                      <a:pt x="5984" y="3662"/>
                    </a:lnTo>
                    <a:lnTo>
                      <a:pt x="5922" y="3516"/>
                    </a:lnTo>
                    <a:lnTo>
                      <a:pt x="5880" y="3411"/>
                    </a:lnTo>
                    <a:lnTo>
                      <a:pt x="5712" y="3411"/>
                    </a:lnTo>
                    <a:lnTo>
                      <a:pt x="5650" y="3453"/>
                    </a:lnTo>
                    <a:lnTo>
                      <a:pt x="5691" y="3620"/>
                    </a:lnTo>
                    <a:lnTo>
                      <a:pt x="5545" y="3662"/>
                    </a:lnTo>
                    <a:lnTo>
                      <a:pt x="5440" y="3662"/>
                    </a:lnTo>
                    <a:lnTo>
                      <a:pt x="5398" y="3558"/>
                    </a:lnTo>
                    <a:lnTo>
                      <a:pt x="5482" y="3537"/>
                    </a:lnTo>
                    <a:lnTo>
                      <a:pt x="5545" y="3537"/>
                    </a:lnTo>
                    <a:lnTo>
                      <a:pt x="5545" y="3432"/>
                    </a:lnTo>
                    <a:lnTo>
                      <a:pt x="5566" y="3244"/>
                    </a:lnTo>
                    <a:lnTo>
                      <a:pt x="5712" y="3013"/>
                    </a:lnTo>
                    <a:lnTo>
                      <a:pt x="5796" y="2993"/>
                    </a:lnTo>
                    <a:lnTo>
                      <a:pt x="5901" y="2825"/>
                    </a:lnTo>
                    <a:lnTo>
                      <a:pt x="6005" y="2783"/>
                    </a:lnTo>
                    <a:lnTo>
                      <a:pt x="6005" y="2679"/>
                    </a:lnTo>
                    <a:lnTo>
                      <a:pt x="5880" y="2616"/>
                    </a:lnTo>
                    <a:lnTo>
                      <a:pt x="5963" y="2511"/>
                    </a:lnTo>
                    <a:lnTo>
                      <a:pt x="6089" y="2511"/>
                    </a:lnTo>
                    <a:lnTo>
                      <a:pt x="6110" y="2595"/>
                    </a:lnTo>
                    <a:lnTo>
                      <a:pt x="6215" y="2595"/>
                    </a:lnTo>
                    <a:lnTo>
                      <a:pt x="6403" y="2553"/>
                    </a:lnTo>
                    <a:lnTo>
                      <a:pt x="6340" y="2449"/>
                    </a:lnTo>
                    <a:lnTo>
                      <a:pt x="6235" y="2365"/>
                    </a:lnTo>
                    <a:lnTo>
                      <a:pt x="6235" y="2197"/>
                    </a:lnTo>
                    <a:lnTo>
                      <a:pt x="6298" y="2030"/>
                    </a:lnTo>
                    <a:lnTo>
                      <a:pt x="6382" y="1946"/>
                    </a:lnTo>
                    <a:lnTo>
                      <a:pt x="6382" y="1842"/>
                    </a:lnTo>
                    <a:lnTo>
                      <a:pt x="6445" y="1674"/>
                    </a:lnTo>
                    <a:lnTo>
                      <a:pt x="6591" y="1549"/>
                    </a:lnTo>
                    <a:lnTo>
                      <a:pt x="6445" y="1465"/>
                    </a:lnTo>
                    <a:lnTo>
                      <a:pt x="6340" y="1465"/>
                    </a:lnTo>
                    <a:lnTo>
                      <a:pt x="6215" y="1402"/>
                    </a:lnTo>
                    <a:lnTo>
                      <a:pt x="6110" y="1444"/>
                    </a:lnTo>
                    <a:lnTo>
                      <a:pt x="6026" y="1402"/>
                    </a:lnTo>
                    <a:lnTo>
                      <a:pt x="5922" y="1402"/>
                    </a:lnTo>
                    <a:lnTo>
                      <a:pt x="5859" y="1444"/>
                    </a:lnTo>
                    <a:lnTo>
                      <a:pt x="5754" y="1361"/>
                    </a:lnTo>
                    <a:lnTo>
                      <a:pt x="5754" y="1298"/>
                    </a:lnTo>
                    <a:lnTo>
                      <a:pt x="5650" y="1214"/>
                    </a:lnTo>
                    <a:lnTo>
                      <a:pt x="5566" y="1235"/>
                    </a:lnTo>
                    <a:lnTo>
                      <a:pt x="5398" y="1193"/>
                    </a:lnTo>
                    <a:lnTo>
                      <a:pt x="5357" y="1089"/>
                    </a:lnTo>
                    <a:lnTo>
                      <a:pt x="5252" y="1089"/>
                    </a:lnTo>
                    <a:lnTo>
                      <a:pt x="5189" y="1130"/>
                    </a:lnTo>
                    <a:lnTo>
                      <a:pt x="5085" y="1047"/>
                    </a:lnTo>
                    <a:lnTo>
                      <a:pt x="4980" y="1026"/>
                    </a:lnTo>
                    <a:lnTo>
                      <a:pt x="4854" y="879"/>
                    </a:lnTo>
                    <a:lnTo>
                      <a:pt x="4771" y="837"/>
                    </a:lnTo>
                    <a:lnTo>
                      <a:pt x="4729" y="796"/>
                    </a:lnTo>
                    <a:lnTo>
                      <a:pt x="4645" y="796"/>
                    </a:lnTo>
                    <a:lnTo>
                      <a:pt x="4603" y="837"/>
                    </a:lnTo>
                    <a:lnTo>
                      <a:pt x="4457" y="775"/>
                    </a:lnTo>
                    <a:lnTo>
                      <a:pt x="4457" y="607"/>
                    </a:lnTo>
                    <a:lnTo>
                      <a:pt x="4394" y="586"/>
                    </a:lnTo>
                    <a:lnTo>
                      <a:pt x="4310" y="524"/>
                    </a:lnTo>
                    <a:lnTo>
                      <a:pt x="4227" y="524"/>
                    </a:lnTo>
                    <a:lnTo>
                      <a:pt x="4080" y="398"/>
                    </a:lnTo>
                    <a:lnTo>
                      <a:pt x="4038" y="293"/>
                    </a:lnTo>
                    <a:lnTo>
                      <a:pt x="3913" y="252"/>
                    </a:lnTo>
                    <a:lnTo>
                      <a:pt x="3892" y="63"/>
                    </a:lnTo>
                    <a:lnTo>
                      <a:pt x="382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 name="Google Shape;5842;p93">
                <a:extLst>
                  <a:ext uri="{FF2B5EF4-FFF2-40B4-BE49-F238E27FC236}">
                    <a16:creationId xmlns:a16="http://schemas.microsoft.com/office/drawing/2014/main" id="{561958DF-5345-4B04-A6B6-4FFC9963485D}"/>
                  </a:ext>
                </a:extLst>
              </p:cNvPr>
              <p:cNvSpPr/>
              <p:nvPr/>
            </p:nvSpPr>
            <p:spPr>
              <a:xfrm>
                <a:off x="3658200" y="2557475"/>
                <a:ext cx="70850" cy="44050"/>
              </a:xfrm>
              <a:custGeom>
                <a:avLst/>
                <a:gdLst/>
                <a:ahLst/>
                <a:cxnLst/>
                <a:rect l="l" t="t" r="r" b="b"/>
                <a:pathLst>
                  <a:path w="2834" h="1762" extrusionOk="0">
                    <a:moveTo>
                      <a:pt x="571" y="595"/>
                    </a:moveTo>
                    <a:lnTo>
                      <a:pt x="0" y="1119"/>
                    </a:lnTo>
                    <a:lnTo>
                      <a:pt x="1833" y="1762"/>
                    </a:lnTo>
                    <a:lnTo>
                      <a:pt x="2714" y="1476"/>
                    </a:lnTo>
                    <a:lnTo>
                      <a:pt x="2834" y="1071"/>
                    </a:lnTo>
                    <a:lnTo>
                      <a:pt x="1833" y="0"/>
                    </a:lnTo>
                    <a:close/>
                  </a:path>
                </a:pathLst>
              </a:custGeom>
              <a:ln/>
            </p:spPr>
            <p:style>
              <a:lnRef idx="2">
                <a:schemeClr val="dk1"/>
              </a:lnRef>
              <a:fillRef idx="1">
                <a:schemeClr val="lt1"/>
              </a:fillRef>
              <a:effectRef idx="0">
                <a:schemeClr val="dk1"/>
              </a:effectRef>
              <a:fontRef idx="minor">
                <a:schemeClr val="dk1"/>
              </a:fontRef>
            </p:style>
          </p:sp>
          <p:sp>
            <p:nvSpPr>
              <p:cNvPr id="1341" name="Google Shape;5843;p93">
                <a:extLst>
                  <a:ext uri="{FF2B5EF4-FFF2-40B4-BE49-F238E27FC236}">
                    <a16:creationId xmlns:a16="http://schemas.microsoft.com/office/drawing/2014/main" id="{5E8C4F56-5BE4-427C-AB1B-F91C6F282FBA}"/>
                  </a:ext>
                </a:extLst>
              </p:cNvPr>
              <p:cNvSpPr/>
              <p:nvPr/>
            </p:nvSpPr>
            <p:spPr>
              <a:xfrm>
                <a:off x="3719525" y="2432450"/>
                <a:ext cx="79750" cy="89900"/>
              </a:xfrm>
              <a:custGeom>
                <a:avLst/>
                <a:gdLst/>
                <a:ahLst/>
                <a:cxnLst/>
                <a:rect l="l" t="t" r="r" b="b"/>
                <a:pathLst>
                  <a:path w="3190" h="3596" extrusionOk="0">
                    <a:moveTo>
                      <a:pt x="0" y="167"/>
                    </a:moveTo>
                    <a:lnTo>
                      <a:pt x="261" y="0"/>
                    </a:lnTo>
                    <a:lnTo>
                      <a:pt x="1619" y="1095"/>
                    </a:lnTo>
                    <a:lnTo>
                      <a:pt x="2381" y="1286"/>
                    </a:lnTo>
                    <a:lnTo>
                      <a:pt x="3190" y="1429"/>
                    </a:lnTo>
                    <a:lnTo>
                      <a:pt x="2809" y="2595"/>
                    </a:lnTo>
                    <a:lnTo>
                      <a:pt x="2071" y="2429"/>
                    </a:lnTo>
                    <a:lnTo>
                      <a:pt x="1524" y="3596"/>
                    </a:lnTo>
                    <a:close/>
                  </a:path>
                </a:pathLst>
              </a:custGeom>
              <a:ln/>
            </p:spPr>
            <p:style>
              <a:lnRef idx="2">
                <a:schemeClr val="dk1"/>
              </a:lnRef>
              <a:fillRef idx="1">
                <a:schemeClr val="lt1"/>
              </a:fillRef>
              <a:effectRef idx="0">
                <a:schemeClr val="dk1"/>
              </a:effectRef>
              <a:fontRef idx="minor">
                <a:schemeClr val="dk1"/>
              </a:fontRef>
            </p:style>
          </p:sp>
        </p:grpSp>
        <p:grpSp>
          <p:nvGrpSpPr>
            <p:cNvPr id="1111" name="Google Shape;5844;p93">
              <a:extLst>
                <a:ext uri="{FF2B5EF4-FFF2-40B4-BE49-F238E27FC236}">
                  <a16:creationId xmlns:a16="http://schemas.microsoft.com/office/drawing/2014/main" id="{0023C631-0FA1-483C-A0D8-19E0C9CA9732}"/>
                </a:ext>
              </a:extLst>
            </p:cNvPr>
            <p:cNvGrpSpPr/>
            <p:nvPr/>
          </p:nvGrpSpPr>
          <p:grpSpPr>
            <a:xfrm>
              <a:off x="3685682" y="2845624"/>
              <a:ext cx="29311" cy="45055"/>
              <a:chOff x="3561536" y="2585450"/>
              <a:chExt cx="61539" cy="99045"/>
            </a:xfrm>
          </p:grpSpPr>
          <p:sp>
            <p:nvSpPr>
              <p:cNvPr id="1337" name="Google Shape;5845;p93">
                <a:extLst>
                  <a:ext uri="{FF2B5EF4-FFF2-40B4-BE49-F238E27FC236}">
                    <a16:creationId xmlns:a16="http://schemas.microsoft.com/office/drawing/2014/main" id="{9728E475-E26A-4F8E-A542-0FC8BA19F061}"/>
                  </a:ext>
                </a:extLst>
              </p:cNvPr>
              <p:cNvSpPr/>
              <p:nvPr/>
            </p:nvSpPr>
            <p:spPr>
              <a:xfrm rot="192277">
                <a:off x="3564002" y="2593849"/>
                <a:ext cx="44498" cy="89472"/>
              </a:xfrm>
              <a:custGeom>
                <a:avLst/>
                <a:gdLst/>
                <a:ahLst/>
                <a:cxnLst/>
                <a:rect l="l" t="t" r="r" b="b"/>
                <a:pathLst>
                  <a:path w="1780" h="3579" extrusionOk="0">
                    <a:moveTo>
                      <a:pt x="628" y="1"/>
                    </a:moveTo>
                    <a:lnTo>
                      <a:pt x="356" y="22"/>
                    </a:lnTo>
                    <a:lnTo>
                      <a:pt x="377" y="147"/>
                    </a:lnTo>
                    <a:lnTo>
                      <a:pt x="461" y="357"/>
                    </a:lnTo>
                    <a:lnTo>
                      <a:pt x="440" y="712"/>
                    </a:lnTo>
                    <a:lnTo>
                      <a:pt x="440" y="775"/>
                    </a:lnTo>
                    <a:lnTo>
                      <a:pt x="419" y="943"/>
                    </a:lnTo>
                    <a:lnTo>
                      <a:pt x="482" y="1026"/>
                    </a:lnTo>
                    <a:lnTo>
                      <a:pt x="440" y="1131"/>
                    </a:lnTo>
                    <a:lnTo>
                      <a:pt x="356" y="1256"/>
                    </a:lnTo>
                    <a:lnTo>
                      <a:pt x="356" y="1445"/>
                    </a:lnTo>
                    <a:lnTo>
                      <a:pt x="231" y="1654"/>
                    </a:lnTo>
                    <a:lnTo>
                      <a:pt x="231" y="1759"/>
                    </a:lnTo>
                    <a:lnTo>
                      <a:pt x="64" y="1968"/>
                    </a:lnTo>
                    <a:lnTo>
                      <a:pt x="1" y="2303"/>
                    </a:lnTo>
                    <a:lnTo>
                      <a:pt x="1" y="2386"/>
                    </a:lnTo>
                    <a:lnTo>
                      <a:pt x="105" y="2386"/>
                    </a:lnTo>
                    <a:lnTo>
                      <a:pt x="168" y="2303"/>
                    </a:lnTo>
                    <a:lnTo>
                      <a:pt x="273" y="2219"/>
                    </a:lnTo>
                    <a:lnTo>
                      <a:pt x="252" y="2303"/>
                    </a:lnTo>
                    <a:lnTo>
                      <a:pt x="315" y="2344"/>
                    </a:lnTo>
                    <a:lnTo>
                      <a:pt x="126" y="2428"/>
                    </a:lnTo>
                    <a:lnTo>
                      <a:pt x="126" y="2554"/>
                    </a:lnTo>
                    <a:lnTo>
                      <a:pt x="168" y="2616"/>
                    </a:lnTo>
                    <a:lnTo>
                      <a:pt x="252" y="2533"/>
                    </a:lnTo>
                    <a:lnTo>
                      <a:pt x="419" y="2533"/>
                    </a:lnTo>
                    <a:lnTo>
                      <a:pt x="336" y="2616"/>
                    </a:lnTo>
                    <a:lnTo>
                      <a:pt x="377" y="2763"/>
                    </a:lnTo>
                    <a:lnTo>
                      <a:pt x="336" y="2909"/>
                    </a:lnTo>
                    <a:lnTo>
                      <a:pt x="336" y="3223"/>
                    </a:lnTo>
                    <a:lnTo>
                      <a:pt x="273" y="3432"/>
                    </a:lnTo>
                    <a:lnTo>
                      <a:pt x="231" y="3495"/>
                    </a:lnTo>
                    <a:lnTo>
                      <a:pt x="273" y="3537"/>
                    </a:lnTo>
                    <a:lnTo>
                      <a:pt x="440" y="3432"/>
                    </a:lnTo>
                    <a:lnTo>
                      <a:pt x="691" y="3495"/>
                    </a:lnTo>
                    <a:lnTo>
                      <a:pt x="796" y="3579"/>
                    </a:lnTo>
                    <a:lnTo>
                      <a:pt x="963" y="3474"/>
                    </a:lnTo>
                    <a:lnTo>
                      <a:pt x="1110" y="3474"/>
                    </a:lnTo>
                    <a:lnTo>
                      <a:pt x="1152" y="3432"/>
                    </a:lnTo>
                    <a:lnTo>
                      <a:pt x="1152" y="3286"/>
                    </a:lnTo>
                    <a:lnTo>
                      <a:pt x="1068" y="3160"/>
                    </a:lnTo>
                    <a:lnTo>
                      <a:pt x="1193" y="2909"/>
                    </a:lnTo>
                    <a:lnTo>
                      <a:pt x="1319" y="2805"/>
                    </a:lnTo>
                    <a:lnTo>
                      <a:pt x="1361" y="2658"/>
                    </a:lnTo>
                    <a:lnTo>
                      <a:pt x="1214" y="2658"/>
                    </a:lnTo>
                    <a:lnTo>
                      <a:pt x="1152" y="2512"/>
                    </a:lnTo>
                    <a:lnTo>
                      <a:pt x="1319" y="2323"/>
                    </a:lnTo>
                    <a:lnTo>
                      <a:pt x="1319" y="2093"/>
                    </a:lnTo>
                    <a:lnTo>
                      <a:pt x="1193" y="2010"/>
                    </a:lnTo>
                    <a:lnTo>
                      <a:pt x="1047" y="1717"/>
                    </a:lnTo>
                    <a:lnTo>
                      <a:pt x="1172" y="1696"/>
                    </a:lnTo>
                    <a:lnTo>
                      <a:pt x="1277" y="1696"/>
                    </a:lnTo>
                    <a:lnTo>
                      <a:pt x="1424" y="1487"/>
                    </a:lnTo>
                    <a:lnTo>
                      <a:pt x="1319" y="1382"/>
                    </a:lnTo>
                    <a:lnTo>
                      <a:pt x="1465" y="1277"/>
                    </a:lnTo>
                    <a:lnTo>
                      <a:pt x="1465" y="922"/>
                    </a:lnTo>
                    <a:lnTo>
                      <a:pt x="1424" y="754"/>
                    </a:lnTo>
                    <a:lnTo>
                      <a:pt x="1675" y="545"/>
                    </a:lnTo>
                    <a:lnTo>
                      <a:pt x="1737" y="545"/>
                    </a:lnTo>
                    <a:lnTo>
                      <a:pt x="1779" y="440"/>
                    </a:lnTo>
                    <a:lnTo>
                      <a:pt x="1675" y="252"/>
                    </a:lnTo>
                    <a:lnTo>
                      <a:pt x="1633" y="127"/>
                    </a:lnTo>
                    <a:lnTo>
                      <a:pt x="1382" y="85"/>
                    </a:lnTo>
                    <a:lnTo>
                      <a:pt x="1277" y="210"/>
                    </a:lnTo>
                    <a:lnTo>
                      <a:pt x="942" y="127"/>
                    </a:lnTo>
                    <a:lnTo>
                      <a:pt x="754" y="231"/>
                    </a:lnTo>
                    <a:lnTo>
                      <a:pt x="691" y="147"/>
                    </a:lnTo>
                    <a:lnTo>
                      <a:pt x="733" y="22"/>
                    </a:lnTo>
                    <a:lnTo>
                      <a:pt x="62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 name="Google Shape;5846;p93">
                <a:extLst>
                  <a:ext uri="{FF2B5EF4-FFF2-40B4-BE49-F238E27FC236}">
                    <a16:creationId xmlns:a16="http://schemas.microsoft.com/office/drawing/2014/main" id="{F4488C26-87B6-4BAE-8411-6C20AB706D82}"/>
                  </a:ext>
                </a:extLst>
              </p:cNvPr>
              <p:cNvSpPr/>
              <p:nvPr/>
            </p:nvSpPr>
            <p:spPr>
              <a:xfrm>
                <a:off x="3580800" y="2585450"/>
                <a:ext cx="42275" cy="93450"/>
              </a:xfrm>
              <a:custGeom>
                <a:avLst/>
                <a:gdLst/>
                <a:ahLst/>
                <a:cxnLst/>
                <a:rect l="l" t="t" r="r" b="b"/>
                <a:pathLst>
                  <a:path w="1691" h="3738" extrusionOk="0">
                    <a:moveTo>
                      <a:pt x="453" y="0"/>
                    </a:moveTo>
                    <a:lnTo>
                      <a:pt x="0" y="547"/>
                    </a:lnTo>
                    <a:lnTo>
                      <a:pt x="0" y="3429"/>
                    </a:lnTo>
                    <a:lnTo>
                      <a:pt x="429" y="3738"/>
                    </a:lnTo>
                    <a:lnTo>
                      <a:pt x="1691" y="2714"/>
                    </a:lnTo>
                    <a:lnTo>
                      <a:pt x="1691" y="500"/>
                    </a:lnTo>
                    <a:close/>
                  </a:path>
                </a:pathLst>
              </a:custGeom>
              <a:ln/>
            </p:spPr>
            <p:style>
              <a:lnRef idx="2">
                <a:schemeClr val="dk1"/>
              </a:lnRef>
              <a:fillRef idx="1">
                <a:schemeClr val="lt1"/>
              </a:fillRef>
              <a:effectRef idx="0">
                <a:schemeClr val="dk1"/>
              </a:effectRef>
              <a:fontRef idx="minor">
                <a:schemeClr val="dk1"/>
              </a:fontRef>
            </p:style>
          </p:sp>
        </p:grpSp>
        <p:grpSp>
          <p:nvGrpSpPr>
            <p:cNvPr id="1112" name="Google Shape;5847;p93">
              <a:extLst>
                <a:ext uri="{FF2B5EF4-FFF2-40B4-BE49-F238E27FC236}">
                  <a16:creationId xmlns:a16="http://schemas.microsoft.com/office/drawing/2014/main" id="{677F53CD-EC5F-43FB-A877-994AF18C2323}"/>
                </a:ext>
              </a:extLst>
            </p:cNvPr>
            <p:cNvGrpSpPr/>
            <p:nvPr/>
          </p:nvGrpSpPr>
          <p:grpSpPr>
            <a:xfrm>
              <a:off x="3849905" y="2572252"/>
              <a:ext cx="74339" cy="119559"/>
              <a:chOff x="3906325" y="1984500"/>
              <a:chExt cx="156075" cy="262825"/>
            </a:xfrm>
          </p:grpSpPr>
          <p:sp>
            <p:nvSpPr>
              <p:cNvPr id="1335" name="Google Shape;5848;p93">
                <a:extLst>
                  <a:ext uri="{FF2B5EF4-FFF2-40B4-BE49-F238E27FC236}">
                    <a16:creationId xmlns:a16="http://schemas.microsoft.com/office/drawing/2014/main" id="{9703A09C-F2F7-4FC3-A10E-3B62C637C722}"/>
                  </a:ext>
                </a:extLst>
              </p:cNvPr>
              <p:cNvSpPr/>
              <p:nvPr/>
            </p:nvSpPr>
            <p:spPr>
              <a:xfrm>
                <a:off x="3906325" y="1984500"/>
                <a:ext cx="100825" cy="124200"/>
              </a:xfrm>
              <a:custGeom>
                <a:avLst/>
                <a:gdLst/>
                <a:ahLst/>
                <a:cxnLst/>
                <a:rect l="l" t="t" r="r" b="b"/>
                <a:pathLst>
                  <a:path w="4033" h="4968" extrusionOk="0">
                    <a:moveTo>
                      <a:pt x="2901" y="4968"/>
                    </a:moveTo>
                    <a:lnTo>
                      <a:pt x="1524" y="4673"/>
                    </a:lnTo>
                    <a:lnTo>
                      <a:pt x="0" y="1771"/>
                    </a:lnTo>
                    <a:lnTo>
                      <a:pt x="737" y="886"/>
                    </a:lnTo>
                    <a:lnTo>
                      <a:pt x="2508" y="1181"/>
                    </a:lnTo>
                    <a:lnTo>
                      <a:pt x="2655" y="345"/>
                    </a:lnTo>
                    <a:lnTo>
                      <a:pt x="3442" y="0"/>
                    </a:lnTo>
                    <a:lnTo>
                      <a:pt x="4033" y="443"/>
                    </a:lnTo>
                    <a:close/>
                  </a:path>
                </a:pathLst>
              </a:custGeom>
              <a:ln/>
            </p:spPr>
            <p:style>
              <a:lnRef idx="2">
                <a:schemeClr val="dk1"/>
              </a:lnRef>
              <a:fillRef idx="1">
                <a:schemeClr val="lt1"/>
              </a:fillRef>
              <a:effectRef idx="0">
                <a:schemeClr val="dk1"/>
              </a:effectRef>
              <a:fontRef idx="minor">
                <a:schemeClr val="dk1"/>
              </a:fontRef>
            </p:style>
          </p:sp>
          <p:sp>
            <p:nvSpPr>
              <p:cNvPr id="1336" name="Google Shape;5849;p93">
                <a:extLst>
                  <a:ext uri="{FF2B5EF4-FFF2-40B4-BE49-F238E27FC236}">
                    <a16:creationId xmlns:a16="http://schemas.microsoft.com/office/drawing/2014/main" id="{31028115-3DAC-4CD3-AD7F-CC153ADC2E13}"/>
                  </a:ext>
                </a:extLst>
              </p:cNvPr>
              <p:cNvSpPr/>
              <p:nvPr/>
            </p:nvSpPr>
            <p:spPr>
              <a:xfrm>
                <a:off x="3919575" y="1989950"/>
                <a:ext cx="142825" cy="257375"/>
              </a:xfrm>
              <a:custGeom>
                <a:avLst/>
                <a:gdLst/>
                <a:ahLst/>
                <a:cxnLst/>
                <a:rect l="l" t="t" r="r" b="b"/>
                <a:pathLst>
                  <a:path w="5713" h="10295" extrusionOk="0">
                    <a:moveTo>
                      <a:pt x="2867" y="0"/>
                    </a:moveTo>
                    <a:lnTo>
                      <a:pt x="2762" y="105"/>
                    </a:lnTo>
                    <a:lnTo>
                      <a:pt x="2762" y="147"/>
                    </a:lnTo>
                    <a:lnTo>
                      <a:pt x="2679" y="189"/>
                    </a:lnTo>
                    <a:lnTo>
                      <a:pt x="2532" y="147"/>
                    </a:lnTo>
                    <a:lnTo>
                      <a:pt x="2386" y="209"/>
                    </a:lnTo>
                    <a:lnTo>
                      <a:pt x="2386" y="293"/>
                    </a:lnTo>
                    <a:lnTo>
                      <a:pt x="2323" y="419"/>
                    </a:lnTo>
                    <a:lnTo>
                      <a:pt x="2239" y="461"/>
                    </a:lnTo>
                    <a:lnTo>
                      <a:pt x="2281" y="544"/>
                    </a:lnTo>
                    <a:lnTo>
                      <a:pt x="2260" y="628"/>
                    </a:lnTo>
                    <a:lnTo>
                      <a:pt x="2239" y="921"/>
                    </a:lnTo>
                    <a:lnTo>
                      <a:pt x="2281" y="1088"/>
                    </a:lnTo>
                    <a:lnTo>
                      <a:pt x="2344" y="1193"/>
                    </a:lnTo>
                    <a:lnTo>
                      <a:pt x="2281" y="1277"/>
                    </a:lnTo>
                    <a:lnTo>
                      <a:pt x="2177" y="1360"/>
                    </a:lnTo>
                    <a:lnTo>
                      <a:pt x="2072" y="1360"/>
                    </a:lnTo>
                    <a:lnTo>
                      <a:pt x="1967" y="1444"/>
                    </a:lnTo>
                    <a:lnTo>
                      <a:pt x="1905" y="1486"/>
                    </a:lnTo>
                    <a:lnTo>
                      <a:pt x="1821" y="1611"/>
                    </a:lnTo>
                    <a:lnTo>
                      <a:pt x="1674" y="1590"/>
                    </a:lnTo>
                    <a:lnTo>
                      <a:pt x="1507" y="1465"/>
                    </a:lnTo>
                    <a:lnTo>
                      <a:pt x="1381" y="1465"/>
                    </a:lnTo>
                    <a:lnTo>
                      <a:pt x="1298" y="1549"/>
                    </a:lnTo>
                    <a:lnTo>
                      <a:pt x="1151" y="1674"/>
                    </a:lnTo>
                    <a:lnTo>
                      <a:pt x="900" y="1674"/>
                    </a:lnTo>
                    <a:lnTo>
                      <a:pt x="733" y="1590"/>
                    </a:lnTo>
                    <a:lnTo>
                      <a:pt x="670" y="1465"/>
                    </a:lnTo>
                    <a:lnTo>
                      <a:pt x="607" y="1339"/>
                    </a:lnTo>
                    <a:lnTo>
                      <a:pt x="377" y="1130"/>
                    </a:lnTo>
                    <a:lnTo>
                      <a:pt x="293" y="984"/>
                    </a:lnTo>
                    <a:lnTo>
                      <a:pt x="189" y="963"/>
                    </a:lnTo>
                    <a:lnTo>
                      <a:pt x="105" y="1046"/>
                    </a:lnTo>
                    <a:lnTo>
                      <a:pt x="84" y="1151"/>
                    </a:lnTo>
                    <a:lnTo>
                      <a:pt x="105" y="1214"/>
                    </a:lnTo>
                    <a:lnTo>
                      <a:pt x="84" y="1256"/>
                    </a:lnTo>
                    <a:lnTo>
                      <a:pt x="42" y="1214"/>
                    </a:lnTo>
                    <a:lnTo>
                      <a:pt x="1" y="1256"/>
                    </a:lnTo>
                    <a:lnTo>
                      <a:pt x="105" y="1360"/>
                    </a:lnTo>
                    <a:lnTo>
                      <a:pt x="273" y="1423"/>
                    </a:lnTo>
                    <a:lnTo>
                      <a:pt x="482" y="1674"/>
                    </a:lnTo>
                    <a:lnTo>
                      <a:pt x="628" y="1779"/>
                    </a:lnTo>
                    <a:lnTo>
                      <a:pt x="879" y="1800"/>
                    </a:lnTo>
                    <a:lnTo>
                      <a:pt x="942" y="1841"/>
                    </a:lnTo>
                    <a:lnTo>
                      <a:pt x="1026" y="1883"/>
                    </a:lnTo>
                    <a:lnTo>
                      <a:pt x="1130" y="2009"/>
                    </a:lnTo>
                    <a:lnTo>
                      <a:pt x="1193" y="2113"/>
                    </a:lnTo>
                    <a:lnTo>
                      <a:pt x="1298" y="2113"/>
                    </a:lnTo>
                    <a:lnTo>
                      <a:pt x="1402" y="2239"/>
                    </a:lnTo>
                    <a:lnTo>
                      <a:pt x="1465" y="2239"/>
                    </a:lnTo>
                    <a:lnTo>
                      <a:pt x="1528" y="2323"/>
                    </a:lnTo>
                    <a:lnTo>
                      <a:pt x="1465" y="2427"/>
                    </a:lnTo>
                    <a:lnTo>
                      <a:pt x="1507" y="2574"/>
                    </a:lnTo>
                    <a:lnTo>
                      <a:pt x="1444" y="2720"/>
                    </a:lnTo>
                    <a:lnTo>
                      <a:pt x="1444" y="2825"/>
                    </a:lnTo>
                    <a:lnTo>
                      <a:pt x="1612" y="2825"/>
                    </a:lnTo>
                    <a:lnTo>
                      <a:pt x="1633" y="2950"/>
                    </a:lnTo>
                    <a:lnTo>
                      <a:pt x="1591" y="3034"/>
                    </a:lnTo>
                    <a:lnTo>
                      <a:pt x="1612" y="3181"/>
                    </a:lnTo>
                    <a:lnTo>
                      <a:pt x="1653" y="3285"/>
                    </a:lnTo>
                    <a:lnTo>
                      <a:pt x="1695" y="3494"/>
                    </a:lnTo>
                    <a:lnTo>
                      <a:pt x="1653" y="3599"/>
                    </a:lnTo>
                    <a:lnTo>
                      <a:pt x="1695" y="3683"/>
                    </a:lnTo>
                    <a:lnTo>
                      <a:pt x="1695" y="3913"/>
                    </a:lnTo>
                    <a:lnTo>
                      <a:pt x="1653" y="3997"/>
                    </a:lnTo>
                    <a:lnTo>
                      <a:pt x="1716" y="4143"/>
                    </a:lnTo>
                    <a:lnTo>
                      <a:pt x="1821" y="4185"/>
                    </a:lnTo>
                    <a:lnTo>
                      <a:pt x="1925" y="4394"/>
                    </a:lnTo>
                    <a:lnTo>
                      <a:pt x="1967" y="4478"/>
                    </a:lnTo>
                    <a:lnTo>
                      <a:pt x="1967" y="4603"/>
                    </a:lnTo>
                    <a:lnTo>
                      <a:pt x="1988" y="4645"/>
                    </a:lnTo>
                    <a:lnTo>
                      <a:pt x="2093" y="4645"/>
                    </a:lnTo>
                    <a:lnTo>
                      <a:pt x="2197" y="4750"/>
                    </a:lnTo>
                    <a:lnTo>
                      <a:pt x="2407" y="4750"/>
                    </a:lnTo>
                    <a:lnTo>
                      <a:pt x="2574" y="4875"/>
                    </a:lnTo>
                    <a:lnTo>
                      <a:pt x="2490" y="4938"/>
                    </a:lnTo>
                    <a:lnTo>
                      <a:pt x="2553" y="5022"/>
                    </a:lnTo>
                    <a:lnTo>
                      <a:pt x="2553" y="5189"/>
                    </a:lnTo>
                    <a:lnTo>
                      <a:pt x="2490" y="5231"/>
                    </a:lnTo>
                    <a:lnTo>
                      <a:pt x="2679" y="5378"/>
                    </a:lnTo>
                    <a:lnTo>
                      <a:pt x="2553" y="5357"/>
                    </a:lnTo>
                    <a:lnTo>
                      <a:pt x="2490" y="5378"/>
                    </a:lnTo>
                    <a:lnTo>
                      <a:pt x="2658" y="5524"/>
                    </a:lnTo>
                    <a:lnTo>
                      <a:pt x="2658" y="5587"/>
                    </a:lnTo>
                    <a:lnTo>
                      <a:pt x="2469" y="5482"/>
                    </a:lnTo>
                    <a:lnTo>
                      <a:pt x="2302" y="5482"/>
                    </a:lnTo>
                    <a:lnTo>
                      <a:pt x="2156" y="5587"/>
                    </a:lnTo>
                    <a:lnTo>
                      <a:pt x="2156" y="5691"/>
                    </a:lnTo>
                    <a:lnTo>
                      <a:pt x="2051" y="5796"/>
                    </a:lnTo>
                    <a:lnTo>
                      <a:pt x="2051" y="5880"/>
                    </a:lnTo>
                    <a:lnTo>
                      <a:pt x="1988" y="5901"/>
                    </a:lnTo>
                    <a:lnTo>
                      <a:pt x="1821" y="6089"/>
                    </a:lnTo>
                    <a:lnTo>
                      <a:pt x="1779" y="6277"/>
                    </a:lnTo>
                    <a:lnTo>
                      <a:pt x="1737" y="6298"/>
                    </a:lnTo>
                    <a:lnTo>
                      <a:pt x="1716" y="6256"/>
                    </a:lnTo>
                    <a:lnTo>
                      <a:pt x="1653" y="6256"/>
                    </a:lnTo>
                    <a:lnTo>
                      <a:pt x="1716" y="6361"/>
                    </a:lnTo>
                    <a:lnTo>
                      <a:pt x="1674" y="6445"/>
                    </a:lnTo>
                    <a:lnTo>
                      <a:pt x="1549" y="6445"/>
                    </a:lnTo>
                    <a:lnTo>
                      <a:pt x="1465" y="6549"/>
                    </a:lnTo>
                    <a:lnTo>
                      <a:pt x="1507" y="6717"/>
                    </a:lnTo>
                    <a:lnTo>
                      <a:pt x="1570" y="6759"/>
                    </a:lnTo>
                    <a:lnTo>
                      <a:pt x="1444" y="6717"/>
                    </a:lnTo>
                    <a:lnTo>
                      <a:pt x="1402" y="6654"/>
                    </a:lnTo>
                    <a:lnTo>
                      <a:pt x="1319" y="6696"/>
                    </a:lnTo>
                    <a:lnTo>
                      <a:pt x="1256" y="6821"/>
                    </a:lnTo>
                    <a:lnTo>
                      <a:pt x="1298" y="6884"/>
                    </a:lnTo>
                    <a:lnTo>
                      <a:pt x="1214" y="6842"/>
                    </a:lnTo>
                    <a:lnTo>
                      <a:pt x="1193" y="6905"/>
                    </a:lnTo>
                    <a:lnTo>
                      <a:pt x="1256" y="6968"/>
                    </a:lnTo>
                    <a:lnTo>
                      <a:pt x="1256" y="7031"/>
                    </a:lnTo>
                    <a:lnTo>
                      <a:pt x="1193" y="7114"/>
                    </a:lnTo>
                    <a:lnTo>
                      <a:pt x="1151" y="7156"/>
                    </a:lnTo>
                    <a:lnTo>
                      <a:pt x="1047" y="7219"/>
                    </a:lnTo>
                    <a:lnTo>
                      <a:pt x="1005" y="7177"/>
                    </a:lnTo>
                    <a:lnTo>
                      <a:pt x="984" y="7135"/>
                    </a:lnTo>
                    <a:lnTo>
                      <a:pt x="900" y="7114"/>
                    </a:lnTo>
                    <a:lnTo>
                      <a:pt x="817" y="7135"/>
                    </a:lnTo>
                    <a:lnTo>
                      <a:pt x="837" y="7240"/>
                    </a:lnTo>
                    <a:lnTo>
                      <a:pt x="796" y="7282"/>
                    </a:lnTo>
                    <a:lnTo>
                      <a:pt x="837" y="7386"/>
                    </a:lnTo>
                    <a:lnTo>
                      <a:pt x="796" y="7491"/>
                    </a:lnTo>
                    <a:lnTo>
                      <a:pt x="733" y="7533"/>
                    </a:lnTo>
                    <a:lnTo>
                      <a:pt x="691" y="7637"/>
                    </a:lnTo>
                    <a:lnTo>
                      <a:pt x="733" y="7742"/>
                    </a:lnTo>
                    <a:lnTo>
                      <a:pt x="775" y="7763"/>
                    </a:lnTo>
                    <a:lnTo>
                      <a:pt x="733" y="7867"/>
                    </a:lnTo>
                    <a:lnTo>
                      <a:pt x="775" y="7951"/>
                    </a:lnTo>
                    <a:lnTo>
                      <a:pt x="858" y="7909"/>
                    </a:lnTo>
                    <a:lnTo>
                      <a:pt x="900" y="7972"/>
                    </a:lnTo>
                    <a:lnTo>
                      <a:pt x="879" y="8098"/>
                    </a:lnTo>
                    <a:lnTo>
                      <a:pt x="837" y="8160"/>
                    </a:lnTo>
                    <a:lnTo>
                      <a:pt x="879" y="8265"/>
                    </a:lnTo>
                    <a:lnTo>
                      <a:pt x="837" y="8307"/>
                    </a:lnTo>
                    <a:lnTo>
                      <a:pt x="942" y="8495"/>
                    </a:lnTo>
                    <a:lnTo>
                      <a:pt x="1005" y="8537"/>
                    </a:lnTo>
                    <a:lnTo>
                      <a:pt x="942" y="8621"/>
                    </a:lnTo>
                    <a:lnTo>
                      <a:pt x="1026" y="8746"/>
                    </a:lnTo>
                    <a:lnTo>
                      <a:pt x="942" y="8788"/>
                    </a:lnTo>
                    <a:lnTo>
                      <a:pt x="984" y="8955"/>
                    </a:lnTo>
                    <a:lnTo>
                      <a:pt x="942" y="9039"/>
                    </a:lnTo>
                    <a:lnTo>
                      <a:pt x="942" y="9269"/>
                    </a:lnTo>
                    <a:lnTo>
                      <a:pt x="1005" y="9353"/>
                    </a:lnTo>
                    <a:lnTo>
                      <a:pt x="942" y="9479"/>
                    </a:lnTo>
                    <a:lnTo>
                      <a:pt x="942" y="9562"/>
                    </a:lnTo>
                    <a:lnTo>
                      <a:pt x="1005" y="9625"/>
                    </a:lnTo>
                    <a:lnTo>
                      <a:pt x="1151" y="9541"/>
                    </a:lnTo>
                    <a:lnTo>
                      <a:pt x="1214" y="9583"/>
                    </a:lnTo>
                    <a:lnTo>
                      <a:pt x="1235" y="9520"/>
                    </a:lnTo>
                    <a:lnTo>
                      <a:pt x="1361" y="9646"/>
                    </a:lnTo>
                    <a:lnTo>
                      <a:pt x="1444" y="9625"/>
                    </a:lnTo>
                    <a:lnTo>
                      <a:pt x="1528" y="9688"/>
                    </a:lnTo>
                    <a:lnTo>
                      <a:pt x="1674" y="9667"/>
                    </a:lnTo>
                    <a:lnTo>
                      <a:pt x="1737" y="9688"/>
                    </a:lnTo>
                    <a:lnTo>
                      <a:pt x="1674" y="9772"/>
                    </a:lnTo>
                    <a:lnTo>
                      <a:pt x="1737" y="9772"/>
                    </a:lnTo>
                    <a:lnTo>
                      <a:pt x="1863" y="9667"/>
                    </a:lnTo>
                    <a:lnTo>
                      <a:pt x="1863" y="9751"/>
                    </a:lnTo>
                    <a:lnTo>
                      <a:pt x="1779" y="9855"/>
                    </a:lnTo>
                    <a:lnTo>
                      <a:pt x="1946" y="10064"/>
                    </a:lnTo>
                    <a:lnTo>
                      <a:pt x="1967" y="10148"/>
                    </a:lnTo>
                    <a:lnTo>
                      <a:pt x="1946" y="10274"/>
                    </a:lnTo>
                    <a:lnTo>
                      <a:pt x="1967" y="10295"/>
                    </a:lnTo>
                    <a:lnTo>
                      <a:pt x="2030" y="10148"/>
                    </a:lnTo>
                    <a:lnTo>
                      <a:pt x="2114" y="10106"/>
                    </a:lnTo>
                    <a:lnTo>
                      <a:pt x="2135" y="10190"/>
                    </a:lnTo>
                    <a:lnTo>
                      <a:pt x="2239" y="10148"/>
                    </a:lnTo>
                    <a:lnTo>
                      <a:pt x="2323" y="10148"/>
                    </a:lnTo>
                    <a:lnTo>
                      <a:pt x="2490" y="10002"/>
                    </a:lnTo>
                    <a:lnTo>
                      <a:pt x="2595" y="10002"/>
                    </a:lnTo>
                    <a:lnTo>
                      <a:pt x="2825" y="9855"/>
                    </a:lnTo>
                    <a:lnTo>
                      <a:pt x="2867" y="9792"/>
                    </a:lnTo>
                    <a:lnTo>
                      <a:pt x="3014" y="9855"/>
                    </a:lnTo>
                    <a:lnTo>
                      <a:pt x="3118" y="9834"/>
                    </a:lnTo>
                    <a:lnTo>
                      <a:pt x="3223" y="9688"/>
                    </a:lnTo>
                    <a:lnTo>
                      <a:pt x="3244" y="9751"/>
                    </a:lnTo>
                    <a:lnTo>
                      <a:pt x="3202" y="9855"/>
                    </a:lnTo>
                    <a:lnTo>
                      <a:pt x="3244" y="9876"/>
                    </a:lnTo>
                    <a:lnTo>
                      <a:pt x="3306" y="9751"/>
                    </a:lnTo>
                    <a:lnTo>
                      <a:pt x="3348" y="9772"/>
                    </a:lnTo>
                    <a:lnTo>
                      <a:pt x="3306" y="9646"/>
                    </a:lnTo>
                    <a:lnTo>
                      <a:pt x="3348" y="9583"/>
                    </a:lnTo>
                    <a:lnTo>
                      <a:pt x="3411" y="9688"/>
                    </a:lnTo>
                    <a:lnTo>
                      <a:pt x="3453" y="9688"/>
                    </a:lnTo>
                    <a:lnTo>
                      <a:pt x="3495" y="9625"/>
                    </a:lnTo>
                    <a:lnTo>
                      <a:pt x="3537" y="9751"/>
                    </a:lnTo>
                    <a:lnTo>
                      <a:pt x="3620" y="9730"/>
                    </a:lnTo>
                    <a:lnTo>
                      <a:pt x="3620" y="9646"/>
                    </a:lnTo>
                    <a:lnTo>
                      <a:pt x="3662" y="9667"/>
                    </a:lnTo>
                    <a:lnTo>
                      <a:pt x="3704" y="9730"/>
                    </a:lnTo>
                    <a:lnTo>
                      <a:pt x="3767" y="9646"/>
                    </a:lnTo>
                    <a:lnTo>
                      <a:pt x="3934" y="9625"/>
                    </a:lnTo>
                    <a:lnTo>
                      <a:pt x="4018" y="9688"/>
                    </a:lnTo>
                    <a:lnTo>
                      <a:pt x="4206" y="9667"/>
                    </a:lnTo>
                    <a:lnTo>
                      <a:pt x="4206" y="9625"/>
                    </a:lnTo>
                    <a:lnTo>
                      <a:pt x="4143" y="9562"/>
                    </a:lnTo>
                    <a:lnTo>
                      <a:pt x="4206" y="9541"/>
                    </a:lnTo>
                    <a:lnTo>
                      <a:pt x="4269" y="9562"/>
                    </a:lnTo>
                    <a:lnTo>
                      <a:pt x="4311" y="9646"/>
                    </a:lnTo>
                    <a:lnTo>
                      <a:pt x="4415" y="9667"/>
                    </a:lnTo>
                    <a:lnTo>
                      <a:pt x="4457" y="9562"/>
                    </a:lnTo>
                    <a:lnTo>
                      <a:pt x="4436" y="9416"/>
                    </a:lnTo>
                    <a:lnTo>
                      <a:pt x="4687" y="9144"/>
                    </a:lnTo>
                    <a:lnTo>
                      <a:pt x="4876" y="9123"/>
                    </a:lnTo>
                    <a:lnTo>
                      <a:pt x="5043" y="8872"/>
                    </a:lnTo>
                    <a:lnTo>
                      <a:pt x="5190" y="8621"/>
                    </a:lnTo>
                    <a:lnTo>
                      <a:pt x="5315" y="8349"/>
                    </a:lnTo>
                    <a:lnTo>
                      <a:pt x="5566" y="7951"/>
                    </a:lnTo>
                    <a:lnTo>
                      <a:pt x="5713" y="7533"/>
                    </a:lnTo>
                    <a:lnTo>
                      <a:pt x="5692" y="7344"/>
                    </a:lnTo>
                    <a:lnTo>
                      <a:pt x="5420" y="7051"/>
                    </a:lnTo>
                    <a:lnTo>
                      <a:pt x="5273" y="7010"/>
                    </a:lnTo>
                    <a:lnTo>
                      <a:pt x="5001" y="6633"/>
                    </a:lnTo>
                    <a:lnTo>
                      <a:pt x="5064" y="6466"/>
                    </a:lnTo>
                    <a:lnTo>
                      <a:pt x="5169" y="6298"/>
                    </a:lnTo>
                    <a:lnTo>
                      <a:pt x="5169" y="6110"/>
                    </a:lnTo>
                    <a:lnTo>
                      <a:pt x="4980" y="5984"/>
                    </a:lnTo>
                    <a:lnTo>
                      <a:pt x="4938" y="5859"/>
                    </a:lnTo>
                    <a:lnTo>
                      <a:pt x="4938" y="5650"/>
                    </a:lnTo>
                    <a:lnTo>
                      <a:pt x="4980" y="5587"/>
                    </a:lnTo>
                    <a:lnTo>
                      <a:pt x="4938" y="5482"/>
                    </a:lnTo>
                    <a:lnTo>
                      <a:pt x="4792" y="5461"/>
                    </a:lnTo>
                    <a:lnTo>
                      <a:pt x="4729" y="5357"/>
                    </a:lnTo>
                    <a:lnTo>
                      <a:pt x="4729" y="5168"/>
                    </a:lnTo>
                    <a:lnTo>
                      <a:pt x="4792" y="5064"/>
                    </a:lnTo>
                    <a:lnTo>
                      <a:pt x="4687" y="5043"/>
                    </a:lnTo>
                    <a:lnTo>
                      <a:pt x="4687" y="4938"/>
                    </a:lnTo>
                    <a:lnTo>
                      <a:pt x="4729" y="4582"/>
                    </a:lnTo>
                    <a:lnTo>
                      <a:pt x="4834" y="4541"/>
                    </a:lnTo>
                    <a:lnTo>
                      <a:pt x="4562" y="3955"/>
                    </a:lnTo>
                    <a:lnTo>
                      <a:pt x="4332" y="3494"/>
                    </a:lnTo>
                    <a:lnTo>
                      <a:pt x="4269" y="3348"/>
                    </a:lnTo>
                    <a:lnTo>
                      <a:pt x="4143" y="3181"/>
                    </a:lnTo>
                    <a:lnTo>
                      <a:pt x="4248" y="2929"/>
                    </a:lnTo>
                    <a:lnTo>
                      <a:pt x="4353" y="2741"/>
                    </a:lnTo>
                    <a:lnTo>
                      <a:pt x="4415" y="2553"/>
                    </a:lnTo>
                    <a:lnTo>
                      <a:pt x="4332" y="2490"/>
                    </a:lnTo>
                    <a:lnTo>
                      <a:pt x="4060" y="2323"/>
                    </a:lnTo>
                    <a:lnTo>
                      <a:pt x="4018" y="2218"/>
                    </a:lnTo>
                    <a:lnTo>
                      <a:pt x="3934" y="2093"/>
                    </a:lnTo>
                    <a:lnTo>
                      <a:pt x="3767" y="2009"/>
                    </a:lnTo>
                    <a:lnTo>
                      <a:pt x="3704" y="2009"/>
                    </a:lnTo>
                    <a:lnTo>
                      <a:pt x="3599" y="1758"/>
                    </a:lnTo>
                    <a:lnTo>
                      <a:pt x="3516" y="1653"/>
                    </a:lnTo>
                    <a:lnTo>
                      <a:pt x="3558" y="1465"/>
                    </a:lnTo>
                    <a:lnTo>
                      <a:pt x="3599" y="1297"/>
                    </a:lnTo>
                    <a:lnTo>
                      <a:pt x="3495" y="1277"/>
                    </a:lnTo>
                    <a:lnTo>
                      <a:pt x="3599" y="1235"/>
                    </a:lnTo>
                    <a:lnTo>
                      <a:pt x="3746" y="1172"/>
                    </a:lnTo>
                    <a:lnTo>
                      <a:pt x="3725" y="942"/>
                    </a:lnTo>
                    <a:lnTo>
                      <a:pt x="3830" y="774"/>
                    </a:lnTo>
                    <a:lnTo>
                      <a:pt x="3850" y="649"/>
                    </a:lnTo>
                    <a:lnTo>
                      <a:pt x="3746" y="523"/>
                    </a:lnTo>
                    <a:lnTo>
                      <a:pt x="3725" y="419"/>
                    </a:lnTo>
                    <a:lnTo>
                      <a:pt x="3537" y="398"/>
                    </a:lnTo>
                    <a:lnTo>
                      <a:pt x="3411" y="335"/>
                    </a:lnTo>
                    <a:lnTo>
                      <a:pt x="3327" y="251"/>
                    </a:lnTo>
                    <a:lnTo>
                      <a:pt x="3202" y="84"/>
                    </a:lnTo>
                    <a:lnTo>
                      <a:pt x="309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3" name="Google Shape;5850;p93">
              <a:extLst>
                <a:ext uri="{FF2B5EF4-FFF2-40B4-BE49-F238E27FC236}">
                  <a16:creationId xmlns:a16="http://schemas.microsoft.com/office/drawing/2014/main" id="{81458FBD-D4F6-442B-9BD5-0B270931359E}"/>
                </a:ext>
              </a:extLst>
            </p:cNvPr>
            <p:cNvGrpSpPr/>
            <p:nvPr/>
          </p:nvGrpSpPr>
          <p:grpSpPr>
            <a:xfrm>
              <a:off x="2654821" y="2414345"/>
              <a:ext cx="667570" cy="558731"/>
              <a:chOff x="1397225" y="1637375"/>
              <a:chExt cx="1401575" cy="1228250"/>
            </a:xfrm>
          </p:grpSpPr>
          <p:sp>
            <p:nvSpPr>
              <p:cNvPr id="1331" name="Google Shape;5851;p93">
                <a:extLst>
                  <a:ext uri="{FF2B5EF4-FFF2-40B4-BE49-F238E27FC236}">
                    <a16:creationId xmlns:a16="http://schemas.microsoft.com/office/drawing/2014/main" id="{9FE1F13E-6240-4077-9F42-BDD2CDD854DA}"/>
                  </a:ext>
                </a:extLst>
              </p:cNvPr>
              <p:cNvSpPr/>
              <p:nvPr/>
            </p:nvSpPr>
            <p:spPr>
              <a:xfrm>
                <a:off x="2050925" y="2362200"/>
                <a:ext cx="747875" cy="497225"/>
              </a:xfrm>
              <a:custGeom>
                <a:avLst/>
                <a:gdLst/>
                <a:ahLst/>
                <a:cxnLst/>
                <a:rect l="l" t="t" r="r" b="b"/>
                <a:pathLst>
                  <a:path w="29915" h="19889" extrusionOk="0">
                    <a:moveTo>
                      <a:pt x="107" y="1186"/>
                    </a:moveTo>
                    <a:lnTo>
                      <a:pt x="0" y="0"/>
                    </a:lnTo>
                    <a:lnTo>
                      <a:pt x="15577" y="1563"/>
                    </a:lnTo>
                    <a:lnTo>
                      <a:pt x="26519" y="5336"/>
                    </a:lnTo>
                    <a:lnTo>
                      <a:pt x="27435" y="5444"/>
                    </a:lnTo>
                    <a:lnTo>
                      <a:pt x="28783" y="4420"/>
                    </a:lnTo>
                    <a:lnTo>
                      <a:pt x="29753" y="4527"/>
                    </a:lnTo>
                    <a:lnTo>
                      <a:pt x="29915" y="6198"/>
                    </a:lnTo>
                    <a:lnTo>
                      <a:pt x="26465" y="6899"/>
                    </a:lnTo>
                    <a:lnTo>
                      <a:pt x="11157" y="16062"/>
                    </a:lnTo>
                    <a:lnTo>
                      <a:pt x="10295" y="18649"/>
                    </a:lnTo>
                    <a:lnTo>
                      <a:pt x="10295" y="19889"/>
                    </a:lnTo>
                    <a:lnTo>
                      <a:pt x="2803" y="15846"/>
                    </a:lnTo>
                    <a:lnTo>
                      <a:pt x="1347" y="14876"/>
                    </a:lnTo>
                    <a:lnTo>
                      <a:pt x="0" y="14607"/>
                    </a:lnTo>
                    <a:lnTo>
                      <a:pt x="916" y="11642"/>
                    </a:lnTo>
                    <a:lnTo>
                      <a:pt x="1725" y="3881"/>
                    </a:lnTo>
                    <a:close/>
                  </a:path>
                </a:pathLst>
              </a:custGeom>
              <a:ln/>
            </p:spPr>
            <p:style>
              <a:lnRef idx="2">
                <a:schemeClr val="dk1"/>
              </a:lnRef>
              <a:fillRef idx="1">
                <a:schemeClr val="lt1"/>
              </a:fillRef>
              <a:effectRef idx="0">
                <a:schemeClr val="dk1"/>
              </a:effectRef>
              <a:fontRef idx="minor">
                <a:schemeClr val="dk1"/>
              </a:fontRef>
            </p:style>
          </p:sp>
          <p:grpSp>
            <p:nvGrpSpPr>
              <p:cNvPr id="1332" name="Google Shape;5852;p93">
                <a:extLst>
                  <a:ext uri="{FF2B5EF4-FFF2-40B4-BE49-F238E27FC236}">
                    <a16:creationId xmlns:a16="http://schemas.microsoft.com/office/drawing/2014/main" id="{93321635-868C-4A80-AD69-D8B7B7D58AFA}"/>
                  </a:ext>
                </a:extLst>
              </p:cNvPr>
              <p:cNvGrpSpPr/>
              <p:nvPr/>
            </p:nvGrpSpPr>
            <p:grpSpPr>
              <a:xfrm>
                <a:off x="1397225" y="1637375"/>
                <a:ext cx="1398775" cy="1228250"/>
                <a:chOff x="1397225" y="1637375"/>
                <a:chExt cx="1398775" cy="1228250"/>
              </a:xfrm>
            </p:grpSpPr>
            <p:sp>
              <p:nvSpPr>
                <p:cNvPr id="1333" name="Google Shape;5853;p93">
                  <a:extLst>
                    <a:ext uri="{FF2B5EF4-FFF2-40B4-BE49-F238E27FC236}">
                      <a16:creationId xmlns:a16="http://schemas.microsoft.com/office/drawing/2014/main" id="{EB0E1F54-659D-4958-9190-7E9180A31A99}"/>
                    </a:ext>
                  </a:extLst>
                </p:cNvPr>
                <p:cNvSpPr/>
                <p:nvPr/>
              </p:nvSpPr>
              <p:spPr>
                <a:xfrm>
                  <a:off x="1397225" y="1637375"/>
                  <a:ext cx="692600" cy="594250"/>
                </a:xfrm>
                <a:custGeom>
                  <a:avLst/>
                  <a:gdLst/>
                  <a:ahLst/>
                  <a:cxnLst/>
                  <a:rect l="l" t="t" r="r" b="b"/>
                  <a:pathLst>
                    <a:path w="27704" h="23770" extrusionOk="0">
                      <a:moveTo>
                        <a:pt x="14864" y="15547"/>
                      </a:moveTo>
                      <a:lnTo>
                        <a:pt x="14836" y="15589"/>
                      </a:lnTo>
                      <a:lnTo>
                        <a:pt x="14836" y="15568"/>
                      </a:lnTo>
                      <a:lnTo>
                        <a:pt x="14864" y="15547"/>
                      </a:lnTo>
                      <a:close/>
                      <a:moveTo>
                        <a:pt x="19460" y="16760"/>
                      </a:moveTo>
                      <a:lnTo>
                        <a:pt x="19523" y="16823"/>
                      </a:lnTo>
                      <a:lnTo>
                        <a:pt x="19460" y="16844"/>
                      </a:lnTo>
                      <a:lnTo>
                        <a:pt x="19460" y="16760"/>
                      </a:lnTo>
                      <a:close/>
                      <a:moveTo>
                        <a:pt x="23686" y="18497"/>
                      </a:moveTo>
                      <a:lnTo>
                        <a:pt x="23624" y="18644"/>
                      </a:lnTo>
                      <a:lnTo>
                        <a:pt x="23561" y="18853"/>
                      </a:lnTo>
                      <a:lnTo>
                        <a:pt x="23582" y="19020"/>
                      </a:lnTo>
                      <a:lnTo>
                        <a:pt x="23477" y="19229"/>
                      </a:lnTo>
                      <a:lnTo>
                        <a:pt x="23477" y="19355"/>
                      </a:lnTo>
                      <a:lnTo>
                        <a:pt x="23519" y="19439"/>
                      </a:lnTo>
                      <a:lnTo>
                        <a:pt x="23393" y="19355"/>
                      </a:lnTo>
                      <a:lnTo>
                        <a:pt x="23393" y="19543"/>
                      </a:lnTo>
                      <a:lnTo>
                        <a:pt x="23393" y="19564"/>
                      </a:lnTo>
                      <a:cubicBezTo>
                        <a:pt x="23352" y="19648"/>
                        <a:pt x="23310" y="19753"/>
                        <a:pt x="23310" y="19836"/>
                      </a:cubicBezTo>
                      <a:lnTo>
                        <a:pt x="23310" y="19962"/>
                      </a:lnTo>
                      <a:lnTo>
                        <a:pt x="23289" y="19941"/>
                      </a:lnTo>
                      <a:lnTo>
                        <a:pt x="23289" y="19836"/>
                      </a:lnTo>
                      <a:lnTo>
                        <a:pt x="23258" y="19791"/>
                      </a:lnTo>
                      <a:lnTo>
                        <a:pt x="23268" y="19773"/>
                      </a:lnTo>
                      <a:lnTo>
                        <a:pt x="23268" y="19627"/>
                      </a:lnTo>
                      <a:lnTo>
                        <a:pt x="23331" y="19543"/>
                      </a:lnTo>
                      <a:lnTo>
                        <a:pt x="23352" y="19250"/>
                      </a:lnTo>
                      <a:lnTo>
                        <a:pt x="23435" y="19020"/>
                      </a:lnTo>
                      <a:lnTo>
                        <a:pt x="23435" y="18790"/>
                      </a:lnTo>
                      <a:lnTo>
                        <a:pt x="23414" y="18623"/>
                      </a:lnTo>
                      <a:lnTo>
                        <a:pt x="23352" y="18539"/>
                      </a:lnTo>
                      <a:lnTo>
                        <a:pt x="23352" y="18518"/>
                      </a:lnTo>
                      <a:lnTo>
                        <a:pt x="23414" y="18539"/>
                      </a:lnTo>
                      <a:lnTo>
                        <a:pt x="23456" y="18685"/>
                      </a:lnTo>
                      <a:lnTo>
                        <a:pt x="23519" y="18706"/>
                      </a:lnTo>
                      <a:lnTo>
                        <a:pt x="23561" y="18581"/>
                      </a:lnTo>
                      <a:lnTo>
                        <a:pt x="23686" y="18497"/>
                      </a:lnTo>
                      <a:close/>
                      <a:moveTo>
                        <a:pt x="23204" y="19889"/>
                      </a:moveTo>
                      <a:lnTo>
                        <a:pt x="23184" y="19941"/>
                      </a:lnTo>
                      <a:lnTo>
                        <a:pt x="23142" y="20297"/>
                      </a:lnTo>
                      <a:lnTo>
                        <a:pt x="23038" y="20464"/>
                      </a:lnTo>
                      <a:lnTo>
                        <a:pt x="23017" y="20631"/>
                      </a:lnTo>
                      <a:lnTo>
                        <a:pt x="23121" y="20694"/>
                      </a:lnTo>
                      <a:lnTo>
                        <a:pt x="23080" y="20778"/>
                      </a:lnTo>
                      <a:lnTo>
                        <a:pt x="23121" y="20841"/>
                      </a:lnTo>
                      <a:lnTo>
                        <a:pt x="22996" y="20841"/>
                      </a:lnTo>
                      <a:lnTo>
                        <a:pt x="22912" y="20924"/>
                      </a:lnTo>
                      <a:lnTo>
                        <a:pt x="22912" y="21050"/>
                      </a:lnTo>
                      <a:cubicBezTo>
                        <a:pt x="22891" y="21050"/>
                        <a:pt x="22870" y="21092"/>
                        <a:pt x="22870" y="21134"/>
                      </a:cubicBezTo>
                      <a:lnTo>
                        <a:pt x="22870" y="21154"/>
                      </a:lnTo>
                      <a:lnTo>
                        <a:pt x="22847" y="21178"/>
                      </a:lnTo>
                      <a:lnTo>
                        <a:pt x="22847" y="21178"/>
                      </a:lnTo>
                      <a:lnTo>
                        <a:pt x="22849" y="21154"/>
                      </a:lnTo>
                      <a:lnTo>
                        <a:pt x="22849" y="20945"/>
                      </a:lnTo>
                      <a:lnTo>
                        <a:pt x="22828" y="20882"/>
                      </a:lnTo>
                      <a:cubicBezTo>
                        <a:pt x="22828" y="20820"/>
                        <a:pt x="22849" y="20778"/>
                        <a:pt x="22849" y="20736"/>
                      </a:cubicBezTo>
                      <a:lnTo>
                        <a:pt x="22891" y="20778"/>
                      </a:lnTo>
                      <a:lnTo>
                        <a:pt x="22954" y="20778"/>
                      </a:lnTo>
                      <a:lnTo>
                        <a:pt x="22954" y="20610"/>
                      </a:lnTo>
                      <a:lnTo>
                        <a:pt x="23017" y="20569"/>
                      </a:lnTo>
                      <a:lnTo>
                        <a:pt x="22954" y="20485"/>
                      </a:lnTo>
                      <a:lnTo>
                        <a:pt x="22828" y="20464"/>
                      </a:lnTo>
                      <a:lnTo>
                        <a:pt x="22828" y="20380"/>
                      </a:lnTo>
                      <a:lnTo>
                        <a:pt x="22703" y="20150"/>
                      </a:lnTo>
                      <a:lnTo>
                        <a:pt x="22703" y="20108"/>
                      </a:lnTo>
                      <a:lnTo>
                        <a:pt x="22828" y="20255"/>
                      </a:lnTo>
                      <a:lnTo>
                        <a:pt x="22912" y="20380"/>
                      </a:lnTo>
                      <a:lnTo>
                        <a:pt x="22996" y="20401"/>
                      </a:lnTo>
                      <a:lnTo>
                        <a:pt x="23038" y="20359"/>
                      </a:lnTo>
                      <a:lnTo>
                        <a:pt x="23017" y="20276"/>
                      </a:lnTo>
                      <a:lnTo>
                        <a:pt x="23121" y="20255"/>
                      </a:lnTo>
                      <a:lnTo>
                        <a:pt x="23121" y="20171"/>
                      </a:lnTo>
                      <a:lnTo>
                        <a:pt x="23059" y="20108"/>
                      </a:lnTo>
                      <a:cubicBezTo>
                        <a:pt x="23101" y="20066"/>
                        <a:pt x="23121" y="19983"/>
                        <a:pt x="23142" y="19941"/>
                      </a:cubicBezTo>
                      <a:lnTo>
                        <a:pt x="23163" y="19962"/>
                      </a:lnTo>
                      <a:lnTo>
                        <a:pt x="23204" y="19889"/>
                      </a:lnTo>
                      <a:close/>
                      <a:moveTo>
                        <a:pt x="23519" y="19836"/>
                      </a:moveTo>
                      <a:lnTo>
                        <a:pt x="23540" y="19962"/>
                      </a:lnTo>
                      <a:lnTo>
                        <a:pt x="23582" y="19962"/>
                      </a:lnTo>
                      <a:lnTo>
                        <a:pt x="23582" y="20087"/>
                      </a:lnTo>
                      <a:lnTo>
                        <a:pt x="23665" y="20171"/>
                      </a:lnTo>
                      <a:lnTo>
                        <a:pt x="23728" y="20108"/>
                      </a:lnTo>
                      <a:lnTo>
                        <a:pt x="23770" y="20150"/>
                      </a:lnTo>
                      <a:lnTo>
                        <a:pt x="23875" y="20087"/>
                      </a:lnTo>
                      <a:lnTo>
                        <a:pt x="24021" y="20087"/>
                      </a:lnTo>
                      <a:lnTo>
                        <a:pt x="24021" y="20108"/>
                      </a:lnTo>
                      <a:lnTo>
                        <a:pt x="23854" y="20213"/>
                      </a:lnTo>
                      <a:lnTo>
                        <a:pt x="23812" y="20255"/>
                      </a:lnTo>
                      <a:lnTo>
                        <a:pt x="23812" y="20297"/>
                      </a:lnTo>
                      <a:lnTo>
                        <a:pt x="23875" y="20359"/>
                      </a:lnTo>
                      <a:lnTo>
                        <a:pt x="23854" y="20401"/>
                      </a:lnTo>
                      <a:lnTo>
                        <a:pt x="23770" y="20401"/>
                      </a:lnTo>
                      <a:lnTo>
                        <a:pt x="23770" y="20464"/>
                      </a:lnTo>
                      <a:lnTo>
                        <a:pt x="23854" y="20590"/>
                      </a:lnTo>
                      <a:lnTo>
                        <a:pt x="23854" y="20694"/>
                      </a:lnTo>
                      <a:lnTo>
                        <a:pt x="23812" y="20715"/>
                      </a:lnTo>
                      <a:lnTo>
                        <a:pt x="23728" y="20631"/>
                      </a:lnTo>
                      <a:lnTo>
                        <a:pt x="23665" y="20548"/>
                      </a:lnTo>
                      <a:lnTo>
                        <a:pt x="23645" y="20610"/>
                      </a:lnTo>
                      <a:lnTo>
                        <a:pt x="23665" y="20694"/>
                      </a:lnTo>
                      <a:lnTo>
                        <a:pt x="23624" y="20757"/>
                      </a:lnTo>
                      <a:lnTo>
                        <a:pt x="23624" y="20903"/>
                      </a:lnTo>
                      <a:lnTo>
                        <a:pt x="23645" y="20924"/>
                      </a:lnTo>
                      <a:cubicBezTo>
                        <a:pt x="23629" y="20919"/>
                        <a:pt x="23614" y="20916"/>
                        <a:pt x="23601" y="20916"/>
                      </a:cubicBezTo>
                      <a:cubicBezTo>
                        <a:pt x="23562" y="20916"/>
                        <a:pt x="23535" y="20940"/>
                        <a:pt x="23519" y="20987"/>
                      </a:cubicBezTo>
                      <a:cubicBezTo>
                        <a:pt x="23456" y="21071"/>
                        <a:pt x="23414" y="21154"/>
                        <a:pt x="23373" y="21259"/>
                      </a:cubicBezTo>
                      <a:lnTo>
                        <a:pt x="23268" y="21154"/>
                      </a:lnTo>
                      <a:lnTo>
                        <a:pt x="23121" y="21154"/>
                      </a:lnTo>
                      <a:lnTo>
                        <a:pt x="23121" y="21238"/>
                      </a:lnTo>
                      <a:lnTo>
                        <a:pt x="23163" y="21322"/>
                      </a:lnTo>
                      <a:lnTo>
                        <a:pt x="23142" y="21426"/>
                      </a:lnTo>
                      <a:lnTo>
                        <a:pt x="23247" y="21468"/>
                      </a:lnTo>
                      <a:lnTo>
                        <a:pt x="23205" y="21552"/>
                      </a:lnTo>
                      <a:lnTo>
                        <a:pt x="23121" y="21552"/>
                      </a:lnTo>
                      <a:lnTo>
                        <a:pt x="23101" y="21531"/>
                      </a:lnTo>
                      <a:lnTo>
                        <a:pt x="23038" y="21615"/>
                      </a:lnTo>
                      <a:lnTo>
                        <a:pt x="23038" y="21531"/>
                      </a:lnTo>
                      <a:lnTo>
                        <a:pt x="23101" y="21447"/>
                      </a:lnTo>
                      <a:lnTo>
                        <a:pt x="22996" y="21322"/>
                      </a:lnTo>
                      <a:cubicBezTo>
                        <a:pt x="22996" y="21259"/>
                        <a:pt x="22996" y="21196"/>
                        <a:pt x="23017" y="21134"/>
                      </a:cubicBezTo>
                      <a:lnTo>
                        <a:pt x="23163" y="21050"/>
                      </a:lnTo>
                      <a:lnTo>
                        <a:pt x="23205" y="20882"/>
                      </a:lnTo>
                      <a:lnTo>
                        <a:pt x="23268" y="20903"/>
                      </a:lnTo>
                      <a:lnTo>
                        <a:pt x="23331" y="20841"/>
                      </a:lnTo>
                      <a:lnTo>
                        <a:pt x="23331" y="20736"/>
                      </a:lnTo>
                      <a:lnTo>
                        <a:pt x="23352" y="20673"/>
                      </a:lnTo>
                      <a:lnTo>
                        <a:pt x="23352" y="20276"/>
                      </a:lnTo>
                      <a:lnTo>
                        <a:pt x="23373" y="20171"/>
                      </a:lnTo>
                      <a:lnTo>
                        <a:pt x="23435" y="20401"/>
                      </a:lnTo>
                      <a:lnTo>
                        <a:pt x="23414" y="20673"/>
                      </a:lnTo>
                      <a:lnTo>
                        <a:pt x="23456" y="20694"/>
                      </a:lnTo>
                      <a:lnTo>
                        <a:pt x="23540" y="20527"/>
                      </a:lnTo>
                      <a:lnTo>
                        <a:pt x="23519" y="20108"/>
                      </a:lnTo>
                      <a:lnTo>
                        <a:pt x="23435" y="20004"/>
                      </a:lnTo>
                      <a:cubicBezTo>
                        <a:pt x="23456" y="19983"/>
                        <a:pt x="23456" y="19941"/>
                        <a:pt x="23498" y="19899"/>
                      </a:cubicBezTo>
                      <a:cubicBezTo>
                        <a:pt x="23519" y="19878"/>
                        <a:pt x="23519" y="19857"/>
                        <a:pt x="23519" y="19836"/>
                      </a:cubicBezTo>
                      <a:close/>
                      <a:moveTo>
                        <a:pt x="22808" y="1"/>
                      </a:moveTo>
                      <a:lnTo>
                        <a:pt x="22598" y="105"/>
                      </a:lnTo>
                      <a:lnTo>
                        <a:pt x="22556" y="168"/>
                      </a:lnTo>
                      <a:lnTo>
                        <a:pt x="22389" y="168"/>
                      </a:lnTo>
                      <a:lnTo>
                        <a:pt x="22264" y="231"/>
                      </a:lnTo>
                      <a:lnTo>
                        <a:pt x="22033" y="440"/>
                      </a:lnTo>
                      <a:lnTo>
                        <a:pt x="21866" y="503"/>
                      </a:lnTo>
                      <a:lnTo>
                        <a:pt x="21615" y="503"/>
                      </a:lnTo>
                      <a:lnTo>
                        <a:pt x="21448" y="398"/>
                      </a:lnTo>
                      <a:lnTo>
                        <a:pt x="21406" y="335"/>
                      </a:lnTo>
                      <a:lnTo>
                        <a:pt x="21406" y="398"/>
                      </a:lnTo>
                      <a:lnTo>
                        <a:pt x="21322" y="398"/>
                      </a:lnTo>
                      <a:lnTo>
                        <a:pt x="21217" y="294"/>
                      </a:lnTo>
                      <a:lnTo>
                        <a:pt x="21113" y="335"/>
                      </a:lnTo>
                      <a:lnTo>
                        <a:pt x="21092" y="419"/>
                      </a:lnTo>
                      <a:lnTo>
                        <a:pt x="21029" y="419"/>
                      </a:lnTo>
                      <a:lnTo>
                        <a:pt x="21008" y="335"/>
                      </a:lnTo>
                      <a:lnTo>
                        <a:pt x="21029" y="273"/>
                      </a:lnTo>
                      <a:lnTo>
                        <a:pt x="21134" y="210"/>
                      </a:lnTo>
                      <a:lnTo>
                        <a:pt x="21092" y="168"/>
                      </a:lnTo>
                      <a:lnTo>
                        <a:pt x="20945" y="210"/>
                      </a:lnTo>
                      <a:lnTo>
                        <a:pt x="20736" y="315"/>
                      </a:lnTo>
                      <a:lnTo>
                        <a:pt x="20590" y="398"/>
                      </a:lnTo>
                      <a:lnTo>
                        <a:pt x="20527" y="524"/>
                      </a:lnTo>
                      <a:lnTo>
                        <a:pt x="20569" y="628"/>
                      </a:lnTo>
                      <a:lnTo>
                        <a:pt x="20694" y="649"/>
                      </a:lnTo>
                      <a:lnTo>
                        <a:pt x="20611" y="733"/>
                      </a:lnTo>
                      <a:lnTo>
                        <a:pt x="20255" y="733"/>
                      </a:lnTo>
                      <a:lnTo>
                        <a:pt x="20088" y="859"/>
                      </a:lnTo>
                      <a:lnTo>
                        <a:pt x="19983" y="1131"/>
                      </a:lnTo>
                      <a:lnTo>
                        <a:pt x="19941" y="1319"/>
                      </a:lnTo>
                      <a:lnTo>
                        <a:pt x="19878" y="1319"/>
                      </a:lnTo>
                      <a:lnTo>
                        <a:pt x="19857" y="1256"/>
                      </a:lnTo>
                      <a:lnTo>
                        <a:pt x="19878" y="1068"/>
                      </a:lnTo>
                      <a:lnTo>
                        <a:pt x="20025" y="817"/>
                      </a:lnTo>
                      <a:lnTo>
                        <a:pt x="20025" y="733"/>
                      </a:lnTo>
                      <a:lnTo>
                        <a:pt x="19983" y="733"/>
                      </a:lnTo>
                      <a:lnTo>
                        <a:pt x="19732" y="1047"/>
                      </a:lnTo>
                      <a:lnTo>
                        <a:pt x="19585" y="1047"/>
                      </a:lnTo>
                      <a:lnTo>
                        <a:pt x="19523" y="1026"/>
                      </a:lnTo>
                      <a:lnTo>
                        <a:pt x="19439" y="921"/>
                      </a:lnTo>
                      <a:lnTo>
                        <a:pt x="19313" y="900"/>
                      </a:lnTo>
                      <a:lnTo>
                        <a:pt x="19230" y="900"/>
                      </a:lnTo>
                      <a:lnTo>
                        <a:pt x="19230" y="942"/>
                      </a:lnTo>
                      <a:lnTo>
                        <a:pt x="19418" y="1026"/>
                      </a:lnTo>
                      <a:lnTo>
                        <a:pt x="19460" y="1110"/>
                      </a:lnTo>
                      <a:lnTo>
                        <a:pt x="19418" y="1131"/>
                      </a:lnTo>
                      <a:lnTo>
                        <a:pt x="19251" y="1068"/>
                      </a:lnTo>
                      <a:lnTo>
                        <a:pt x="19062" y="1047"/>
                      </a:lnTo>
                      <a:lnTo>
                        <a:pt x="18832" y="1151"/>
                      </a:lnTo>
                      <a:lnTo>
                        <a:pt x="18539" y="1423"/>
                      </a:lnTo>
                      <a:lnTo>
                        <a:pt x="18204" y="1570"/>
                      </a:lnTo>
                      <a:lnTo>
                        <a:pt x="17974" y="1758"/>
                      </a:lnTo>
                      <a:lnTo>
                        <a:pt x="17744" y="1967"/>
                      </a:lnTo>
                      <a:lnTo>
                        <a:pt x="17451" y="2219"/>
                      </a:lnTo>
                      <a:lnTo>
                        <a:pt x="17263" y="2302"/>
                      </a:lnTo>
                      <a:lnTo>
                        <a:pt x="17158" y="2323"/>
                      </a:lnTo>
                      <a:lnTo>
                        <a:pt x="17012" y="2428"/>
                      </a:lnTo>
                      <a:lnTo>
                        <a:pt x="16865" y="2428"/>
                      </a:lnTo>
                      <a:lnTo>
                        <a:pt x="16698" y="2574"/>
                      </a:lnTo>
                      <a:lnTo>
                        <a:pt x="16510" y="2574"/>
                      </a:lnTo>
                      <a:lnTo>
                        <a:pt x="16426" y="2491"/>
                      </a:lnTo>
                      <a:lnTo>
                        <a:pt x="16238" y="2470"/>
                      </a:lnTo>
                      <a:lnTo>
                        <a:pt x="16091" y="2365"/>
                      </a:lnTo>
                      <a:lnTo>
                        <a:pt x="15986" y="2302"/>
                      </a:lnTo>
                      <a:lnTo>
                        <a:pt x="15798" y="2219"/>
                      </a:lnTo>
                      <a:lnTo>
                        <a:pt x="15714" y="2260"/>
                      </a:lnTo>
                      <a:lnTo>
                        <a:pt x="15589" y="2386"/>
                      </a:lnTo>
                      <a:lnTo>
                        <a:pt x="15380" y="2595"/>
                      </a:lnTo>
                      <a:lnTo>
                        <a:pt x="15338" y="2721"/>
                      </a:lnTo>
                      <a:lnTo>
                        <a:pt x="15233" y="2825"/>
                      </a:lnTo>
                      <a:lnTo>
                        <a:pt x="15170" y="2951"/>
                      </a:lnTo>
                      <a:lnTo>
                        <a:pt x="15087" y="2951"/>
                      </a:lnTo>
                      <a:lnTo>
                        <a:pt x="15024" y="2909"/>
                      </a:lnTo>
                      <a:lnTo>
                        <a:pt x="14940" y="2951"/>
                      </a:lnTo>
                      <a:lnTo>
                        <a:pt x="15045" y="3202"/>
                      </a:lnTo>
                      <a:lnTo>
                        <a:pt x="15170" y="3683"/>
                      </a:lnTo>
                      <a:lnTo>
                        <a:pt x="15296" y="4081"/>
                      </a:lnTo>
                      <a:lnTo>
                        <a:pt x="15359" y="4416"/>
                      </a:lnTo>
                      <a:lnTo>
                        <a:pt x="15338" y="4729"/>
                      </a:lnTo>
                      <a:lnTo>
                        <a:pt x="15191" y="4980"/>
                      </a:lnTo>
                      <a:lnTo>
                        <a:pt x="15087" y="5127"/>
                      </a:lnTo>
                      <a:lnTo>
                        <a:pt x="15087" y="5190"/>
                      </a:lnTo>
                      <a:lnTo>
                        <a:pt x="15296" y="5441"/>
                      </a:lnTo>
                      <a:lnTo>
                        <a:pt x="15442" y="5504"/>
                      </a:lnTo>
                      <a:lnTo>
                        <a:pt x="15442" y="5357"/>
                      </a:lnTo>
                      <a:lnTo>
                        <a:pt x="15484" y="5420"/>
                      </a:lnTo>
                      <a:lnTo>
                        <a:pt x="15589" y="5357"/>
                      </a:lnTo>
                      <a:lnTo>
                        <a:pt x="15673" y="5357"/>
                      </a:lnTo>
                      <a:lnTo>
                        <a:pt x="15589" y="5441"/>
                      </a:lnTo>
                      <a:lnTo>
                        <a:pt x="15589" y="5525"/>
                      </a:lnTo>
                      <a:lnTo>
                        <a:pt x="15882" y="5755"/>
                      </a:lnTo>
                      <a:lnTo>
                        <a:pt x="15798" y="5817"/>
                      </a:lnTo>
                      <a:lnTo>
                        <a:pt x="15673" y="5776"/>
                      </a:lnTo>
                      <a:lnTo>
                        <a:pt x="15652" y="5859"/>
                      </a:lnTo>
                      <a:lnTo>
                        <a:pt x="15610" y="6152"/>
                      </a:lnTo>
                      <a:lnTo>
                        <a:pt x="15610" y="6278"/>
                      </a:lnTo>
                      <a:lnTo>
                        <a:pt x="15673" y="6341"/>
                      </a:lnTo>
                      <a:lnTo>
                        <a:pt x="15756" y="6257"/>
                      </a:lnTo>
                      <a:lnTo>
                        <a:pt x="15882" y="6236"/>
                      </a:lnTo>
                      <a:lnTo>
                        <a:pt x="15986" y="6278"/>
                      </a:lnTo>
                      <a:lnTo>
                        <a:pt x="16028" y="6361"/>
                      </a:lnTo>
                      <a:lnTo>
                        <a:pt x="16196" y="6299"/>
                      </a:lnTo>
                      <a:lnTo>
                        <a:pt x="16384" y="6361"/>
                      </a:lnTo>
                      <a:lnTo>
                        <a:pt x="16530" y="6445"/>
                      </a:lnTo>
                      <a:lnTo>
                        <a:pt x="16384" y="6508"/>
                      </a:lnTo>
                      <a:lnTo>
                        <a:pt x="16405" y="6654"/>
                      </a:lnTo>
                      <a:lnTo>
                        <a:pt x="16384" y="6759"/>
                      </a:lnTo>
                      <a:lnTo>
                        <a:pt x="16196" y="6780"/>
                      </a:lnTo>
                      <a:lnTo>
                        <a:pt x="16217" y="6696"/>
                      </a:lnTo>
                      <a:lnTo>
                        <a:pt x="16112" y="6613"/>
                      </a:lnTo>
                      <a:lnTo>
                        <a:pt x="16028" y="6675"/>
                      </a:lnTo>
                      <a:lnTo>
                        <a:pt x="15882" y="6654"/>
                      </a:lnTo>
                      <a:lnTo>
                        <a:pt x="15819" y="6592"/>
                      </a:lnTo>
                      <a:lnTo>
                        <a:pt x="15777" y="6445"/>
                      </a:lnTo>
                      <a:lnTo>
                        <a:pt x="15673" y="6403"/>
                      </a:lnTo>
                      <a:lnTo>
                        <a:pt x="15610" y="6403"/>
                      </a:lnTo>
                      <a:lnTo>
                        <a:pt x="15484" y="6299"/>
                      </a:lnTo>
                      <a:lnTo>
                        <a:pt x="15505" y="6131"/>
                      </a:lnTo>
                      <a:lnTo>
                        <a:pt x="15652" y="5776"/>
                      </a:lnTo>
                      <a:lnTo>
                        <a:pt x="15610" y="5671"/>
                      </a:lnTo>
                      <a:lnTo>
                        <a:pt x="15568" y="5671"/>
                      </a:lnTo>
                      <a:lnTo>
                        <a:pt x="15463" y="5776"/>
                      </a:lnTo>
                      <a:lnTo>
                        <a:pt x="15463" y="6131"/>
                      </a:lnTo>
                      <a:lnTo>
                        <a:pt x="15401" y="6341"/>
                      </a:lnTo>
                      <a:lnTo>
                        <a:pt x="15296" y="6445"/>
                      </a:lnTo>
                      <a:lnTo>
                        <a:pt x="15296" y="6508"/>
                      </a:lnTo>
                      <a:lnTo>
                        <a:pt x="15380" y="6382"/>
                      </a:lnTo>
                      <a:lnTo>
                        <a:pt x="15463" y="6382"/>
                      </a:lnTo>
                      <a:lnTo>
                        <a:pt x="15505" y="6445"/>
                      </a:lnTo>
                      <a:lnTo>
                        <a:pt x="15652" y="6445"/>
                      </a:lnTo>
                      <a:lnTo>
                        <a:pt x="15694" y="6571"/>
                      </a:lnTo>
                      <a:lnTo>
                        <a:pt x="15694" y="6780"/>
                      </a:lnTo>
                      <a:lnTo>
                        <a:pt x="15589" y="6905"/>
                      </a:lnTo>
                      <a:lnTo>
                        <a:pt x="15442" y="6968"/>
                      </a:lnTo>
                      <a:lnTo>
                        <a:pt x="15442" y="6968"/>
                      </a:lnTo>
                      <a:lnTo>
                        <a:pt x="15589" y="6780"/>
                      </a:lnTo>
                      <a:lnTo>
                        <a:pt x="15589" y="6696"/>
                      </a:lnTo>
                      <a:lnTo>
                        <a:pt x="15505" y="6675"/>
                      </a:lnTo>
                      <a:lnTo>
                        <a:pt x="15463" y="6613"/>
                      </a:lnTo>
                      <a:lnTo>
                        <a:pt x="15380" y="6675"/>
                      </a:lnTo>
                      <a:lnTo>
                        <a:pt x="15191" y="6801"/>
                      </a:lnTo>
                      <a:lnTo>
                        <a:pt x="15191" y="6905"/>
                      </a:lnTo>
                      <a:lnTo>
                        <a:pt x="15087" y="6926"/>
                      </a:lnTo>
                      <a:lnTo>
                        <a:pt x="14982" y="6989"/>
                      </a:lnTo>
                      <a:lnTo>
                        <a:pt x="14961" y="6885"/>
                      </a:lnTo>
                      <a:lnTo>
                        <a:pt x="14898" y="6864"/>
                      </a:lnTo>
                      <a:lnTo>
                        <a:pt x="14752" y="6864"/>
                      </a:lnTo>
                      <a:lnTo>
                        <a:pt x="14668" y="6822"/>
                      </a:lnTo>
                      <a:lnTo>
                        <a:pt x="14647" y="6696"/>
                      </a:lnTo>
                      <a:lnTo>
                        <a:pt x="14564" y="6675"/>
                      </a:lnTo>
                      <a:lnTo>
                        <a:pt x="14522" y="6696"/>
                      </a:lnTo>
                      <a:lnTo>
                        <a:pt x="14417" y="6696"/>
                      </a:lnTo>
                      <a:lnTo>
                        <a:pt x="14417" y="6613"/>
                      </a:lnTo>
                      <a:lnTo>
                        <a:pt x="14334" y="6571"/>
                      </a:lnTo>
                      <a:lnTo>
                        <a:pt x="14250" y="6613"/>
                      </a:lnTo>
                      <a:lnTo>
                        <a:pt x="14208" y="6613"/>
                      </a:lnTo>
                      <a:lnTo>
                        <a:pt x="14208" y="6487"/>
                      </a:lnTo>
                      <a:lnTo>
                        <a:pt x="14145" y="6403"/>
                      </a:lnTo>
                      <a:lnTo>
                        <a:pt x="14145" y="6341"/>
                      </a:lnTo>
                      <a:lnTo>
                        <a:pt x="14250" y="6299"/>
                      </a:lnTo>
                      <a:lnTo>
                        <a:pt x="14396" y="6131"/>
                      </a:lnTo>
                      <a:lnTo>
                        <a:pt x="14459" y="6131"/>
                      </a:lnTo>
                      <a:lnTo>
                        <a:pt x="14543" y="6048"/>
                      </a:lnTo>
                      <a:lnTo>
                        <a:pt x="14543" y="5964"/>
                      </a:lnTo>
                      <a:lnTo>
                        <a:pt x="14396" y="5817"/>
                      </a:lnTo>
                      <a:lnTo>
                        <a:pt x="14313" y="5755"/>
                      </a:lnTo>
                      <a:lnTo>
                        <a:pt x="14208" y="5755"/>
                      </a:lnTo>
                      <a:lnTo>
                        <a:pt x="14020" y="5859"/>
                      </a:lnTo>
                      <a:lnTo>
                        <a:pt x="13915" y="5859"/>
                      </a:lnTo>
                      <a:lnTo>
                        <a:pt x="13810" y="5776"/>
                      </a:lnTo>
                      <a:lnTo>
                        <a:pt x="13706" y="5776"/>
                      </a:lnTo>
                      <a:lnTo>
                        <a:pt x="13371" y="5922"/>
                      </a:lnTo>
                      <a:lnTo>
                        <a:pt x="13329" y="5964"/>
                      </a:lnTo>
                      <a:lnTo>
                        <a:pt x="13392" y="6027"/>
                      </a:lnTo>
                      <a:lnTo>
                        <a:pt x="13517" y="6131"/>
                      </a:lnTo>
                      <a:lnTo>
                        <a:pt x="13497" y="6152"/>
                      </a:lnTo>
                      <a:lnTo>
                        <a:pt x="13392" y="6131"/>
                      </a:lnTo>
                      <a:lnTo>
                        <a:pt x="13287" y="6131"/>
                      </a:lnTo>
                      <a:lnTo>
                        <a:pt x="13225" y="6069"/>
                      </a:lnTo>
                      <a:lnTo>
                        <a:pt x="13120" y="6048"/>
                      </a:lnTo>
                      <a:lnTo>
                        <a:pt x="12911" y="6027"/>
                      </a:lnTo>
                      <a:lnTo>
                        <a:pt x="12701" y="6048"/>
                      </a:lnTo>
                      <a:lnTo>
                        <a:pt x="12639" y="6089"/>
                      </a:lnTo>
                      <a:lnTo>
                        <a:pt x="12639" y="6152"/>
                      </a:lnTo>
                      <a:lnTo>
                        <a:pt x="12534" y="6152"/>
                      </a:lnTo>
                      <a:lnTo>
                        <a:pt x="12492" y="6131"/>
                      </a:lnTo>
                      <a:lnTo>
                        <a:pt x="12429" y="6131"/>
                      </a:lnTo>
                      <a:lnTo>
                        <a:pt x="12262" y="6236"/>
                      </a:lnTo>
                      <a:lnTo>
                        <a:pt x="12262" y="6278"/>
                      </a:lnTo>
                      <a:lnTo>
                        <a:pt x="12178" y="6299"/>
                      </a:lnTo>
                      <a:lnTo>
                        <a:pt x="12011" y="6382"/>
                      </a:lnTo>
                      <a:lnTo>
                        <a:pt x="11865" y="6466"/>
                      </a:lnTo>
                      <a:lnTo>
                        <a:pt x="11802" y="6466"/>
                      </a:lnTo>
                      <a:lnTo>
                        <a:pt x="11823" y="6403"/>
                      </a:lnTo>
                      <a:lnTo>
                        <a:pt x="11844" y="6341"/>
                      </a:lnTo>
                      <a:lnTo>
                        <a:pt x="11739" y="6382"/>
                      </a:lnTo>
                      <a:lnTo>
                        <a:pt x="11634" y="6508"/>
                      </a:lnTo>
                      <a:lnTo>
                        <a:pt x="11634" y="6571"/>
                      </a:lnTo>
                      <a:lnTo>
                        <a:pt x="11802" y="6759"/>
                      </a:lnTo>
                      <a:lnTo>
                        <a:pt x="11948" y="6989"/>
                      </a:lnTo>
                      <a:lnTo>
                        <a:pt x="12116" y="7031"/>
                      </a:lnTo>
                      <a:lnTo>
                        <a:pt x="12241" y="7198"/>
                      </a:lnTo>
                      <a:lnTo>
                        <a:pt x="12367" y="7282"/>
                      </a:lnTo>
                      <a:lnTo>
                        <a:pt x="12429" y="7408"/>
                      </a:lnTo>
                      <a:lnTo>
                        <a:pt x="12534" y="7429"/>
                      </a:lnTo>
                      <a:lnTo>
                        <a:pt x="12660" y="7512"/>
                      </a:lnTo>
                      <a:lnTo>
                        <a:pt x="12597" y="7533"/>
                      </a:lnTo>
                      <a:lnTo>
                        <a:pt x="12429" y="7533"/>
                      </a:lnTo>
                      <a:lnTo>
                        <a:pt x="12388" y="7429"/>
                      </a:lnTo>
                      <a:lnTo>
                        <a:pt x="12262" y="7324"/>
                      </a:lnTo>
                      <a:lnTo>
                        <a:pt x="12178" y="7282"/>
                      </a:lnTo>
                      <a:lnTo>
                        <a:pt x="12137" y="7282"/>
                      </a:lnTo>
                      <a:lnTo>
                        <a:pt x="12011" y="7408"/>
                      </a:lnTo>
                      <a:lnTo>
                        <a:pt x="11885" y="7408"/>
                      </a:lnTo>
                      <a:lnTo>
                        <a:pt x="11802" y="7303"/>
                      </a:lnTo>
                      <a:lnTo>
                        <a:pt x="11906" y="7198"/>
                      </a:lnTo>
                      <a:lnTo>
                        <a:pt x="11906" y="7136"/>
                      </a:lnTo>
                      <a:lnTo>
                        <a:pt x="11823" y="7136"/>
                      </a:lnTo>
                      <a:lnTo>
                        <a:pt x="11739" y="7282"/>
                      </a:lnTo>
                      <a:lnTo>
                        <a:pt x="11781" y="7512"/>
                      </a:lnTo>
                      <a:lnTo>
                        <a:pt x="11802" y="7554"/>
                      </a:lnTo>
                      <a:lnTo>
                        <a:pt x="11802" y="7638"/>
                      </a:lnTo>
                      <a:lnTo>
                        <a:pt x="11676" y="7742"/>
                      </a:lnTo>
                      <a:lnTo>
                        <a:pt x="11593" y="7910"/>
                      </a:lnTo>
                      <a:lnTo>
                        <a:pt x="11572" y="8056"/>
                      </a:lnTo>
                      <a:lnTo>
                        <a:pt x="11593" y="8224"/>
                      </a:lnTo>
                      <a:lnTo>
                        <a:pt x="11802" y="8454"/>
                      </a:lnTo>
                      <a:lnTo>
                        <a:pt x="11990" y="8538"/>
                      </a:lnTo>
                      <a:lnTo>
                        <a:pt x="12116" y="8663"/>
                      </a:lnTo>
                      <a:lnTo>
                        <a:pt x="12199" y="8663"/>
                      </a:lnTo>
                      <a:lnTo>
                        <a:pt x="12346" y="8558"/>
                      </a:lnTo>
                      <a:lnTo>
                        <a:pt x="12492" y="8496"/>
                      </a:lnTo>
                      <a:lnTo>
                        <a:pt x="12639" y="8579"/>
                      </a:lnTo>
                      <a:lnTo>
                        <a:pt x="12890" y="8600"/>
                      </a:lnTo>
                      <a:lnTo>
                        <a:pt x="12994" y="8684"/>
                      </a:lnTo>
                      <a:lnTo>
                        <a:pt x="13015" y="8810"/>
                      </a:lnTo>
                      <a:lnTo>
                        <a:pt x="13078" y="8851"/>
                      </a:lnTo>
                      <a:lnTo>
                        <a:pt x="13141" y="8789"/>
                      </a:lnTo>
                      <a:lnTo>
                        <a:pt x="13141" y="8642"/>
                      </a:lnTo>
                      <a:lnTo>
                        <a:pt x="13162" y="8579"/>
                      </a:lnTo>
                      <a:lnTo>
                        <a:pt x="13266" y="8642"/>
                      </a:lnTo>
                      <a:lnTo>
                        <a:pt x="13266" y="8705"/>
                      </a:lnTo>
                      <a:lnTo>
                        <a:pt x="13162" y="8851"/>
                      </a:lnTo>
                      <a:lnTo>
                        <a:pt x="13162" y="8956"/>
                      </a:lnTo>
                      <a:lnTo>
                        <a:pt x="13204" y="8956"/>
                      </a:lnTo>
                      <a:lnTo>
                        <a:pt x="13371" y="8810"/>
                      </a:lnTo>
                      <a:lnTo>
                        <a:pt x="13413" y="8747"/>
                      </a:lnTo>
                      <a:lnTo>
                        <a:pt x="13601" y="8684"/>
                      </a:lnTo>
                      <a:lnTo>
                        <a:pt x="13831" y="8538"/>
                      </a:lnTo>
                      <a:lnTo>
                        <a:pt x="13999" y="8496"/>
                      </a:lnTo>
                      <a:lnTo>
                        <a:pt x="14082" y="8391"/>
                      </a:lnTo>
                      <a:lnTo>
                        <a:pt x="14124" y="8391"/>
                      </a:lnTo>
                      <a:lnTo>
                        <a:pt x="14145" y="8475"/>
                      </a:lnTo>
                      <a:lnTo>
                        <a:pt x="14208" y="8496"/>
                      </a:lnTo>
                      <a:lnTo>
                        <a:pt x="14396" y="8370"/>
                      </a:lnTo>
                      <a:lnTo>
                        <a:pt x="14543" y="8370"/>
                      </a:lnTo>
                      <a:lnTo>
                        <a:pt x="14606" y="8328"/>
                      </a:lnTo>
                      <a:lnTo>
                        <a:pt x="14543" y="8391"/>
                      </a:lnTo>
                      <a:lnTo>
                        <a:pt x="14417" y="8475"/>
                      </a:lnTo>
                      <a:lnTo>
                        <a:pt x="14417" y="8538"/>
                      </a:lnTo>
                      <a:lnTo>
                        <a:pt x="14459" y="8558"/>
                      </a:lnTo>
                      <a:lnTo>
                        <a:pt x="14354" y="8747"/>
                      </a:lnTo>
                      <a:lnTo>
                        <a:pt x="14208" y="8768"/>
                      </a:lnTo>
                      <a:lnTo>
                        <a:pt x="14145" y="8705"/>
                      </a:lnTo>
                      <a:lnTo>
                        <a:pt x="14082" y="8705"/>
                      </a:lnTo>
                      <a:lnTo>
                        <a:pt x="13915" y="8851"/>
                      </a:lnTo>
                      <a:lnTo>
                        <a:pt x="13915" y="8872"/>
                      </a:lnTo>
                      <a:lnTo>
                        <a:pt x="14041" y="8893"/>
                      </a:lnTo>
                      <a:lnTo>
                        <a:pt x="14124" y="8977"/>
                      </a:lnTo>
                      <a:lnTo>
                        <a:pt x="14124" y="9123"/>
                      </a:lnTo>
                      <a:lnTo>
                        <a:pt x="13936" y="9333"/>
                      </a:lnTo>
                      <a:lnTo>
                        <a:pt x="13915" y="9479"/>
                      </a:lnTo>
                      <a:lnTo>
                        <a:pt x="13873" y="9542"/>
                      </a:lnTo>
                      <a:lnTo>
                        <a:pt x="13831" y="9626"/>
                      </a:lnTo>
                      <a:lnTo>
                        <a:pt x="13873" y="9688"/>
                      </a:lnTo>
                      <a:lnTo>
                        <a:pt x="13894" y="9751"/>
                      </a:lnTo>
                      <a:lnTo>
                        <a:pt x="13873" y="9856"/>
                      </a:lnTo>
                      <a:lnTo>
                        <a:pt x="13748" y="10002"/>
                      </a:lnTo>
                      <a:lnTo>
                        <a:pt x="13643" y="10065"/>
                      </a:lnTo>
                      <a:lnTo>
                        <a:pt x="13538" y="10065"/>
                      </a:lnTo>
                      <a:lnTo>
                        <a:pt x="13476" y="10128"/>
                      </a:lnTo>
                      <a:lnTo>
                        <a:pt x="13371" y="10232"/>
                      </a:lnTo>
                      <a:lnTo>
                        <a:pt x="13287" y="10253"/>
                      </a:lnTo>
                      <a:lnTo>
                        <a:pt x="13162" y="10232"/>
                      </a:lnTo>
                      <a:lnTo>
                        <a:pt x="12994" y="10128"/>
                      </a:lnTo>
                      <a:lnTo>
                        <a:pt x="12953" y="10149"/>
                      </a:lnTo>
                      <a:lnTo>
                        <a:pt x="12890" y="10107"/>
                      </a:lnTo>
                      <a:lnTo>
                        <a:pt x="12806" y="10002"/>
                      </a:lnTo>
                      <a:lnTo>
                        <a:pt x="12785" y="10023"/>
                      </a:lnTo>
                      <a:lnTo>
                        <a:pt x="12681" y="10170"/>
                      </a:lnTo>
                      <a:lnTo>
                        <a:pt x="12555" y="10253"/>
                      </a:lnTo>
                      <a:lnTo>
                        <a:pt x="12471" y="10358"/>
                      </a:lnTo>
                      <a:lnTo>
                        <a:pt x="12241" y="10442"/>
                      </a:lnTo>
                      <a:lnTo>
                        <a:pt x="12157" y="10483"/>
                      </a:lnTo>
                      <a:lnTo>
                        <a:pt x="12053" y="10483"/>
                      </a:lnTo>
                      <a:lnTo>
                        <a:pt x="11948" y="10462"/>
                      </a:lnTo>
                      <a:lnTo>
                        <a:pt x="11760" y="10462"/>
                      </a:lnTo>
                      <a:lnTo>
                        <a:pt x="11634" y="10567"/>
                      </a:lnTo>
                      <a:lnTo>
                        <a:pt x="11509" y="10567"/>
                      </a:lnTo>
                      <a:lnTo>
                        <a:pt x="11425" y="10630"/>
                      </a:lnTo>
                      <a:lnTo>
                        <a:pt x="11425" y="10755"/>
                      </a:lnTo>
                      <a:lnTo>
                        <a:pt x="11341" y="10965"/>
                      </a:lnTo>
                      <a:lnTo>
                        <a:pt x="11279" y="11048"/>
                      </a:lnTo>
                      <a:lnTo>
                        <a:pt x="11279" y="10965"/>
                      </a:lnTo>
                      <a:lnTo>
                        <a:pt x="11132" y="10839"/>
                      </a:lnTo>
                      <a:lnTo>
                        <a:pt x="10986" y="10839"/>
                      </a:lnTo>
                      <a:lnTo>
                        <a:pt x="10902" y="10860"/>
                      </a:lnTo>
                      <a:lnTo>
                        <a:pt x="10923" y="10944"/>
                      </a:lnTo>
                      <a:lnTo>
                        <a:pt x="11007" y="10986"/>
                      </a:lnTo>
                      <a:lnTo>
                        <a:pt x="10965" y="11090"/>
                      </a:lnTo>
                      <a:lnTo>
                        <a:pt x="10902" y="11090"/>
                      </a:lnTo>
                      <a:lnTo>
                        <a:pt x="10860" y="10986"/>
                      </a:lnTo>
                      <a:lnTo>
                        <a:pt x="10756" y="10881"/>
                      </a:lnTo>
                      <a:lnTo>
                        <a:pt x="10693" y="10881"/>
                      </a:lnTo>
                      <a:lnTo>
                        <a:pt x="10546" y="11048"/>
                      </a:lnTo>
                      <a:lnTo>
                        <a:pt x="10484" y="11174"/>
                      </a:lnTo>
                      <a:lnTo>
                        <a:pt x="10400" y="11195"/>
                      </a:lnTo>
                      <a:lnTo>
                        <a:pt x="10337" y="11195"/>
                      </a:lnTo>
                      <a:lnTo>
                        <a:pt x="10065" y="11425"/>
                      </a:lnTo>
                      <a:lnTo>
                        <a:pt x="10023" y="11613"/>
                      </a:lnTo>
                      <a:lnTo>
                        <a:pt x="9960" y="11634"/>
                      </a:lnTo>
                      <a:lnTo>
                        <a:pt x="9835" y="11676"/>
                      </a:lnTo>
                      <a:lnTo>
                        <a:pt x="9730" y="11613"/>
                      </a:lnTo>
                      <a:lnTo>
                        <a:pt x="9709" y="11634"/>
                      </a:lnTo>
                      <a:lnTo>
                        <a:pt x="9814" y="11781"/>
                      </a:lnTo>
                      <a:lnTo>
                        <a:pt x="9772" y="11843"/>
                      </a:lnTo>
                      <a:lnTo>
                        <a:pt x="9709" y="11843"/>
                      </a:lnTo>
                      <a:lnTo>
                        <a:pt x="9647" y="11739"/>
                      </a:lnTo>
                      <a:lnTo>
                        <a:pt x="9605" y="11739"/>
                      </a:lnTo>
                      <a:lnTo>
                        <a:pt x="9542" y="11843"/>
                      </a:lnTo>
                      <a:lnTo>
                        <a:pt x="9416" y="12011"/>
                      </a:lnTo>
                      <a:lnTo>
                        <a:pt x="9416" y="12095"/>
                      </a:lnTo>
                      <a:lnTo>
                        <a:pt x="9521" y="12241"/>
                      </a:lnTo>
                      <a:lnTo>
                        <a:pt x="9542" y="12367"/>
                      </a:lnTo>
                      <a:lnTo>
                        <a:pt x="9521" y="12471"/>
                      </a:lnTo>
                      <a:lnTo>
                        <a:pt x="9458" y="12576"/>
                      </a:lnTo>
                      <a:lnTo>
                        <a:pt x="9500" y="12680"/>
                      </a:lnTo>
                      <a:lnTo>
                        <a:pt x="9563" y="12659"/>
                      </a:lnTo>
                      <a:lnTo>
                        <a:pt x="9647" y="12576"/>
                      </a:lnTo>
                      <a:lnTo>
                        <a:pt x="9668" y="12639"/>
                      </a:lnTo>
                      <a:lnTo>
                        <a:pt x="9709" y="12785"/>
                      </a:lnTo>
                      <a:lnTo>
                        <a:pt x="9647" y="12827"/>
                      </a:lnTo>
                      <a:lnTo>
                        <a:pt x="9605" y="12869"/>
                      </a:lnTo>
                      <a:lnTo>
                        <a:pt x="9626" y="12931"/>
                      </a:lnTo>
                      <a:lnTo>
                        <a:pt x="9709" y="12931"/>
                      </a:lnTo>
                      <a:lnTo>
                        <a:pt x="9751" y="12869"/>
                      </a:lnTo>
                      <a:lnTo>
                        <a:pt x="9835" y="12869"/>
                      </a:lnTo>
                      <a:lnTo>
                        <a:pt x="9856" y="12931"/>
                      </a:lnTo>
                      <a:lnTo>
                        <a:pt x="9856" y="12973"/>
                      </a:lnTo>
                      <a:lnTo>
                        <a:pt x="9981" y="12994"/>
                      </a:lnTo>
                      <a:lnTo>
                        <a:pt x="10086" y="13057"/>
                      </a:lnTo>
                      <a:lnTo>
                        <a:pt x="10232" y="13057"/>
                      </a:lnTo>
                      <a:lnTo>
                        <a:pt x="10337" y="12973"/>
                      </a:lnTo>
                      <a:lnTo>
                        <a:pt x="10379" y="12764"/>
                      </a:lnTo>
                      <a:lnTo>
                        <a:pt x="10463" y="12680"/>
                      </a:lnTo>
                      <a:lnTo>
                        <a:pt x="10672" y="12680"/>
                      </a:lnTo>
                      <a:lnTo>
                        <a:pt x="10756" y="12639"/>
                      </a:lnTo>
                      <a:lnTo>
                        <a:pt x="10651" y="12764"/>
                      </a:lnTo>
                      <a:lnTo>
                        <a:pt x="10546" y="12764"/>
                      </a:lnTo>
                      <a:lnTo>
                        <a:pt x="10358" y="12952"/>
                      </a:lnTo>
                      <a:lnTo>
                        <a:pt x="10337" y="13057"/>
                      </a:lnTo>
                      <a:lnTo>
                        <a:pt x="10253" y="13141"/>
                      </a:lnTo>
                      <a:lnTo>
                        <a:pt x="10358" y="13266"/>
                      </a:lnTo>
                      <a:lnTo>
                        <a:pt x="10358" y="13350"/>
                      </a:lnTo>
                      <a:lnTo>
                        <a:pt x="10191" y="13392"/>
                      </a:lnTo>
                      <a:lnTo>
                        <a:pt x="10149" y="13350"/>
                      </a:lnTo>
                      <a:lnTo>
                        <a:pt x="10149" y="13266"/>
                      </a:lnTo>
                      <a:lnTo>
                        <a:pt x="10086" y="13203"/>
                      </a:lnTo>
                      <a:lnTo>
                        <a:pt x="9981" y="13203"/>
                      </a:lnTo>
                      <a:lnTo>
                        <a:pt x="9940" y="13099"/>
                      </a:lnTo>
                      <a:lnTo>
                        <a:pt x="9772" y="13078"/>
                      </a:lnTo>
                      <a:lnTo>
                        <a:pt x="9730" y="12994"/>
                      </a:lnTo>
                      <a:lnTo>
                        <a:pt x="9647" y="13078"/>
                      </a:lnTo>
                      <a:lnTo>
                        <a:pt x="9542" y="13099"/>
                      </a:lnTo>
                      <a:lnTo>
                        <a:pt x="9521" y="13203"/>
                      </a:lnTo>
                      <a:lnTo>
                        <a:pt x="9437" y="13266"/>
                      </a:lnTo>
                      <a:lnTo>
                        <a:pt x="9312" y="13245"/>
                      </a:lnTo>
                      <a:lnTo>
                        <a:pt x="9291" y="13308"/>
                      </a:lnTo>
                      <a:lnTo>
                        <a:pt x="9333" y="13413"/>
                      </a:lnTo>
                      <a:lnTo>
                        <a:pt x="9396" y="13413"/>
                      </a:lnTo>
                      <a:lnTo>
                        <a:pt x="9312" y="13496"/>
                      </a:lnTo>
                      <a:lnTo>
                        <a:pt x="9291" y="13664"/>
                      </a:lnTo>
                      <a:lnTo>
                        <a:pt x="9312" y="13768"/>
                      </a:lnTo>
                      <a:lnTo>
                        <a:pt x="9396" y="13768"/>
                      </a:lnTo>
                      <a:lnTo>
                        <a:pt x="9396" y="13936"/>
                      </a:lnTo>
                      <a:lnTo>
                        <a:pt x="9416" y="13999"/>
                      </a:lnTo>
                      <a:lnTo>
                        <a:pt x="9416" y="14082"/>
                      </a:lnTo>
                      <a:lnTo>
                        <a:pt x="9521" y="14187"/>
                      </a:lnTo>
                      <a:lnTo>
                        <a:pt x="9521" y="14229"/>
                      </a:lnTo>
                      <a:lnTo>
                        <a:pt x="9396" y="14250"/>
                      </a:lnTo>
                      <a:lnTo>
                        <a:pt x="9354" y="14312"/>
                      </a:lnTo>
                      <a:lnTo>
                        <a:pt x="9730" y="14501"/>
                      </a:lnTo>
                      <a:lnTo>
                        <a:pt x="9877" y="14501"/>
                      </a:lnTo>
                      <a:lnTo>
                        <a:pt x="10065" y="14417"/>
                      </a:lnTo>
                      <a:lnTo>
                        <a:pt x="10170" y="14396"/>
                      </a:lnTo>
                      <a:lnTo>
                        <a:pt x="10232" y="14438"/>
                      </a:lnTo>
                      <a:lnTo>
                        <a:pt x="10295" y="14438"/>
                      </a:lnTo>
                      <a:lnTo>
                        <a:pt x="10463" y="14229"/>
                      </a:lnTo>
                      <a:lnTo>
                        <a:pt x="10463" y="14124"/>
                      </a:lnTo>
                      <a:lnTo>
                        <a:pt x="10400" y="14040"/>
                      </a:lnTo>
                      <a:lnTo>
                        <a:pt x="10400" y="13999"/>
                      </a:lnTo>
                      <a:lnTo>
                        <a:pt x="10567" y="13915"/>
                      </a:lnTo>
                      <a:lnTo>
                        <a:pt x="10714" y="13789"/>
                      </a:lnTo>
                      <a:lnTo>
                        <a:pt x="10986" y="13622"/>
                      </a:lnTo>
                      <a:lnTo>
                        <a:pt x="11090" y="13664"/>
                      </a:lnTo>
                      <a:lnTo>
                        <a:pt x="10986" y="13664"/>
                      </a:lnTo>
                      <a:lnTo>
                        <a:pt x="10756" y="13894"/>
                      </a:lnTo>
                      <a:lnTo>
                        <a:pt x="10588" y="13978"/>
                      </a:lnTo>
                      <a:lnTo>
                        <a:pt x="10588" y="14019"/>
                      </a:lnTo>
                      <a:lnTo>
                        <a:pt x="10693" y="14103"/>
                      </a:lnTo>
                      <a:lnTo>
                        <a:pt x="10693" y="14187"/>
                      </a:lnTo>
                      <a:lnTo>
                        <a:pt x="10588" y="14333"/>
                      </a:lnTo>
                      <a:lnTo>
                        <a:pt x="10463" y="14417"/>
                      </a:lnTo>
                      <a:lnTo>
                        <a:pt x="10442" y="14543"/>
                      </a:lnTo>
                      <a:lnTo>
                        <a:pt x="10463" y="14710"/>
                      </a:lnTo>
                      <a:lnTo>
                        <a:pt x="10442" y="14815"/>
                      </a:lnTo>
                      <a:lnTo>
                        <a:pt x="10442" y="14856"/>
                      </a:lnTo>
                      <a:lnTo>
                        <a:pt x="10442" y="14961"/>
                      </a:lnTo>
                      <a:lnTo>
                        <a:pt x="10463" y="15087"/>
                      </a:lnTo>
                      <a:lnTo>
                        <a:pt x="10295" y="15149"/>
                      </a:lnTo>
                      <a:lnTo>
                        <a:pt x="10232" y="15191"/>
                      </a:lnTo>
                      <a:lnTo>
                        <a:pt x="10191" y="15275"/>
                      </a:lnTo>
                      <a:lnTo>
                        <a:pt x="10044" y="15442"/>
                      </a:lnTo>
                      <a:lnTo>
                        <a:pt x="10002" y="15463"/>
                      </a:lnTo>
                      <a:lnTo>
                        <a:pt x="10044" y="15568"/>
                      </a:lnTo>
                      <a:lnTo>
                        <a:pt x="10044" y="15672"/>
                      </a:lnTo>
                      <a:lnTo>
                        <a:pt x="10107" y="15693"/>
                      </a:lnTo>
                      <a:lnTo>
                        <a:pt x="10212" y="15672"/>
                      </a:lnTo>
                      <a:lnTo>
                        <a:pt x="10274" y="15672"/>
                      </a:lnTo>
                      <a:lnTo>
                        <a:pt x="10316" y="15714"/>
                      </a:lnTo>
                      <a:lnTo>
                        <a:pt x="10253" y="15798"/>
                      </a:lnTo>
                      <a:lnTo>
                        <a:pt x="10128" y="15798"/>
                      </a:lnTo>
                      <a:lnTo>
                        <a:pt x="10065" y="15840"/>
                      </a:lnTo>
                      <a:lnTo>
                        <a:pt x="10086" y="15903"/>
                      </a:lnTo>
                      <a:lnTo>
                        <a:pt x="10065" y="15944"/>
                      </a:lnTo>
                      <a:lnTo>
                        <a:pt x="10086" y="16028"/>
                      </a:lnTo>
                      <a:lnTo>
                        <a:pt x="10023" y="16091"/>
                      </a:lnTo>
                      <a:lnTo>
                        <a:pt x="9940" y="16112"/>
                      </a:lnTo>
                      <a:lnTo>
                        <a:pt x="9835" y="16154"/>
                      </a:lnTo>
                      <a:lnTo>
                        <a:pt x="9751" y="16133"/>
                      </a:lnTo>
                      <a:lnTo>
                        <a:pt x="9709" y="16154"/>
                      </a:lnTo>
                      <a:lnTo>
                        <a:pt x="9772" y="16216"/>
                      </a:lnTo>
                      <a:lnTo>
                        <a:pt x="9877" y="16237"/>
                      </a:lnTo>
                      <a:lnTo>
                        <a:pt x="9960" y="16300"/>
                      </a:lnTo>
                      <a:lnTo>
                        <a:pt x="10086" y="16154"/>
                      </a:lnTo>
                      <a:lnTo>
                        <a:pt x="10337" y="16007"/>
                      </a:lnTo>
                      <a:lnTo>
                        <a:pt x="10379" y="16007"/>
                      </a:lnTo>
                      <a:lnTo>
                        <a:pt x="10463" y="16028"/>
                      </a:lnTo>
                      <a:lnTo>
                        <a:pt x="10546" y="15944"/>
                      </a:lnTo>
                      <a:lnTo>
                        <a:pt x="10714" y="15882"/>
                      </a:lnTo>
                      <a:lnTo>
                        <a:pt x="10693" y="15944"/>
                      </a:lnTo>
                      <a:lnTo>
                        <a:pt x="10630" y="16007"/>
                      </a:lnTo>
                      <a:lnTo>
                        <a:pt x="10630" y="16049"/>
                      </a:lnTo>
                      <a:lnTo>
                        <a:pt x="10693" y="16091"/>
                      </a:lnTo>
                      <a:lnTo>
                        <a:pt x="10714" y="16196"/>
                      </a:lnTo>
                      <a:lnTo>
                        <a:pt x="10693" y="16237"/>
                      </a:lnTo>
                      <a:lnTo>
                        <a:pt x="10776" y="16300"/>
                      </a:lnTo>
                      <a:lnTo>
                        <a:pt x="10881" y="16216"/>
                      </a:lnTo>
                      <a:lnTo>
                        <a:pt x="10944" y="16133"/>
                      </a:lnTo>
                      <a:lnTo>
                        <a:pt x="10986" y="16196"/>
                      </a:lnTo>
                      <a:lnTo>
                        <a:pt x="10965" y="16237"/>
                      </a:lnTo>
                      <a:lnTo>
                        <a:pt x="11049" y="16363"/>
                      </a:lnTo>
                      <a:lnTo>
                        <a:pt x="11069" y="16551"/>
                      </a:lnTo>
                      <a:lnTo>
                        <a:pt x="11049" y="16656"/>
                      </a:lnTo>
                      <a:lnTo>
                        <a:pt x="11090" y="16823"/>
                      </a:lnTo>
                      <a:lnTo>
                        <a:pt x="11153" y="16823"/>
                      </a:lnTo>
                      <a:lnTo>
                        <a:pt x="11195" y="16677"/>
                      </a:lnTo>
                      <a:lnTo>
                        <a:pt x="11195" y="16572"/>
                      </a:lnTo>
                      <a:lnTo>
                        <a:pt x="11300" y="16426"/>
                      </a:lnTo>
                      <a:lnTo>
                        <a:pt x="11321" y="16321"/>
                      </a:lnTo>
                      <a:lnTo>
                        <a:pt x="11467" y="16216"/>
                      </a:lnTo>
                      <a:lnTo>
                        <a:pt x="11488" y="16216"/>
                      </a:lnTo>
                      <a:lnTo>
                        <a:pt x="11593" y="16133"/>
                      </a:lnTo>
                      <a:lnTo>
                        <a:pt x="11739" y="16133"/>
                      </a:lnTo>
                      <a:lnTo>
                        <a:pt x="11593" y="16216"/>
                      </a:lnTo>
                      <a:lnTo>
                        <a:pt x="11425" y="16405"/>
                      </a:lnTo>
                      <a:lnTo>
                        <a:pt x="11425" y="16447"/>
                      </a:lnTo>
                      <a:lnTo>
                        <a:pt x="11572" y="16614"/>
                      </a:lnTo>
                      <a:lnTo>
                        <a:pt x="11634" y="16635"/>
                      </a:lnTo>
                      <a:lnTo>
                        <a:pt x="11802" y="16551"/>
                      </a:lnTo>
                      <a:lnTo>
                        <a:pt x="12032" y="16530"/>
                      </a:lnTo>
                      <a:lnTo>
                        <a:pt x="12137" y="16447"/>
                      </a:lnTo>
                      <a:lnTo>
                        <a:pt x="12220" y="16447"/>
                      </a:lnTo>
                      <a:lnTo>
                        <a:pt x="12429" y="16342"/>
                      </a:lnTo>
                      <a:lnTo>
                        <a:pt x="12513" y="16342"/>
                      </a:lnTo>
                      <a:lnTo>
                        <a:pt x="12429" y="16363"/>
                      </a:lnTo>
                      <a:lnTo>
                        <a:pt x="12304" y="16530"/>
                      </a:lnTo>
                      <a:lnTo>
                        <a:pt x="12304" y="16572"/>
                      </a:lnTo>
                      <a:lnTo>
                        <a:pt x="12220" y="16656"/>
                      </a:lnTo>
                      <a:lnTo>
                        <a:pt x="11906" y="16844"/>
                      </a:lnTo>
                      <a:lnTo>
                        <a:pt x="11781" y="16970"/>
                      </a:lnTo>
                      <a:lnTo>
                        <a:pt x="11676" y="17158"/>
                      </a:lnTo>
                      <a:lnTo>
                        <a:pt x="11634" y="17263"/>
                      </a:lnTo>
                      <a:lnTo>
                        <a:pt x="11697" y="17367"/>
                      </a:lnTo>
                      <a:lnTo>
                        <a:pt x="11802" y="17451"/>
                      </a:lnTo>
                      <a:lnTo>
                        <a:pt x="11613" y="17409"/>
                      </a:lnTo>
                      <a:lnTo>
                        <a:pt x="11530" y="17451"/>
                      </a:lnTo>
                      <a:lnTo>
                        <a:pt x="11425" y="17577"/>
                      </a:lnTo>
                      <a:lnTo>
                        <a:pt x="11383" y="17702"/>
                      </a:lnTo>
                      <a:lnTo>
                        <a:pt x="11216" y="17869"/>
                      </a:lnTo>
                      <a:lnTo>
                        <a:pt x="11153" y="17974"/>
                      </a:lnTo>
                      <a:lnTo>
                        <a:pt x="11174" y="18016"/>
                      </a:lnTo>
                      <a:lnTo>
                        <a:pt x="11216" y="18079"/>
                      </a:lnTo>
                      <a:lnTo>
                        <a:pt x="11195" y="18141"/>
                      </a:lnTo>
                      <a:lnTo>
                        <a:pt x="11111" y="18121"/>
                      </a:lnTo>
                      <a:lnTo>
                        <a:pt x="11090" y="18037"/>
                      </a:lnTo>
                      <a:lnTo>
                        <a:pt x="11007" y="18016"/>
                      </a:lnTo>
                      <a:lnTo>
                        <a:pt x="10944" y="18121"/>
                      </a:lnTo>
                      <a:lnTo>
                        <a:pt x="10776" y="18204"/>
                      </a:lnTo>
                      <a:lnTo>
                        <a:pt x="10839" y="18288"/>
                      </a:lnTo>
                      <a:lnTo>
                        <a:pt x="10776" y="18351"/>
                      </a:lnTo>
                      <a:lnTo>
                        <a:pt x="10693" y="18330"/>
                      </a:lnTo>
                      <a:lnTo>
                        <a:pt x="10672" y="18288"/>
                      </a:lnTo>
                      <a:lnTo>
                        <a:pt x="10630" y="18330"/>
                      </a:lnTo>
                      <a:lnTo>
                        <a:pt x="10358" y="18539"/>
                      </a:lnTo>
                      <a:lnTo>
                        <a:pt x="10274" y="18644"/>
                      </a:lnTo>
                      <a:lnTo>
                        <a:pt x="10316" y="18727"/>
                      </a:lnTo>
                      <a:lnTo>
                        <a:pt x="10253" y="18769"/>
                      </a:lnTo>
                      <a:lnTo>
                        <a:pt x="10170" y="18748"/>
                      </a:lnTo>
                      <a:lnTo>
                        <a:pt x="10170" y="18644"/>
                      </a:lnTo>
                      <a:lnTo>
                        <a:pt x="10023" y="18727"/>
                      </a:lnTo>
                      <a:lnTo>
                        <a:pt x="9898" y="18811"/>
                      </a:lnTo>
                      <a:lnTo>
                        <a:pt x="9793" y="18853"/>
                      </a:lnTo>
                      <a:lnTo>
                        <a:pt x="9751" y="18937"/>
                      </a:lnTo>
                      <a:lnTo>
                        <a:pt x="9647" y="18978"/>
                      </a:lnTo>
                      <a:lnTo>
                        <a:pt x="9500" y="18978"/>
                      </a:lnTo>
                      <a:lnTo>
                        <a:pt x="9333" y="19146"/>
                      </a:lnTo>
                      <a:lnTo>
                        <a:pt x="9082" y="19250"/>
                      </a:lnTo>
                      <a:lnTo>
                        <a:pt x="8893" y="19397"/>
                      </a:lnTo>
                      <a:lnTo>
                        <a:pt x="8810" y="19564"/>
                      </a:lnTo>
                      <a:lnTo>
                        <a:pt x="8810" y="19606"/>
                      </a:lnTo>
                      <a:lnTo>
                        <a:pt x="8872" y="19711"/>
                      </a:lnTo>
                      <a:lnTo>
                        <a:pt x="8872" y="19794"/>
                      </a:lnTo>
                      <a:lnTo>
                        <a:pt x="8852" y="19815"/>
                      </a:lnTo>
                      <a:lnTo>
                        <a:pt x="8768" y="19711"/>
                      </a:lnTo>
                      <a:lnTo>
                        <a:pt x="8747" y="19711"/>
                      </a:lnTo>
                      <a:lnTo>
                        <a:pt x="8705" y="19773"/>
                      </a:lnTo>
                      <a:lnTo>
                        <a:pt x="8747" y="19857"/>
                      </a:lnTo>
                      <a:lnTo>
                        <a:pt x="8684" y="19878"/>
                      </a:lnTo>
                      <a:lnTo>
                        <a:pt x="8621" y="19794"/>
                      </a:lnTo>
                      <a:lnTo>
                        <a:pt x="8705" y="19711"/>
                      </a:lnTo>
                      <a:cubicBezTo>
                        <a:pt x="8761" y="19673"/>
                        <a:pt x="8717" y="19603"/>
                        <a:pt x="8677" y="19603"/>
                      </a:cubicBezTo>
                      <a:cubicBezTo>
                        <a:pt x="8673" y="19603"/>
                        <a:pt x="8668" y="19604"/>
                        <a:pt x="8663" y="19606"/>
                      </a:cubicBezTo>
                      <a:lnTo>
                        <a:pt x="8600" y="19585"/>
                      </a:lnTo>
                      <a:lnTo>
                        <a:pt x="8496" y="19585"/>
                      </a:lnTo>
                      <a:lnTo>
                        <a:pt x="8454" y="19564"/>
                      </a:lnTo>
                      <a:lnTo>
                        <a:pt x="8349" y="19585"/>
                      </a:lnTo>
                      <a:lnTo>
                        <a:pt x="8161" y="19606"/>
                      </a:lnTo>
                      <a:lnTo>
                        <a:pt x="8056" y="19669"/>
                      </a:lnTo>
                      <a:lnTo>
                        <a:pt x="7973" y="19773"/>
                      </a:lnTo>
                      <a:lnTo>
                        <a:pt x="7826" y="19815"/>
                      </a:lnTo>
                      <a:lnTo>
                        <a:pt x="7680" y="19899"/>
                      </a:lnTo>
                      <a:lnTo>
                        <a:pt x="7554" y="20066"/>
                      </a:lnTo>
                      <a:lnTo>
                        <a:pt x="7575" y="20108"/>
                      </a:lnTo>
                      <a:lnTo>
                        <a:pt x="7533" y="20171"/>
                      </a:lnTo>
                      <a:lnTo>
                        <a:pt x="7471" y="20171"/>
                      </a:lnTo>
                      <a:lnTo>
                        <a:pt x="7345" y="20213"/>
                      </a:lnTo>
                      <a:lnTo>
                        <a:pt x="7261" y="20276"/>
                      </a:lnTo>
                      <a:lnTo>
                        <a:pt x="7261" y="20338"/>
                      </a:lnTo>
                      <a:lnTo>
                        <a:pt x="7219" y="20338"/>
                      </a:lnTo>
                      <a:lnTo>
                        <a:pt x="7115" y="20318"/>
                      </a:lnTo>
                      <a:lnTo>
                        <a:pt x="7010" y="20338"/>
                      </a:lnTo>
                      <a:lnTo>
                        <a:pt x="6989" y="20422"/>
                      </a:lnTo>
                      <a:lnTo>
                        <a:pt x="6947" y="20548"/>
                      </a:lnTo>
                      <a:lnTo>
                        <a:pt x="6947" y="20590"/>
                      </a:lnTo>
                      <a:cubicBezTo>
                        <a:pt x="6927" y="20590"/>
                        <a:pt x="6906" y="20610"/>
                        <a:pt x="6885" y="20610"/>
                      </a:cubicBezTo>
                      <a:lnTo>
                        <a:pt x="6843" y="20590"/>
                      </a:lnTo>
                      <a:lnTo>
                        <a:pt x="6906" y="20485"/>
                      </a:lnTo>
                      <a:lnTo>
                        <a:pt x="6822" y="20380"/>
                      </a:lnTo>
                      <a:lnTo>
                        <a:pt x="6675" y="20380"/>
                      </a:lnTo>
                      <a:lnTo>
                        <a:pt x="6634" y="20422"/>
                      </a:lnTo>
                      <a:lnTo>
                        <a:pt x="6571" y="20485"/>
                      </a:lnTo>
                      <a:lnTo>
                        <a:pt x="6466" y="20485"/>
                      </a:lnTo>
                      <a:lnTo>
                        <a:pt x="6403" y="20527"/>
                      </a:lnTo>
                      <a:lnTo>
                        <a:pt x="6299" y="20422"/>
                      </a:lnTo>
                      <a:lnTo>
                        <a:pt x="6257" y="20422"/>
                      </a:lnTo>
                      <a:lnTo>
                        <a:pt x="6152" y="20610"/>
                      </a:lnTo>
                      <a:lnTo>
                        <a:pt x="6090" y="20631"/>
                      </a:lnTo>
                      <a:lnTo>
                        <a:pt x="5985" y="20715"/>
                      </a:lnTo>
                      <a:lnTo>
                        <a:pt x="5943" y="20694"/>
                      </a:lnTo>
                      <a:lnTo>
                        <a:pt x="5880" y="20736"/>
                      </a:lnTo>
                      <a:lnTo>
                        <a:pt x="5859" y="20841"/>
                      </a:lnTo>
                      <a:lnTo>
                        <a:pt x="5880" y="20945"/>
                      </a:lnTo>
                      <a:lnTo>
                        <a:pt x="5943" y="20966"/>
                      </a:lnTo>
                      <a:cubicBezTo>
                        <a:pt x="5776" y="21029"/>
                        <a:pt x="5629" y="21071"/>
                        <a:pt x="5462" y="21154"/>
                      </a:cubicBezTo>
                      <a:lnTo>
                        <a:pt x="5441" y="21071"/>
                      </a:lnTo>
                      <a:lnTo>
                        <a:pt x="5378" y="21050"/>
                      </a:lnTo>
                      <a:lnTo>
                        <a:pt x="5378" y="21154"/>
                      </a:lnTo>
                      <a:lnTo>
                        <a:pt x="5378" y="21217"/>
                      </a:lnTo>
                      <a:cubicBezTo>
                        <a:pt x="5357" y="21217"/>
                        <a:pt x="5336" y="21238"/>
                        <a:pt x="5274" y="21238"/>
                      </a:cubicBezTo>
                      <a:lnTo>
                        <a:pt x="5232" y="21217"/>
                      </a:lnTo>
                      <a:lnTo>
                        <a:pt x="5169" y="21134"/>
                      </a:lnTo>
                      <a:lnTo>
                        <a:pt x="5064" y="21154"/>
                      </a:lnTo>
                      <a:lnTo>
                        <a:pt x="5064" y="21238"/>
                      </a:lnTo>
                      <a:lnTo>
                        <a:pt x="5127" y="21280"/>
                      </a:lnTo>
                      <a:cubicBezTo>
                        <a:pt x="5106" y="21322"/>
                        <a:pt x="5043" y="21322"/>
                        <a:pt x="5022" y="21343"/>
                      </a:cubicBezTo>
                      <a:lnTo>
                        <a:pt x="4960" y="21280"/>
                      </a:lnTo>
                      <a:lnTo>
                        <a:pt x="4960" y="21364"/>
                      </a:lnTo>
                      <a:cubicBezTo>
                        <a:pt x="4939" y="21385"/>
                        <a:pt x="4918" y="21385"/>
                        <a:pt x="4897" y="21385"/>
                      </a:cubicBezTo>
                      <a:lnTo>
                        <a:pt x="4855" y="21343"/>
                      </a:lnTo>
                      <a:lnTo>
                        <a:pt x="4730" y="21322"/>
                      </a:lnTo>
                      <a:lnTo>
                        <a:pt x="4688" y="21238"/>
                      </a:lnTo>
                      <a:lnTo>
                        <a:pt x="4583" y="21238"/>
                      </a:lnTo>
                      <a:lnTo>
                        <a:pt x="4478" y="21343"/>
                      </a:lnTo>
                      <a:lnTo>
                        <a:pt x="4478" y="21426"/>
                      </a:lnTo>
                      <a:lnTo>
                        <a:pt x="4541" y="21489"/>
                      </a:lnTo>
                      <a:cubicBezTo>
                        <a:pt x="4520" y="21489"/>
                        <a:pt x="4499" y="21531"/>
                        <a:pt x="4499" y="21531"/>
                      </a:cubicBezTo>
                      <a:lnTo>
                        <a:pt x="4395" y="21468"/>
                      </a:lnTo>
                      <a:lnTo>
                        <a:pt x="4290" y="21552"/>
                      </a:lnTo>
                      <a:lnTo>
                        <a:pt x="4290" y="21594"/>
                      </a:lnTo>
                      <a:cubicBezTo>
                        <a:pt x="4081" y="21678"/>
                        <a:pt x="3893" y="21761"/>
                        <a:pt x="3683" y="21845"/>
                      </a:cubicBezTo>
                      <a:lnTo>
                        <a:pt x="3704" y="21782"/>
                      </a:lnTo>
                      <a:lnTo>
                        <a:pt x="3809" y="21740"/>
                      </a:lnTo>
                      <a:lnTo>
                        <a:pt x="3746" y="21698"/>
                      </a:lnTo>
                      <a:lnTo>
                        <a:pt x="3704" y="21573"/>
                      </a:lnTo>
                      <a:lnTo>
                        <a:pt x="3600" y="21636"/>
                      </a:lnTo>
                      <a:lnTo>
                        <a:pt x="3432" y="21636"/>
                      </a:lnTo>
                      <a:lnTo>
                        <a:pt x="3453" y="21698"/>
                      </a:lnTo>
                      <a:lnTo>
                        <a:pt x="3390" y="21803"/>
                      </a:lnTo>
                      <a:lnTo>
                        <a:pt x="3286" y="21845"/>
                      </a:lnTo>
                      <a:lnTo>
                        <a:pt x="3160" y="21970"/>
                      </a:lnTo>
                      <a:lnTo>
                        <a:pt x="3160" y="22012"/>
                      </a:lnTo>
                      <a:cubicBezTo>
                        <a:pt x="2951" y="22096"/>
                        <a:pt x="2742" y="22159"/>
                        <a:pt x="2533" y="22201"/>
                      </a:cubicBezTo>
                      <a:lnTo>
                        <a:pt x="2512" y="22180"/>
                      </a:lnTo>
                      <a:lnTo>
                        <a:pt x="2386" y="22222"/>
                      </a:lnTo>
                      <a:lnTo>
                        <a:pt x="2407" y="22263"/>
                      </a:lnTo>
                      <a:cubicBezTo>
                        <a:pt x="2344" y="22263"/>
                        <a:pt x="2302" y="22284"/>
                        <a:pt x="2240" y="22284"/>
                      </a:cubicBezTo>
                      <a:cubicBezTo>
                        <a:pt x="2177" y="22305"/>
                        <a:pt x="2093" y="22305"/>
                        <a:pt x="2009" y="22326"/>
                      </a:cubicBezTo>
                      <a:lnTo>
                        <a:pt x="1926" y="22263"/>
                      </a:lnTo>
                      <a:lnTo>
                        <a:pt x="1821" y="22368"/>
                      </a:lnTo>
                      <a:lnTo>
                        <a:pt x="1821" y="22389"/>
                      </a:lnTo>
                      <a:cubicBezTo>
                        <a:pt x="1758" y="22410"/>
                        <a:pt x="1654" y="22410"/>
                        <a:pt x="1570" y="22431"/>
                      </a:cubicBezTo>
                      <a:cubicBezTo>
                        <a:pt x="1264" y="22480"/>
                        <a:pt x="957" y="22500"/>
                        <a:pt x="651" y="22500"/>
                      </a:cubicBezTo>
                      <a:cubicBezTo>
                        <a:pt x="434" y="22500"/>
                        <a:pt x="218" y="22490"/>
                        <a:pt x="1" y="22473"/>
                      </a:cubicBezTo>
                      <a:lnTo>
                        <a:pt x="1" y="22473"/>
                      </a:lnTo>
                      <a:cubicBezTo>
                        <a:pt x="332" y="22512"/>
                        <a:pt x="664" y="22527"/>
                        <a:pt x="990" y="22527"/>
                      </a:cubicBezTo>
                      <a:cubicBezTo>
                        <a:pt x="1179" y="22527"/>
                        <a:pt x="1365" y="22522"/>
                        <a:pt x="1549" y="22514"/>
                      </a:cubicBezTo>
                      <a:lnTo>
                        <a:pt x="1549" y="22535"/>
                      </a:lnTo>
                      <a:lnTo>
                        <a:pt x="1654" y="22577"/>
                      </a:lnTo>
                      <a:lnTo>
                        <a:pt x="1612" y="22514"/>
                      </a:lnTo>
                      <a:cubicBezTo>
                        <a:pt x="2093" y="22473"/>
                        <a:pt x="2533" y="22389"/>
                        <a:pt x="2972" y="22263"/>
                      </a:cubicBezTo>
                      <a:lnTo>
                        <a:pt x="2972" y="22263"/>
                      </a:lnTo>
                      <a:lnTo>
                        <a:pt x="2867" y="22368"/>
                      </a:lnTo>
                      <a:lnTo>
                        <a:pt x="3077" y="22368"/>
                      </a:lnTo>
                      <a:lnTo>
                        <a:pt x="3223" y="22222"/>
                      </a:lnTo>
                      <a:lnTo>
                        <a:pt x="3370" y="22222"/>
                      </a:lnTo>
                      <a:lnTo>
                        <a:pt x="3453" y="22159"/>
                      </a:lnTo>
                      <a:cubicBezTo>
                        <a:pt x="3579" y="22096"/>
                        <a:pt x="3746" y="22075"/>
                        <a:pt x="3872" y="22012"/>
                      </a:cubicBezTo>
                      <a:lnTo>
                        <a:pt x="3893" y="22054"/>
                      </a:lnTo>
                      <a:lnTo>
                        <a:pt x="4081" y="22054"/>
                      </a:lnTo>
                      <a:lnTo>
                        <a:pt x="4227" y="21991"/>
                      </a:lnTo>
                      <a:lnTo>
                        <a:pt x="4290" y="21719"/>
                      </a:lnTo>
                      <a:lnTo>
                        <a:pt x="4311" y="21803"/>
                      </a:lnTo>
                      <a:lnTo>
                        <a:pt x="4374" y="21845"/>
                      </a:lnTo>
                      <a:lnTo>
                        <a:pt x="4416" y="21740"/>
                      </a:lnTo>
                      <a:lnTo>
                        <a:pt x="4458" y="21657"/>
                      </a:lnTo>
                      <a:lnTo>
                        <a:pt x="4520" y="21678"/>
                      </a:lnTo>
                      <a:lnTo>
                        <a:pt x="4562" y="21740"/>
                      </a:lnTo>
                      <a:lnTo>
                        <a:pt x="4604" y="21719"/>
                      </a:lnTo>
                      <a:lnTo>
                        <a:pt x="4688" y="21615"/>
                      </a:lnTo>
                      <a:lnTo>
                        <a:pt x="4834" y="21531"/>
                      </a:lnTo>
                      <a:lnTo>
                        <a:pt x="4834" y="21468"/>
                      </a:lnTo>
                      <a:cubicBezTo>
                        <a:pt x="5043" y="21406"/>
                        <a:pt x="5253" y="21301"/>
                        <a:pt x="5462" y="21217"/>
                      </a:cubicBezTo>
                      <a:lnTo>
                        <a:pt x="5462" y="21217"/>
                      </a:lnTo>
                      <a:lnTo>
                        <a:pt x="5420" y="21238"/>
                      </a:lnTo>
                      <a:lnTo>
                        <a:pt x="5546" y="21238"/>
                      </a:lnTo>
                      <a:lnTo>
                        <a:pt x="5504" y="21196"/>
                      </a:lnTo>
                      <a:cubicBezTo>
                        <a:pt x="5839" y="21050"/>
                        <a:pt x="6173" y="20903"/>
                        <a:pt x="6508" y="20778"/>
                      </a:cubicBezTo>
                      <a:lnTo>
                        <a:pt x="6571" y="20799"/>
                      </a:lnTo>
                      <a:lnTo>
                        <a:pt x="6759" y="20778"/>
                      </a:lnTo>
                      <a:lnTo>
                        <a:pt x="6822" y="20694"/>
                      </a:lnTo>
                      <a:lnTo>
                        <a:pt x="6989" y="20715"/>
                      </a:lnTo>
                      <a:lnTo>
                        <a:pt x="6989" y="20673"/>
                      </a:lnTo>
                      <a:lnTo>
                        <a:pt x="6927" y="20610"/>
                      </a:lnTo>
                      <a:cubicBezTo>
                        <a:pt x="7031" y="20569"/>
                        <a:pt x="7136" y="20527"/>
                        <a:pt x="7240" y="20485"/>
                      </a:cubicBezTo>
                      <a:lnTo>
                        <a:pt x="7282" y="20485"/>
                      </a:lnTo>
                      <a:cubicBezTo>
                        <a:pt x="7324" y="20464"/>
                        <a:pt x="7387" y="20422"/>
                        <a:pt x="7429" y="20422"/>
                      </a:cubicBezTo>
                      <a:lnTo>
                        <a:pt x="7450" y="20485"/>
                      </a:lnTo>
                      <a:lnTo>
                        <a:pt x="7554" y="20485"/>
                      </a:lnTo>
                      <a:lnTo>
                        <a:pt x="7617" y="20380"/>
                      </a:lnTo>
                      <a:lnTo>
                        <a:pt x="7638" y="20464"/>
                      </a:lnTo>
                      <a:lnTo>
                        <a:pt x="7659" y="20464"/>
                      </a:lnTo>
                      <a:lnTo>
                        <a:pt x="7701" y="20380"/>
                      </a:lnTo>
                      <a:lnTo>
                        <a:pt x="7763" y="20318"/>
                      </a:lnTo>
                      <a:lnTo>
                        <a:pt x="7868" y="20318"/>
                      </a:lnTo>
                      <a:lnTo>
                        <a:pt x="7973" y="20255"/>
                      </a:lnTo>
                      <a:lnTo>
                        <a:pt x="8015" y="20171"/>
                      </a:lnTo>
                      <a:cubicBezTo>
                        <a:pt x="8077" y="20150"/>
                        <a:pt x="8161" y="20087"/>
                        <a:pt x="8224" y="20066"/>
                      </a:cubicBezTo>
                      <a:lnTo>
                        <a:pt x="8224" y="20066"/>
                      </a:lnTo>
                      <a:lnTo>
                        <a:pt x="8182" y="20108"/>
                      </a:lnTo>
                      <a:lnTo>
                        <a:pt x="8182" y="20213"/>
                      </a:lnTo>
                      <a:lnTo>
                        <a:pt x="8224" y="20255"/>
                      </a:lnTo>
                      <a:lnTo>
                        <a:pt x="8370" y="20150"/>
                      </a:lnTo>
                      <a:lnTo>
                        <a:pt x="8391" y="20066"/>
                      </a:lnTo>
                      <a:lnTo>
                        <a:pt x="8475" y="20045"/>
                      </a:lnTo>
                      <a:lnTo>
                        <a:pt x="8496" y="20087"/>
                      </a:lnTo>
                      <a:lnTo>
                        <a:pt x="8538" y="20045"/>
                      </a:lnTo>
                      <a:lnTo>
                        <a:pt x="8580" y="20045"/>
                      </a:lnTo>
                      <a:lnTo>
                        <a:pt x="8600" y="20108"/>
                      </a:lnTo>
                      <a:lnTo>
                        <a:pt x="8580" y="20192"/>
                      </a:lnTo>
                      <a:lnTo>
                        <a:pt x="8642" y="20192"/>
                      </a:lnTo>
                      <a:lnTo>
                        <a:pt x="8705" y="20087"/>
                      </a:lnTo>
                      <a:lnTo>
                        <a:pt x="8789" y="20087"/>
                      </a:lnTo>
                      <a:lnTo>
                        <a:pt x="8872" y="20004"/>
                      </a:lnTo>
                      <a:lnTo>
                        <a:pt x="8977" y="20004"/>
                      </a:lnTo>
                      <a:lnTo>
                        <a:pt x="9082" y="19857"/>
                      </a:lnTo>
                      <a:lnTo>
                        <a:pt x="9186" y="19794"/>
                      </a:lnTo>
                      <a:lnTo>
                        <a:pt x="9270" y="19836"/>
                      </a:lnTo>
                      <a:lnTo>
                        <a:pt x="9270" y="19899"/>
                      </a:lnTo>
                      <a:lnTo>
                        <a:pt x="9186" y="20004"/>
                      </a:lnTo>
                      <a:lnTo>
                        <a:pt x="9103" y="20150"/>
                      </a:lnTo>
                      <a:lnTo>
                        <a:pt x="9103" y="20192"/>
                      </a:lnTo>
                      <a:lnTo>
                        <a:pt x="9165" y="20192"/>
                      </a:lnTo>
                      <a:lnTo>
                        <a:pt x="9312" y="20045"/>
                      </a:lnTo>
                      <a:lnTo>
                        <a:pt x="9312" y="19857"/>
                      </a:lnTo>
                      <a:lnTo>
                        <a:pt x="9333" y="19836"/>
                      </a:lnTo>
                      <a:lnTo>
                        <a:pt x="9396" y="19899"/>
                      </a:lnTo>
                      <a:lnTo>
                        <a:pt x="9479" y="19857"/>
                      </a:lnTo>
                      <a:lnTo>
                        <a:pt x="9542" y="19878"/>
                      </a:lnTo>
                      <a:lnTo>
                        <a:pt x="9647" y="19878"/>
                      </a:lnTo>
                      <a:lnTo>
                        <a:pt x="9751" y="19753"/>
                      </a:lnTo>
                      <a:lnTo>
                        <a:pt x="9793" y="19753"/>
                      </a:lnTo>
                      <a:lnTo>
                        <a:pt x="9814" y="19773"/>
                      </a:lnTo>
                      <a:lnTo>
                        <a:pt x="9856" y="19648"/>
                      </a:lnTo>
                      <a:lnTo>
                        <a:pt x="9919" y="19585"/>
                      </a:lnTo>
                      <a:lnTo>
                        <a:pt x="9940" y="19627"/>
                      </a:lnTo>
                      <a:lnTo>
                        <a:pt x="9919" y="19690"/>
                      </a:lnTo>
                      <a:lnTo>
                        <a:pt x="9919" y="19794"/>
                      </a:lnTo>
                      <a:lnTo>
                        <a:pt x="9960" y="19773"/>
                      </a:lnTo>
                      <a:lnTo>
                        <a:pt x="10044" y="19669"/>
                      </a:lnTo>
                      <a:lnTo>
                        <a:pt x="10002" y="19648"/>
                      </a:lnTo>
                      <a:lnTo>
                        <a:pt x="10065" y="19564"/>
                      </a:lnTo>
                      <a:lnTo>
                        <a:pt x="10065" y="19522"/>
                      </a:lnTo>
                      <a:lnTo>
                        <a:pt x="9898" y="19522"/>
                      </a:lnTo>
                      <a:lnTo>
                        <a:pt x="9856" y="19481"/>
                      </a:lnTo>
                      <a:lnTo>
                        <a:pt x="10023" y="19439"/>
                      </a:lnTo>
                      <a:lnTo>
                        <a:pt x="10212" y="19334"/>
                      </a:lnTo>
                      <a:lnTo>
                        <a:pt x="10442" y="19334"/>
                      </a:lnTo>
                      <a:lnTo>
                        <a:pt x="10484" y="19271"/>
                      </a:lnTo>
                      <a:lnTo>
                        <a:pt x="10484" y="19209"/>
                      </a:lnTo>
                      <a:lnTo>
                        <a:pt x="10442" y="19209"/>
                      </a:lnTo>
                      <a:lnTo>
                        <a:pt x="10484" y="19167"/>
                      </a:lnTo>
                      <a:lnTo>
                        <a:pt x="10567" y="19146"/>
                      </a:lnTo>
                      <a:lnTo>
                        <a:pt x="10651" y="19104"/>
                      </a:lnTo>
                      <a:lnTo>
                        <a:pt x="10693" y="19104"/>
                      </a:lnTo>
                      <a:lnTo>
                        <a:pt x="10735" y="19209"/>
                      </a:lnTo>
                      <a:lnTo>
                        <a:pt x="10839" y="19209"/>
                      </a:lnTo>
                      <a:lnTo>
                        <a:pt x="10881" y="19125"/>
                      </a:lnTo>
                      <a:lnTo>
                        <a:pt x="10860" y="19104"/>
                      </a:lnTo>
                      <a:lnTo>
                        <a:pt x="10944" y="19020"/>
                      </a:lnTo>
                      <a:lnTo>
                        <a:pt x="10944" y="18916"/>
                      </a:lnTo>
                      <a:lnTo>
                        <a:pt x="10986" y="18853"/>
                      </a:lnTo>
                      <a:lnTo>
                        <a:pt x="11049" y="18916"/>
                      </a:lnTo>
                      <a:lnTo>
                        <a:pt x="11049" y="18999"/>
                      </a:lnTo>
                      <a:lnTo>
                        <a:pt x="11090" y="19041"/>
                      </a:lnTo>
                      <a:lnTo>
                        <a:pt x="11216" y="18957"/>
                      </a:lnTo>
                      <a:lnTo>
                        <a:pt x="11279" y="18895"/>
                      </a:lnTo>
                      <a:lnTo>
                        <a:pt x="11362" y="18895"/>
                      </a:lnTo>
                      <a:lnTo>
                        <a:pt x="11404" y="18790"/>
                      </a:lnTo>
                      <a:lnTo>
                        <a:pt x="11425" y="18748"/>
                      </a:lnTo>
                      <a:lnTo>
                        <a:pt x="11488" y="18811"/>
                      </a:lnTo>
                      <a:lnTo>
                        <a:pt x="11593" y="18790"/>
                      </a:lnTo>
                      <a:lnTo>
                        <a:pt x="11718" y="18623"/>
                      </a:lnTo>
                      <a:lnTo>
                        <a:pt x="11718" y="18539"/>
                      </a:lnTo>
                      <a:lnTo>
                        <a:pt x="11613" y="18539"/>
                      </a:lnTo>
                      <a:lnTo>
                        <a:pt x="11593" y="18518"/>
                      </a:lnTo>
                      <a:lnTo>
                        <a:pt x="11739" y="18413"/>
                      </a:lnTo>
                      <a:lnTo>
                        <a:pt x="11844" y="18393"/>
                      </a:lnTo>
                      <a:lnTo>
                        <a:pt x="11927" y="18288"/>
                      </a:lnTo>
                      <a:lnTo>
                        <a:pt x="11990" y="18288"/>
                      </a:lnTo>
                      <a:lnTo>
                        <a:pt x="12011" y="18330"/>
                      </a:lnTo>
                      <a:lnTo>
                        <a:pt x="12137" y="18204"/>
                      </a:lnTo>
                      <a:lnTo>
                        <a:pt x="12241" y="18141"/>
                      </a:lnTo>
                      <a:lnTo>
                        <a:pt x="12262" y="18079"/>
                      </a:lnTo>
                      <a:lnTo>
                        <a:pt x="12346" y="18037"/>
                      </a:lnTo>
                      <a:lnTo>
                        <a:pt x="12367" y="17995"/>
                      </a:lnTo>
                      <a:lnTo>
                        <a:pt x="12450" y="17995"/>
                      </a:lnTo>
                      <a:lnTo>
                        <a:pt x="12471" y="18079"/>
                      </a:lnTo>
                      <a:lnTo>
                        <a:pt x="12534" y="18100"/>
                      </a:lnTo>
                      <a:lnTo>
                        <a:pt x="12555" y="18016"/>
                      </a:lnTo>
                      <a:lnTo>
                        <a:pt x="12660" y="18016"/>
                      </a:lnTo>
                      <a:lnTo>
                        <a:pt x="12722" y="17995"/>
                      </a:lnTo>
                      <a:lnTo>
                        <a:pt x="12722" y="17911"/>
                      </a:lnTo>
                      <a:lnTo>
                        <a:pt x="12827" y="17890"/>
                      </a:lnTo>
                      <a:lnTo>
                        <a:pt x="12848" y="17828"/>
                      </a:lnTo>
                      <a:lnTo>
                        <a:pt x="12869" y="17869"/>
                      </a:lnTo>
                      <a:lnTo>
                        <a:pt x="13036" y="17890"/>
                      </a:lnTo>
                      <a:lnTo>
                        <a:pt x="13057" y="17786"/>
                      </a:lnTo>
                      <a:lnTo>
                        <a:pt x="13099" y="17786"/>
                      </a:lnTo>
                      <a:lnTo>
                        <a:pt x="13099" y="17849"/>
                      </a:lnTo>
                      <a:lnTo>
                        <a:pt x="13162" y="17849"/>
                      </a:lnTo>
                      <a:lnTo>
                        <a:pt x="13204" y="17786"/>
                      </a:lnTo>
                      <a:lnTo>
                        <a:pt x="13266" y="17849"/>
                      </a:lnTo>
                      <a:lnTo>
                        <a:pt x="13308" y="17807"/>
                      </a:lnTo>
                      <a:lnTo>
                        <a:pt x="13371" y="17660"/>
                      </a:lnTo>
                      <a:lnTo>
                        <a:pt x="13308" y="17660"/>
                      </a:lnTo>
                      <a:lnTo>
                        <a:pt x="13266" y="17681"/>
                      </a:lnTo>
                      <a:lnTo>
                        <a:pt x="13287" y="17597"/>
                      </a:lnTo>
                      <a:lnTo>
                        <a:pt x="13350" y="17556"/>
                      </a:lnTo>
                      <a:cubicBezTo>
                        <a:pt x="13371" y="17618"/>
                        <a:pt x="13392" y="17702"/>
                        <a:pt x="13455" y="17765"/>
                      </a:cubicBezTo>
                      <a:cubicBezTo>
                        <a:pt x="13517" y="17849"/>
                        <a:pt x="13392" y="17995"/>
                        <a:pt x="13308" y="18079"/>
                      </a:cubicBezTo>
                      <a:lnTo>
                        <a:pt x="13245" y="18183"/>
                      </a:lnTo>
                      <a:lnTo>
                        <a:pt x="13266" y="18225"/>
                      </a:lnTo>
                      <a:lnTo>
                        <a:pt x="13371" y="18309"/>
                      </a:lnTo>
                      <a:lnTo>
                        <a:pt x="13350" y="18413"/>
                      </a:lnTo>
                      <a:lnTo>
                        <a:pt x="13266" y="18351"/>
                      </a:lnTo>
                      <a:lnTo>
                        <a:pt x="13245" y="18393"/>
                      </a:lnTo>
                      <a:lnTo>
                        <a:pt x="13266" y="18497"/>
                      </a:lnTo>
                      <a:lnTo>
                        <a:pt x="13162" y="18623"/>
                      </a:lnTo>
                      <a:lnTo>
                        <a:pt x="13099" y="18602"/>
                      </a:lnTo>
                      <a:lnTo>
                        <a:pt x="13099" y="18351"/>
                      </a:lnTo>
                      <a:lnTo>
                        <a:pt x="13057" y="18330"/>
                      </a:lnTo>
                      <a:lnTo>
                        <a:pt x="12890" y="18351"/>
                      </a:lnTo>
                      <a:lnTo>
                        <a:pt x="12639" y="18497"/>
                      </a:lnTo>
                      <a:lnTo>
                        <a:pt x="12471" y="18602"/>
                      </a:lnTo>
                      <a:lnTo>
                        <a:pt x="12450" y="18665"/>
                      </a:lnTo>
                      <a:lnTo>
                        <a:pt x="12471" y="18727"/>
                      </a:lnTo>
                      <a:lnTo>
                        <a:pt x="12471" y="18853"/>
                      </a:lnTo>
                      <a:lnTo>
                        <a:pt x="12450" y="18957"/>
                      </a:lnTo>
                      <a:lnTo>
                        <a:pt x="12409" y="19041"/>
                      </a:lnTo>
                      <a:lnTo>
                        <a:pt x="12409" y="19146"/>
                      </a:lnTo>
                      <a:lnTo>
                        <a:pt x="12471" y="19188"/>
                      </a:lnTo>
                      <a:lnTo>
                        <a:pt x="12555" y="19167"/>
                      </a:lnTo>
                      <a:lnTo>
                        <a:pt x="12576" y="19125"/>
                      </a:lnTo>
                      <a:lnTo>
                        <a:pt x="12555" y="19083"/>
                      </a:lnTo>
                      <a:lnTo>
                        <a:pt x="12513" y="19062"/>
                      </a:lnTo>
                      <a:lnTo>
                        <a:pt x="12555" y="19020"/>
                      </a:lnTo>
                      <a:lnTo>
                        <a:pt x="12681" y="19020"/>
                      </a:lnTo>
                      <a:lnTo>
                        <a:pt x="12660" y="19062"/>
                      </a:lnTo>
                      <a:lnTo>
                        <a:pt x="12722" y="19125"/>
                      </a:lnTo>
                      <a:lnTo>
                        <a:pt x="12785" y="19041"/>
                      </a:lnTo>
                      <a:lnTo>
                        <a:pt x="12848" y="19041"/>
                      </a:lnTo>
                      <a:lnTo>
                        <a:pt x="12764" y="19146"/>
                      </a:lnTo>
                      <a:lnTo>
                        <a:pt x="12764" y="19188"/>
                      </a:lnTo>
                      <a:lnTo>
                        <a:pt x="12555" y="19355"/>
                      </a:lnTo>
                      <a:lnTo>
                        <a:pt x="12534" y="19397"/>
                      </a:lnTo>
                      <a:lnTo>
                        <a:pt x="12639" y="19439"/>
                      </a:lnTo>
                      <a:lnTo>
                        <a:pt x="12681" y="19355"/>
                      </a:lnTo>
                      <a:lnTo>
                        <a:pt x="12764" y="19292"/>
                      </a:lnTo>
                      <a:lnTo>
                        <a:pt x="12764" y="19229"/>
                      </a:lnTo>
                      <a:lnTo>
                        <a:pt x="12890" y="19146"/>
                      </a:lnTo>
                      <a:lnTo>
                        <a:pt x="12869" y="19083"/>
                      </a:lnTo>
                      <a:lnTo>
                        <a:pt x="12932" y="19041"/>
                      </a:lnTo>
                      <a:lnTo>
                        <a:pt x="12973" y="19041"/>
                      </a:lnTo>
                      <a:lnTo>
                        <a:pt x="13036" y="18916"/>
                      </a:lnTo>
                      <a:lnTo>
                        <a:pt x="13078" y="18937"/>
                      </a:lnTo>
                      <a:lnTo>
                        <a:pt x="13183" y="18916"/>
                      </a:lnTo>
                      <a:lnTo>
                        <a:pt x="13287" y="18937"/>
                      </a:lnTo>
                      <a:lnTo>
                        <a:pt x="13455" y="18832"/>
                      </a:lnTo>
                      <a:lnTo>
                        <a:pt x="13413" y="18748"/>
                      </a:lnTo>
                      <a:lnTo>
                        <a:pt x="13287" y="18706"/>
                      </a:lnTo>
                      <a:lnTo>
                        <a:pt x="13371" y="18665"/>
                      </a:lnTo>
                      <a:lnTo>
                        <a:pt x="13497" y="18665"/>
                      </a:lnTo>
                      <a:lnTo>
                        <a:pt x="13580" y="18769"/>
                      </a:lnTo>
                      <a:lnTo>
                        <a:pt x="13664" y="18769"/>
                      </a:lnTo>
                      <a:lnTo>
                        <a:pt x="13727" y="18665"/>
                      </a:lnTo>
                      <a:lnTo>
                        <a:pt x="13685" y="18539"/>
                      </a:lnTo>
                      <a:lnTo>
                        <a:pt x="13580" y="18518"/>
                      </a:lnTo>
                      <a:lnTo>
                        <a:pt x="13622" y="18455"/>
                      </a:lnTo>
                      <a:lnTo>
                        <a:pt x="13706" y="18455"/>
                      </a:lnTo>
                      <a:lnTo>
                        <a:pt x="13789" y="18497"/>
                      </a:lnTo>
                      <a:lnTo>
                        <a:pt x="13852" y="18455"/>
                      </a:lnTo>
                      <a:lnTo>
                        <a:pt x="13894" y="18518"/>
                      </a:lnTo>
                      <a:lnTo>
                        <a:pt x="13957" y="18539"/>
                      </a:lnTo>
                      <a:lnTo>
                        <a:pt x="14041" y="18413"/>
                      </a:lnTo>
                      <a:lnTo>
                        <a:pt x="14020" y="18330"/>
                      </a:lnTo>
                      <a:lnTo>
                        <a:pt x="13957" y="18309"/>
                      </a:lnTo>
                      <a:lnTo>
                        <a:pt x="13957" y="18225"/>
                      </a:lnTo>
                      <a:lnTo>
                        <a:pt x="14062" y="18225"/>
                      </a:lnTo>
                      <a:lnTo>
                        <a:pt x="14166" y="18204"/>
                      </a:lnTo>
                      <a:lnTo>
                        <a:pt x="14124" y="18079"/>
                      </a:lnTo>
                      <a:lnTo>
                        <a:pt x="14041" y="18037"/>
                      </a:lnTo>
                      <a:lnTo>
                        <a:pt x="13957" y="18079"/>
                      </a:lnTo>
                      <a:lnTo>
                        <a:pt x="14041" y="17995"/>
                      </a:lnTo>
                      <a:cubicBezTo>
                        <a:pt x="14062" y="17974"/>
                        <a:pt x="14041" y="17932"/>
                        <a:pt x="14041" y="17932"/>
                      </a:cubicBezTo>
                      <a:lnTo>
                        <a:pt x="14145" y="17828"/>
                      </a:lnTo>
                      <a:lnTo>
                        <a:pt x="14166" y="17911"/>
                      </a:lnTo>
                      <a:lnTo>
                        <a:pt x="14229" y="17911"/>
                      </a:lnTo>
                      <a:lnTo>
                        <a:pt x="14313" y="17807"/>
                      </a:lnTo>
                      <a:lnTo>
                        <a:pt x="14354" y="17869"/>
                      </a:lnTo>
                      <a:lnTo>
                        <a:pt x="14438" y="17828"/>
                      </a:lnTo>
                      <a:lnTo>
                        <a:pt x="14417" y="17765"/>
                      </a:lnTo>
                      <a:lnTo>
                        <a:pt x="14334" y="17723"/>
                      </a:lnTo>
                      <a:lnTo>
                        <a:pt x="14396" y="17660"/>
                      </a:lnTo>
                      <a:lnTo>
                        <a:pt x="14438" y="17597"/>
                      </a:lnTo>
                      <a:lnTo>
                        <a:pt x="14396" y="17514"/>
                      </a:lnTo>
                      <a:lnTo>
                        <a:pt x="14313" y="17556"/>
                      </a:lnTo>
                      <a:lnTo>
                        <a:pt x="14292" y="17597"/>
                      </a:lnTo>
                      <a:lnTo>
                        <a:pt x="14229" y="17597"/>
                      </a:lnTo>
                      <a:lnTo>
                        <a:pt x="14250" y="17493"/>
                      </a:lnTo>
                      <a:lnTo>
                        <a:pt x="14208" y="17472"/>
                      </a:lnTo>
                      <a:lnTo>
                        <a:pt x="14103" y="17493"/>
                      </a:lnTo>
                      <a:lnTo>
                        <a:pt x="14041" y="17577"/>
                      </a:lnTo>
                      <a:lnTo>
                        <a:pt x="14103" y="17618"/>
                      </a:lnTo>
                      <a:lnTo>
                        <a:pt x="14041" y="17723"/>
                      </a:lnTo>
                      <a:lnTo>
                        <a:pt x="13999" y="17702"/>
                      </a:lnTo>
                      <a:lnTo>
                        <a:pt x="13978" y="17786"/>
                      </a:lnTo>
                      <a:lnTo>
                        <a:pt x="13894" y="17765"/>
                      </a:lnTo>
                      <a:lnTo>
                        <a:pt x="13831" y="17807"/>
                      </a:lnTo>
                      <a:lnTo>
                        <a:pt x="13873" y="17869"/>
                      </a:lnTo>
                      <a:lnTo>
                        <a:pt x="13999" y="17995"/>
                      </a:lnTo>
                      <a:lnTo>
                        <a:pt x="13831" y="18141"/>
                      </a:lnTo>
                      <a:lnTo>
                        <a:pt x="13831" y="18079"/>
                      </a:lnTo>
                      <a:lnTo>
                        <a:pt x="13727" y="17995"/>
                      </a:lnTo>
                      <a:lnTo>
                        <a:pt x="13685" y="18037"/>
                      </a:lnTo>
                      <a:lnTo>
                        <a:pt x="13706" y="18121"/>
                      </a:lnTo>
                      <a:lnTo>
                        <a:pt x="13685" y="18225"/>
                      </a:lnTo>
                      <a:lnTo>
                        <a:pt x="13622" y="18204"/>
                      </a:lnTo>
                      <a:lnTo>
                        <a:pt x="13580" y="18225"/>
                      </a:lnTo>
                      <a:lnTo>
                        <a:pt x="13517" y="18330"/>
                      </a:lnTo>
                      <a:lnTo>
                        <a:pt x="13434" y="18351"/>
                      </a:lnTo>
                      <a:lnTo>
                        <a:pt x="13434" y="18288"/>
                      </a:lnTo>
                      <a:lnTo>
                        <a:pt x="13497" y="18225"/>
                      </a:lnTo>
                      <a:lnTo>
                        <a:pt x="13497" y="18121"/>
                      </a:lnTo>
                      <a:lnTo>
                        <a:pt x="13413" y="18079"/>
                      </a:lnTo>
                      <a:lnTo>
                        <a:pt x="13371" y="18079"/>
                      </a:lnTo>
                      <a:cubicBezTo>
                        <a:pt x="13413" y="17995"/>
                        <a:pt x="13476" y="17911"/>
                        <a:pt x="13559" y="17849"/>
                      </a:cubicBezTo>
                      <a:lnTo>
                        <a:pt x="13559" y="17807"/>
                      </a:lnTo>
                      <a:cubicBezTo>
                        <a:pt x="13497" y="17702"/>
                        <a:pt x="13476" y="17597"/>
                        <a:pt x="13434" y="17493"/>
                      </a:cubicBezTo>
                      <a:lnTo>
                        <a:pt x="13476" y="17493"/>
                      </a:lnTo>
                      <a:lnTo>
                        <a:pt x="13517" y="17535"/>
                      </a:lnTo>
                      <a:lnTo>
                        <a:pt x="13538" y="17493"/>
                      </a:lnTo>
                      <a:lnTo>
                        <a:pt x="13497" y="17409"/>
                      </a:lnTo>
                      <a:lnTo>
                        <a:pt x="13413" y="17388"/>
                      </a:lnTo>
                      <a:lnTo>
                        <a:pt x="13476" y="17367"/>
                      </a:lnTo>
                      <a:lnTo>
                        <a:pt x="13580" y="17388"/>
                      </a:lnTo>
                      <a:lnTo>
                        <a:pt x="13706" y="17263"/>
                      </a:lnTo>
                      <a:lnTo>
                        <a:pt x="13831" y="17263"/>
                      </a:lnTo>
                      <a:lnTo>
                        <a:pt x="13936" y="17158"/>
                      </a:lnTo>
                      <a:lnTo>
                        <a:pt x="14020" y="17137"/>
                      </a:lnTo>
                      <a:lnTo>
                        <a:pt x="14145" y="16991"/>
                      </a:lnTo>
                      <a:lnTo>
                        <a:pt x="14145" y="16844"/>
                      </a:lnTo>
                      <a:lnTo>
                        <a:pt x="14103" y="16781"/>
                      </a:lnTo>
                      <a:lnTo>
                        <a:pt x="14082" y="16781"/>
                      </a:lnTo>
                      <a:lnTo>
                        <a:pt x="14020" y="16656"/>
                      </a:lnTo>
                      <a:lnTo>
                        <a:pt x="13957" y="16635"/>
                      </a:lnTo>
                      <a:lnTo>
                        <a:pt x="13810" y="16635"/>
                      </a:lnTo>
                      <a:lnTo>
                        <a:pt x="13831" y="16530"/>
                      </a:lnTo>
                      <a:lnTo>
                        <a:pt x="13831" y="16426"/>
                      </a:lnTo>
                      <a:lnTo>
                        <a:pt x="13999" y="16363"/>
                      </a:lnTo>
                      <a:lnTo>
                        <a:pt x="14020" y="16321"/>
                      </a:lnTo>
                      <a:lnTo>
                        <a:pt x="14103" y="16300"/>
                      </a:lnTo>
                      <a:lnTo>
                        <a:pt x="14124" y="16216"/>
                      </a:lnTo>
                      <a:lnTo>
                        <a:pt x="14103" y="16216"/>
                      </a:lnTo>
                      <a:lnTo>
                        <a:pt x="14145" y="16154"/>
                      </a:lnTo>
                      <a:lnTo>
                        <a:pt x="14250" y="16196"/>
                      </a:lnTo>
                      <a:lnTo>
                        <a:pt x="14417" y="16091"/>
                      </a:lnTo>
                      <a:lnTo>
                        <a:pt x="14522" y="16175"/>
                      </a:lnTo>
                      <a:lnTo>
                        <a:pt x="14647" y="16091"/>
                      </a:lnTo>
                      <a:lnTo>
                        <a:pt x="14626" y="16175"/>
                      </a:lnTo>
                      <a:lnTo>
                        <a:pt x="14647" y="16216"/>
                      </a:lnTo>
                      <a:lnTo>
                        <a:pt x="14731" y="16216"/>
                      </a:lnTo>
                      <a:lnTo>
                        <a:pt x="14857" y="16091"/>
                      </a:lnTo>
                      <a:lnTo>
                        <a:pt x="14836" y="16028"/>
                      </a:lnTo>
                      <a:lnTo>
                        <a:pt x="14773" y="16007"/>
                      </a:lnTo>
                      <a:lnTo>
                        <a:pt x="14752" y="15965"/>
                      </a:lnTo>
                      <a:lnTo>
                        <a:pt x="14794" y="15924"/>
                      </a:lnTo>
                      <a:lnTo>
                        <a:pt x="14919" y="15986"/>
                      </a:lnTo>
                      <a:lnTo>
                        <a:pt x="15129" y="15924"/>
                      </a:lnTo>
                      <a:lnTo>
                        <a:pt x="15170" y="15777"/>
                      </a:lnTo>
                      <a:lnTo>
                        <a:pt x="15129" y="15631"/>
                      </a:lnTo>
                      <a:lnTo>
                        <a:pt x="14961" y="15526"/>
                      </a:lnTo>
                      <a:lnTo>
                        <a:pt x="14891" y="15526"/>
                      </a:lnTo>
                      <a:lnTo>
                        <a:pt x="14919" y="15505"/>
                      </a:lnTo>
                      <a:lnTo>
                        <a:pt x="15066" y="15505"/>
                      </a:lnTo>
                      <a:lnTo>
                        <a:pt x="15150" y="15589"/>
                      </a:lnTo>
                      <a:lnTo>
                        <a:pt x="15296" y="15589"/>
                      </a:lnTo>
                      <a:lnTo>
                        <a:pt x="15401" y="15484"/>
                      </a:lnTo>
                      <a:lnTo>
                        <a:pt x="15401" y="15400"/>
                      </a:lnTo>
                      <a:lnTo>
                        <a:pt x="15673" y="15275"/>
                      </a:lnTo>
                      <a:lnTo>
                        <a:pt x="15798" y="15149"/>
                      </a:lnTo>
                      <a:lnTo>
                        <a:pt x="15924" y="15149"/>
                      </a:lnTo>
                      <a:lnTo>
                        <a:pt x="15986" y="15087"/>
                      </a:lnTo>
                      <a:lnTo>
                        <a:pt x="15986" y="15003"/>
                      </a:lnTo>
                      <a:lnTo>
                        <a:pt x="16217" y="14836"/>
                      </a:lnTo>
                      <a:lnTo>
                        <a:pt x="16426" y="14794"/>
                      </a:lnTo>
                      <a:lnTo>
                        <a:pt x="16656" y="14584"/>
                      </a:lnTo>
                      <a:lnTo>
                        <a:pt x="16844" y="14564"/>
                      </a:lnTo>
                      <a:lnTo>
                        <a:pt x="17033" y="14333"/>
                      </a:lnTo>
                      <a:lnTo>
                        <a:pt x="16949" y="14480"/>
                      </a:lnTo>
                      <a:lnTo>
                        <a:pt x="16949" y="14626"/>
                      </a:lnTo>
                      <a:lnTo>
                        <a:pt x="17012" y="14647"/>
                      </a:lnTo>
                      <a:lnTo>
                        <a:pt x="17075" y="14668"/>
                      </a:lnTo>
                      <a:lnTo>
                        <a:pt x="17116" y="14731"/>
                      </a:lnTo>
                      <a:lnTo>
                        <a:pt x="17263" y="14564"/>
                      </a:lnTo>
                      <a:lnTo>
                        <a:pt x="17367" y="14522"/>
                      </a:lnTo>
                      <a:lnTo>
                        <a:pt x="17598" y="14438"/>
                      </a:lnTo>
                      <a:lnTo>
                        <a:pt x="17681" y="14354"/>
                      </a:lnTo>
                      <a:lnTo>
                        <a:pt x="17681" y="14354"/>
                      </a:lnTo>
                      <a:lnTo>
                        <a:pt x="17639" y="14480"/>
                      </a:lnTo>
                      <a:lnTo>
                        <a:pt x="17451" y="14584"/>
                      </a:lnTo>
                      <a:lnTo>
                        <a:pt x="17326" y="14584"/>
                      </a:lnTo>
                      <a:lnTo>
                        <a:pt x="17054" y="14856"/>
                      </a:lnTo>
                      <a:lnTo>
                        <a:pt x="17033" y="14961"/>
                      </a:lnTo>
                      <a:lnTo>
                        <a:pt x="17158" y="15149"/>
                      </a:lnTo>
                      <a:lnTo>
                        <a:pt x="17179" y="15275"/>
                      </a:lnTo>
                      <a:lnTo>
                        <a:pt x="17054" y="15191"/>
                      </a:lnTo>
                      <a:lnTo>
                        <a:pt x="16949" y="15191"/>
                      </a:lnTo>
                      <a:lnTo>
                        <a:pt x="16886" y="15212"/>
                      </a:lnTo>
                      <a:lnTo>
                        <a:pt x="16823" y="15212"/>
                      </a:lnTo>
                      <a:lnTo>
                        <a:pt x="16719" y="15149"/>
                      </a:lnTo>
                      <a:lnTo>
                        <a:pt x="16698" y="14982"/>
                      </a:lnTo>
                      <a:lnTo>
                        <a:pt x="16510" y="15066"/>
                      </a:lnTo>
                      <a:lnTo>
                        <a:pt x="16405" y="15066"/>
                      </a:lnTo>
                      <a:lnTo>
                        <a:pt x="16238" y="15170"/>
                      </a:lnTo>
                      <a:lnTo>
                        <a:pt x="16091" y="15170"/>
                      </a:lnTo>
                      <a:lnTo>
                        <a:pt x="15986" y="15275"/>
                      </a:lnTo>
                      <a:lnTo>
                        <a:pt x="15986" y="15380"/>
                      </a:lnTo>
                      <a:lnTo>
                        <a:pt x="16007" y="15421"/>
                      </a:lnTo>
                      <a:lnTo>
                        <a:pt x="15903" y="15610"/>
                      </a:lnTo>
                      <a:lnTo>
                        <a:pt x="15777" y="15693"/>
                      </a:lnTo>
                      <a:lnTo>
                        <a:pt x="15714" y="15840"/>
                      </a:lnTo>
                      <a:lnTo>
                        <a:pt x="15380" y="16133"/>
                      </a:lnTo>
                      <a:lnTo>
                        <a:pt x="15296" y="16237"/>
                      </a:lnTo>
                      <a:lnTo>
                        <a:pt x="15296" y="16321"/>
                      </a:lnTo>
                      <a:lnTo>
                        <a:pt x="15401" y="16468"/>
                      </a:lnTo>
                      <a:lnTo>
                        <a:pt x="15463" y="16405"/>
                      </a:lnTo>
                      <a:lnTo>
                        <a:pt x="15505" y="16405"/>
                      </a:lnTo>
                      <a:lnTo>
                        <a:pt x="15610" y="16321"/>
                      </a:lnTo>
                      <a:lnTo>
                        <a:pt x="15694" y="16342"/>
                      </a:lnTo>
                      <a:lnTo>
                        <a:pt x="15694" y="16405"/>
                      </a:lnTo>
                      <a:lnTo>
                        <a:pt x="15484" y="16551"/>
                      </a:lnTo>
                      <a:lnTo>
                        <a:pt x="15401" y="16551"/>
                      </a:lnTo>
                      <a:lnTo>
                        <a:pt x="15359" y="16656"/>
                      </a:lnTo>
                      <a:lnTo>
                        <a:pt x="15254" y="16614"/>
                      </a:lnTo>
                      <a:lnTo>
                        <a:pt x="15170" y="16614"/>
                      </a:lnTo>
                      <a:lnTo>
                        <a:pt x="15087" y="16635"/>
                      </a:lnTo>
                      <a:lnTo>
                        <a:pt x="15087" y="16740"/>
                      </a:lnTo>
                      <a:lnTo>
                        <a:pt x="15024" y="16719"/>
                      </a:lnTo>
                      <a:lnTo>
                        <a:pt x="14919" y="16740"/>
                      </a:lnTo>
                      <a:lnTo>
                        <a:pt x="14919" y="16865"/>
                      </a:lnTo>
                      <a:lnTo>
                        <a:pt x="15066" y="17053"/>
                      </a:lnTo>
                      <a:lnTo>
                        <a:pt x="15129" y="17032"/>
                      </a:lnTo>
                      <a:lnTo>
                        <a:pt x="15170" y="16949"/>
                      </a:lnTo>
                      <a:lnTo>
                        <a:pt x="15233" y="17032"/>
                      </a:lnTo>
                      <a:lnTo>
                        <a:pt x="15275" y="16886"/>
                      </a:lnTo>
                      <a:lnTo>
                        <a:pt x="15359" y="16886"/>
                      </a:lnTo>
                      <a:lnTo>
                        <a:pt x="15359" y="16991"/>
                      </a:lnTo>
                      <a:lnTo>
                        <a:pt x="15442" y="16949"/>
                      </a:lnTo>
                      <a:lnTo>
                        <a:pt x="15463" y="16865"/>
                      </a:lnTo>
                      <a:lnTo>
                        <a:pt x="15526" y="16823"/>
                      </a:lnTo>
                      <a:lnTo>
                        <a:pt x="15652" y="16740"/>
                      </a:lnTo>
                      <a:lnTo>
                        <a:pt x="15652" y="16614"/>
                      </a:lnTo>
                      <a:lnTo>
                        <a:pt x="15714" y="16530"/>
                      </a:lnTo>
                      <a:lnTo>
                        <a:pt x="15714" y="16572"/>
                      </a:lnTo>
                      <a:lnTo>
                        <a:pt x="15673" y="16635"/>
                      </a:lnTo>
                      <a:lnTo>
                        <a:pt x="15714" y="16719"/>
                      </a:lnTo>
                      <a:lnTo>
                        <a:pt x="15840" y="16719"/>
                      </a:lnTo>
                      <a:lnTo>
                        <a:pt x="16028" y="16572"/>
                      </a:lnTo>
                      <a:lnTo>
                        <a:pt x="16175" y="16572"/>
                      </a:lnTo>
                      <a:lnTo>
                        <a:pt x="16196" y="16656"/>
                      </a:lnTo>
                      <a:lnTo>
                        <a:pt x="16258" y="16614"/>
                      </a:lnTo>
                      <a:lnTo>
                        <a:pt x="16321" y="16405"/>
                      </a:lnTo>
                      <a:lnTo>
                        <a:pt x="16447" y="16321"/>
                      </a:lnTo>
                      <a:lnTo>
                        <a:pt x="16510" y="16321"/>
                      </a:lnTo>
                      <a:lnTo>
                        <a:pt x="16363" y="16468"/>
                      </a:lnTo>
                      <a:lnTo>
                        <a:pt x="16363" y="16551"/>
                      </a:lnTo>
                      <a:lnTo>
                        <a:pt x="16447" y="16509"/>
                      </a:lnTo>
                      <a:lnTo>
                        <a:pt x="16572" y="16342"/>
                      </a:lnTo>
                      <a:lnTo>
                        <a:pt x="16656" y="16154"/>
                      </a:lnTo>
                      <a:lnTo>
                        <a:pt x="16740" y="16112"/>
                      </a:lnTo>
                      <a:lnTo>
                        <a:pt x="16740" y="16196"/>
                      </a:lnTo>
                      <a:lnTo>
                        <a:pt x="16656" y="16321"/>
                      </a:lnTo>
                      <a:lnTo>
                        <a:pt x="16656" y="16363"/>
                      </a:lnTo>
                      <a:lnTo>
                        <a:pt x="16782" y="16237"/>
                      </a:lnTo>
                      <a:lnTo>
                        <a:pt x="16844" y="16321"/>
                      </a:lnTo>
                      <a:lnTo>
                        <a:pt x="16844" y="16405"/>
                      </a:lnTo>
                      <a:lnTo>
                        <a:pt x="16970" y="16426"/>
                      </a:lnTo>
                      <a:lnTo>
                        <a:pt x="17033" y="16468"/>
                      </a:lnTo>
                      <a:lnTo>
                        <a:pt x="17095" y="16405"/>
                      </a:lnTo>
                      <a:lnTo>
                        <a:pt x="17158" y="16258"/>
                      </a:lnTo>
                      <a:lnTo>
                        <a:pt x="17305" y="16237"/>
                      </a:lnTo>
                      <a:lnTo>
                        <a:pt x="17409" y="16154"/>
                      </a:lnTo>
                      <a:lnTo>
                        <a:pt x="17347" y="16133"/>
                      </a:lnTo>
                      <a:lnTo>
                        <a:pt x="17367" y="16007"/>
                      </a:lnTo>
                      <a:lnTo>
                        <a:pt x="17577" y="15924"/>
                      </a:lnTo>
                      <a:lnTo>
                        <a:pt x="17598" y="15840"/>
                      </a:lnTo>
                      <a:lnTo>
                        <a:pt x="17598" y="15735"/>
                      </a:lnTo>
                      <a:lnTo>
                        <a:pt x="17493" y="15777"/>
                      </a:lnTo>
                      <a:lnTo>
                        <a:pt x="17409" y="15714"/>
                      </a:lnTo>
                      <a:lnTo>
                        <a:pt x="17284" y="15693"/>
                      </a:lnTo>
                      <a:lnTo>
                        <a:pt x="17347" y="15610"/>
                      </a:lnTo>
                      <a:lnTo>
                        <a:pt x="17451" y="15610"/>
                      </a:lnTo>
                      <a:lnTo>
                        <a:pt x="17514" y="15631"/>
                      </a:lnTo>
                      <a:lnTo>
                        <a:pt x="17577" y="15568"/>
                      </a:lnTo>
                      <a:lnTo>
                        <a:pt x="17577" y="15463"/>
                      </a:lnTo>
                      <a:lnTo>
                        <a:pt x="17472" y="15505"/>
                      </a:lnTo>
                      <a:lnTo>
                        <a:pt x="17367" y="15400"/>
                      </a:lnTo>
                      <a:lnTo>
                        <a:pt x="17367" y="15317"/>
                      </a:lnTo>
                      <a:lnTo>
                        <a:pt x="17514" y="15296"/>
                      </a:lnTo>
                      <a:lnTo>
                        <a:pt x="17598" y="15275"/>
                      </a:lnTo>
                      <a:lnTo>
                        <a:pt x="17660" y="15296"/>
                      </a:lnTo>
                      <a:lnTo>
                        <a:pt x="17681" y="15254"/>
                      </a:lnTo>
                      <a:lnTo>
                        <a:pt x="17619" y="15108"/>
                      </a:lnTo>
                      <a:lnTo>
                        <a:pt x="17807" y="15045"/>
                      </a:lnTo>
                      <a:lnTo>
                        <a:pt x="17911" y="15108"/>
                      </a:lnTo>
                      <a:lnTo>
                        <a:pt x="17995" y="15087"/>
                      </a:lnTo>
                      <a:lnTo>
                        <a:pt x="18121" y="15087"/>
                      </a:lnTo>
                      <a:lnTo>
                        <a:pt x="17911" y="15254"/>
                      </a:lnTo>
                      <a:lnTo>
                        <a:pt x="17911" y="15359"/>
                      </a:lnTo>
                      <a:lnTo>
                        <a:pt x="17932" y="15526"/>
                      </a:lnTo>
                      <a:lnTo>
                        <a:pt x="17995" y="15526"/>
                      </a:lnTo>
                      <a:lnTo>
                        <a:pt x="18079" y="15317"/>
                      </a:lnTo>
                      <a:lnTo>
                        <a:pt x="18142" y="15275"/>
                      </a:lnTo>
                      <a:lnTo>
                        <a:pt x="18204" y="15275"/>
                      </a:lnTo>
                      <a:lnTo>
                        <a:pt x="18183" y="15359"/>
                      </a:lnTo>
                      <a:lnTo>
                        <a:pt x="18121" y="15421"/>
                      </a:lnTo>
                      <a:lnTo>
                        <a:pt x="18142" y="15505"/>
                      </a:lnTo>
                      <a:lnTo>
                        <a:pt x="18288" y="15400"/>
                      </a:lnTo>
                      <a:lnTo>
                        <a:pt x="18309" y="15317"/>
                      </a:lnTo>
                      <a:lnTo>
                        <a:pt x="18393" y="15400"/>
                      </a:lnTo>
                      <a:lnTo>
                        <a:pt x="18497" y="15317"/>
                      </a:lnTo>
                      <a:lnTo>
                        <a:pt x="18539" y="15317"/>
                      </a:lnTo>
                      <a:lnTo>
                        <a:pt x="18644" y="15254"/>
                      </a:lnTo>
                      <a:lnTo>
                        <a:pt x="18769" y="15212"/>
                      </a:lnTo>
                      <a:lnTo>
                        <a:pt x="18874" y="15254"/>
                      </a:lnTo>
                      <a:lnTo>
                        <a:pt x="18853" y="15296"/>
                      </a:lnTo>
                      <a:lnTo>
                        <a:pt x="18727" y="15296"/>
                      </a:lnTo>
                      <a:lnTo>
                        <a:pt x="18602" y="15421"/>
                      </a:lnTo>
                      <a:lnTo>
                        <a:pt x="18686" y="15421"/>
                      </a:lnTo>
                      <a:lnTo>
                        <a:pt x="18623" y="15505"/>
                      </a:lnTo>
                      <a:lnTo>
                        <a:pt x="18686" y="15568"/>
                      </a:lnTo>
                      <a:lnTo>
                        <a:pt x="18895" y="15610"/>
                      </a:lnTo>
                      <a:lnTo>
                        <a:pt x="18958" y="15693"/>
                      </a:lnTo>
                      <a:lnTo>
                        <a:pt x="18958" y="15735"/>
                      </a:lnTo>
                      <a:lnTo>
                        <a:pt x="18832" y="15631"/>
                      </a:lnTo>
                      <a:lnTo>
                        <a:pt x="18686" y="15610"/>
                      </a:lnTo>
                      <a:lnTo>
                        <a:pt x="18581" y="15672"/>
                      </a:lnTo>
                      <a:lnTo>
                        <a:pt x="18581" y="15777"/>
                      </a:lnTo>
                      <a:lnTo>
                        <a:pt x="18644" y="15798"/>
                      </a:lnTo>
                      <a:lnTo>
                        <a:pt x="18748" y="15735"/>
                      </a:lnTo>
                      <a:lnTo>
                        <a:pt x="18832" y="15819"/>
                      </a:lnTo>
                      <a:lnTo>
                        <a:pt x="18790" y="15840"/>
                      </a:lnTo>
                      <a:lnTo>
                        <a:pt x="18644" y="15840"/>
                      </a:lnTo>
                      <a:lnTo>
                        <a:pt x="18644" y="15924"/>
                      </a:lnTo>
                      <a:lnTo>
                        <a:pt x="18811" y="15986"/>
                      </a:lnTo>
                      <a:lnTo>
                        <a:pt x="18853" y="16049"/>
                      </a:lnTo>
                      <a:lnTo>
                        <a:pt x="18790" y="16091"/>
                      </a:lnTo>
                      <a:lnTo>
                        <a:pt x="18707" y="16112"/>
                      </a:lnTo>
                      <a:lnTo>
                        <a:pt x="18707" y="16154"/>
                      </a:lnTo>
                      <a:lnTo>
                        <a:pt x="18811" y="16154"/>
                      </a:lnTo>
                      <a:lnTo>
                        <a:pt x="18916" y="16112"/>
                      </a:lnTo>
                      <a:lnTo>
                        <a:pt x="19020" y="16196"/>
                      </a:lnTo>
                      <a:lnTo>
                        <a:pt x="19125" y="16237"/>
                      </a:lnTo>
                      <a:lnTo>
                        <a:pt x="19271" y="16196"/>
                      </a:lnTo>
                      <a:lnTo>
                        <a:pt x="19334" y="16258"/>
                      </a:lnTo>
                      <a:lnTo>
                        <a:pt x="19334" y="16321"/>
                      </a:lnTo>
                      <a:lnTo>
                        <a:pt x="19251" y="16363"/>
                      </a:lnTo>
                      <a:lnTo>
                        <a:pt x="19271" y="16447"/>
                      </a:lnTo>
                      <a:lnTo>
                        <a:pt x="19334" y="16468"/>
                      </a:lnTo>
                      <a:lnTo>
                        <a:pt x="19355" y="16551"/>
                      </a:lnTo>
                      <a:lnTo>
                        <a:pt x="19439" y="16572"/>
                      </a:lnTo>
                      <a:lnTo>
                        <a:pt x="19523" y="16488"/>
                      </a:lnTo>
                      <a:lnTo>
                        <a:pt x="19481" y="16426"/>
                      </a:lnTo>
                      <a:lnTo>
                        <a:pt x="19523" y="16384"/>
                      </a:lnTo>
                      <a:lnTo>
                        <a:pt x="19648" y="16384"/>
                      </a:lnTo>
                      <a:lnTo>
                        <a:pt x="19564" y="16488"/>
                      </a:lnTo>
                      <a:lnTo>
                        <a:pt x="19564" y="16551"/>
                      </a:lnTo>
                      <a:lnTo>
                        <a:pt x="19418" y="16719"/>
                      </a:lnTo>
                      <a:lnTo>
                        <a:pt x="19443" y="16744"/>
                      </a:lnTo>
                      <a:lnTo>
                        <a:pt x="19376" y="16760"/>
                      </a:lnTo>
                      <a:lnTo>
                        <a:pt x="19418" y="16844"/>
                      </a:lnTo>
                      <a:lnTo>
                        <a:pt x="19690" y="16907"/>
                      </a:lnTo>
                      <a:lnTo>
                        <a:pt x="19774" y="16865"/>
                      </a:lnTo>
                      <a:lnTo>
                        <a:pt x="19857" y="16907"/>
                      </a:lnTo>
                      <a:lnTo>
                        <a:pt x="20108" y="16907"/>
                      </a:lnTo>
                      <a:lnTo>
                        <a:pt x="20234" y="16865"/>
                      </a:lnTo>
                      <a:lnTo>
                        <a:pt x="20297" y="16907"/>
                      </a:lnTo>
                      <a:lnTo>
                        <a:pt x="20297" y="16970"/>
                      </a:lnTo>
                      <a:lnTo>
                        <a:pt x="20380" y="16970"/>
                      </a:lnTo>
                      <a:lnTo>
                        <a:pt x="20443" y="17053"/>
                      </a:lnTo>
                      <a:lnTo>
                        <a:pt x="20527" y="17116"/>
                      </a:lnTo>
                      <a:lnTo>
                        <a:pt x="20548" y="17179"/>
                      </a:lnTo>
                      <a:lnTo>
                        <a:pt x="20652" y="17179"/>
                      </a:lnTo>
                      <a:lnTo>
                        <a:pt x="20820" y="17116"/>
                      </a:lnTo>
                      <a:lnTo>
                        <a:pt x="20841" y="17074"/>
                      </a:lnTo>
                      <a:lnTo>
                        <a:pt x="20904" y="17116"/>
                      </a:lnTo>
                      <a:lnTo>
                        <a:pt x="20904" y="17179"/>
                      </a:lnTo>
                      <a:lnTo>
                        <a:pt x="20820" y="17263"/>
                      </a:lnTo>
                      <a:lnTo>
                        <a:pt x="20715" y="17284"/>
                      </a:lnTo>
                      <a:lnTo>
                        <a:pt x="20736" y="17346"/>
                      </a:lnTo>
                      <a:lnTo>
                        <a:pt x="20904" y="17388"/>
                      </a:lnTo>
                      <a:lnTo>
                        <a:pt x="20924" y="17493"/>
                      </a:lnTo>
                      <a:lnTo>
                        <a:pt x="21008" y="17577"/>
                      </a:lnTo>
                      <a:lnTo>
                        <a:pt x="21176" y="17639"/>
                      </a:lnTo>
                      <a:lnTo>
                        <a:pt x="21385" y="17577"/>
                      </a:lnTo>
                      <a:lnTo>
                        <a:pt x="21468" y="17556"/>
                      </a:lnTo>
                      <a:lnTo>
                        <a:pt x="21489" y="17597"/>
                      </a:lnTo>
                      <a:lnTo>
                        <a:pt x="21573" y="17535"/>
                      </a:lnTo>
                      <a:lnTo>
                        <a:pt x="21740" y="17430"/>
                      </a:lnTo>
                      <a:lnTo>
                        <a:pt x="21782" y="17430"/>
                      </a:lnTo>
                      <a:lnTo>
                        <a:pt x="21740" y="17493"/>
                      </a:lnTo>
                      <a:lnTo>
                        <a:pt x="21636" y="17577"/>
                      </a:lnTo>
                      <a:lnTo>
                        <a:pt x="21594" y="17786"/>
                      </a:lnTo>
                      <a:lnTo>
                        <a:pt x="21552" y="17911"/>
                      </a:lnTo>
                      <a:lnTo>
                        <a:pt x="21468" y="17911"/>
                      </a:lnTo>
                      <a:lnTo>
                        <a:pt x="21343" y="17849"/>
                      </a:lnTo>
                      <a:lnTo>
                        <a:pt x="21280" y="17869"/>
                      </a:lnTo>
                      <a:lnTo>
                        <a:pt x="21364" y="17995"/>
                      </a:lnTo>
                      <a:lnTo>
                        <a:pt x="21385" y="18100"/>
                      </a:lnTo>
                      <a:lnTo>
                        <a:pt x="21468" y="18162"/>
                      </a:lnTo>
                      <a:lnTo>
                        <a:pt x="21573" y="18121"/>
                      </a:lnTo>
                      <a:lnTo>
                        <a:pt x="21657" y="18162"/>
                      </a:lnTo>
                      <a:lnTo>
                        <a:pt x="21636" y="18225"/>
                      </a:lnTo>
                      <a:lnTo>
                        <a:pt x="21552" y="18225"/>
                      </a:lnTo>
                      <a:lnTo>
                        <a:pt x="21552" y="18288"/>
                      </a:lnTo>
                      <a:lnTo>
                        <a:pt x="21720" y="18434"/>
                      </a:lnTo>
                      <a:lnTo>
                        <a:pt x="21761" y="18413"/>
                      </a:lnTo>
                      <a:lnTo>
                        <a:pt x="21887" y="18434"/>
                      </a:lnTo>
                      <a:lnTo>
                        <a:pt x="21950" y="18330"/>
                      </a:lnTo>
                      <a:lnTo>
                        <a:pt x="22075" y="18100"/>
                      </a:lnTo>
                      <a:lnTo>
                        <a:pt x="22033" y="18288"/>
                      </a:lnTo>
                      <a:lnTo>
                        <a:pt x="22033" y="18413"/>
                      </a:lnTo>
                      <a:lnTo>
                        <a:pt x="21992" y="18497"/>
                      </a:lnTo>
                      <a:lnTo>
                        <a:pt x="21950" y="18518"/>
                      </a:lnTo>
                      <a:lnTo>
                        <a:pt x="21866" y="18623"/>
                      </a:lnTo>
                      <a:lnTo>
                        <a:pt x="21887" y="18706"/>
                      </a:lnTo>
                      <a:lnTo>
                        <a:pt x="21971" y="18748"/>
                      </a:lnTo>
                      <a:lnTo>
                        <a:pt x="21929" y="18811"/>
                      </a:lnTo>
                      <a:lnTo>
                        <a:pt x="21929" y="19062"/>
                      </a:lnTo>
                      <a:lnTo>
                        <a:pt x="21971" y="19125"/>
                      </a:lnTo>
                      <a:lnTo>
                        <a:pt x="22054" y="19125"/>
                      </a:lnTo>
                      <a:lnTo>
                        <a:pt x="22033" y="19229"/>
                      </a:lnTo>
                      <a:lnTo>
                        <a:pt x="22054" y="19334"/>
                      </a:lnTo>
                      <a:lnTo>
                        <a:pt x="22243" y="19522"/>
                      </a:lnTo>
                      <a:lnTo>
                        <a:pt x="22284" y="19543"/>
                      </a:lnTo>
                      <a:lnTo>
                        <a:pt x="22284" y="19585"/>
                      </a:lnTo>
                      <a:lnTo>
                        <a:pt x="22347" y="19543"/>
                      </a:lnTo>
                      <a:lnTo>
                        <a:pt x="22389" y="19627"/>
                      </a:lnTo>
                      <a:lnTo>
                        <a:pt x="22473" y="19585"/>
                      </a:lnTo>
                      <a:lnTo>
                        <a:pt x="22452" y="19543"/>
                      </a:lnTo>
                      <a:lnTo>
                        <a:pt x="22473" y="19481"/>
                      </a:lnTo>
                      <a:lnTo>
                        <a:pt x="22515" y="19543"/>
                      </a:lnTo>
                      <a:lnTo>
                        <a:pt x="22598" y="19564"/>
                      </a:lnTo>
                      <a:lnTo>
                        <a:pt x="22661" y="19481"/>
                      </a:lnTo>
                      <a:lnTo>
                        <a:pt x="22577" y="19334"/>
                      </a:lnTo>
                      <a:lnTo>
                        <a:pt x="22515" y="19334"/>
                      </a:lnTo>
                      <a:lnTo>
                        <a:pt x="22473" y="19355"/>
                      </a:lnTo>
                      <a:lnTo>
                        <a:pt x="22452" y="19334"/>
                      </a:lnTo>
                      <a:lnTo>
                        <a:pt x="22515" y="19229"/>
                      </a:lnTo>
                      <a:lnTo>
                        <a:pt x="22515" y="19146"/>
                      </a:lnTo>
                      <a:lnTo>
                        <a:pt x="22494" y="19062"/>
                      </a:lnTo>
                      <a:lnTo>
                        <a:pt x="22410" y="19041"/>
                      </a:lnTo>
                      <a:lnTo>
                        <a:pt x="22410" y="18999"/>
                      </a:lnTo>
                      <a:lnTo>
                        <a:pt x="22473" y="18937"/>
                      </a:lnTo>
                      <a:lnTo>
                        <a:pt x="22494" y="18811"/>
                      </a:lnTo>
                      <a:lnTo>
                        <a:pt x="22577" y="18811"/>
                      </a:lnTo>
                      <a:lnTo>
                        <a:pt x="22577" y="18916"/>
                      </a:lnTo>
                      <a:lnTo>
                        <a:pt x="22598" y="18999"/>
                      </a:lnTo>
                      <a:lnTo>
                        <a:pt x="22682" y="18895"/>
                      </a:lnTo>
                      <a:lnTo>
                        <a:pt x="22703" y="18957"/>
                      </a:lnTo>
                      <a:lnTo>
                        <a:pt x="22766" y="19041"/>
                      </a:lnTo>
                      <a:lnTo>
                        <a:pt x="22703" y="19146"/>
                      </a:lnTo>
                      <a:lnTo>
                        <a:pt x="22724" y="19229"/>
                      </a:lnTo>
                      <a:lnTo>
                        <a:pt x="22787" y="19250"/>
                      </a:lnTo>
                      <a:lnTo>
                        <a:pt x="22891" y="19146"/>
                      </a:lnTo>
                      <a:lnTo>
                        <a:pt x="22933" y="19146"/>
                      </a:lnTo>
                      <a:lnTo>
                        <a:pt x="22912" y="19229"/>
                      </a:lnTo>
                      <a:lnTo>
                        <a:pt x="22828" y="19313"/>
                      </a:lnTo>
                      <a:lnTo>
                        <a:pt x="22828" y="19376"/>
                      </a:lnTo>
                      <a:lnTo>
                        <a:pt x="22870" y="19481"/>
                      </a:lnTo>
                      <a:lnTo>
                        <a:pt x="22808" y="19627"/>
                      </a:lnTo>
                      <a:lnTo>
                        <a:pt x="22828" y="19669"/>
                      </a:lnTo>
                      <a:lnTo>
                        <a:pt x="22891" y="19669"/>
                      </a:lnTo>
                      <a:lnTo>
                        <a:pt x="22891" y="19857"/>
                      </a:lnTo>
                      <a:cubicBezTo>
                        <a:pt x="22891" y="19899"/>
                        <a:pt x="22870" y="19983"/>
                        <a:pt x="22870" y="20045"/>
                      </a:cubicBezTo>
                      <a:lnTo>
                        <a:pt x="22828" y="20087"/>
                      </a:lnTo>
                      <a:lnTo>
                        <a:pt x="22808" y="20004"/>
                      </a:lnTo>
                      <a:lnTo>
                        <a:pt x="22870" y="19941"/>
                      </a:lnTo>
                      <a:lnTo>
                        <a:pt x="22870" y="19857"/>
                      </a:lnTo>
                      <a:lnTo>
                        <a:pt x="22766" y="19794"/>
                      </a:lnTo>
                      <a:lnTo>
                        <a:pt x="22598" y="19836"/>
                      </a:lnTo>
                      <a:lnTo>
                        <a:pt x="22577" y="19878"/>
                      </a:lnTo>
                      <a:lnTo>
                        <a:pt x="22515" y="19899"/>
                      </a:lnTo>
                      <a:lnTo>
                        <a:pt x="22473" y="19794"/>
                      </a:lnTo>
                      <a:lnTo>
                        <a:pt x="22410" y="19941"/>
                      </a:lnTo>
                      <a:lnTo>
                        <a:pt x="22452" y="20066"/>
                      </a:lnTo>
                      <a:lnTo>
                        <a:pt x="22515" y="20108"/>
                      </a:lnTo>
                      <a:lnTo>
                        <a:pt x="22473" y="20192"/>
                      </a:lnTo>
                      <a:lnTo>
                        <a:pt x="22410" y="20150"/>
                      </a:lnTo>
                      <a:lnTo>
                        <a:pt x="22368" y="20255"/>
                      </a:lnTo>
                      <a:lnTo>
                        <a:pt x="22452" y="20401"/>
                      </a:lnTo>
                      <a:lnTo>
                        <a:pt x="22410" y="20506"/>
                      </a:lnTo>
                      <a:lnTo>
                        <a:pt x="22494" y="20569"/>
                      </a:lnTo>
                      <a:lnTo>
                        <a:pt x="22410" y="20631"/>
                      </a:lnTo>
                      <a:lnTo>
                        <a:pt x="22515" y="20778"/>
                      </a:lnTo>
                      <a:lnTo>
                        <a:pt x="22619" y="20778"/>
                      </a:lnTo>
                      <a:lnTo>
                        <a:pt x="22703" y="20694"/>
                      </a:lnTo>
                      <a:lnTo>
                        <a:pt x="22703" y="20569"/>
                      </a:lnTo>
                      <a:lnTo>
                        <a:pt x="22619" y="20401"/>
                      </a:lnTo>
                      <a:lnTo>
                        <a:pt x="22661" y="20297"/>
                      </a:lnTo>
                      <a:lnTo>
                        <a:pt x="22787" y="20527"/>
                      </a:lnTo>
                      <a:lnTo>
                        <a:pt x="22787" y="20631"/>
                      </a:lnTo>
                      <a:lnTo>
                        <a:pt x="22787" y="20694"/>
                      </a:lnTo>
                      <a:cubicBezTo>
                        <a:pt x="22766" y="20694"/>
                        <a:pt x="22724" y="20694"/>
                        <a:pt x="22724" y="20715"/>
                      </a:cubicBezTo>
                      <a:lnTo>
                        <a:pt x="22724" y="20736"/>
                      </a:lnTo>
                      <a:lnTo>
                        <a:pt x="22682" y="20799"/>
                      </a:lnTo>
                      <a:lnTo>
                        <a:pt x="22577" y="20841"/>
                      </a:lnTo>
                      <a:lnTo>
                        <a:pt x="22598" y="20924"/>
                      </a:lnTo>
                      <a:lnTo>
                        <a:pt x="22682" y="21008"/>
                      </a:lnTo>
                      <a:lnTo>
                        <a:pt x="22598" y="21092"/>
                      </a:lnTo>
                      <a:lnTo>
                        <a:pt x="22598" y="21196"/>
                      </a:lnTo>
                      <a:lnTo>
                        <a:pt x="22536" y="21259"/>
                      </a:lnTo>
                      <a:lnTo>
                        <a:pt x="22431" y="21301"/>
                      </a:lnTo>
                      <a:lnTo>
                        <a:pt x="22431" y="21343"/>
                      </a:lnTo>
                      <a:lnTo>
                        <a:pt x="22577" y="21364"/>
                      </a:lnTo>
                      <a:lnTo>
                        <a:pt x="22536" y="21426"/>
                      </a:lnTo>
                      <a:lnTo>
                        <a:pt x="22494" y="21447"/>
                      </a:lnTo>
                      <a:lnTo>
                        <a:pt x="22494" y="21531"/>
                      </a:lnTo>
                      <a:lnTo>
                        <a:pt x="22536" y="21531"/>
                      </a:lnTo>
                      <a:lnTo>
                        <a:pt x="22619" y="21510"/>
                      </a:lnTo>
                      <a:lnTo>
                        <a:pt x="22640" y="21552"/>
                      </a:lnTo>
                      <a:lnTo>
                        <a:pt x="22598" y="21615"/>
                      </a:lnTo>
                      <a:lnTo>
                        <a:pt x="22515" y="21636"/>
                      </a:lnTo>
                      <a:lnTo>
                        <a:pt x="22473" y="21719"/>
                      </a:lnTo>
                      <a:lnTo>
                        <a:pt x="22494" y="21866"/>
                      </a:lnTo>
                      <a:lnTo>
                        <a:pt x="22536" y="21929"/>
                      </a:lnTo>
                      <a:lnTo>
                        <a:pt x="22515" y="21991"/>
                      </a:lnTo>
                      <a:lnTo>
                        <a:pt x="22536" y="22075"/>
                      </a:lnTo>
                      <a:lnTo>
                        <a:pt x="22598" y="22054"/>
                      </a:lnTo>
                      <a:lnTo>
                        <a:pt x="22619" y="21970"/>
                      </a:lnTo>
                      <a:lnTo>
                        <a:pt x="22640" y="21845"/>
                      </a:lnTo>
                      <a:lnTo>
                        <a:pt x="22703" y="21678"/>
                      </a:lnTo>
                      <a:lnTo>
                        <a:pt x="22745" y="21615"/>
                      </a:lnTo>
                      <a:lnTo>
                        <a:pt x="22787" y="21406"/>
                      </a:lnTo>
                      <a:lnTo>
                        <a:pt x="22828" y="21343"/>
                      </a:lnTo>
                      <a:lnTo>
                        <a:pt x="22844" y="21204"/>
                      </a:lnTo>
                      <a:lnTo>
                        <a:pt x="22870" y="21217"/>
                      </a:lnTo>
                      <a:cubicBezTo>
                        <a:pt x="22870" y="21301"/>
                        <a:pt x="22870" y="21364"/>
                        <a:pt x="22891" y="21447"/>
                      </a:cubicBezTo>
                      <a:lnTo>
                        <a:pt x="22870" y="21426"/>
                      </a:lnTo>
                      <a:lnTo>
                        <a:pt x="22808" y="21510"/>
                      </a:lnTo>
                      <a:lnTo>
                        <a:pt x="22808" y="21636"/>
                      </a:lnTo>
                      <a:lnTo>
                        <a:pt x="22870" y="21678"/>
                      </a:lnTo>
                      <a:lnTo>
                        <a:pt x="22787" y="21782"/>
                      </a:lnTo>
                      <a:lnTo>
                        <a:pt x="22891" y="21845"/>
                      </a:lnTo>
                      <a:lnTo>
                        <a:pt x="22891" y="21929"/>
                      </a:lnTo>
                      <a:lnTo>
                        <a:pt x="22828" y="21970"/>
                      </a:lnTo>
                      <a:lnTo>
                        <a:pt x="22766" y="21929"/>
                      </a:lnTo>
                      <a:lnTo>
                        <a:pt x="22703" y="21991"/>
                      </a:lnTo>
                      <a:lnTo>
                        <a:pt x="22703" y="22054"/>
                      </a:lnTo>
                      <a:lnTo>
                        <a:pt x="22661" y="22138"/>
                      </a:lnTo>
                      <a:lnTo>
                        <a:pt x="22619" y="22201"/>
                      </a:lnTo>
                      <a:lnTo>
                        <a:pt x="22682" y="22263"/>
                      </a:lnTo>
                      <a:lnTo>
                        <a:pt x="22766" y="22054"/>
                      </a:lnTo>
                      <a:lnTo>
                        <a:pt x="22787" y="22096"/>
                      </a:lnTo>
                      <a:lnTo>
                        <a:pt x="22724" y="22201"/>
                      </a:lnTo>
                      <a:lnTo>
                        <a:pt x="22828" y="22180"/>
                      </a:lnTo>
                      <a:lnTo>
                        <a:pt x="22891" y="22096"/>
                      </a:lnTo>
                      <a:lnTo>
                        <a:pt x="22891" y="21991"/>
                      </a:lnTo>
                      <a:lnTo>
                        <a:pt x="23017" y="21845"/>
                      </a:lnTo>
                      <a:cubicBezTo>
                        <a:pt x="23017" y="21929"/>
                        <a:pt x="23017" y="21991"/>
                        <a:pt x="23038" y="22075"/>
                      </a:cubicBezTo>
                      <a:lnTo>
                        <a:pt x="23017" y="22096"/>
                      </a:lnTo>
                      <a:lnTo>
                        <a:pt x="23080" y="22159"/>
                      </a:lnTo>
                      <a:cubicBezTo>
                        <a:pt x="23101" y="22201"/>
                        <a:pt x="23101" y="22284"/>
                        <a:pt x="23121" y="22326"/>
                      </a:cubicBezTo>
                      <a:lnTo>
                        <a:pt x="23080" y="22473"/>
                      </a:lnTo>
                      <a:lnTo>
                        <a:pt x="23080" y="22556"/>
                      </a:lnTo>
                      <a:lnTo>
                        <a:pt x="23038" y="22640"/>
                      </a:lnTo>
                      <a:lnTo>
                        <a:pt x="22933" y="22682"/>
                      </a:lnTo>
                      <a:lnTo>
                        <a:pt x="22912" y="22724"/>
                      </a:lnTo>
                      <a:lnTo>
                        <a:pt x="22933" y="22786"/>
                      </a:lnTo>
                      <a:lnTo>
                        <a:pt x="23017" y="22745"/>
                      </a:lnTo>
                      <a:lnTo>
                        <a:pt x="23101" y="22786"/>
                      </a:lnTo>
                      <a:lnTo>
                        <a:pt x="23101" y="22828"/>
                      </a:lnTo>
                      <a:lnTo>
                        <a:pt x="22996" y="22912"/>
                      </a:lnTo>
                      <a:lnTo>
                        <a:pt x="22996" y="22954"/>
                      </a:lnTo>
                      <a:lnTo>
                        <a:pt x="22975" y="23038"/>
                      </a:lnTo>
                      <a:lnTo>
                        <a:pt x="22912" y="23038"/>
                      </a:lnTo>
                      <a:lnTo>
                        <a:pt x="22870" y="23100"/>
                      </a:lnTo>
                      <a:lnTo>
                        <a:pt x="22891" y="23142"/>
                      </a:lnTo>
                      <a:lnTo>
                        <a:pt x="22975" y="23142"/>
                      </a:lnTo>
                      <a:lnTo>
                        <a:pt x="23017" y="23205"/>
                      </a:lnTo>
                      <a:lnTo>
                        <a:pt x="23038" y="23142"/>
                      </a:lnTo>
                      <a:lnTo>
                        <a:pt x="23121" y="23121"/>
                      </a:lnTo>
                      <a:lnTo>
                        <a:pt x="23184" y="23163"/>
                      </a:lnTo>
                      <a:lnTo>
                        <a:pt x="23101" y="23226"/>
                      </a:lnTo>
                      <a:lnTo>
                        <a:pt x="23080" y="23268"/>
                      </a:lnTo>
                      <a:lnTo>
                        <a:pt x="23121" y="23351"/>
                      </a:lnTo>
                      <a:lnTo>
                        <a:pt x="23038" y="23435"/>
                      </a:lnTo>
                      <a:lnTo>
                        <a:pt x="23017" y="23519"/>
                      </a:lnTo>
                      <a:lnTo>
                        <a:pt x="23121" y="23582"/>
                      </a:lnTo>
                      <a:lnTo>
                        <a:pt x="23101" y="23686"/>
                      </a:lnTo>
                      <a:lnTo>
                        <a:pt x="23142" y="23749"/>
                      </a:lnTo>
                      <a:lnTo>
                        <a:pt x="23247" y="23749"/>
                      </a:lnTo>
                      <a:lnTo>
                        <a:pt x="23310" y="23686"/>
                      </a:lnTo>
                      <a:lnTo>
                        <a:pt x="23247" y="23623"/>
                      </a:lnTo>
                      <a:lnTo>
                        <a:pt x="23310" y="23561"/>
                      </a:lnTo>
                      <a:lnTo>
                        <a:pt x="23247" y="23519"/>
                      </a:lnTo>
                      <a:lnTo>
                        <a:pt x="23205" y="23519"/>
                      </a:lnTo>
                      <a:lnTo>
                        <a:pt x="23247" y="23435"/>
                      </a:lnTo>
                      <a:lnTo>
                        <a:pt x="23331" y="23414"/>
                      </a:lnTo>
                      <a:lnTo>
                        <a:pt x="23435" y="23331"/>
                      </a:lnTo>
                      <a:lnTo>
                        <a:pt x="23435" y="23247"/>
                      </a:lnTo>
                      <a:lnTo>
                        <a:pt x="23393" y="23226"/>
                      </a:lnTo>
                      <a:lnTo>
                        <a:pt x="23310" y="23226"/>
                      </a:lnTo>
                      <a:lnTo>
                        <a:pt x="23310" y="23205"/>
                      </a:lnTo>
                      <a:lnTo>
                        <a:pt x="23414" y="23121"/>
                      </a:lnTo>
                      <a:lnTo>
                        <a:pt x="23393" y="23017"/>
                      </a:lnTo>
                      <a:lnTo>
                        <a:pt x="23247" y="22912"/>
                      </a:lnTo>
                      <a:lnTo>
                        <a:pt x="23310" y="22807"/>
                      </a:lnTo>
                      <a:lnTo>
                        <a:pt x="23331" y="22828"/>
                      </a:lnTo>
                      <a:lnTo>
                        <a:pt x="23414" y="22828"/>
                      </a:lnTo>
                      <a:lnTo>
                        <a:pt x="23414" y="22766"/>
                      </a:lnTo>
                      <a:lnTo>
                        <a:pt x="23310" y="22661"/>
                      </a:lnTo>
                      <a:lnTo>
                        <a:pt x="23373" y="22661"/>
                      </a:lnTo>
                      <a:lnTo>
                        <a:pt x="23373" y="22473"/>
                      </a:lnTo>
                      <a:lnTo>
                        <a:pt x="23247" y="22389"/>
                      </a:lnTo>
                      <a:lnTo>
                        <a:pt x="23226" y="22410"/>
                      </a:lnTo>
                      <a:lnTo>
                        <a:pt x="23142" y="22347"/>
                      </a:lnTo>
                      <a:lnTo>
                        <a:pt x="23163" y="22305"/>
                      </a:lnTo>
                      <a:lnTo>
                        <a:pt x="23163" y="22284"/>
                      </a:lnTo>
                      <a:lnTo>
                        <a:pt x="23247" y="22180"/>
                      </a:lnTo>
                      <a:lnTo>
                        <a:pt x="23205" y="22096"/>
                      </a:lnTo>
                      <a:cubicBezTo>
                        <a:pt x="23205" y="22054"/>
                        <a:pt x="23226" y="21991"/>
                        <a:pt x="23226" y="21950"/>
                      </a:cubicBezTo>
                      <a:lnTo>
                        <a:pt x="23226" y="21887"/>
                      </a:lnTo>
                      <a:lnTo>
                        <a:pt x="23268" y="21929"/>
                      </a:lnTo>
                      <a:lnTo>
                        <a:pt x="23352" y="21866"/>
                      </a:lnTo>
                      <a:lnTo>
                        <a:pt x="23310" y="21761"/>
                      </a:lnTo>
                      <a:lnTo>
                        <a:pt x="23352" y="21719"/>
                      </a:lnTo>
                      <a:lnTo>
                        <a:pt x="23352" y="21573"/>
                      </a:lnTo>
                      <a:lnTo>
                        <a:pt x="23414" y="21552"/>
                      </a:lnTo>
                      <a:lnTo>
                        <a:pt x="23435" y="21719"/>
                      </a:lnTo>
                      <a:lnTo>
                        <a:pt x="23477" y="21678"/>
                      </a:lnTo>
                      <a:lnTo>
                        <a:pt x="23519" y="21657"/>
                      </a:lnTo>
                      <a:lnTo>
                        <a:pt x="23519" y="21678"/>
                      </a:lnTo>
                      <a:lnTo>
                        <a:pt x="23519" y="21719"/>
                      </a:lnTo>
                      <a:lnTo>
                        <a:pt x="23477" y="21761"/>
                      </a:lnTo>
                      <a:lnTo>
                        <a:pt x="23477" y="21845"/>
                      </a:lnTo>
                      <a:lnTo>
                        <a:pt x="23540" y="21887"/>
                      </a:lnTo>
                      <a:lnTo>
                        <a:pt x="23665" y="21866"/>
                      </a:lnTo>
                      <a:lnTo>
                        <a:pt x="23749" y="21761"/>
                      </a:lnTo>
                      <a:lnTo>
                        <a:pt x="23728" y="21719"/>
                      </a:lnTo>
                      <a:cubicBezTo>
                        <a:pt x="23749" y="21657"/>
                        <a:pt x="23770" y="21573"/>
                        <a:pt x="23791" y="21510"/>
                      </a:cubicBezTo>
                      <a:lnTo>
                        <a:pt x="23833" y="21531"/>
                      </a:lnTo>
                      <a:lnTo>
                        <a:pt x="23854" y="21636"/>
                      </a:lnTo>
                      <a:lnTo>
                        <a:pt x="23958" y="21719"/>
                      </a:lnTo>
                      <a:lnTo>
                        <a:pt x="24000" y="21719"/>
                      </a:lnTo>
                      <a:lnTo>
                        <a:pt x="23937" y="21740"/>
                      </a:lnTo>
                      <a:lnTo>
                        <a:pt x="23854" y="21740"/>
                      </a:lnTo>
                      <a:lnTo>
                        <a:pt x="23833" y="21782"/>
                      </a:lnTo>
                      <a:cubicBezTo>
                        <a:pt x="23749" y="21824"/>
                        <a:pt x="23665" y="21866"/>
                        <a:pt x="23665" y="21970"/>
                      </a:cubicBezTo>
                      <a:cubicBezTo>
                        <a:pt x="23665" y="22054"/>
                        <a:pt x="23665" y="22096"/>
                        <a:pt x="23686" y="22180"/>
                      </a:cubicBezTo>
                      <a:lnTo>
                        <a:pt x="23665" y="22159"/>
                      </a:lnTo>
                      <a:lnTo>
                        <a:pt x="23665" y="22138"/>
                      </a:lnTo>
                      <a:lnTo>
                        <a:pt x="23645" y="22159"/>
                      </a:lnTo>
                      <a:cubicBezTo>
                        <a:pt x="23624" y="22159"/>
                        <a:pt x="23603" y="22138"/>
                        <a:pt x="23561" y="22138"/>
                      </a:cubicBezTo>
                      <a:lnTo>
                        <a:pt x="23624" y="22075"/>
                      </a:lnTo>
                      <a:lnTo>
                        <a:pt x="23645" y="21991"/>
                      </a:lnTo>
                      <a:lnTo>
                        <a:pt x="23456" y="21970"/>
                      </a:lnTo>
                      <a:lnTo>
                        <a:pt x="23352" y="22075"/>
                      </a:lnTo>
                      <a:lnTo>
                        <a:pt x="23414" y="22180"/>
                      </a:lnTo>
                      <a:lnTo>
                        <a:pt x="23435" y="22180"/>
                      </a:lnTo>
                      <a:cubicBezTo>
                        <a:pt x="23414" y="22201"/>
                        <a:pt x="23414" y="22222"/>
                        <a:pt x="23414" y="22263"/>
                      </a:cubicBezTo>
                      <a:cubicBezTo>
                        <a:pt x="23435" y="22284"/>
                        <a:pt x="23435" y="22326"/>
                        <a:pt x="23456" y="22368"/>
                      </a:cubicBezTo>
                      <a:cubicBezTo>
                        <a:pt x="23498" y="22389"/>
                        <a:pt x="23519" y="22431"/>
                        <a:pt x="23540" y="22494"/>
                      </a:cubicBezTo>
                      <a:lnTo>
                        <a:pt x="23561" y="22494"/>
                      </a:lnTo>
                      <a:cubicBezTo>
                        <a:pt x="23561" y="22494"/>
                        <a:pt x="23561" y="22514"/>
                        <a:pt x="23582" y="22514"/>
                      </a:cubicBezTo>
                      <a:cubicBezTo>
                        <a:pt x="23624" y="22577"/>
                        <a:pt x="23665" y="22577"/>
                        <a:pt x="23686" y="22598"/>
                      </a:cubicBezTo>
                      <a:lnTo>
                        <a:pt x="23665" y="22619"/>
                      </a:lnTo>
                      <a:lnTo>
                        <a:pt x="23540" y="22724"/>
                      </a:lnTo>
                      <a:lnTo>
                        <a:pt x="23540" y="22828"/>
                      </a:lnTo>
                      <a:lnTo>
                        <a:pt x="23603" y="22933"/>
                      </a:lnTo>
                      <a:lnTo>
                        <a:pt x="23728" y="22828"/>
                      </a:lnTo>
                      <a:lnTo>
                        <a:pt x="23812" y="22682"/>
                      </a:lnTo>
                      <a:lnTo>
                        <a:pt x="23812" y="22619"/>
                      </a:lnTo>
                      <a:lnTo>
                        <a:pt x="23875" y="22598"/>
                      </a:lnTo>
                      <a:lnTo>
                        <a:pt x="24021" y="22473"/>
                      </a:lnTo>
                      <a:lnTo>
                        <a:pt x="24042" y="22514"/>
                      </a:lnTo>
                      <a:lnTo>
                        <a:pt x="24251" y="22514"/>
                      </a:lnTo>
                      <a:lnTo>
                        <a:pt x="24168" y="22619"/>
                      </a:lnTo>
                      <a:lnTo>
                        <a:pt x="24189" y="22640"/>
                      </a:lnTo>
                      <a:lnTo>
                        <a:pt x="24314" y="22640"/>
                      </a:lnTo>
                      <a:lnTo>
                        <a:pt x="24314" y="22703"/>
                      </a:lnTo>
                      <a:lnTo>
                        <a:pt x="24209" y="22807"/>
                      </a:lnTo>
                      <a:cubicBezTo>
                        <a:pt x="24189" y="22807"/>
                        <a:pt x="24168" y="22828"/>
                        <a:pt x="24147" y="22828"/>
                      </a:cubicBezTo>
                      <a:lnTo>
                        <a:pt x="24168" y="22724"/>
                      </a:lnTo>
                      <a:lnTo>
                        <a:pt x="24105" y="22598"/>
                      </a:lnTo>
                      <a:lnTo>
                        <a:pt x="23979" y="22598"/>
                      </a:lnTo>
                      <a:lnTo>
                        <a:pt x="23979" y="22640"/>
                      </a:lnTo>
                      <a:lnTo>
                        <a:pt x="23875" y="22703"/>
                      </a:lnTo>
                      <a:lnTo>
                        <a:pt x="23833" y="22849"/>
                      </a:lnTo>
                      <a:lnTo>
                        <a:pt x="23833" y="22912"/>
                      </a:lnTo>
                      <a:lnTo>
                        <a:pt x="23728" y="23017"/>
                      </a:lnTo>
                      <a:lnTo>
                        <a:pt x="23749" y="23100"/>
                      </a:lnTo>
                      <a:lnTo>
                        <a:pt x="23937" y="23017"/>
                      </a:lnTo>
                      <a:cubicBezTo>
                        <a:pt x="23937" y="23038"/>
                        <a:pt x="23958" y="23038"/>
                        <a:pt x="23958" y="23038"/>
                      </a:cubicBezTo>
                      <a:lnTo>
                        <a:pt x="23854" y="23121"/>
                      </a:lnTo>
                      <a:lnTo>
                        <a:pt x="23770" y="23247"/>
                      </a:lnTo>
                      <a:lnTo>
                        <a:pt x="23833" y="23310"/>
                      </a:lnTo>
                      <a:lnTo>
                        <a:pt x="24000" y="23163"/>
                      </a:lnTo>
                      <a:lnTo>
                        <a:pt x="24063" y="23100"/>
                      </a:lnTo>
                      <a:cubicBezTo>
                        <a:pt x="24084" y="23121"/>
                        <a:pt x="24105" y="23121"/>
                        <a:pt x="24147" y="23142"/>
                      </a:cubicBezTo>
                      <a:lnTo>
                        <a:pt x="24147" y="23163"/>
                      </a:lnTo>
                      <a:lnTo>
                        <a:pt x="24168" y="23226"/>
                      </a:lnTo>
                      <a:lnTo>
                        <a:pt x="24189" y="23268"/>
                      </a:lnTo>
                      <a:lnTo>
                        <a:pt x="24000" y="23268"/>
                      </a:lnTo>
                      <a:lnTo>
                        <a:pt x="23937" y="23351"/>
                      </a:lnTo>
                      <a:lnTo>
                        <a:pt x="23937" y="23414"/>
                      </a:lnTo>
                      <a:lnTo>
                        <a:pt x="24000" y="23414"/>
                      </a:lnTo>
                      <a:lnTo>
                        <a:pt x="24063" y="23372"/>
                      </a:lnTo>
                      <a:lnTo>
                        <a:pt x="24168" y="23372"/>
                      </a:lnTo>
                      <a:lnTo>
                        <a:pt x="24168" y="23414"/>
                      </a:lnTo>
                      <a:lnTo>
                        <a:pt x="24063" y="23477"/>
                      </a:lnTo>
                      <a:lnTo>
                        <a:pt x="23937" y="23477"/>
                      </a:lnTo>
                      <a:lnTo>
                        <a:pt x="23875" y="23540"/>
                      </a:lnTo>
                      <a:lnTo>
                        <a:pt x="23854" y="23665"/>
                      </a:lnTo>
                      <a:lnTo>
                        <a:pt x="23896" y="23770"/>
                      </a:lnTo>
                      <a:lnTo>
                        <a:pt x="23979" y="23728"/>
                      </a:lnTo>
                      <a:lnTo>
                        <a:pt x="24000" y="23644"/>
                      </a:lnTo>
                      <a:lnTo>
                        <a:pt x="24084" y="23644"/>
                      </a:lnTo>
                      <a:lnTo>
                        <a:pt x="24189" y="23582"/>
                      </a:lnTo>
                      <a:lnTo>
                        <a:pt x="24314" y="23435"/>
                      </a:lnTo>
                      <a:lnTo>
                        <a:pt x="24461" y="23247"/>
                      </a:lnTo>
                      <a:lnTo>
                        <a:pt x="24502" y="23017"/>
                      </a:lnTo>
                      <a:lnTo>
                        <a:pt x="24628" y="22745"/>
                      </a:lnTo>
                      <a:lnTo>
                        <a:pt x="24691" y="22724"/>
                      </a:lnTo>
                      <a:lnTo>
                        <a:pt x="24691" y="22703"/>
                      </a:lnTo>
                      <a:lnTo>
                        <a:pt x="24691" y="22661"/>
                      </a:lnTo>
                      <a:lnTo>
                        <a:pt x="24670" y="22661"/>
                      </a:lnTo>
                      <a:lnTo>
                        <a:pt x="24712" y="22619"/>
                      </a:lnTo>
                      <a:lnTo>
                        <a:pt x="24712" y="22577"/>
                      </a:lnTo>
                      <a:lnTo>
                        <a:pt x="24753" y="22514"/>
                      </a:lnTo>
                      <a:lnTo>
                        <a:pt x="24712" y="22473"/>
                      </a:lnTo>
                      <a:lnTo>
                        <a:pt x="24670" y="22452"/>
                      </a:lnTo>
                      <a:lnTo>
                        <a:pt x="24670" y="22347"/>
                      </a:lnTo>
                      <a:lnTo>
                        <a:pt x="24607" y="22242"/>
                      </a:lnTo>
                      <a:lnTo>
                        <a:pt x="24481" y="22159"/>
                      </a:lnTo>
                      <a:lnTo>
                        <a:pt x="24398" y="22096"/>
                      </a:lnTo>
                      <a:lnTo>
                        <a:pt x="24377" y="22033"/>
                      </a:lnTo>
                      <a:lnTo>
                        <a:pt x="24272" y="21866"/>
                      </a:lnTo>
                      <a:lnTo>
                        <a:pt x="24189" y="21845"/>
                      </a:lnTo>
                      <a:lnTo>
                        <a:pt x="24084" y="21845"/>
                      </a:lnTo>
                      <a:lnTo>
                        <a:pt x="24084" y="21782"/>
                      </a:lnTo>
                      <a:lnTo>
                        <a:pt x="24126" y="21740"/>
                      </a:lnTo>
                      <a:lnTo>
                        <a:pt x="24084" y="21657"/>
                      </a:lnTo>
                      <a:lnTo>
                        <a:pt x="24042" y="21615"/>
                      </a:lnTo>
                      <a:lnTo>
                        <a:pt x="24021" y="21531"/>
                      </a:lnTo>
                      <a:lnTo>
                        <a:pt x="24063" y="21468"/>
                      </a:lnTo>
                      <a:lnTo>
                        <a:pt x="24126" y="21447"/>
                      </a:lnTo>
                      <a:lnTo>
                        <a:pt x="24084" y="21406"/>
                      </a:lnTo>
                      <a:lnTo>
                        <a:pt x="24021" y="21343"/>
                      </a:lnTo>
                      <a:lnTo>
                        <a:pt x="23958" y="21343"/>
                      </a:lnTo>
                      <a:lnTo>
                        <a:pt x="23958" y="21259"/>
                      </a:lnTo>
                      <a:lnTo>
                        <a:pt x="24063" y="21217"/>
                      </a:lnTo>
                      <a:lnTo>
                        <a:pt x="24042" y="20799"/>
                      </a:lnTo>
                      <a:lnTo>
                        <a:pt x="24042" y="20380"/>
                      </a:lnTo>
                      <a:lnTo>
                        <a:pt x="24084" y="20025"/>
                      </a:lnTo>
                      <a:lnTo>
                        <a:pt x="24063" y="19941"/>
                      </a:lnTo>
                      <a:lnTo>
                        <a:pt x="24063" y="19836"/>
                      </a:lnTo>
                      <a:lnTo>
                        <a:pt x="24126" y="19732"/>
                      </a:lnTo>
                      <a:lnTo>
                        <a:pt x="24084" y="19627"/>
                      </a:lnTo>
                      <a:lnTo>
                        <a:pt x="24042" y="19543"/>
                      </a:lnTo>
                      <a:lnTo>
                        <a:pt x="24021" y="19334"/>
                      </a:lnTo>
                      <a:lnTo>
                        <a:pt x="23875" y="19167"/>
                      </a:lnTo>
                      <a:lnTo>
                        <a:pt x="23833" y="18957"/>
                      </a:lnTo>
                      <a:lnTo>
                        <a:pt x="23854" y="18853"/>
                      </a:lnTo>
                      <a:lnTo>
                        <a:pt x="23728" y="18518"/>
                      </a:lnTo>
                      <a:lnTo>
                        <a:pt x="23749" y="18434"/>
                      </a:lnTo>
                      <a:lnTo>
                        <a:pt x="23833" y="18288"/>
                      </a:lnTo>
                      <a:lnTo>
                        <a:pt x="23812" y="18204"/>
                      </a:lnTo>
                      <a:lnTo>
                        <a:pt x="23812" y="18100"/>
                      </a:lnTo>
                      <a:lnTo>
                        <a:pt x="23665" y="17995"/>
                      </a:lnTo>
                      <a:lnTo>
                        <a:pt x="23498" y="17995"/>
                      </a:lnTo>
                      <a:lnTo>
                        <a:pt x="23289" y="18058"/>
                      </a:lnTo>
                      <a:lnTo>
                        <a:pt x="23226" y="18079"/>
                      </a:lnTo>
                      <a:lnTo>
                        <a:pt x="23017" y="18162"/>
                      </a:lnTo>
                      <a:lnTo>
                        <a:pt x="22891" y="18288"/>
                      </a:lnTo>
                      <a:lnTo>
                        <a:pt x="22724" y="18518"/>
                      </a:lnTo>
                      <a:lnTo>
                        <a:pt x="22598" y="18602"/>
                      </a:lnTo>
                      <a:lnTo>
                        <a:pt x="22410" y="18623"/>
                      </a:lnTo>
                      <a:lnTo>
                        <a:pt x="22201" y="18644"/>
                      </a:lnTo>
                      <a:lnTo>
                        <a:pt x="22159" y="18644"/>
                      </a:lnTo>
                      <a:lnTo>
                        <a:pt x="22159" y="18581"/>
                      </a:lnTo>
                      <a:lnTo>
                        <a:pt x="22264" y="18413"/>
                      </a:lnTo>
                      <a:lnTo>
                        <a:pt x="22201" y="18267"/>
                      </a:lnTo>
                      <a:lnTo>
                        <a:pt x="22054" y="17597"/>
                      </a:lnTo>
                      <a:lnTo>
                        <a:pt x="21950" y="17325"/>
                      </a:lnTo>
                      <a:lnTo>
                        <a:pt x="21887" y="17179"/>
                      </a:lnTo>
                      <a:lnTo>
                        <a:pt x="22033" y="16928"/>
                      </a:lnTo>
                      <a:lnTo>
                        <a:pt x="21740" y="16886"/>
                      </a:lnTo>
                      <a:lnTo>
                        <a:pt x="21531" y="17032"/>
                      </a:lnTo>
                      <a:lnTo>
                        <a:pt x="21406" y="16970"/>
                      </a:lnTo>
                      <a:lnTo>
                        <a:pt x="21029" y="16970"/>
                      </a:lnTo>
                      <a:lnTo>
                        <a:pt x="27704" y="4792"/>
                      </a:lnTo>
                      <a:lnTo>
                        <a:pt x="27683" y="4729"/>
                      </a:lnTo>
                      <a:lnTo>
                        <a:pt x="27536" y="4708"/>
                      </a:lnTo>
                      <a:lnTo>
                        <a:pt x="27474" y="4729"/>
                      </a:lnTo>
                      <a:lnTo>
                        <a:pt x="27411" y="4667"/>
                      </a:lnTo>
                      <a:lnTo>
                        <a:pt x="27369" y="4416"/>
                      </a:lnTo>
                      <a:lnTo>
                        <a:pt x="27306" y="4290"/>
                      </a:lnTo>
                      <a:lnTo>
                        <a:pt x="27222" y="4248"/>
                      </a:lnTo>
                      <a:lnTo>
                        <a:pt x="27202" y="4102"/>
                      </a:lnTo>
                      <a:lnTo>
                        <a:pt x="27118" y="3955"/>
                      </a:lnTo>
                      <a:lnTo>
                        <a:pt x="27076" y="3892"/>
                      </a:lnTo>
                      <a:lnTo>
                        <a:pt x="26867" y="3892"/>
                      </a:lnTo>
                      <a:lnTo>
                        <a:pt x="26846" y="3934"/>
                      </a:lnTo>
                      <a:lnTo>
                        <a:pt x="26678" y="3892"/>
                      </a:lnTo>
                      <a:lnTo>
                        <a:pt x="26532" y="3934"/>
                      </a:lnTo>
                      <a:lnTo>
                        <a:pt x="26448" y="3872"/>
                      </a:lnTo>
                      <a:lnTo>
                        <a:pt x="26386" y="3892"/>
                      </a:lnTo>
                      <a:lnTo>
                        <a:pt x="26344" y="3872"/>
                      </a:lnTo>
                      <a:lnTo>
                        <a:pt x="26323" y="3892"/>
                      </a:lnTo>
                      <a:lnTo>
                        <a:pt x="26239" y="3892"/>
                      </a:lnTo>
                      <a:lnTo>
                        <a:pt x="26239" y="3872"/>
                      </a:lnTo>
                      <a:lnTo>
                        <a:pt x="26281" y="3872"/>
                      </a:lnTo>
                      <a:lnTo>
                        <a:pt x="26281" y="3830"/>
                      </a:lnTo>
                      <a:lnTo>
                        <a:pt x="26176" y="3746"/>
                      </a:lnTo>
                      <a:lnTo>
                        <a:pt x="26114" y="3767"/>
                      </a:lnTo>
                      <a:lnTo>
                        <a:pt x="26030" y="3746"/>
                      </a:lnTo>
                      <a:lnTo>
                        <a:pt x="26051" y="3725"/>
                      </a:lnTo>
                      <a:lnTo>
                        <a:pt x="26114" y="3683"/>
                      </a:lnTo>
                      <a:lnTo>
                        <a:pt x="26051" y="3641"/>
                      </a:lnTo>
                      <a:lnTo>
                        <a:pt x="25967" y="3641"/>
                      </a:lnTo>
                      <a:lnTo>
                        <a:pt x="25904" y="3620"/>
                      </a:lnTo>
                      <a:lnTo>
                        <a:pt x="25904" y="3558"/>
                      </a:lnTo>
                      <a:lnTo>
                        <a:pt x="25821" y="3474"/>
                      </a:lnTo>
                      <a:lnTo>
                        <a:pt x="25737" y="3411"/>
                      </a:lnTo>
                      <a:lnTo>
                        <a:pt x="25716" y="3411"/>
                      </a:lnTo>
                      <a:lnTo>
                        <a:pt x="25653" y="3369"/>
                      </a:lnTo>
                      <a:lnTo>
                        <a:pt x="25611" y="3369"/>
                      </a:lnTo>
                      <a:lnTo>
                        <a:pt x="25549" y="3432"/>
                      </a:lnTo>
                      <a:lnTo>
                        <a:pt x="25549" y="3369"/>
                      </a:lnTo>
                      <a:lnTo>
                        <a:pt x="25528" y="3328"/>
                      </a:lnTo>
                      <a:lnTo>
                        <a:pt x="25444" y="3265"/>
                      </a:lnTo>
                      <a:lnTo>
                        <a:pt x="25381" y="3369"/>
                      </a:lnTo>
                      <a:lnTo>
                        <a:pt x="25318" y="3328"/>
                      </a:lnTo>
                      <a:lnTo>
                        <a:pt x="25318" y="3244"/>
                      </a:lnTo>
                      <a:lnTo>
                        <a:pt x="25381" y="3223"/>
                      </a:lnTo>
                      <a:lnTo>
                        <a:pt x="25339" y="3160"/>
                      </a:lnTo>
                      <a:lnTo>
                        <a:pt x="25277" y="3139"/>
                      </a:lnTo>
                      <a:lnTo>
                        <a:pt x="25193" y="3160"/>
                      </a:lnTo>
                      <a:lnTo>
                        <a:pt x="25193" y="3160"/>
                      </a:lnTo>
                      <a:lnTo>
                        <a:pt x="25214" y="3118"/>
                      </a:lnTo>
                      <a:lnTo>
                        <a:pt x="25214" y="3056"/>
                      </a:lnTo>
                      <a:lnTo>
                        <a:pt x="25109" y="3014"/>
                      </a:lnTo>
                      <a:lnTo>
                        <a:pt x="25025" y="2909"/>
                      </a:lnTo>
                      <a:lnTo>
                        <a:pt x="25067" y="2888"/>
                      </a:lnTo>
                      <a:lnTo>
                        <a:pt x="25025" y="2825"/>
                      </a:lnTo>
                      <a:lnTo>
                        <a:pt x="24963" y="2804"/>
                      </a:lnTo>
                      <a:lnTo>
                        <a:pt x="24900" y="2846"/>
                      </a:lnTo>
                      <a:lnTo>
                        <a:pt x="24691" y="3056"/>
                      </a:lnTo>
                      <a:lnTo>
                        <a:pt x="24461" y="3202"/>
                      </a:lnTo>
                      <a:lnTo>
                        <a:pt x="24670" y="3035"/>
                      </a:lnTo>
                      <a:lnTo>
                        <a:pt x="24795" y="2846"/>
                      </a:lnTo>
                      <a:lnTo>
                        <a:pt x="24921" y="2721"/>
                      </a:lnTo>
                      <a:lnTo>
                        <a:pt x="24963" y="2595"/>
                      </a:lnTo>
                      <a:lnTo>
                        <a:pt x="24879" y="2532"/>
                      </a:lnTo>
                      <a:lnTo>
                        <a:pt x="24712" y="2428"/>
                      </a:lnTo>
                      <a:lnTo>
                        <a:pt x="24586" y="2428"/>
                      </a:lnTo>
                      <a:lnTo>
                        <a:pt x="24440" y="2491"/>
                      </a:lnTo>
                      <a:lnTo>
                        <a:pt x="24356" y="2491"/>
                      </a:lnTo>
                      <a:lnTo>
                        <a:pt x="24293" y="2512"/>
                      </a:lnTo>
                      <a:lnTo>
                        <a:pt x="24147" y="2532"/>
                      </a:lnTo>
                      <a:lnTo>
                        <a:pt x="23979" y="2721"/>
                      </a:lnTo>
                      <a:lnTo>
                        <a:pt x="23854" y="2825"/>
                      </a:lnTo>
                      <a:lnTo>
                        <a:pt x="23854" y="2825"/>
                      </a:lnTo>
                      <a:lnTo>
                        <a:pt x="23958" y="2700"/>
                      </a:lnTo>
                      <a:lnTo>
                        <a:pt x="23937" y="2532"/>
                      </a:lnTo>
                      <a:lnTo>
                        <a:pt x="23958" y="2407"/>
                      </a:lnTo>
                      <a:lnTo>
                        <a:pt x="23958" y="2302"/>
                      </a:lnTo>
                      <a:lnTo>
                        <a:pt x="23770" y="2198"/>
                      </a:lnTo>
                      <a:lnTo>
                        <a:pt x="23770" y="2156"/>
                      </a:lnTo>
                      <a:lnTo>
                        <a:pt x="23875" y="2093"/>
                      </a:lnTo>
                      <a:lnTo>
                        <a:pt x="23979" y="2093"/>
                      </a:lnTo>
                      <a:lnTo>
                        <a:pt x="23979" y="2051"/>
                      </a:lnTo>
                      <a:lnTo>
                        <a:pt x="23707" y="1884"/>
                      </a:lnTo>
                      <a:lnTo>
                        <a:pt x="23665" y="1800"/>
                      </a:lnTo>
                      <a:lnTo>
                        <a:pt x="23728" y="1737"/>
                      </a:lnTo>
                      <a:lnTo>
                        <a:pt x="23875" y="1654"/>
                      </a:lnTo>
                      <a:lnTo>
                        <a:pt x="23958" y="1570"/>
                      </a:lnTo>
                      <a:lnTo>
                        <a:pt x="23917" y="1486"/>
                      </a:lnTo>
                      <a:lnTo>
                        <a:pt x="23854" y="1361"/>
                      </a:lnTo>
                      <a:lnTo>
                        <a:pt x="23812" y="1361"/>
                      </a:lnTo>
                      <a:lnTo>
                        <a:pt x="23749" y="1382"/>
                      </a:lnTo>
                      <a:lnTo>
                        <a:pt x="23707" y="1319"/>
                      </a:lnTo>
                      <a:lnTo>
                        <a:pt x="23624" y="1256"/>
                      </a:lnTo>
                      <a:lnTo>
                        <a:pt x="23519" y="1256"/>
                      </a:lnTo>
                      <a:lnTo>
                        <a:pt x="23393" y="1214"/>
                      </a:lnTo>
                      <a:lnTo>
                        <a:pt x="23331" y="1172"/>
                      </a:lnTo>
                      <a:lnTo>
                        <a:pt x="23247" y="1214"/>
                      </a:lnTo>
                      <a:lnTo>
                        <a:pt x="23121" y="1214"/>
                      </a:lnTo>
                      <a:lnTo>
                        <a:pt x="23080" y="1319"/>
                      </a:lnTo>
                      <a:lnTo>
                        <a:pt x="23080" y="1361"/>
                      </a:lnTo>
                      <a:lnTo>
                        <a:pt x="22996" y="1256"/>
                      </a:lnTo>
                      <a:lnTo>
                        <a:pt x="23038" y="1151"/>
                      </a:lnTo>
                      <a:lnTo>
                        <a:pt x="23101" y="1131"/>
                      </a:lnTo>
                      <a:lnTo>
                        <a:pt x="23101" y="1026"/>
                      </a:lnTo>
                      <a:lnTo>
                        <a:pt x="23142" y="942"/>
                      </a:lnTo>
                      <a:lnTo>
                        <a:pt x="23205" y="921"/>
                      </a:lnTo>
                      <a:lnTo>
                        <a:pt x="23205" y="817"/>
                      </a:lnTo>
                      <a:lnTo>
                        <a:pt x="23226" y="712"/>
                      </a:lnTo>
                      <a:lnTo>
                        <a:pt x="23205" y="649"/>
                      </a:lnTo>
                      <a:lnTo>
                        <a:pt x="23184" y="649"/>
                      </a:lnTo>
                      <a:lnTo>
                        <a:pt x="23038" y="796"/>
                      </a:lnTo>
                      <a:lnTo>
                        <a:pt x="23017" y="900"/>
                      </a:lnTo>
                      <a:lnTo>
                        <a:pt x="22996" y="900"/>
                      </a:lnTo>
                      <a:lnTo>
                        <a:pt x="22912" y="838"/>
                      </a:lnTo>
                      <a:lnTo>
                        <a:pt x="22808" y="900"/>
                      </a:lnTo>
                      <a:lnTo>
                        <a:pt x="22787" y="942"/>
                      </a:lnTo>
                      <a:lnTo>
                        <a:pt x="22808" y="1047"/>
                      </a:lnTo>
                      <a:lnTo>
                        <a:pt x="22724" y="1131"/>
                      </a:lnTo>
                      <a:lnTo>
                        <a:pt x="22682" y="1131"/>
                      </a:lnTo>
                      <a:lnTo>
                        <a:pt x="22661" y="1068"/>
                      </a:lnTo>
                      <a:lnTo>
                        <a:pt x="22598" y="1214"/>
                      </a:lnTo>
                      <a:lnTo>
                        <a:pt x="22598" y="1319"/>
                      </a:lnTo>
                      <a:lnTo>
                        <a:pt x="22556" y="1172"/>
                      </a:lnTo>
                      <a:lnTo>
                        <a:pt x="22556" y="1047"/>
                      </a:lnTo>
                      <a:lnTo>
                        <a:pt x="22598" y="942"/>
                      </a:lnTo>
                      <a:lnTo>
                        <a:pt x="22556" y="921"/>
                      </a:lnTo>
                      <a:lnTo>
                        <a:pt x="22473" y="1005"/>
                      </a:lnTo>
                      <a:lnTo>
                        <a:pt x="22452" y="1068"/>
                      </a:lnTo>
                      <a:lnTo>
                        <a:pt x="22368" y="1110"/>
                      </a:lnTo>
                      <a:lnTo>
                        <a:pt x="22410" y="921"/>
                      </a:lnTo>
                      <a:lnTo>
                        <a:pt x="22368" y="817"/>
                      </a:lnTo>
                      <a:lnTo>
                        <a:pt x="22264" y="817"/>
                      </a:lnTo>
                      <a:lnTo>
                        <a:pt x="22284" y="733"/>
                      </a:lnTo>
                      <a:lnTo>
                        <a:pt x="22410" y="628"/>
                      </a:lnTo>
                      <a:lnTo>
                        <a:pt x="22515" y="607"/>
                      </a:lnTo>
                      <a:lnTo>
                        <a:pt x="22661" y="712"/>
                      </a:lnTo>
                      <a:lnTo>
                        <a:pt x="22808" y="628"/>
                      </a:lnTo>
                      <a:lnTo>
                        <a:pt x="22912" y="607"/>
                      </a:lnTo>
                      <a:lnTo>
                        <a:pt x="23017" y="503"/>
                      </a:lnTo>
                      <a:lnTo>
                        <a:pt x="23017" y="440"/>
                      </a:lnTo>
                      <a:lnTo>
                        <a:pt x="23038" y="398"/>
                      </a:lnTo>
                      <a:lnTo>
                        <a:pt x="23017" y="335"/>
                      </a:lnTo>
                      <a:lnTo>
                        <a:pt x="22891" y="294"/>
                      </a:lnTo>
                      <a:lnTo>
                        <a:pt x="22828" y="294"/>
                      </a:lnTo>
                      <a:lnTo>
                        <a:pt x="22828" y="189"/>
                      </a:lnTo>
                      <a:lnTo>
                        <a:pt x="22787" y="126"/>
                      </a:lnTo>
                      <a:lnTo>
                        <a:pt x="22766" y="105"/>
                      </a:lnTo>
                      <a:lnTo>
                        <a:pt x="22787" y="84"/>
                      </a:lnTo>
                      <a:lnTo>
                        <a:pt x="22828" y="63"/>
                      </a:lnTo>
                      <a:lnTo>
                        <a:pt x="2287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 name="Google Shape;5854;p93">
                  <a:extLst>
                    <a:ext uri="{FF2B5EF4-FFF2-40B4-BE49-F238E27FC236}">
                      <a16:creationId xmlns:a16="http://schemas.microsoft.com/office/drawing/2014/main" id="{AB7291B1-5CB1-41E7-9804-A72200F94234}"/>
                    </a:ext>
                  </a:extLst>
                </p:cNvPr>
                <p:cNvSpPr/>
                <p:nvPr/>
              </p:nvSpPr>
              <p:spPr>
                <a:xfrm>
                  <a:off x="1979950" y="2384350"/>
                  <a:ext cx="816050" cy="481275"/>
                </a:xfrm>
                <a:custGeom>
                  <a:avLst/>
                  <a:gdLst/>
                  <a:ahLst/>
                  <a:cxnLst/>
                  <a:rect l="l" t="t" r="r" b="b"/>
                  <a:pathLst>
                    <a:path w="32642" h="19251" extrusionOk="0">
                      <a:moveTo>
                        <a:pt x="2846" y="1"/>
                      </a:moveTo>
                      <a:lnTo>
                        <a:pt x="2909" y="210"/>
                      </a:lnTo>
                      <a:lnTo>
                        <a:pt x="3035" y="273"/>
                      </a:lnTo>
                      <a:lnTo>
                        <a:pt x="2993" y="356"/>
                      </a:lnTo>
                      <a:lnTo>
                        <a:pt x="2909" y="440"/>
                      </a:lnTo>
                      <a:lnTo>
                        <a:pt x="2930" y="545"/>
                      </a:lnTo>
                      <a:lnTo>
                        <a:pt x="2993" y="586"/>
                      </a:lnTo>
                      <a:lnTo>
                        <a:pt x="2972" y="649"/>
                      </a:lnTo>
                      <a:lnTo>
                        <a:pt x="2909" y="733"/>
                      </a:lnTo>
                      <a:lnTo>
                        <a:pt x="2951" y="775"/>
                      </a:lnTo>
                      <a:lnTo>
                        <a:pt x="2951" y="858"/>
                      </a:lnTo>
                      <a:lnTo>
                        <a:pt x="2993" y="900"/>
                      </a:lnTo>
                      <a:lnTo>
                        <a:pt x="2909" y="1047"/>
                      </a:lnTo>
                      <a:lnTo>
                        <a:pt x="2825" y="1089"/>
                      </a:lnTo>
                      <a:lnTo>
                        <a:pt x="2763" y="1256"/>
                      </a:lnTo>
                      <a:lnTo>
                        <a:pt x="2721" y="1298"/>
                      </a:lnTo>
                      <a:lnTo>
                        <a:pt x="2721" y="1423"/>
                      </a:lnTo>
                      <a:lnTo>
                        <a:pt x="2637" y="1486"/>
                      </a:lnTo>
                      <a:lnTo>
                        <a:pt x="2616" y="1591"/>
                      </a:lnTo>
                      <a:lnTo>
                        <a:pt x="2470" y="1674"/>
                      </a:lnTo>
                      <a:lnTo>
                        <a:pt x="2386" y="1633"/>
                      </a:lnTo>
                      <a:lnTo>
                        <a:pt x="2344" y="1570"/>
                      </a:lnTo>
                      <a:lnTo>
                        <a:pt x="2428" y="1465"/>
                      </a:lnTo>
                      <a:lnTo>
                        <a:pt x="2449" y="1507"/>
                      </a:lnTo>
                      <a:lnTo>
                        <a:pt x="2532" y="1465"/>
                      </a:lnTo>
                      <a:lnTo>
                        <a:pt x="2553" y="1528"/>
                      </a:lnTo>
                      <a:lnTo>
                        <a:pt x="2595" y="1486"/>
                      </a:lnTo>
                      <a:lnTo>
                        <a:pt x="2595" y="1361"/>
                      </a:lnTo>
                      <a:lnTo>
                        <a:pt x="2658" y="1214"/>
                      </a:lnTo>
                      <a:lnTo>
                        <a:pt x="2742" y="1151"/>
                      </a:lnTo>
                      <a:lnTo>
                        <a:pt x="2742" y="1047"/>
                      </a:lnTo>
                      <a:lnTo>
                        <a:pt x="2700" y="1068"/>
                      </a:lnTo>
                      <a:lnTo>
                        <a:pt x="2553" y="1172"/>
                      </a:lnTo>
                      <a:lnTo>
                        <a:pt x="2512" y="1214"/>
                      </a:lnTo>
                      <a:lnTo>
                        <a:pt x="2428" y="1214"/>
                      </a:lnTo>
                      <a:lnTo>
                        <a:pt x="2428" y="1172"/>
                      </a:lnTo>
                      <a:lnTo>
                        <a:pt x="2532" y="1068"/>
                      </a:lnTo>
                      <a:lnTo>
                        <a:pt x="2658" y="1005"/>
                      </a:lnTo>
                      <a:lnTo>
                        <a:pt x="2700" y="963"/>
                      </a:lnTo>
                      <a:lnTo>
                        <a:pt x="2658" y="879"/>
                      </a:lnTo>
                      <a:lnTo>
                        <a:pt x="2616" y="879"/>
                      </a:lnTo>
                      <a:lnTo>
                        <a:pt x="2532" y="900"/>
                      </a:lnTo>
                      <a:lnTo>
                        <a:pt x="2470" y="796"/>
                      </a:lnTo>
                      <a:lnTo>
                        <a:pt x="2407" y="754"/>
                      </a:lnTo>
                      <a:lnTo>
                        <a:pt x="2135" y="754"/>
                      </a:lnTo>
                      <a:lnTo>
                        <a:pt x="2009" y="649"/>
                      </a:lnTo>
                      <a:lnTo>
                        <a:pt x="1716" y="419"/>
                      </a:lnTo>
                      <a:lnTo>
                        <a:pt x="1696" y="440"/>
                      </a:lnTo>
                      <a:lnTo>
                        <a:pt x="1675" y="545"/>
                      </a:lnTo>
                      <a:lnTo>
                        <a:pt x="1591" y="754"/>
                      </a:lnTo>
                      <a:lnTo>
                        <a:pt x="1591" y="858"/>
                      </a:lnTo>
                      <a:lnTo>
                        <a:pt x="1654" y="1068"/>
                      </a:lnTo>
                      <a:lnTo>
                        <a:pt x="1591" y="1382"/>
                      </a:lnTo>
                      <a:lnTo>
                        <a:pt x="1612" y="1507"/>
                      </a:lnTo>
                      <a:lnTo>
                        <a:pt x="1591" y="1674"/>
                      </a:lnTo>
                      <a:lnTo>
                        <a:pt x="1612" y="1737"/>
                      </a:lnTo>
                      <a:lnTo>
                        <a:pt x="1675" y="1737"/>
                      </a:lnTo>
                      <a:lnTo>
                        <a:pt x="1696" y="1800"/>
                      </a:lnTo>
                      <a:lnTo>
                        <a:pt x="1654" y="1884"/>
                      </a:lnTo>
                      <a:lnTo>
                        <a:pt x="1591" y="1884"/>
                      </a:lnTo>
                      <a:lnTo>
                        <a:pt x="1570" y="1946"/>
                      </a:lnTo>
                      <a:lnTo>
                        <a:pt x="1591" y="2009"/>
                      </a:lnTo>
                      <a:lnTo>
                        <a:pt x="1696" y="2030"/>
                      </a:lnTo>
                      <a:lnTo>
                        <a:pt x="1654" y="2135"/>
                      </a:lnTo>
                      <a:lnTo>
                        <a:pt x="1654" y="2239"/>
                      </a:lnTo>
                      <a:lnTo>
                        <a:pt x="1591" y="2323"/>
                      </a:lnTo>
                      <a:lnTo>
                        <a:pt x="1549" y="2302"/>
                      </a:lnTo>
                      <a:lnTo>
                        <a:pt x="1507" y="2344"/>
                      </a:lnTo>
                      <a:lnTo>
                        <a:pt x="1507" y="2428"/>
                      </a:lnTo>
                      <a:lnTo>
                        <a:pt x="1675" y="2449"/>
                      </a:lnTo>
                      <a:lnTo>
                        <a:pt x="1821" y="2470"/>
                      </a:lnTo>
                      <a:lnTo>
                        <a:pt x="1926" y="2553"/>
                      </a:lnTo>
                      <a:lnTo>
                        <a:pt x="2072" y="2553"/>
                      </a:lnTo>
                      <a:lnTo>
                        <a:pt x="2114" y="2637"/>
                      </a:lnTo>
                      <a:lnTo>
                        <a:pt x="2135" y="2783"/>
                      </a:lnTo>
                      <a:lnTo>
                        <a:pt x="2093" y="2658"/>
                      </a:lnTo>
                      <a:lnTo>
                        <a:pt x="1988" y="2574"/>
                      </a:lnTo>
                      <a:lnTo>
                        <a:pt x="1905" y="2616"/>
                      </a:lnTo>
                      <a:lnTo>
                        <a:pt x="1821" y="2553"/>
                      </a:lnTo>
                      <a:lnTo>
                        <a:pt x="1612" y="2532"/>
                      </a:lnTo>
                      <a:lnTo>
                        <a:pt x="1570" y="2470"/>
                      </a:lnTo>
                      <a:lnTo>
                        <a:pt x="1507" y="2511"/>
                      </a:lnTo>
                      <a:lnTo>
                        <a:pt x="1507" y="2616"/>
                      </a:lnTo>
                      <a:lnTo>
                        <a:pt x="1403" y="2763"/>
                      </a:lnTo>
                      <a:lnTo>
                        <a:pt x="1403" y="2846"/>
                      </a:lnTo>
                      <a:lnTo>
                        <a:pt x="1403" y="2930"/>
                      </a:lnTo>
                      <a:lnTo>
                        <a:pt x="1340" y="3076"/>
                      </a:lnTo>
                      <a:lnTo>
                        <a:pt x="1277" y="3202"/>
                      </a:lnTo>
                      <a:lnTo>
                        <a:pt x="1131" y="3558"/>
                      </a:lnTo>
                      <a:lnTo>
                        <a:pt x="1089" y="3809"/>
                      </a:lnTo>
                      <a:lnTo>
                        <a:pt x="942" y="4102"/>
                      </a:lnTo>
                      <a:lnTo>
                        <a:pt x="921" y="4415"/>
                      </a:lnTo>
                      <a:lnTo>
                        <a:pt x="838" y="4541"/>
                      </a:lnTo>
                      <a:lnTo>
                        <a:pt x="733" y="4667"/>
                      </a:lnTo>
                      <a:lnTo>
                        <a:pt x="649" y="4855"/>
                      </a:lnTo>
                      <a:lnTo>
                        <a:pt x="608" y="4939"/>
                      </a:lnTo>
                      <a:lnTo>
                        <a:pt x="566" y="5043"/>
                      </a:lnTo>
                      <a:lnTo>
                        <a:pt x="419" y="5231"/>
                      </a:lnTo>
                      <a:lnTo>
                        <a:pt x="356" y="5336"/>
                      </a:lnTo>
                      <a:lnTo>
                        <a:pt x="398" y="5566"/>
                      </a:lnTo>
                      <a:lnTo>
                        <a:pt x="336" y="5776"/>
                      </a:lnTo>
                      <a:lnTo>
                        <a:pt x="336" y="5922"/>
                      </a:lnTo>
                      <a:lnTo>
                        <a:pt x="419" y="6027"/>
                      </a:lnTo>
                      <a:lnTo>
                        <a:pt x="356" y="6110"/>
                      </a:lnTo>
                      <a:lnTo>
                        <a:pt x="336" y="6194"/>
                      </a:lnTo>
                      <a:lnTo>
                        <a:pt x="398" y="6340"/>
                      </a:lnTo>
                      <a:lnTo>
                        <a:pt x="356" y="6592"/>
                      </a:lnTo>
                      <a:lnTo>
                        <a:pt x="315" y="6717"/>
                      </a:lnTo>
                      <a:lnTo>
                        <a:pt x="231" y="6759"/>
                      </a:lnTo>
                      <a:lnTo>
                        <a:pt x="252" y="6843"/>
                      </a:lnTo>
                      <a:lnTo>
                        <a:pt x="294" y="6864"/>
                      </a:lnTo>
                      <a:lnTo>
                        <a:pt x="231" y="7031"/>
                      </a:lnTo>
                      <a:lnTo>
                        <a:pt x="84" y="7136"/>
                      </a:lnTo>
                      <a:lnTo>
                        <a:pt x="1" y="7261"/>
                      </a:lnTo>
                      <a:lnTo>
                        <a:pt x="1" y="7387"/>
                      </a:lnTo>
                      <a:lnTo>
                        <a:pt x="105" y="7554"/>
                      </a:lnTo>
                      <a:lnTo>
                        <a:pt x="210" y="7763"/>
                      </a:lnTo>
                      <a:lnTo>
                        <a:pt x="210" y="7993"/>
                      </a:lnTo>
                      <a:lnTo>
                        <a:pt x="189" y="8119"/>
                      </a:lnTo>
                      <a:lnTo>
                        <a:pt x="126" y="8203"/>
                      </a:lnTo>
                      <a:lnTo>
                        <a:pt x="126" y="8286"/>
                      </a:lnTo>
                      <a:lnTo>
                        <a:pt x="147" y="8370"/>
                      </a:lnTo>
                      <a:lnTo>
                        <a:pt x="189" y="8496"/>
                      </a:lnTo>
                      <a:lnTo>
                        <a:pt x="126" y="8579"/>
                      </a:lnTo>
                      <a:lnTo>
                        <a:pt x="105" y="8642"/>
                      </a:lnTo>
                      <a:lnTo>
                        <a:pt x="126" y="8726"/>
                      </a:lnTo>
                      <a:lnTo>
                        <a:pt x="356" y="9102"/>
                      </a:lnTo>
                      <a:lnTo>
                        <a:pt x="398" y="9207"/>
                      </a:lnTo>
                      <a:lnTo>
                        <a:pt x="356" y="9270"/>
                      </a:lnTo>
                      <a:lnTo>
                        <a:pt x="398" y="9353"/>
                      </a:lnTo>
                      <a:lnTo>
                        <a:pt x="524" y="9479"/>
                      </a:lnTo>
                      <a:lnTo>
                        <a:pt x="545" y="9542"/>
                      </a:lnTo>
                      <a:lnTo>
                        <a:pt x="628" y="9542"/>
                      </a:lnTo>
                      <a:lnTo>
                        <a:pt x="628" y="9437"/>
                      </a:lnTo>
                      <a:lnTo>
                        <a:pt x="628" y="9312"/>
                      </a:lnTo>
                      <a:lnTo>
                        <a:pt x="712" y="9333"/>
                      </a:lnTo>
                      <a:lnTo>
                        <a:pt x="733" y="9312"/>
                      </a:lnTo>
                      <a:lnTo>
                        <a:pt x="733" y="9353"/>
                      </a:lnTo>
                      <a:lnTo>
                        <a:pt x="838" y="9353"/>
                      </a:lnTo>
                      <a:lnTo>
                        <a:pt x="859" y="9416"/>
                      </a:lnTo>
                      <a:lnTo>
                        <a:pt x="984" y="9437"/>
                      </a:lnTo>
                      <a:lnTo>
                        <a:pt x="880" y="9437"/>
                      </a:lnTo>
                      <a:lnTo>
                        <a:pt x="817" y="9479"/>
                      </a:lnTo>
                      <a:lnTo>
                        <a:pt x="754" y="9437"/>
                      </a:lnTo>
                      <a:lnTo>
                        <a:pt x="712" y="9437"/>
                      </a:lnTo>
                      <a:lnTo>
                        <a:pt x="712" y="9521"/>
                      </a:lnTo>
                      <a:lnTo>
                        <a:pt x="754" y="9542"/>
                      </a:lnTo>
                      <a:lnTo>
                        <a:pt x="754" y="9688"/>
                      </a:lnTo>
                      <a:lnTo>
                        <a:pt x="817" y="9793"/>
                      </a:lnTo>
                      <a:lnTo>
                        <a:pt x="838" y="9835"/>
                      </a:lnTo>
                      <a:lnTo>
                        <a:pt x="733" y="9793"/>
                      </a:lnTo>
                      <a:lnTo>
                        <a:pt x="670" y="9688"/>
                      </a:lnTo>
                      <a:lnTo>
                        <a:pt x="649" y="9646"/>
                      </a:lnTo>
                      <a:lnTo>
                        <a:pt x="608" y="9688"/>
                      </a:lnTo>
                      <a:lnTo>
                        <a:pt x="608" y="9772"/>
                      </a:lnTo>
                      <a:lnTo>
                        <a:pt x="545" y="9835"/>
                      </a:lnTo>
                      <a:lnTo>
                        <a:pt x="566" y="9877"/>
                      </a:lnTo>
                      <a:lnTo>
                        <a:pt x="545" y="9981"/>
                      </a:lnTo>
                      <a:lnTo>
                        <a:pt x="545" y="10086"/>
                      </a:lnTo>
                      <a:lnTo>
                        <a:pt x="608" y="10107"/>
                      </a:lnTo>
                      <a:lnTo>
                        <a:pt x="628" y="10211"/>
                      </a:lnTo>
                      <a:lnTo>
                        <a:pt x="733" y="10274"/>
                      </a:lnTo>
                      <a:lnTo>
                        <a:pt x="775" y="10358"/>
                      </a:lnTo>
                      <a:lnTo>
                        <a:pt x="775" y="10421"/>
                      </a:lnTo>
                      <a:lnTo>
                        <a:pt x="712" y="10504"/>
                      </a:lnTo>
                      <a:lnTo>
                        <a:pt x="649" y="10504"/>
                      </a:lnTo>
                      <a:lnTo>
                        <a:pt x="649" y="10567"/>
                      </a:lnTo>
                      <a:lnTo>
                        <a:pt x="670" y="10672"/>
                      </a:lnTo>
                      <a:lnTo>
                        <a:pt x="670" y="10797"/>
                      </a:lnTo>
                      <a:lnTo>
                        <a:pt x="712" y="10839"/>
                      </a:lnTo>
                      <a:lnTo>
                        <a:pt x="775" y="10923"/>
                      </a:lnTo>
                      <a:lnTo>
                        <a:pt x="817" y="11111"/>
                      </a:lnTo>
                      <a:lnTo>
                        <a:pt x="942" y="11362"/>
                      </a:lnTo>
                      <a:lnTo>
                        <a:pt x="1026" y="11509"/>
                      </a:lnTo>
                      <a:lnTo>
                        <a:pt x="1068" y="11530"/>
                      </a:lnTo>
                      <a:lnTo>
                        <a:pt x="1047" y="11571"/>
                      </a:lnTo>
                      <a:lnTo>
                        <a:pt x="1047" y="11613"/>
                      </a:lnTo>
                      <a:lnTo>
                        <a:pt x="1152" y="11718"/>
                      </a:lnTo>
                      <a:lnTo>
                        <a:pt x="1172" y="11843"/>
                      </a:lnTo>
                      <a:lnTo>
                        <a:pt x="1152" y="11990"/>
                      </a:lnTo>
                      <a:lnTo>
                        <a:pt x="1131" y="12094"/>
                      </a:lnTo>
                      <a:lnTo>
                        <a:pt x="1089" y="12136"/>
                      </a:lnTo>
                      <a:lnTo>
                        <a:pt x="1131" y="12199"/>
                      </a:lnTo>
                      <a:lnTo>
                        <a:pt x="1172" y="12262"/>
                      </a:lnTo>
                      <a:lnTo>
                        <a:pt x="1382" y="12262"/>
                      </a:lnTo>
                      <a:lnTo>
                        <a:pt x="1486" y="12283"/>
                      </a:lnTo>
                      <a:lnTo>
                        <a:pt x="1591" y="12346"/>
                      </a:lnTo>
                      <a:lnTo>
                        <a:pt x="1675" y="12366"/>
                      </a:lnTo>
                      <a:lnTo>
                        <a:pt x="1821" y="12366"/>
                      </a:lnTo>
                      <a:lnTo>
                        <a:pt x="1884" y="12450"/>
                      </a:lnTo>
                      <a:lnTo>
                        <a:pt x="1884" y="12555"/>
                      </a:lnTo>
                      <a:lnTo>
                        <a:pt x="2030" y="12618"/>
                      </a:lnTo>
                      <a:lnTo>
                        <a:pt x="2135" y="12618"/>
                      </a:lnTo>
                      <a:lnTo>
                        <a:pt x="2281" y="12680"/>
                      </a:lnTo>
                      <a:lnTo>
                        <a:pt x="2302" y="12722"/>
                      </a:lnTo>
                      <a:lnTo>
                        <a:pt x="2302" y="12827"/>
                      </a:lnTo>
                      <a:lnTo>
                        <a:pt x="2344" y="12869"/>
                      </a:lnTo>
                      <a:lnTo>
                        <a:pt x="2407" y="12827"/>
                      </a:lnTo>
                      <a:lnTo>
                        <a:pt x="2470" y="12827"/>
                      </a:lnTo>
                      <a:lnTo>
                        <a:pt x="2616" y="12973"/>
                      </a:lnTo>
                      <a:lnTo>
                        <a:pt x="2805" y="13245"/>
                      </a:lnTo>
                      <a:lnTo>
                        <a:pt x="2825" y="13434"/>
                      </a:lnTo>
                      <a:lnTo>
                        <a:pt x="2805" y="13559"/>
                      </a:lnTo>
                      <a:lnTo>
                        <a:pt x="2805" y="13664"/>
                      </a:lnTo>
                      <a:lnTo>
                        <a:pt x="4185" y="13643"/>
                      </a:lnTo>
                      <a:lnTo>
                        <a:pt x="4206" y="13706"/>
                      </a:lnTo>
                      <a:lnTo>
                        <a:pt x="4206" y="13747"/>
                      </a:lnTo>
                      <a:lnTo>
                        <a:pt x="6131" y="14647"/>
                      </a:lnTo>
                      <a:lnTo>
                        <a:pt x="7784" y="14689"/>
                      </a:lnTo>
                      <a:lnTo>
                        <a:pt x="7826" y="14480"/>
                      </a:lnTo>
                      <a:lnTo>
                        <a:pt x="8747" y="14501"/>
                      </a:lnTo>
                      <a:lnTo>
                        <a:pt x="8872" y="14584"/>
                      </a:lnTo>
                      <a:lnTo>
                        <a:pt x="8935" y="14710"/>
                      </a:lnTo>
                      <a:lnTo>
                        <a:pt x="8998" y="14773"/>
                      </a:lnTo>
                      <a:lnTo>
                        <a:pt x="9019" y="14815"/>
                      </a:lnTo>
                      <a:lnTo>
                        <a:pt x="9082" y="14815"/>
                      </a:lnTo>
                      <a:lnTo>
                        <a:pt x="9123" y="14898"/>
                      </a:lnTo>
                      <a:lnTo>
                        <a:pt x="9103" y="14961"/>
                      </a:lnTo>
                      <a:lnTo>
                        <a:pt x="9207" y="14982"/>
                      </a:lnTo>
                      <a:lnTo>
                        <a:pt x="9270" y="15066"/>
                      </a:lnTo>
                      <a:lnTo>
                        <a:pt x="9270" y="15107"/>
                      </a:lnTo>
                      <a:lnTo>
                        <a:pt x="9228" y="15170"/>
                      </a:lnTo>
                      <a:lnTo>
                        <a:pt x="9312" y="15191"/>
                      </a:lnTo>
                      <a:lnTo>
                        <a:pt x="9395" y="15233"/>
                      </a:lnTo>
                      <a:lnTo>
                        <a:pt x="9437" y="15317"/>
                      </a:lnTo>
                      <a:lnTo>
                        <a:pt x="9458" y="15442"/>
                      </a:lnTo>
                      <a:lnTo>
                        <a:pt x="9500" y="15484"/>
                      </a:lnTo>
                      <a:lnTo>
                        <a:pt x="9521" y="15505"/>
                      </a:lnTo>
                      <a:lnTo>
                        <a:pt x="9542" y="15526"/>
                      </a:lnTo>
                      <a:lnTo>
                        <a:pt x="9626" y="15610"/>
                      </a:lnTo>
                      <a:lnTo>
                        <a:pt x="9626" y="15693"/>
                      </a:lnTo>
                      <a:lnTo>
                        <a:pt x="9605" y="15714"/>
                      </a:lnTo>
                      <a:lnTo>
                        <a:pt x="9521" y="15735"/>
                      </a:lnTo>
                      <a:lnTo>
                        <a:pt x="9521" y="15756"/>
                      </a:lnTo>
                      <a:lnTo>
                        <a:pt x="9626" y="15903"/>
                      </a:lnTo>
                      <a:lnTo>
                        <a:pt x="9709" y="15965"/>
                      </a:lnTo>
                      <a:lnTo>
                        <a:pt x="9730" y="16070"/>
                      </a:lnTo>
                      <a:lnTo>
                        <a:pt x="9730" y="16112"/>
                      </a:lnTo>
                      <a:lnTo>
                        <a:pt x="9751" y="16112"/>
                      </a:lnTo>
                      <a:lnTo>
                        <a:pt x="9793" y="16133"/>
                      </a:lnTo>
                      <a:lnTo>
                        <a:pt x="9835" y="16133"/>
                      </a:lnTo>
                      <a:lnTo>
                        <a:pt x="9877" y="16154"/>
                      </a:lnTo>
                      <a:lnTo>
                        <a:pt x="9919" y="16216"/>
                      </a:lnTo>
                      <a:lnTo>
                        <a:pt x="9919" y="16237"/>
                      </a:lnTo>
                      <a:lnTo>
                        <a:pt x="9960" y="16279"/>
                      </a:lnTo>
                      <a:lnTo>
                        <a:pt x="10023" y="16279"/>
                      </a:lnTo>
                      <a:lnTo>
                        <a:pt x="10149" y="16342"/>
                      </a:lnTo>
                      <a:lnTo>
                        <a:pt x="10170" y="16384"/>
                      </a:lnTo>
                      <a:lnTo>
                        <a:pt x="10253" y="16426"/>
                      </a:lnTo>
                      <a:lnTo>
                        <a:pt x="10379" y="16467"/>
                      </a:lnTo>
                      <a:lnTo>
                        <a:pt x="10400" y="16530"/>
                      </a:lnTo>
                      <a:lnTo>
                        <a:pt x="10463" y="16530"/>
                      </a:lnTo>
                      <a:lnTo>
                        <a:pt x="10504" y="16488"/>
                      </a:lnTo>
                      <a:lnTo>
                        <a:pt x="10504" y="16467"/>
                      </a:lnTo>
                      <a:lnTo>
                        <a:pt x="10609" y="16384"/>
                      </a:lnTo>
                      <a:lnTo>
                        <a:pt x="10672" y="16384"/>
                      </a:lnTo>
                      <a:lnTo>
                        <a:pt x="10672" y="16342"/>
                      </a:lnTo>
                      <a:lnTo>
                        <a:pt x="10672" y="16321"/>
                      </a:lnTo>
                      <a:lnTo>
                        <a:pt x="10714" y="16237"/>
                      </a:lnTo>
                      <a:lnTo>
                        <a:pt x="10797" y="16070"/>
                      </a:lnTo>
                      <a:lnTo>
                        <a:pt x="10839" y="16028"/>
                      </a:lnTo>
                      <a:lnTo>
                        <a:pt x="10923" y="16007"/>
                      </a:lnTo>
                      <a:lnTo>
                        <a:pt x="10965" y="16007"/>
                      </a:lnTo>
                      <a:lnTo>
                        <a:pt x="10986" y="16028"/>
                      </a:lnTo>
                      <a:lnTo>
                        <a:pt x="11027" y="16028"/>
                      </a:lnTo>
                      <a:lnTo>
                        <a:pt x="11069" y="15944"/>
                      </a:lnTo>
                      <a:lnTo>
                        <a:pt x="11174" y="15944"/>
                      </a:lnTo>
                      <a:lnTo>
                        <a:pt x="11279" y="15965"/>
                      </a:lnTo>
                      <a:lnTo>
                        <a:pt x="11383" y="15944"/>
                      </a:lnTo>
                      <a:lnTo>
                        <a:pt x="11404" y="15965"/>
                      </a:lnTo>
                      <a:lnTo>
                        <a:pt x="11425" y="16007"/>
                      </a:lnTo>
                      <a:lnTo>
                        <a:pt x="11509" y="16007"/>
                      </a:lnTo>
                      <a:lnTo>
                        <a:pt x="11592" y="16028"/>
                      </a:lnTo>
                      <a:lnTo>
                        <a:pt x="11634" y="16133"/>
                      </a:lnTo>
                      <a:lnTo>
                        <a:pt x="11739" y="16216"/>
                      </a:lnTo>
                      <a:lnTo>
                        <a:pt x="11844" y="16363"/>
                      </a:lnTo>
                      <a:lnTo>
                        <a:pt x="11864" y="16467"/>
                      </a:lnTo>
                      <a:lnTo>
                        <a:pt x="11927" y="16530"/>
                      </a:lnTo>
                      <a:lnTo>
                        <a:pt x="11927" y="16593"/>
                      </a:lnTo>
                      <a:lnTo>
                        <a:pt x="11927" y="16760"/>
                      </a:lnTo>
                      <a:lnTo>
                        <a:pt x="12011" y="16781"/>
                      </a:lnTo>
                      <a:lnTo>
                        <a:pt x="12032" y="16865"/>
                      </a:lnTo>
                      <a:lnTo>
                        <a:pt x="12116" y="17074"/>
                      </a:lnTo>
                      <a:lnTo>
                        <a:pt x="12157" y="17095"/>
                      </a:lnTo>
                      <a:lnTo>
                        <a:pt x="12178" y="17179"/>
                      </a:lnTo>
                      <a:lnTo>
                        <a:pt x="12262" y="17221"/>
                      </a:lnTo>
                      <a:lnTo>
                        <a:pt x="12283" y="17325"/>
                      </a:lnTo>
                      <a:lnTo>
                        <a:pt x="12346" y="17430"/>
                      </a:lnTo>
                      <a:lnTo>
                        <a:pt x="12450" y="17514"/>
                      </a:lnTo>
                      <a:lnTo>
                        <a:pt x="12429" y="17618"/>
                      </a:lnTo>
                      <a:lnTo>
                        <a:pt x="12429" y="17723"/>
                      </a:lnTo>
                      <a:lnTo>
                        <a:pt x="12429" y="17786"/>
                      </a:lnTo>
                      <a:lnTo>
                        <a:pt x="12429" y="17807"/>
                      </a:lnTo>
                      <a:lnTo>
                        <a:pt x="12555" y="18141"/>
                      </a:lnTo>
                      <a:lnTo>
                        <a:pt x="12534" y="18309"/>
                      </a:lnTo>
                      <a:lnTo>
                        <a:pt x="12576" y="18351"/>
                      </a:lnTo>
                      <a:lnTo>
                        <a:pt x="12597" y="18351"/>
                      </a:lnTo>
                      <a:lnTo>
                        <a:pt x="12660" y="18372"/>
                      </a:lnTo>
                      <a:lnTo>
                        <a:pt x="12743" y="18372"/>
                      </a:lnTo>
                      <a:lnTo>
                        <a:pt x="12806" y="18413"/>
                      </a:lnTo>
                      <a:lnTo>
                        <a:pt x="12911" y="18518"/>
                      </a:lnTo>
                      <a:lnTo>
                        <a:pt x="13099" y="18560"/>
                      </a:lnTo>
                      <a:lnTo>
                        <a:pt x="13204" y="18644"/>
                      </a:lnTo>
                      <a:lnTo>
                        <a:pt x="13308" y="18644"/>
                      </a:lnTo>
                      <a:lnTo>
                        <a:pt x="13329" y="18727"/>
                      </a:lnTo>
                      <a:lnTo>
                        <a:pt x="13392" y="18748"/>
                      </a:lnTo>
                      <a:lnTo>
                        <a:pt x="13476" y="18581"/>
                      </a:lnTo>
                      <a:lnTo>
                        <a:pt x="13496" y="18455"/>
                      </a:lnTo>
                      <a:lnTo>
                        <a:pt x="13476" y="18372"/>
                      </a:lnTo>
                      <a:lnTo>
                        <a:pt x="13476" y="18120"/>
                      </a:lnTo>
                      <a:lnTo>
                        <a:pt x="13413" y="18037"/>
                      </a:lnTo>
                      <a:lnTo>
                        <a:pt x="13496" y="17911"/>
                      </a:lnTo>
                      <a:lnTo>
                        <a:pt x="13538" y="17723"/>
                      </a:lnTo>
                      <a:lnTo>
                        <a:pt x="13622" y="17618"/>
                      </a:lnTo>
                      <a:lnTo>
                        <a:pt x="13580" y="17409"/>
                      </a:lnTo>
                      <a:lnTo>
                        <a:pt x="13685" y="17367"/>
                      </a:lnTo>
                      <a:lnTo>
                        <a:pt x="13789" y="17284"/>
                      </a:lnTo>
                      <a:lnTo>
                        <a:pt x="13727" y="17200"/>
                      </a:lnTo>
                      <a:lnTo>
                        <a:pt x="13831" y="17074"/>
                      </a:lnTo>
                      <a:lnTo>
                        <a:pt x="13894" y="17095"/>
                      </a:lnTo>
                      <a:lnTo>
                        <a:pt x="13999" y="17053"/>
                      </a:lnTo>
                      <a:lnTo>
                        <a:pt x="13957" y="16907"/>
                      </a:lnTo>
                      <a:lnTo>
                        <a:pt x="13957" y="16907"/>
                      </a:lnTo>
                      <a:lnTo>
                        <a:pt x="14040" y="16970"/>
                      </a:lnTo>
                      <a:lnTo>
                        <a:pt x="14145" y="16907"/>
                      </a:lnTo>
                      <a:lnTo>
                        <a:pt x="14103" y="16865"/>
                      </a:lnTo>
                      <a:lnTo>
                        <a:pt x="14208" y="16781"/>
                      </a:lnTo>
                      <a:lnTo>
                        <a:pt x="14250" y="16802"/>
                      </a:lnTo>
                      <a:lnTo>
                        <a:pt x="14312" y="16781"/>
                      </a:lnTo>
                      <a:lnTo>
                        <a:pt x="14375" y="16865"/>
                      </a:lnTo>
                      <a:lnTo>
                        <a:pt x="14271" y="16949"/>
                      </a:lnTo>
                      <a:lnTo>
                        <a:pt x="14354" y="16949"/>
                      </a:lnTo>
                      <a:lnTo>
                        <a:pt x="14459" y="16844"/>
                      </a:lnTo>
                      <a:lnTo>
                        <a:pt x="14543" y="16844"/>
                      </a:lnTo>
                      <a:lnTo>
                        <a:pt x="14794" y="16739"/>
                      </a:lnTo>
                      <a:lnTo>
                        <a:pt x="14982" y="16551"/>
                      </a:lnTo>
                      <a:lnTo>
                        <a:pt x="15066" y="16551"/>
                      </a:lnTo>
                      <a:lnTo>
                        <a:pt x="15108" y="16488"/>
                      </a:lnTo>
                      <a:lnTo>
                        <a:pt x="15087" y="16384"/>
                      </a:lnTo>
                      <a:lnTo>
                        <a:pt x="15108" y="16258"/>
                      </a:lnTo>
                      <a:lnTo>
                        <a:pt x="15045" y="16112"/>
                      </a:lnTo>
                      <a:lnTo>
                        <a:pt x="15087" y="16175"/>
                      </a:lnTo>
                      <a:lnTo>
                        <a:pt x="15170" y="16175"/>
                      </a:lnTo>
                      <a:lnTo>
                        <a:pt x="15275" y="16070"/>
                      </a:lnTo>
                      <a:lnTo>
                        <a:pt x="15275" y="16028"/>
                      </a:lnTo>
                      <a:lnTo>
                        <a:pt x="15317" y="16133"/>
                      </a:lnTo>
                      <a:lnTo>
                        <a:pt x="15254" y="16237"/>
                      </a:lnTo>
                      <a:lnTo>
                        <a:pt x="15275" y="16321"/>
                      </a:lnTo>
                      <a:lnTo>
                        <a:pt x="15275" y="16426"/>
                      </a:lnTo>
                      <a:lnTo>
                        <a:pt x="15401" y="16384"/>
                      </a:lnTo>
                      <a:lnTo>
                        <a:pt x="15484" y="16258"/>
                      </a:lnTo>
                      <a:lnTo>
                        <a:pt x="15568" y="16258"/>
                      </a:lnTo>
                      <a:lnTo>
                        <a:pt x="15631" y="16216"/>
                      </a:lnTo>
                      <a:lnTo>
                        <a:pt x="15840" y="16154"/>
                      </a:lnTo>
                      <a:lnTo>
                        <a:pt x="16007" y="16154"/>
                      </a:lnTo>
                      <a:lnTo>
                        <a:pt x="16258" y="16237"/>
                      </a:lnTo>
                      <a:lnTo>
                        <a:pt x="16321" y="16279"/>
                      </a:lnTo>
                      <a:lnTo>
                        <a:pt x="16635" y="16321"/>
                      </a:lnTo>
                      <a:lnTo>
                        <a:pt x="16740" y="16279"/>
                      </a:lnTo>
                      <a:lnTo>
                        <a:pt x="16740" y="16237"/>
                      </a:lnTo>
                      <a:lnTo>
                        <a:pt x="16740" y="16154"/>
                      </a:lnTo>
                      <a:lnTo>
                        <a:pt x="16844" y="16133"/>
                      </a:lnTo>
                      <a:lnTo>
                        <a:pt x="16928" y="16154"/>
                      </a:lnTo>
                      <a:lnTo>
                        <a:pt x="16865" y="16216"/>
                      </a:lnTo>
                      <a:lnTo>
                        <a:pt x="16928" y="16237"/>
                      </a:lnTo>
                      <a:lnTo>
                        <a:pt x="16991" y="16216"/>
                      </a:lnTo>
                      <a:lnTo>
                        <a:pt x="17053" y="16258"/>
                      </a:lnTo>
                      <a:lnTo>
                        <a:pt x="17053" y="16342"/>
                      </a:lnTo>
                      <a:lnTo>
                        <a:pt x="17074" y="16384"/>
                      </a:lnTo>
                      <a:lnTo>
                        <a:pt x="17200" y="16363"/>
                      </a:lnTo>
                      <a:lnTo>
                        <a:pt x="17242" y="16426"/>
                      </a:lnTo>
                      <a:lnTo>
                        <a:pt x="17158" y="16488"/>
                      </a:lnTo>
                      <a:lnTo>
                        <a:pt x="17095" y="16551"/>
                      </a:lnTo>
                      <a:lnTo>
                        <a:pt x="17179" y="16572"/>
                      </a:lnTo>
                      <a:lnTo>
                        <a:pt x="17263" y="16551"/>
                      </a:lnTo>
                      <a:lnTo>
                        <a:pt x="17346" y="16593"/>
                      </a:lnTo>
                      <a:lnTo>
                        <a:pt x="17493" y="16656"/>
                      </a:lnTo>
                      <a:lnTo>
                        <a:pt x="17556" y="16572"/>
                      </a:lnTo>
                      <a:lnTo>
                        <a:pt x="17618" y="16530"/>
                      </a:lnTo>
                      <a:lnTo>
                        <a:pt x="17723" y="16593"/>
                      </a:lnTo>
                      <a:lnTo>
                        <a:pt x="17786" y="16656"/>
                      </a:lnTo>
                      <a:lnTo>
                        <a:pt x="17870" y="16635"/>
                      </a:lnTo>
                      <a:lnTo>
                        <a:pt x="17870" y="16467"/>
                      </a:lnTo>
                      <a:lnTo>
                        <a:pt x="17807" y="16363"/>
                      </a:lnTo>
                      <a:lnTo>
                        <a:pt x="17911" y="16363"/>
                      </a:lnTo>
                      <a:lnTo>
                        <a:pt x="18016" y="16488"/>
                      </a:lnTo>
                      <a:lnTo>
                        <a:pt x="18100" y="16530"/>
                      </a:lnTo>
                      <a:lnTo>
                        <a:pt x="18142" y="16593"/>
                      </a:lnTo>
                      <a:lnTo>
                        <a:pt x="18204" y="16593"/>
                      </a:lnTo>
                      <a:lnTo>
                        <a:pt x="18288" y="16635"/>
                      </a:lnTo>
                      <a:lnTo>
                        <a:pt x="18288" y="16760"/>
                      </a:lnTo>
                      <a:lnTo>
                        <a:pt x="18309" y="16677"/>
                      </a:lnTo>
                      <a:lnTo>
                        <a:pt x="18414" y="16656"/>
                      </a:lnTo>
                      <a:lnTo>
                        <a:pt x="18414" y="16635"/>
                      </a:lnTo>
                      <a:lnTo>
                        <a:pt x="18288" y="16530"/>
                      </a:lnTo>
                      <a:lnTo>
                        <a:pt x="18100" y="16447"/>
                      </a:lnTo>
                      <a:lnTo>
                        <a:pt x="18037" y="16363"/>
                      </a:lnTo>
                      <a:lnTo>
                        <a:pt x="18037" y="16258"/>
                      </a:lnTo>
                      <a:lnTo>
                        <a:pt x="18225" y="16175"/>
                      </a:lnTo>
                      <a:lnTo>
                        <a:pt x="18288" y="16154"/>
                      </a:lnTo>
                      <a:lnTo>
                        <a:pt x="18183" y="16112"/>
                      </a:lnTo>
                      <a:lnTo>
                        <a:pt x="18121" y="16049"/>
                      </a:lnTo>
                      <a:lnTo>
                        <a:pt x="18100" y="16049"/>
                      </a:lnTo>
                      <a:lnTo>
                        <a:pt x="18016" y="16112"/>
                      </a:lnTo>
                      <a:lnTo>
                        <a:pt x="17932" y="16154"/>
                      </a:lnTo>
                      <a:lnTo>
                        <a:pt x="17932" y="16070"/>
                      </a:lnTo>
                      <a:lnTo>
                        <a:pt x="18037" y="15944"/>
                      </a:lnTo>
                      <a:lnTo>
                        <a:pt x="18246" y="15861"/>
                      </a:lnTo>
                      <a:lnTo>
                        <a:pt x="18330" y="15798"/>
                      </a:lnTo>
                      <a:lnTo>
                        <a:pt x="18665" y="15735"/>
                      </a:lnTo>
                      <a:lnTo>
                        <a:pt x="18811" y="15756"/>
                      </a:lnTo>
                      <a:lnTo>
                        <a:pt x="18874" y="15735"/>
                      </a:lnTo>
                      <a:lnTo>
                        <a:pt x="18958" y="15735"/>
                      </a:lnTo>
                      <a:lnTo>
                        <a:pt x="19020" y="15651"/>
                      </a:lnTo>
                      <a:lnTo>
                        <a:pt x="19062" y="15547"/>
                      </a:lnTo>
                      <a:lnTo>
                        <a:pt x="19146" y="15547"/>
                      </a:lnTo>
                      <a:lnTo>
                        <a:pt x="19125" y="15631"/>
                      </a:lnTo>
                      <a:lnTo>
                        <a:pt x="19125" y="15714"/>
                      </a:lnTo>
                      <a:lnTo>
                        <a:pt x="19250" y="15819"/>
                      </a:lnTo>
                      <a:lnTo>
                        <a:pt x="19334" y="15756"/>
                      </a:lnTo>
                      <a:lnTo>
                        <a:pt x="19481" y="15756"/>
                      </a:lnTo>
                      <a:lnTo>
                        <a:pt x="19585" y="15735"/>
                      </a:lnTo>
                      <a:lnTo>
                        <a:pt x="19648" y="15798"/>
                      </a:lnTo>
                      <a:lnTo>
                        <a:pt x="19815" y="15756"/>
                      </a:lnTo>
                      <a:lnTo>
                        <a:pt x="19878" y="15798"/>
                      </a:lnTo>
                      <a:lnTo>
                        <a:pt x="20004" y="15714"/>
                      </a:lnTo>
                      <a:lnTo>
                        <a:pt x="20108" y="15714"/>
                      </a:lnTo>
                      <a:lnTo>
                        <a:pt x="20129" y="15735"/>
                      </a:lnTo>
                      <a:lnTo>
                        <a:pt x="20087" y="15756"/>
                      </a:lnTo>
                      <a:lnTo>
                        <a:pt x="19962" y="15756"/>
                      </a:lnTo>
                      <a:lnTo>
                        <a:pt x="19920" y="15798"/>
                      </a:lnTo>
                      <a:lnTo>
                        <a:pt x="20087" y="15819"/>
                      </a:lnTo>
                      <a:lnTo>
                        <a:pt x="20213" y="15819"/>
                      </a:lnTo>
                      <a:lnTo>
                        <a:pt x="20318" y="15903"/>
                      </a:lnTo>
                      <a:lnTo>
                        <a:pt x="20401" y="15944"/>
                      </a:lnTo>
                      <a:lnTo>
                        <a:pt x="20338" y="15861"/>
                      </a:lnTo>
                      <a:lnTo>
                        <a:pt x="20338" y="15819"/>
                      </a:lnTo>
                      <a:lnTo>
                        <a:pt x="20401" y="15819"/>
                      </a:lnTo>
                      <a:lnTo>
                        <a:pt x="20422" y="15861"/>
                      </a:lnTo>
                      <a:lnTo>
                        <a:pt x="20527" y="15944"/>
                      </a:lnTo>
                      <a:lnTo>
                        <a:pt x="20506" y="16007"/>
                      </a:lnTo>
                      <a:lnTo>
                        <a:pt x="20443" y="15944"/>
                      </a:lnTo>
                      <a:lnTo>
                        <a:pt x="20422" y="15965"/>
                      </a:lnTo>
                      <a:lnTo>
                        <a:pt x="20548" y="16049"/>
                      </a:lnTo>
                      <a:lnTo>
                        <a:pt x="20610" y="16133"/>
                      </a:lnTo>
                      <a:lnTo>
                        <a:pt x="20652" y="16175"/>
                      </a:lnTo>
                      <a:lnTo>
                        <a:pt x="20631" y="16216"/>
                      </a:lnTo>
                      <a:lnTo>
                        <a:pt x="20610" y="16154"/>
                      </a:lnTo>
                      <a:lnTo>
                        <a:pt x="20590" y="16216"/>
                      </a:lnTo>
                      <a:lnTo>
                        <a:pt x="20610" y="16258"/>
                      </a:lnTo>
                      <a:lnTo>
                        <a:pt x="20799" y="16237"/>
                      </a:lnTo>
                      <a:lnTo>
                        <a:pt x="20903" y="16216"/>
                      </a:lnTo>
                      <a:lnTo>
                        <a:pt x="21029" y="16070"/>
                      </a:lnTo>
                      <a:lnTo>
                        <a:pt x="21113" y="16070"/>
                      </a:lnTo>
                      <a:lnTo>
                        <a:pt x="21113" y="16049"/>
                      </a:lnTo>
                      <a:lnTo>
                        <a:pt x="21175" y="15965"/>
                      </a:lnTo>
                      <a:lnTo>
                        <a:pt x="21280" y="15965"/>
                      </a:lnTo>
                      <a:lnTo>
                        <a:pt x="21364" y="16007"/>
                      </a:lnTo>
                      <a:lnTo>
                        <a:pt x="21489" y="16049"/>
                      </a:lnTo>
                      <a:lnTo>
                        <a:pt x="21552" y="16258"/>
                      </a:lnTo>
                      <a:lnTo>
                        <a:pt x="21636" y="16321"/>
                      </a:lnTo>
                      <a:lnTo>
                        <a:pt x="21657" y="16321"/>
                      </a:lnTo>
                      <a:lnTo>
                        <a:pt x="21678" y="16447"/>
                      </a:lnTo>
                      <a:lnTo>
                        <a:pt x="21761" y="16488"/>
                      </a:lnTo>
                      <a:lnTo>
                        <a:pt x="21803" y="16488"/>
                      </a:lnTo>
                      <a:lnTo>
                        <a:pt x="21803" y="16551"/>
                      </a:lnTo>
                      <a:lnTo>
                        <a:pt x="21866" y="16635"/>
                      </a:lnTo>
                      <a:lnTo>
                        <a:pt x="21950" y="16656"/>
                      </a:lnTo>
                      <a:lnTo>
                        <a:pt x="22012" y="16781"/>
                      </a:lnTo>
                      <a:lnTo>
                        <a:pt x="21991" y="16907"/>
                      </a:lnTo>
                      <a:lnTo>
                        <a:pt x="21908" y="17179"/>
                      </a:lnTo>
                      <a:lnTo>
                        <a:pt x="21803" y="17409"/>
                      </a:lnTo>
                      <a:lnTo>
                        <a:pt x="21803" y="17493"/>
                      </a:lnTo>
                      <a:lnTo>
                        <a:pt x="21887" y="17597"/>
                      </a:lnTo>
                      <a:lnTo>
                        <a:pt x="21908" y="17576"/>
                      </a:lnTo>
                      <a:lnTo>
                        <a:pt x="21971" y="17493"/>
                      </a:lnTo>
                      <a:lnTo>
                        <a:pt x="21971" y="17430"/>
                      </a:lnTo>
                      <a:lnTo>
                        <a:pt x="21991" y="17388"/>
                      </a:lnTo>
                      <a:lnTo>
                        <a:pt x="22075" y="17430"/>
                      </a:lnTo>
                      <a:lnTo>
                        <a:pt x="22096" y="17535"/>
                      </a:lnTo>
                      <a:lnTo>
                        <a:pt x="21950" y="17744"/>
                      </a:lnTo>
                      <a:lnTo>
                        <a:pt x="21971" y="17807"/>
                      </a:lnTo>
                      <a:lnTo>
                        <a:pt x="21991" y="17911"/>
                      </a:lnTo>
                      <a:lnTo>
                        <a:pt x="22054" y="18016"/>
                      </a:lnTo>
                      <a:lnTo>
                        <a:pt x="22075" y="18058"/>
                      </a:lnTo>
                      <a:lnTo>
                        <a:pt x="22117" y="18037"/>
                      </a:lnTo>
                      <a:lnTo>
                        <a:pt x="22159" y="18141"/>
                      </a:lnTo>
                      <a:lnTo>
                        <a:pt x="22201" y="18100"/>
                      </a:lnTo>
                      <a:lnTo>
                        <a:pt x="22201" y="18058"/>
                      </a:lnTo>
                      <a:lnTo>
                        <a:pt x="22222" y="18100"/>
                      </a:lnTo>
                      <a:lnTo>
                        <a:pt x="22368" y="18058"/>
                      </a:lnTo>
                      <a:lnTo>
                        <a:pt x="22368" y="18058"/>
                      </a:lnTo>
                      <a:lnTo>
                        <a:pt x="22263" y="18141"/>
                      </a:lnTo>
                      <a:lnTo>
                        <a:pt x="22222" y="18246"/>
                      </a:lnTo>
                      <a:lnTo>
                        <a:pt x="22201" y="18309"/>
                      </a:lnTo>
                      <a:lnTo>
                        <a:pt x="22201" y="18351"/>
                      </a:lnTo>
                      <a:lnTo>
                        <a:pt x="22368" y="18455"/>
                      </a:lnTo>
                      <a:lnTo>
                        <a:pt x="22368" y="18581"/>
                      </a:lnTo>
                      <a:lnTo>
                        <a:pt x="22368" y="18748"/>
                      </a:lnTo>
                      <a:lnTo>
                        <a:pt x="22410" y="18769"/>
                      </a:lnTo>
                      <a:lnTo>
                        <a:pt x="22494" y="18769"/>
                      </a:lnTo>
                      <a:lnTo>
                        <a:pt x="22535" y="18853"/>
                      </a:lnTo>
                      <a:lnTo>
                        <a:pt x="22515" y="18957"/>
                      </a:lnTo>
                      <a:lnTo>
                        <a:pt x="22682" y="19062"/>
                      </a:lnTo>
                      <a:lnTo>
                        <a:pt x="22598" y="19083"/>
                      </a:lnTo>
                      <a:lnTo>
                        <a:pt x="22724" y="19146"/>
                      </a:lnTo>
                      <a:lnTo>
                        <a:pt x="22787" y="19188"/>
                      </a:lnTo>
                      <a:lnTo>
                        <a:pt x="22891" y="19250"/>
                      </a:lnTo>
                      <a:lnTo>
                        <a:pt x="22996" y="19188"/>
                      </a:lnTo>
                      <a:lnTo>
                        <a:pt x="23100" y="19167"/>
                      </a:lnTo>
                      <a:lnTo>
                        <a:pt x="23100" y="18999"/>
                      </a:lnTo>
                      <a:lnTo>
                        <a:pt x="23163" y="18895"/>
                      </a:lnTo>
                      <a:lnTo>
                        <a:pt x="23226" y="18769"/>
                      </a:lnTo>
                      <a:lnTo>
                        <a:pt x="23331" y="18560"/>
                      </a:lnTo>
                      <a:lnTo>
                        <a:pt x="23310" y="18455"/>
                      </a:lnTo>
                      <a:lnTo>
                        <a:pt x="23351" y="18413"/>
                      </a:lnTo>
                      <a:lnTo>
                        <a:pt x="23351" y="18225"/>
                      </a:lnTo>
                      <a:lnTo>
                        <a:pt x="23331" y="18162"/>
                      </a:lnTo>
                      <a:lnTo>
                        <a:pt x="23414" y="18120"/>
                      </a:lnTo>
                      <a:lnTo>
                        <a:pt x="23351" y="17932"/>
                      </a:lnTo>
                      <a:lnTo>
                        <a:pt x="23247" y="17848"/>
                      </a:lnTo>
                      <a:lnTo>
                        <a:pt x="23205" y="17493"/>
                      </a:lnTo>
                      <a:lnTo>
                        <a:pt x="23142" y="17430"/>
                      </a:lnTo>
                      <a:lnTo>
                        <a:pt x="23163" y="17263"/>
                      </a:lnTo>
                      <a:lnTo>
                        <a:pt x="23205" y="17116"/>
                      </a:lnTo>
                      <a:lnTo>
                        <a:pt x="23163" y="17011"/>
                      </a:lnTo>
                      <a:lnTo>
                        <a:pt x="23100" y="16907"/>
                      </a:lnTo>
                      <a:lnTo>
                        <a:pt x="23038" y="16656"/>
                      </a:lnTo>
                      <a:lnTo>
                        <a:pt x="22996" y="16551"/>
                      </a:lnTo>
                      <a:lnTo>
                        <a:pt x="22954" y="16279"/>
                      </a:lnTo>
                      <a:lnTo>
                        <a:pt x="22912" y="16133"/>
                      </a:lnTo>
                      <a:lnTo>
                        <a:pt x="22933" y="15903"/>
                      </a:lnTo>
                      <a:lnTo>
                        <a:pt x="22912" y="15714"/>
                      </a:lnTo>
                      <a:lnTo>
                        <a:pt x="22933" y="15379"/>
                      </a:lnTo>
                      <a:lnTo>
                        <a:pt x="22933" y="15170"/>
                      </a:lnTo>
                      <a:lnTo>
                        <a:pt x="23038" y="15003"/>
                      </a:lnTo>
                      <a:lnTo>
                        <a:pt x="23121" y="14856"/>
                      </a:lnTo>
                      <a:lnTo>
                        <a:pt x="23226" y="14815"/>
                      </a:lnTo>
                      <a:lnTo>
                        <a:pt x="23268" y="14752"/>
                      </a:lnTo>
                      <a:lnTo>
                        <a:pt x="23331" y="14752"/>
                      </a:lnTo>
                      <a:lnTo>
                        <a:pt x="23414" y="14605"/>
                      </a:lnTo>
                      <a:lnTo>
                        <a:pt x="23414" y="14543"/>
                      </a:lnTo>
                      <a:lnTo>
                        <a:pt x="23372" y="14501"/>
                      </a:lnTo>
                      <a:lnTo>
                        <a:pt x="23414" y="14480"/>
                      </a:lnTo>
                      <a:lnTo>
                        <a:pt x="23540" y="14480"/>
                      </a:lnTo>
                      <a:lnTo>
                        <a:pt x="23561" y="14396"/>
                      </a:lnTo>
                      <a:lnTo>
                        <a:pt x="23665" y="14396"/>
                      </a:lnTo>
                      <a:lnTo>
                        <a:pt x="23686" y="14354"/>
                      </a:lnTo>
                      <a:lnTo>
                        <a:pt x="23875" y="14333"/>
                      </a:lnTo>
                      <a:lnTo>
                        <a:pt x="23937" y="14250"/>
                      </a:lnTo>
                      <a:lnTo>
                        <a:pt x="24063" y="14250"/>
                      </a:lnTo>
                      <a:lnTo>
                        <a:pt x="24084" y="14187"/>
                      </a:lnTo>
                      <a:lnTo>
                        <a:pt x="24168" y="14187"/>
                      </a:lnTo>
                      <a:lnTo>
                        <a:pt x="24209" y="14229"/>
                      </a:lnTo>
                      <a:lnTo>
                        <a:pt x="24314" y="14082"/>
                      </a:lnTo>
                      <a:lnTo>
                        <a:pt x="24314" y="14040"/>
                      </a:lnTo>
                      <a:lnTo>
                        <a:pt x="24377" y="14040"/>
                      </a:lnTo>
                      <a:lnTo>
                        <a:pt x="24481" y="13957"/>
                      </a:lnTo>
                      <a:lnTo>
                        <a:pt x="24481" y="13873"/>
                      </a:lnTo>
                      <a:lnTo>
                        <a:pt x="24691" y="13601"/>
                      </a:lnTo>
                      <a:lnTo>
                        <a:pt x="24795" y="13496"/>
                      </a:lnTo>
                      <a:lnTo>
                        <a:pt x="24984" y="13496"/>
                      </a:lnTo>
                      <a:lnTo>
                        <a:pt x="25025" y="13517"/>
                      </a:lnTo>
                      <a:lnTo>
                        <a:pt x="25088" y="13517"/>
                      </a:lnTo>
                      <a:lnTo>
                        <a:pt x="25193" y="13329"/>
                      </a:lnTo>
                      <a:lnTo>
                        <a:pt x="25465" y="13099"/>
                      </a:lnTo>
                      <a:lnTo>
                        <a:pt x="25737" y="12931"/>
                      </a:lnTo>
                      <a:lnTo>
                        <a:pt x="25862" y="12910"/>
                      </a:lnTo>
                      <a:lnTo>
                        <a:pt x="25925" y="12890"/>
                      </a:lnTo>
                      <a:lnTo>
                        <a:pt x="25988" y="12890"/>
                      </a:lnTo>
                      <a:lnTo>
                        <a:pt x="25988" y="12910"/>
                      </a:lnTo>
                      <a:lnTo>
                        <a:pt x="26092" y="12910"/>
                      </a:lnTo>
                      <a:lnTo>
                        <a:pt x="26197" y="12785"/>
                      </a:lnTo>
                      <a:lnTo>
                        <a:pt x="26155" y="12785"/>
                      </a:lnTo>
                      <a:lnTo>
                        <a:pt x="26134" y="12722"/>
                      </a:lnTo>
                      <a:lnTo>
                        <a:pt x="26030" y="12827"/>
                      </a:lnTo>
                      <a:lnTo>
                        <a:pt x="25883" y="12806"/>
                      </a:lnTo>
                      <a:lnTo>
                        <a:pt x="25820" y="12722"/>
                      </a:lnTo>
                      <a:lnTo>
                        <a:pt x="25925" y="12785"/>
                      </a:lnTo>
                      <a:lnTo>
                        <a:pt x="26051" y="12701"/>
                      </a:lnTo>
                      <a:lnTo>
                        <a:pt x="26030" y="12680"/>
                      </a:lnTo>
                      <a:lnTo>
                        <a:pt x="26092" y="12618"/>
                      </a:lnTo>
                      <a:lnTo>
                        <a:pt x="26051" y="12555"/>
                      </a:lnTo>
                      <a:lnTo>
                        <a:pt x="25925" y="12513"/>
                      </a:lnTo>
                      <a:lnTo>
                        <a:pt x="25862" y="12471"/>
                      </a:lnTo>
                      <a:lnTo>
                        <a:pt x="25946" y="12471"/>
                      </a:lnTo>
                      <a:lnTo>
                        <a:pt x="26030" y="12492"/>
                      </a:lnTo>
                      <a:lnTo>
                        <a:pt x="26092" y="12471"/>
                      </a:lnTo>
                      <a:lnTo>
                        <a:pt x="26092" y="12387"/>
                      </a:lnTo>
                      <a:lnTo>
                        <a:pt x="26155" y="12513"/>
                      </a:lnTo>
                      <a:lnTo>
                        <a:pt x="26239" y="12492"/>
                      </a:lnTo>
                      <a:lnTo>
                        <a:pt x="26302" y="12555"/>
                      </a:lnTo>
                      <a:lnTo>
                        <a:pt x="26364" y="12513"/>
                      </a:lnTo>
                      <a:lnTo>
                        <a:pt x="26385" y="12408"/>
                      </a:lnTo>
                      <a:lnTo>
                        <a:pt x="26511" y="12304"/>
                      </a:lnTo>
                      <a:lnTo>
                        <a:pt x="26553" y="12304"/>
                      </a:lnTo>
                      <a:lnTo>
                        <a:pt x="26574" y="12199"/>
                      </a:lnTo>
                      <a:lnTo>
                        <a:pt x="26553" y="12094"/>
                      </a:lnTo>
                      <a:lnTo>
                        <a:pt x="26511" y="12094"/>
                      </a:lnTo>
                      <a:lnTo>
                        <a:pt x="26448" y="12241"/>
                      </a:lnTo>
                      <a:lnTo>
                        <a:pt x="26448" y="12283"/>
                      </a:lnTo>
                      <a:lnTo>
                        <a:pt x="26385" y="12262"/>
                      </a:lnTo>
                      <a:lnTo>
                        <a:pt x="26364" y="12094"/>
                      </a:lnTo>
                      <a:lnTo>
                        <a:pt x="26344" y="12074"/>
                      </a:lnTo>
                      <a:lnTo>
                        <a:pt x="26092" y="12094"/>
                      </a:lnTo>
                      <a:lnTo>
                        <a:pt x="25967" y="12157"/>
                      </a:lnTo>
                      <a:lnTo>
                        <a:pt x="25988" y="12074"/>
                      </a:lnTo>
                      <a:lnTo>
                        <a:pt x="25988" y="11927"/>
                      </a:lnTo>
                      <a:lnTo>
                        <a:pt x="26051" y="11885"/>
                      </a:lnTo>
                      <a:lnTo>
                        <a:pt x="26092" y="11990"/>
                      </a:lnTo>
                      <a:lnTo>
                        <a:pt x="26176" y="12032"/>
                      </a:lnTo>
                      <a:lnTo>
                        <a:pt x="26239" y="11969"/>
                      </a:lnTo>
                      <a:lnTo>
                        <a:pt x="26385" y="11948"/>
                      </a:lnTo>
                      <a:lnTo>
                        <a:pt x="26406" y="11885"/>
                      </a:lnTo>
                      <a:lnTo>
                        <a:pt x="26490" y="11885"/>
                      </a:lnTo>
                      <a:lnTo>
                        <a:pt x="26511" y="11843"/>
                      </a:lnTo>
                      <a:lnTo>
                        <a:pt x="26490" y="11718"/>
                      </a:lnTo>
                      <a:lnTo>
                        <a:pt x="26448" y="11655"/>
                      </a:lnTo>
                      <a:lnTo>
                        <a:pt x="26469" y="11613"/>
                      </a:lnTo>
                      <a:lnTo>
                        <a:pt x="26511" y="11634"/>
                      </a:lnTo>
                      <a:lnTo>
                        <a:pt x="26574" y="11530"/>
                      </a:lnTo>
                      <a:lnTo>
                        <a:pt x="26511" y="11425"/>
                      </a:lnTo>
                      <a:lnTo>
                        <a:pt x="26469" y="11362"/>
                      </a:lnTo>
                      <a:lnTo>
                        <a:pt x="26385" y="11404"/>
                      </a:lnTo>
                      <a:lnTo>
                        <a:pt x="26302" y="11362"/>
                      </a:lnTo>
                      <a:lnTo>
                        <a:pt x="26260" y="11237"/>
                      </a:lnTo>
                      <a:lnTo>
                        <a:pt x="26176" y="11237"/>
                      </a:lnTo>
                      <a:lnTo>
                        <a:pt x="26092" y="11195"/>
                      </a:lnTo>
                      <a:lnTo>
                        <a:pt x="26030" y="11111"/>
                      </a:lnTo>
                      <a:lnTo>
                        <a:pt x="26030" y="11111"/>
                      </a:lnTo>
                      <a:lnTo>
                        <a:pt x="26092" y="11153"/>
                      </a:lnTo>
                      <a:lnTo>
                        <a:pt x="26260" y="11153"/>
                      </a:lnTo>
                      <a:lnTo>
                        <a:pt x="26302" y="11257"/>
                      </a:lnTo>
                      <a:lnTo>
                        <a:pt x="26385" y="11299"/>
                      </a:lnTo>
                      <a:lnTo>
                        <a:pt x="26406" y="11216"/>
                      </a:lnTo>
                      <a:lnTo>
                        <a:pt x="26281" y="11090"/>
                      </a:lnTo>
                      <a:lnTo>
                        <a:pt x="26385" y="11111"/>
                      </a:lnTo>
                      <a:lnTo>
                        <a:pt x="26406" y="11048"/>
                      </a:lnTo>
                      <a:lnTo>
                        <a:pt x="26448" y="11027"/>
                      </a:lnTo>
                      <a:lnTo>
                        <a:pt x="26406" y="10944"/>
                      </a:lnTo>
                      <a:lnTo>
                        <a:pt x="26281" y="10881"/>
                      </a:lnTo>
                      <a:lnTo>
                        <a:pt x="26239" y="10713"/>
                      </a:lnTo>
                      <a:lnTo>
                        <a:pt x="26281" y="10734"/>
                      </a:lnTo>
                      <a:lnTo>
                        <a:pt x="26344" y="10839"/>
                      </a:lnTo>
                      <a:lnTo>
                        <a:pt x="26406" y="10839"/>
                      </a:lnTo>
                      <a:lnTo>
                        <a:pt x="26448" y="10734"/>
                      </a:lnTo>
                      <a:lnTo>
                        <a:pt x="26448" y="10630"/>
                      </a:lnTo>
                      <a:lnTo>
                        <a:pt x="26344" y="10588"/>
                      </a:lnTo>
                      <a:lnTo>
                        <a:pt x="26197" y="10421"/>
                      </a:lnTo>
                      <a:lnTo>
                        <a:pt x="26092" y="10379"/>
                      </a:lnTo>
                      <a:lnTo>
                        <a:pt x="26030" y="10274"/>
                      </a:lnTo>
                      <a:lnTo>
                        <a:pt x="25946" y="10253"/>
                      </a:lnTo>
                      <a:lnTo>
                        <a:pt x="25946" y="10149"/>
                      </a:lnTo>
                      <a:lnTo>
                        <a:pt x="26030" y="10044"/>
                      </a:lnTo>
                      <a:lnTo>
                        <a:pt x="25967" y="10149"/>
                      </a:lnTo>
                      <a:lnTo>
                        <a:pt x="25988" y="10190"/>
                      </a:lnTo>
                      <a:lnTo>
                        <a:pt x="26051" y="10211"/>
                      </a:lnTo>
                      <a:lnTo>
                        <a:pt x="26134" y="10316"/>
                      </a:lnTo>
                      <a:lnTo>
                        <a:pt x="26239" y="10358"/>
                      </a:lnTo>
                      <a:lnTo>
                        <a:pt x="26364" y="10504"/>
                      </a:lnTo>
                      <a:lnTo>
                        <a:pt x="26385" y="10504"/>
                      </a:lnTo>
                      <a:lnTo>
                        <a:pt x="26406" y="10274"/>
                      </a:lnTo>
                      <a:lnTo>
                        <a:pt x="26406" y="10169"/>
                      </a:lnTo>
                      <a:lnTo>
                        <a:pt x="26406" y="10086"/>
                      </a:lnTo>
                      <a:lnTo>
                        <a:pt x="26385" y="10044"/>
                      </a:lnTo>
                      <a:lnTo>
                        <a:pt x="26406" y="9856"/>
                      </a:lnTo>
                      <a:lnTo>
                        <a:pt x="26448" y="9793"/>
                      </a:lnTo>
                      <a:lnTo>
                        <a:pt x="26409" y="9728"/>
                      </a:lnTo>
                      <a:lnTo>
                        <a:pt x="26409" y="9728"/>
                      </a:lnTo>
                      <a:lnTo>
                        <a:pt x="26490" y="9667"/>
                      </a:lnTo>
                      <a:lnTo>
                        <a:pt x="26616" y="9563"/>
                      </a:lnTo>
                      <a:lnTo>
                        <a:pt x="26657" y="9458"/>
                      </a:lnTo>
                      <a:lnTo>
                        <a:pt x="26657" y="9437"/>
                      </a:lnTo>
                      <a:lnTo>
                        <a:pt x="26678" y="9458"/>
                      </a:lnTo>
                      <a:lnTo>
                        <a:pt x="26657" y="9584"/>
                      </a:lnTo>
                      <a:lnTo>
                        <a:pt x="26678" y="9625"/>
                      </a:lnTo>
                      <a:lnTo>
                        <a:pt x="26574" y="9667"/>
                      </a:lnTo>
                      <a:lnTo>
                        <a:pt x="26511" y="9793"/>
                      </a:lnTo>
                      <a:lnTo>
                        <a:pt x="26595" y="9960"/>
                      </a:lnTo>
                      <a:lnTo>
                        <a:pt x="26574" y="10107"/>
                      </a:lnTo>
                      <a:lnTo>
                        <a:pt x="26490" y="10253"/>
                      </a:lnTo>
                      <a:lnTo>
                        <a:pt x="26490" y="10358"/>
                      </a:lnTo>
                      <a:lnTo>
                        <a:pt x="26595" y="10462"/>
                      </a:lnTo>
                      <a:lnTo>
                        <a:pt x="26616" y="10400"/>
                      </a:lnTo>
                      <a:lnTo>
                        <a:pt x="26657" y="10462"/>
                      </a:lnTo>
                      <a:lnTo>
                        <a:pt x="26699" y="10462"/>
                      </a:lnTo>
                      <a:lnTo>
                        <a:pt x="26699" y="10483"/>
                      </a:lnTo>
                      <a:lnTo>
                        <a:pt x="26678" y="10525"/>
                      </a:lnTo>
                      <a:lnTo>
                        <a:pt x="26699" y="10609"/>
                      </a:lnTo>
                      <a:lnTo>
                        <a:pt x="26825" y="10609"/>
                      </a:lnTo>
                      <a:lnTo>
                        <a:pt x="26762" y="10672"/>
                      </a:lnTo>
                      <a:lnTo>
                        <a:pt x="26762" y="10693"/>
                      </a:lnTo>
                      <a:lnTo>
                        <a:pt x="26699" y="10797"/>
                      </a:lnTo>
                      <a:lnTo>
                        <a:pt x="26699" y="10881"/>
                      </a:lnTo>
                      <a:lnTo>
                        <a:pt x="26657" y="10985"/>
                      </a:lnTo>
                      <a:lnTo>
                        <a:pt x="26616" y="11111"/>
                      </a:lnTo>
                      <a:lnTo>
                        <a:pt x="26616" y="11216"/>
                      </a:lnTo>
                      <a:lnTo>
                        <a:pt x="26657" y="11153"/>
                      </a:lnTo>
                      <a:lnTo>
                        <a:pt x="26678" y="11111"/>
                      </a:lnTo>
                      <a:lnTo>
                        <a:pt x="26783" y="10902"/>
                      </a:lnTo>
                      <a:lnTo>
                        <a:pt x="26804" y="10944"/>
                      </a:lnTo>
                      <a:lnTo>
                        <a:pt x="26804" y="11006"/>
                      </a:lnTo>
                      <a:lnTo>
                        <a:pt x="26825" y="10944"/>
                      </a:lnTo>
                      <a:lnTo>
                        <a:pt x="26825" y="10881"/>
                      </a:lnTo>
                      <a:lnTo>
                        <a:pt x="26909" y="10776"/>
                      </a:lnTo>
                      <a:lnTo>
                        <a:pt x="26992" y="10525"/>
                      </a:lnTo>
                      <a:lnTo>
                        <a:pt x="27118" y="10462"/>
                      </a:lnTo>
                      <a:lnTo>
                        <a:pt x="27222" y="10253"/>
                      </a:lnTo>
                      <a:lnTo>
                        <a:pt x="27222" y="10086"/>
                      </a:lnTo>
                      <a:lnTo>
                        <a:pt x="27139" y="9897"/>
                      </a:lnTo>
                      <a:lnTo>
                        <a:pt x="27097" y="9856"/>
                      </a:lnTo>
                      <a:lnTo>
                        <a:pt x="27076" y="9688"/>
                      </a:lnTo>
                      <a:lnTo>
                        <a:pt x="27013" y="9625"/>
                      </a:lnTo>
                      <a:lnTo>
                        <a:pt x="27013" y="9521"/>
                      </a:lnTo>
                      <a:lnTo>
                        <a:pt x="27076" y="9416"/>
                      </a:lnTo>
                      <a:lnTo>
                        <a:pt x="27181" y="9312"/>
                      </a:lnTo>
                      <a:lnTo>
                        <a:pt x="27306" y="9249"/>
                      </a:lnTo>
                      <a:lnTo>
                        <a:pt x="27118" y="9458"/>
                      </a:lnTo>
                      <a:lnTo>
                        <a:pt x="27076" y="9542"/>
                      </a:lnTo>
                      <a:lnTo>
                        <a:pt x="27118" y="9625"/>
                      </a:lnTo>
                      <a:lnTo>
                        <a:pt x="27243" y="9751"/>
                      </a:lnTo>
                      <a:lnTo>
                        <a:pt x="27327" y="9730"/>
                      </a:lnTo>
                      <a:lnTo>
                        <a:pt x="27390" y="9772"/>
                      </a:lnTo>
                      <a:lnTo>
                        <a:pt x="27327" y="9939"/>
                      </a:lnTo>
                      <a:lnTo>
                        <a:pt x="27327" y="9939"/>
                      </a:lnTo>
                      <a:lnTo>
                        <a:pt x="27411" y="9877"/>
                      </a:lnTo>
                      <a:lnTo>
                        <a:pt x="27432" y="9897"/>
                      </a:lnTo>
                      <a:lnTo>
                        <a:pt x="27515" y="9793"/>
                      </a:lnTo>
                      <a:lnTo>
                        <a:pt x="27515" y="9730"/>
                      </a:lnTo>
                      <a:lnTo>
                        <a:pt x="27557" y="9730"/>
                      </a:lnTo>
                      <a:lnTo>
                        <a:pt x="27620" y="9646"/>
                      </a:lnTo>
                      <a:lnTo>
                        <a:pt x="27704" y="9625"/>
                      </a:lnTo>
                      <a:lnTo>
                        <a:pt x="27745" y="9458"/>
                      </a:lnTo>
                      <a:lnTo>
                        <a:pt x="27808" y="9374"/>
                      </a:lnTo>
                      <a:lnTo>
                        <a:pt x="27850" y="9374"/>
                      </a:lnTo>
                      <a:lnTo>
                        <a:pt x="27913" y="9270"/>
                      </a:lnTo>
                      <a:lnTo>
                        <a:pt x="27934" y="9207"/>
                      </a:lnTo>
                      <a:lnTo>
                        <a:pt x="27934" y="9144"/>
                      </a:lnTo>
                      <a:lnTo>
                        <a:pt x="27976" y="9040"/>
                      </a:lnTo>
                      <a:lnTo>
                        <a:pt x="27976" y="8998"/>
                      </a:lnTo>
                      <a:lnTo>
                        <a:pt x="28038" y="8914"/>
                      </a:lnTo>
                      <a:lnTo>
                        <a:pt x="28017" y="8830"/>
                      </a:lnTo>
                      <a:lnTo>
                        <a:pt x="27955" y="8789"/>
                      </a:lnTo>
                      <a:lnTo>
                        <a:pt x="27913" y="8705"/>
                      </a:lnTo>
                      <a:lnTo>
                        <a:pt x="28059" y="8621"/>
                      </a:lnTo>
                      <a:lnTo>
                        <a:pt x="28059" y="8537"/>
                      </a:lnTo>
                      <a:lnTo>
                        <a:pt x="28164" y="8475"/>
                      </a:lnTo>
                      <a:lnTo>
                        <a:pt x="28248" y="8433"/>
                      </a:lnTo>
                      <a:lnTo>
                        <a:pt x="28436" y="8328"/>
                      </a:lnTo>
                      <a:lnTo>
                        <a:pt x="28561" y="8328"/>
                      </a:lnTo>
                      <a:lnTo>
                        <a:pt x="28750" y="8203"/>
                      </a:lnTo>
                      <a:lnTo>
                        <a:pt x="28813" y="8203"/>
                      </a:lnTo>
                      <a:lnTo>
                        <a:pt x="28854" y="8224"/>
                      </a:lnTo>
                      <a:lnTo>
                        <a:pt x="29085" y="8203"/>
                      </a:lnTo>
                      <a:lnTo>
                        <a:pt x="29189" y="8265"/>
                      </a:lnTo>
                      <a:lnTo>
                        <a:pt x="29336" y="8203"/>
                      </a:lnTo>
                      <a:lnTo>
                        <a:pt x="29587" y="8203"/>
                      </a:lnTo>
                      <a:lnTo>
                        <a:pt x="29629" y="8182"/>
                      </a:lnTo>
                      <a:lnTo>
                        <a:pt x="29608" y="8119"/>
                      </a:lnTo>
                      <a:lnTo>
                        <a:pt x="29608" y="7972"/>
                      </a:lnTo>
                      <a:lnTo>
                        <a:pt x="29608" y="7847"/>
                      </a:lnTo>
                      <a:lnTo>
                        <a:pt x="29733" y="7952"/>
                      </a:lnTo>
                      <a:lnTo>
                        <a:pt x="29733" y="8077"/>
                      </a:lnTo>
                      <a:lnTo>
                        <a:pt x="29712" y="8161"/>
                      </a:lnTo>
                      <a:lnTo>
                        <a:pt x="29796" y="8161"/>
                      </a:lnTo>
                      <a:lnTo>
                        <a:pt x="29901" y="8056"/>
                      </a:lnTo>
                      <a:lnTo>
                        <a:pt x="30005" y="7868"/>
                      </a:lnTo>
                      <a:lnTo>
                        <a:pt x="30047" y="7972"/>
                      </a:lnTo>
                      <a:lnTo>
                        <a:pt x="30047" y="8056"/>
                      </a:lnTo>
                      <a:lnTo>
                        <a:pt x="30131" y="8077"/>
                      </a:lnTo>
                      <a:lnTo>
                        <a:pt x="30382" y="7952"/>
                      </a:lnTo>
                      <a:lnTo>
                        <a:pt x="30466" y="7805"/>
                      </a:lnTo>
                      <a:lnTo>
                        <a:pt x="30424" y="7596"/>
                      </a:lnTo>
                      <a:lnTo>
                        <a:pt x="30361" y="7638"/>
                      </a:lnTo>
                      <a:lnTo>
                        <a:pt x="30361" y="7742"/>
                      </a:lnTo>
                      <a:lnTo>
                        <a:pt x="30319" y="7868"/>
                      </a:lnTo>
                      <a:lnTo>
                        <a:pt x="30152" y="7868"/>
                      </a:lnTo>
                      <a:lnTo>
                        <a:pt x="30131" y="7763"/>
                      </a:lnTo>
                      <a:lnTo>
                        <a:pt x="30068" y="7575"/>
                      </a:lnTo>
                      <a:lnTo>
                        <a:pt x="29922" y="7491"/>
                      </a:lnTo>
                      <a:lnTo>
                        <a:pt x="29922" y="7449"/>
                      </a:lnTo>
                      <a:lnTo>
                        <a:pt x="30131" y="7261"/>
                      </a:lnTo>
                      <a:lnTo>
                        <a:pt x="30131" y="7177"/>
                      </a:lnTo>
                      <a:lnTo>
                        <a:pt x="30047" y="7177"/>
                      </a:lnTo>
                      <a:lnTo>
                        <a:pt x="30047" y="7115"/>
                      </a:lnTo>
                      <a:lnTo>
                        <a:pt x="30131" y="7052"/>
                      </a:lnTo>
                      <a:lnTo>
                        <a:pt x="30152" y="6968"/>
                      </a:lnTo>
                      <a:lnTo>
                        <a:pt x="30214" y="6905"/>
                      </a:lnTo>
                      <a:lnTo>
                        <a:pt x="30277" y="6696"/>
                      </a:lnTo>
                      <a:lnTo>
                        <a:pt x="30486" y="6529"/>
                      </a:lnTo>
                      <a:lnTo>
                        <a:pt x="30570" y="6382"/>
                      </a:lnTo>
                      <a:lnTo>
                        <a:pt x="30633" y="6382"/>
                      </a:lnTo>
                      <a:lnTo>
                        <a:pt x="30696" y="6278"/>
                      </a:lnTo>
                      <a:lnTo>
                        <a:pt x="30696" y="6340"/>
                      </a:lnTo>
                      <a:lnTo>
                        <a:pt x="30779" y="6382"/>
                      </a:lnTo>
                      <a:lnTo>
                        <a:pt x="30842" y="6299"/>
                      </a:lnTo>
                      <a:lnTo>
                        <a:pt x="30905" y="6173"/>
                      </a:lnTo>
                      <a:lnTo>
                        <a:pt x="30905" y="6299"/>
                      </a:lnTo>
                      <a:lnTo>
                        <a:pt x="30989" y="6299"/>
                      </a:lnTo>
                      <a:lnTo>
                        <a:pt x="31051" y="6173"/>
                      </a:lnTo>
                      <a:lnTo>
                        <a:pt x="31093" y="6215"/>
                      </a:lnTo>
                      <a:lnTo>
                        <a:pt x="31156" y="6173"/>
                      </a:lnTo>
                      <a:lnTo>
                        <a:pt x="31261" y="6006"/>
                      </a:lnTo>
                      <a:lnTo>
                        <a:pt x="31407" y="5796"/>
                      </a:lnTo>
                      <a:lnTo>
                        <a:pt x="31386" y="5922"/>
                      </a:lnTo>
                      <a:lnTo>
                        <a:pt x="31407" y="6006"/>
                      </a:lnTo>
                      <a:lnTo>
                        <a:pt x="31512" y="6006"/>
                      </a:lnTo>
                      <a:lnTo>
                        <a:pt x="31616" y="5880"/>
                      </a:lnTo>
                      <a:lnTo>
                        <a:pt x="31742" y="5880"/>
                      </a:lnTo>
                      <a:lnTo>
                        <a:pt x="31784" y="6006"/>
                      </a:lnTo>
                      <a:lnTo>
                        <a:pt x="31846" y="6006"/>
                      </a:lnTo>
                      <a:lnTo>
                        <a:pt x="31951" y="5880"/>
                      </a:lnTo>
                      <a:lnTo>
                        <a:pt x="32035" y="5922"/>
                      </a:lnTo>
                      <a:lnTo>
                        <a:pt x="32098" y="5901"/>
                      </a:lnTo>
                      <a:lnTo>
                        <a:pt x="32202" y="5817"/>
                      </a:lnTo>
                      <a:lnTo>
                        <a:pt x="32307" y="5817"/>
                      </a:lnTo>
                      <a:lnTo>
                        <a:pt x="32432" y="5755"/>
                      </a:lnTo>
                      <a:lnTo>
                        <a:pt x="32474" y="5817"/>
                      </a:lnTo>
                      <a:lnTo>
                        <a:pt x="32558" y="5796"/>
                      </a:lnTo>
                      <a:lnTo>
                        <a:pt x="32642" y="5713"/>
                      </a:lnTo>
                      <a:lnTo>
                        <a:pt x="32537" y="5650"/>
                      </a:lnTo>
                      <a:lnTo>
                        <a:pt x="32474" y="5713"/>
                      </a:lnTo>
                      <a:lnTo>
                        <a:pt x="32411" y="5650"/>
                      </a:lnTo>
                      <a:lnTo>
                        <a:pt x="32453" y="5504"/>
                      </a:lnTo>
                      <a:lnTo>
                        <a:pt x="32223" y="5378"/>
                      </a:lnTo>
                      <a:lnTo>
                        <a:pt x="32202" y="5357"/>
                      </a:lnTo>
                      <a:lnTo>
                        <a:pt x="32223" y="5294"/>
                      </a:lnTo>
                      <a:lnTo>
                        <a:pt x="32223" y="5252"/>
                      </a:lnTo>
                      <a:lnTo>
                        <a:pt x="32223" y="5169"/>
                      </a:lnTo>
                      <a:lnTo>
                        <a:pt x="32244" y="5085"/>
                      </a:lnTo>
                      <a:lnTo>
                        <a:pt x="32202" y="5022"/>
                      </a:lnTo>
                      <a:lnTo>
                        <a:pt x="32139" y="4959"/>
                      </a:lnTo>
                      <a:lnTo>
                        <a:pt x="32098" y="4939"/>
                      </a:lnTo>
                      <a:lnTo>
                        <a:pt x="32118" y="4855"/>
                      </a:lnTo>
                      <a:lnTo>
                        <a:pt x="32244" y="4123"/>
                      </a:lnTo>
                      <a:lnTo>
                        <a:pt x="32244" y="3934"/>
                      </a:lnTo>
                      <a:lnTo>
                        <a:pt x="32014" y="3725"/>
                      </a:lnTo>
                      <a:lnTo>
                        <a:pt x="31951" y="3788"/>
                      </a:lnTo>
                      <a:lnTo>
                        <a:pt x="31805" y="3725"/>
                      </a:lnTo>
                      <a:lnTo>
                        <a:pt x="31700" y="3767"/>
                      </a:lnTo>
                      <a:lnTo>
                        <a:pt x="31616" y="3683"/>
                      </a:lnTo>
                      <a:lnTo>
                        <a:pt x="31533" y="3662"/>
                      </a:lnTo>
                      <a:lnTo>
                        <a:pt x="31512" y="3662"/>
                      </a:lnTo>
                      <a:lnTo>
                        <a:pt x="31407" y="3767"/>
                      </a:lnTo>
                      <a:lnTo>
                        <a:pt x="31365" y="3830"/>
                      </a:lnTo>
                      <a:lnTo>
                        <a:pt x="31156" y="4081"/>
                      </a:lnTo>
                      <a:lnTo>
                        <a:pt x="31072" y="4206"/>
                      </a:lnTo>
                      <a:lnTo>
                        <a:pt x="31072" y="4311"/>
                      </a:lnTo>
                      <a:lnTo>
                        <a:pt x="30905" y="4395"/>
                      </a:lnTo>
                      <a:lnTo>
                        <a:pt x="30905" y="4520"/>
                      </a:lnTo>
                      <a:lnTo>
                        <a:pt x="30863" y="4625"/>
                      </a:lnTo>
                      <a:lnTo>
                        <a:pt x="30696" y="4813"/>
                      </a:lnTo>
                      <a:lnTo>
                        <a:pt x="30633" y="4834"/>
                      </a:lnTo>
                      <a:lnTo>
                        <a:pt x="30445" y="5043"/>
                      </a:lnTo>
                      <a:lnTo>
                        <a:pt x="30424" y="5127"/>
                      </a:lnTo>
                      <a:lnTo>
                        <a:pt x="30340" y="5169"/>
                      </a:lnTo>
                      <a:lnTo>
                        <a:pt x="30235" y="5148"/>
                      </a:lnTo>
                      <a:lnTo>
                        <a:pt x="30173" y="5148"/>
                      </a:lnTo>
                      <a:lnTo>
                        <a:pt x="30131" y="5190"/>
                      </a:lnTo>
                      <a:lnTo>
                        <a:pt x="30068" y="5190"/>
                      </a:lnTo>
                      <a:lnTo>
                        <a:pt x="29942" y="5336"/>
                      </a:lnTo>
                      <a:lnTo>
                        <a:pt x="28269" y="5294"/>
                      </a:lnTo>
                      <a:lnTo>
                        <a:pt x="28059" y="5336"/>
                      </a:lnTo>
                      <a:lnTo>
                        <a:pt x="27955" y="5441"/>
                      </a:lnTo>
                      <a:lnTo>
                        <a:pt x="27829" y="5483"/>
                      </a:lnTo>
                      <a:lnTo>
                        <a:pt x="27704" y="5566"/>
                      </a:lnTo>
                      <a:lnTo>
                        <a:pt x="27453" y="5817"/>
                      </a:lnTo>
                      <a:lnTo>
                        <a:pt x="27285" y="5859"/>
                      </a:lnTo>
                      <a:lnTo>
                        <a:pt x="27181" y="5922"/>
                      </a:lnTo>
                      <a:lnTo>
                        <a:pt x="26699" y="6299"/>
                      </a:lnTo>
                      <a:lnTo>
                        <a:pt x="25611" y="6612"/>
                      </a:lnTo>
                      <a:lnTo>
                        <a:pt x="25569" y="6864"/>
                      </a:lnTo>
                      <a:lnTo>
                        <a:pt x="25318" y="6968"/>
                      </a:lnTo>
                      <a:lnTo>
                        <a:pt x="23331" y="7491"/>
                      </a:lnTo>
                      <a:lnTo>
                        <a:pt x="23247" y="7324"/>
                      </a:lnTo>
                      <a:lnTo>
                        <a:pt x="23351" y="7177"/>
                      </a:lnTo>
                      <a:lnTo>
                        <a:pt x="23561" y="7073"/>
                      </a:lnTo>
                      <a:lnTo>
                        <a:pt x="23665" y="6947"/>
                      </a:lnTo>
                      <a:lnTo>
                        <a:pt x="23728" y="6822"/>
                      </a:lnTo>
                      <a:lnTo>
                        <a:pt x="23770" y="6696"/>
                      </a:lnTo>
                      <a:lnTo>
                        <a:pt x="23833" y="5922"/>
                      </a:lnTo>
                      <a:lnTo>
                        <a:pt x="23456" y="4143"/>
                      </a:lnTo>
                      <a:lnTo>
                        <a:pt x="23100" y="3871"/>
                      </a:lnTo>
                      <a:lnTo>
                        <a:pt x="22954" y="3683"/>
                      </a:lnTo>
                      <a:lnTo>
                        <a:pt x="20652" y="2616"/>
                      </a:lnTo>
                      <a:lnTo>
                        <a:pt x="20548" y="2553"/>
                      </a:lnTo>
                      <a:lnTo>
                        <a:pt x="20422" y="2511"/>
                      </a:lnTo>
                      <a:lnTo>
                        <a:pt x="20380" y="2449"/>
                      </a:lnTo>
                      <a:lnTo>
                        <a:pt x="20087" y="2449"/>
                      </a:lnTo>
                      <a:lnTo>
                        <a:pt x="20066" y="2344"/>
                      </a:lnTo>
                      <a:lnTo>
                        <a:pt x="19983" y="2302"/>
                      </a:lnTo>
                      <a:lnTo>
                        <a:pt x="19899" y="2344"/>
                      </a:lnTo>
                      <a:lnTo>
                        <a:pt x="19711" y="2344"/>
                      </a:lnTo>
                      <a:lnTo>
                        <a:pt x="19606" y="2323"/>
                      </a:lnTo>
                      <a:lnTo>
                        <a:pt x="19543" y="2239"/>
                      </a:lnTo>
                      <a:lnTo>
                        <a:pt x="19439" y="2198"/>
                      </a:lnTo>
                      <a:lnTo>
                        <a:pt x="19230" y="2135"/>
                      </a:lnTo>
                      <a:lnTo>
                        <a:pt x="19167" y="2009"/>
                      </a:lnTo>
                      <a:lnTo>
                        <a:pt x="19083" y="2009"/>
                      </a:lnTo>
                      <a:lnTo>
                        <a:pt x="18958" y="1905"/>
                      </a:lnTo>
                      <a:lnTo>
                        <a:pt x="18853" y="1905"/>
                      </a:lnTo>
                      <a:lnTo>
                        <a:pt x="18769" y="1884"/>
                      </a:lnTo>
                      <a:lnTo>
                        <a:pt x="18644" y="1905"/>
                      </a:lnTo>
                      <a:lnTo>
                        <a:pt x="18623" y="1926"/>
                      </a:lnTo>
                      <a:lnTo>
                        <a:pt x="18560" y="1842"/>
                      </a:lnTo>
                      <a:lnTo>
                        <a:pt x="18434" y="1821"/>
                      </a:lnTo>
                      <a:lnTo>
                        <a:pt x="18414" y="1800"/>
                      </a:lnTo>
                      <a:lnTo>
                        <a:pt x="18309" y="1737"/>
                      </a:lnTo>
                      <a:lnTo>
                        <a:pt x="18288" y="1716"/>
                      </a:lnTo>
                      <a:lnTo>
                        <a:pt x="18204" y="1633"/>
                      </a:lnTo>
                      <a:lnTo>
                        <a:pt x="18204" y="1612"/>
                      </a:lnTo>
                      <a:lnTo>
                        <a:pt x="18079" y="1507"/>
                      </a:lnTo>
                      <a:lnTo>
                        <a:pt x="17932" y="1507"/>
                      </a:lnTo>
                      <a:lnTo>
                        <a:pt x="17807" y="1486"/>
                      </a:lnTo>
                      <a:lnTo>
                        <a:pt x="284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114" name="Google Shape;5855;p93">
              <a:extLst>
                <a:ext uri="{FF2B5EF4-FFF2-40B4-BE49-F238E27FC236}">
                  <a16:creationId xmlns:a16="http://schemas.microsoft.com/office/drawing/2014/main" id="{E1A3C466-2C85-4484-B51E-DC2963C2D5F9}"/>
                </a:ext>
              </a:extLst>
            </p:cNvPr>
            <p:cNvGrpSpPr/>
            <p:nvPr/>
          </p:nvGrpSpPr>
          <p:grpSpPr>
            <a:xfrm>
              <a:off x="3230417" y="3103734"/>
              <a:ext cx="282982" cy="280332"/>
              <a:chOff x="2605700" y="3152850"/>
              <a:chExt cx="594125" cy="616250"/>
            </a:xfrm>
          </p:grpSpPr>
          <p:sp>
            <p:nvSpPr>
              <p:cNvPr id="1329" name="Google Shape;5856;p93">
                <a:extLst>
                  <a:ext uri="{FF2B5EF4-FFF2-40B4-BE49-F238E27FC236}">
                    <a16:creationId xmlns:a16="http://schemas.microsoft.com/office/drawing/2014/main" id="{B4ABAB29-7307-40DF-A1C3-5DB64030BA2B}"/>
                  </a:ext>
                </a:extLst>
              </p:cNvPr>
              <p:cNvSpPr/>
              <p:nvPr/>
            </p:nvSpPr>
            <p:spPr>
              <a:xfrm>
                <a:off x="2605700" y="3152850"/>
                <a:ext cx="379825" cy="616250"/>
              </a:xfrm>
              <a:custGeom>
                <a:avLst/>
                <a:gdLst/>
                <a:ahLst/>
                <a:cxnLst/>
                <a:rect l="l" t="t" r="r" b="b"/>
                <a:pathLst>
                  <a:path w="15193" h="24650" extrusionOk="0">
                    <a:moveTo>
                      <a:pt x="14024" y="2338"/>
                    </a:moveTo>
                    <a:lnTo>
                      <a:pt x="8818" y="0"/>
                    </a:lnTo>
                    <a:lnTo>
                      <a:pt x="4037" y="1594"/>
                    </a:lnTo>
                    <a:lnTo>
                      <a:pt x="0" y="7225"/>
                    </a:lnTo>
                    <a:lnTo>
                      <a:pt x="2018" y="11156"/>
                    </a:lnTo>
                    <a:lnTo>
                      <a:pt x="7331" y="12325"/>
                    </a:lnTo>
                    <a:lnTo>
                      <a:pt x="10518" y="17531"/>
                    </a:lnTo>
                    <a:lnTo>
                      <a:pt x="11049" y="22843"/>
                    </a:lnTo>
                    <a:lnTo>
                      <a:pt x="13705" y="24650"/>
                    </a:lnTo>
                    <a:lnTo>
                      <a:pt x="15193" y="18700"/>
                    </a:lnTo>
                    <a:lnTo>
                      <a:pt x="12218" y="5844"/>
                    </a:lnTo>
                    <a:close/>
                  </a:path>
                </a:pathLst>
              </a:custGeom>
              <a:ln/>
            </p:spPr>
            <p:style>
              <a:lnRef idx="2">
                <a:schemeClr val="dk1"/>
              </a:lnRef>
              <a:fillRef idx="1">
                <a:schemeClr val="lt1"/>
              </a:fillRef>
              <a:effectRef idx="0">
                <a:schemeClr val="dk1"/>
              </a:effectRef>
              <a:fontRef idx="minor">
                <a:schemeClr val="dk1"/>
              </a:fontRef>
            </p:style>
          </p:sp>
          <p:sp>
            <p:nvSpPr>
              <p:cNvPr id="1330" name="Google Shape;5857;p93">
                <a:extLst>
                  <a:ext uri="{FF2B5EF4-FFF2-40B4-BE49-F238E27FC236}">
                    <a16:creationId xmlns:a16="http://schemas.microsoft.com/office/drawing/2014/main" id="{53AAAF42-6405-4414-8E05-FC49875C21A9}"/>
                  </a:ext>
                </a:extLst>
              </p:cNvPr>
              <p:cNvSpPr/>
              <p:nvPr/>
            </p:nvSpPr>
            <p:spPr>
              <a:xfrm>
                <a:off x="2632775" y="3168475"/>
                <a:ext cx="567050" cy="590050"/>
              </a:xfrm>
              <a:custGeom>
                <a:avLst/>
                <a:gdLst/>
                <a:ahLst/>
                <a:cxnLst/>
                <a:rect l="l" t="t" r="r" b="b"/>
                <a:pathLst>
                  <a:path w="22682" h="23602" extrusionOk="0">
                    <a:moveTo>
                      <a:pt x="13852" y="21070"/>
                    </a:moveTo>
                    <a:lnTo>
                      <a:pt x="13894" y="21091"/>
                    </a:lnTo>
                    <a:lnTo>
                      <a:pt x="13977" y="21217"/>
                    </a:lnTo>
                    <a:lnTo>
                      <a:pt x="14103" y="21384"/>
                    </a:lnTo>
                    <a:lnTo>
                      <a:pt x="14166" y="21384"/>
                    </a:lnTo>
                    <a:lnTo>
                      <a:pt x="14208" y="21342"/>
                    </a:lnTo>
                    <a:lnTo>
                      <a:pt x="14228" y="21384"/>
                    </a:lnTo>
                    <a:lnTo>
                      <a:pt x="14228" y="21489"/>
                    </a:lnTo>
                    <a:lnTo>
                      <a:pt x="14187" y="21489"/>
                    </a:lnTo>
                    <a:lnTo>
                      <a:pt x="14124" y="21698"/>
                    </a:lnTo>
                    <a:lnTo>
                      <a:pt x="13998" y="21928"/>
                    </a:lnTo>
                    <a:lnTo>
                      <a:pt x="13873" y="21928"/>
                    </a:lnTo>
                    <a:lnTo>
                      <a:pt x="13852" y="22075"/>
                    </a:lnTo>
                    <a:lnTo>
                      <a:pt x="13789" y="22158"/>
                    </a:lnTo>
                    <a:lnTo>
                      <a:pt x="13768" y="22158"/>
                    </a:lnTo>
                    <a:lnTo>
                      <a:pt x="13643" y="22242"/>
                    </a:lnTo>
                    <a:lnTo>
                      <a:pt x="13559" y="22326"/>
                    </a:lnTo>
                    <a:lnTo>
                      <a:pt x="13559" y="22367"/>
                    </a:lnTo>
                    <a:lnTo>
                      <a:pt x="13454" y="22388"/>
                    </a:lnTo>
                    <a:lnTo>
                      <a:pt x="13392" y="22451"/>
                    </a:lnTo>
                    <a:lnTo>
                      <a:pt x="13392" y="22472"/>
                    </a:lnTo>
                    <a:lnTo>
                      <a:pt x="13329" y="22347"/>
                    </a:lnTo>
                    <a:lnTo>
                      <a:pt x="13371" y="22242"/>
                    </a:lnTo>
                    <a:lnTo>
                      <a:pt x="13454" y="22179"/>
                    </a:lnTo>
                    <a:lnTo>
                      <a:pt x="13454" y="22116"/>
                    </a:lnTo>
                    <a:lnTo>
                      <a:pt x="13559" y="22012"/>
                    </a:lnTo>
                    <a:lnTo>
                      <a:pt x="13559" y="21928"/>
                    </a:lnTo>
                    <a:lnTo>
                      <a:pt x="13601" y="21970"/>
                    </a:lnTo>
                    <a:lnTo>
                      <a:pt x="13684" y="21970"/>
                    </a:lnTo>
                    <a:lnTo>
                      <a:pt x="13789" y="21865"/>
                    </a:lnTo>
                    <a:lnTo>
                      <a:pt x="13789" y="21761"/>
                    </a:lnTo>
                    <a:lnTo>
                      <a:pt x="13810" y="21740"/>
                    </a:lnTo>
                    <a:lnTo>
                      <a:pt x="13810" y="21614"/>
                    </a:lnTo>
                    <a:lnTo>
                      <a:pt x="13873" y="21551"/>
                    </a:lnTo>
                    <a:lnTo>
                      <a:pt x="13915" y="21551"/>
                    </a:lnTo>
                    <a:lnTo>
                      <a:pt x="13977" y="21447"/>
                    </a:lnTo>
                    <a:lnTo>
                      <a:pt x="13956" y="21384"/>
                    </a:lnTo>
                    <a:lnTo>
                      <a:pt x="13894" y="21300"/>
                    </a:lnTo>
                    <a:lnTo>
                      <a:pt x="13894" y="21112"/>
                    </a:lnTo>
                    <a:lnTo>
                      <a:pt x="13852" y="21070"/>
                    </a:lnTo>
                    <a:close/>
                    <a:moveTo>
                      <a:pt x="7617" y="0"/>
                    </a:moveTo>
                    <a:lnTo>
                      <a:pt x="7617" y="147"/>
                    </a:lnTo>
                    <a:lnTo>
                      <a:pt x="7575" y="272"/>
                    </a:lnTo>
                    <a:lnTo>
                      <a:pt x="7282" y="481"/>
                    </a:lnTo>
                    <a:lnTo>
                      <a:pt x="7094" y="502"/>
                    </a:lnTo>
                    <a:lnTo>
                      <a:pt x="6842" y="607"/>
                    </a:lnTo>
                    <a:lnTo>
                      <a:pt x="6738" y="565"/>
                    </a:lnTo>
                    <a:lnTo>
                      <a:pt x="6570" y="586"/>
                    </a:lnTo>
                    <a:lnTo>
                      <a:pt x="6382" y="732"/>
                    </a:lnTo>
                    <a:lnTo>
                      <a:pt x="6215" y="795"/>
                    </a:lnTo>
                    <a:lnTo>
                      <a:pt x="6152" y="732"/>
                    </a:lnTo>
                    <a:lnTo>
                      <a:pt x="5901" y="774"/>
                    </a:lnTo>
                    <a:lnTo>
                      <a:pt x="5692" y="774"/>
                    </a:lnTo>
                    <a:lnTo>
                      <a:pt x="5503" y="670"/>
                    </a:lnTo>
                    <a:lnTo>
                      <a:pt x="5315" y="628"/>
                    </a:lnTo>
                    <a:lnTo>
                      <a:pt x="5169" y="586"/>
                    </a:lnTo>
                    <a:lnTo>
                      <a:pt x="5169" y="586"/>
                    </a:lnTo>
                    <a:lnTo>
                      <a:pt x="5231" y="711"/>
                    </a:lnTo>
                    <a:lnTo>
                      <a:pt x="5378" y="774"/>
                    </a:lnTo>
                    <a:lnTo>
                      <a:pt x="5503" y="879"/>
                    </a:lnTo>
                    <a:lnTo>
                      <a:pt x="5545" y="984"/>
                    </a:lnTo>
                    <a:lnTo>
                      <a:pt x="5399" y="1235"/>
                    </a:lnTo>
                    <a:lnTo>
                      <a:pt x="5420" y="1297"/>
                    </a:lnTo>
                    <a:lnTo>
                      <a:pt x="5441" y="1339"/>
                    </a:lnTo>
                    <a:lnTo>
                      <a:pt x="5420" y="1528"/>
                    </a:lnTo>
                    <a:lnTo>
                      <a:pt x="5692" y="1611"/>
                    </a:lnTo>
                    <a:lnTo>
                      <a:pt x="5859" y="1569"/>
                    </a:lnTo>
                    <a:lnTo>
                      <a:pt x="6047" y="1611"/>
                    </a:lnTo>
                    <a:lnTo>
                      <a:pt x="6047" y="1716"/>
                    </a:lnTo>
                    <a:lnTo>
                      <a:pt x="5922" y="1758"/>
                    </a:lnTo>
                    <a:lnTo>
                      <a:pt x="5650" y="1820"/>
                    </a:lnTo>
                    <a:lnTo>
                      <a:pt x="5608" y="1862"/>
                    </a:lnTo>
                    <a:lnTo>
                      <a:pt x="5545" y="1925"/>
                    </a:lnTo>
                    <a:lnTo>
                      <a:pt x="5503" y="2072"/>
                    </a:lnTo>
                    <a:lnTo>
                      <a:pt x="5210" y="2239"/>
                    </a:lnTo>
                    <a:lnTo>
                      <a:pt x="5106" y="2344"/>
                    </a:lnTo>
                    <a:lnTo>
                      <a:pt x="4897" y="2469"/>
                    </a:lnTo>
                    <a:lnTo>
                      <a:pt x="4771" y="2616"/>
                    </a:lnTo>
                    <a:lnTo>
                      <a:pt x="4541" y="2616"/>
                    </a:lnTo>
                    <a:lnTo>
                      <a:pt x="4394" y="2595"/>
                    </a:lnTo>
                    <a:lnTo>
                      <a:pt x="4164" y="2406"/>
                    </a:lnTo>
                    <a:lnTo>
                      <a:pt x="3955" y="2260"/>
                    </a:lnTo>
                    <a:lnTo>
                      <a:pt x="3809" y="2281"/>
                    </a:lnTo>
                    <a:lnTo>
                      <a:pt x="3809" y="2134"/>
                    </a:lnTo>
                    <a:lnTo>
                      <a:pt x="3767" y="1988"/>
                    </a:lnTo>
                    <a:lnTo>
                      <a:pt x="3662" y="1883"/>
                    </a:lnTo>
                    <a:lnTo>
                      <a:pt x="3641" y="1820"/>
                    </a:lnTo>
                    <a:lnTo>
                      <a:pt x="3495" y="1862"/>
                    </a:lnTo>
                    <a:lnTo>
                      <a:pt x="3390" y="1988"/>
                    </a:lnTo>
                    <a:lnTo>
                      <a:pt x="3306" y="1988"/>
                    </a:lnTo>
                    <a:lnTo>
                      <a:pt x="3244" y="1946"/>
                    </a:lnTo>
                    <a:lnTo>
                      <a:pt x="3139" y="1946"/>
                    </a:lnTo>
                    <a:lnTo>
                      <a:pt x="3076" y="2030"/>
                    </a:lnTo>
                    <a:lnTo>
                      <a:pt x="2407" y="2030"/>
                    </a:lnTo>
                    <a:lnTo>
                      <a:pt x="2386" y="2197"/>
                    </a:lnTo>
                    <a:lnTo>
                      <a:pt x="2448" y="2344"/>
                    </a:lnTo>
                    <a:lnTo>
                      <a:pt x="2658" y="2385"/>
                    </a:lnTo>
                    <a:lnTo>
                      <a:pt x="2720" y="2553"/>
                    </a:lnTo>
                    <a:lnTo>
                      <a:pt x="2679" y="2616"/>
                    </a:lnTo>
                    <a:lnTo>
                      <a:pt x="2762" y="2699"/>
                    </a:lnTo>
                    <a:lnTo>
                      <a:pt x="2720" y="2804"/>
                    </a:lnTo>
                    <a:lnTo>
                      <a:pt x="2595" y="2720"/>
                    </a:lnTo>
                    <a:lnTo>
                      <a:pt x="2197" y="2867"/>
                    </a:lnTo>
                    <a:lnTo>
                      <a:pt x="2239" y="3180"/>
                    </a:lnTo>
                    <a:lnTo>
                      <a:pt x="2344" y="3306"/>
                    </a:lnTo>
                    <a:lnTo>
                      <a:pt x="2553" y="3452"/>
                    </a:lnTo>
                    <a:lnTo>
                      <a:pt x="2679" y="3724"/>
                    </a:lnTo>
                    <a:lnTo>
                      <a:pt x="2679" y="3913"/>
                    </a:lnTo>
                    <a:lnTo>
                      <a:pt x="2679" y="3976"/>
                    </a:lnTo>
                    <a:lnTo>
                      <a:pt x="2365" y="5189"/>
                    </a:lnTo>
                    <a:lnTo>
                      <a:pt x="2260" y="5503"/>
                    </a:lnTo>
                    <a:lnTo>
                      <a:pt x="2281" y="5545"/>
                    </a:lnTo>
                    <a:lnTo>
                      <a:pt x="2239" y="5629"/>
                    </a:lnTo>
                    <a:lnTo>
                      <a:pt x="2093" y="5608"/>
                    </a:lnTo>
                    <a:lnTo>
                      <a:pt x="2093" y="5587"/>
                    </a:lnTo>
                    <a:lnTo>
                      <a:pt x="1967" y="5503"/>
                    </a:lnTo>
                    <a:lnTo>
                      <a:pt x="1821" y="5503"/>
                    </a:lnTo>
                    <a:lnTo>
                      <a:pt x="1758" y="5482"/>
                    </a:lnTo>
                    <a:lnTo>
                      <a:pt x="1716" y="5545"/>
                    </a:lnTo>
                    <a:lnTo>
                      <a:pt x="1319" y="5691"/>
                    </a:lnTo>
                    <a:lnTo>
                      <a:pt x="1026" y="5733"/>
                    </a:lnTo>
                    <a:lnTo>
                      <a:pt x="942" y="5817"/>
                    </a:lnTo>
                    <a:lnTo>
                      <a:pt x="879" y="5838"/>
                    </a:lnTo>
                    <a:lnTo>
                      <a:pt x="733" y="5963"/>
                    </a:lnTo>
                    <a:lnTo>
                      <a:pt x="607" y="6026"/>
                    </a:lnTo>
                    <a:lnTo>
                      <a:pt x="503" y="6110"/>
                    </a:lnTo>
                    <a:lnTo>
                      <a:pt x="523" y="6256"/>
                    </a:lnTo>
                    <a:lnTo>
                      <a:pt x="482" y="6340"/>
                    </a:lnTo>
                    <a:lnTo>
                      <a:pt x="503" y="6424"/>
                    </a:lnTo>
                    <a:lnTo>
                      <a:pt x="356" y="6570"/>
                    </a:lnTo>
                    <a:lnTo>
                      <a:pt x="398" y="6779"/>
                    </a:lnTo>
                    <a:lnTo>
                      <a:pt x="461" y="6884"/>
                    </a:lnTo>
                    <a:lnTo>
                      <a:pt x="356" y="6968"/>
                    </a:lnTo>
                    <a:lnTo>
                      <a:pt x="272" y="6947"/>
                    </a:lnTo>
                    <a:lnTo>
                      <a:pt x="105" y="7051"/>
                    </a:lnTo>
                    <a:lnTo>
                      <a:pt x="105" y="7156"/>
                    </a:lnTo>
                    <a:lnTo>
                      <a:pt x="63" y="7198"/>
                    </a:lnTo>
                    <a:lnTo>
                      <a:pt x="84" y="7282"/>
                    </a:lnTo>
                    <a:lnTo>
                      <a:pt x="63" y="7407"/>
                    </a:lnTo>
                    <a:lnTo>
                      <a:pt x="0" y="7512"/>
                    </a:lnTo>
                    <a:lnTo>
                      <a:pt x="63" y="7616"/>
                    </a:lnTo>
                    <a:lnTo>
                      <a:pt x="42" y="7700"/>
                    </a:lnTo>
                    <a:lnTo>
                      <a:pt x="189" y="7846"/>
                    </a:lnTo>
                    <a:lnTo>
                      <a:pt x="482" y="8307"/>
                    </a:lnTo>
                    <a:lnTo>
                      <a:pt x="314" y="8474"/>
                    </a:lnTo>
                    <a:lnTo>
                      <a:pt x="691" y="8453"/>
                    </a:lnTo>
                    <a:lnTo>
                      <a:pt x="879" y="8474"/>
                    </a:lnTo>
                    <a:lnTo>
                      <a:pt x="1005" y="8662"/>
                    </a:lnTo>
                    <a:lnTo>
                      <a:pt x="1026" y="8830"/>
                    </a:lnTo>
                    <a:lnTo>
                      <a:pt x="1256" y="8830"/>
                    </a:lnTo>
                    <a:lnTo>
                      <a:pt x="1549" y="8851"/>
                    </a:lnTo>
                    <a:lnTo>
                      <a:pt x="1779" y="8621"/>
                    </a:lnTo>
                    <a:lnTo>
                      <a:pt x="1988" y="8474"/>
                    </a:lnTo>
                    <a:lnTo>
                      <a:pt x="2051" y="8537"/>
                    </a:lnTo>
                    <a:lnTo>
                      <a:pt x="2030" y="8662"/>
                    </a:lnTo>
                    <a:lnTo>
                      <a:pt x="1967" y="8725"/>
                    </a:lnTo>
                    <a:lnTo>
                      <a:pt x="1967" y="8934"/>
                    </a:lnTo>
                    <a:lnTo>
                      <a:pt x="1988" y="9269"/>
                    </a:lnTo>
                    <a:lnTo>
                      <a:pt x="1988" y="9395"/>
                    </a:lnTo>
                    <a:lnTo>
                      <a:pt x="2072" y="9478"/>
                    </a:lnTo>
                    <a:lnTo>
                      <a:pt x="2176" y="9458"/>
                    </a:lnTo>
                    <a:lnTo>
                      <a:pt x="2281" y="9416"/>
                    </a:lnTo>
                    <a:lnTo>
                      <a:pt x="2469" y="9416"/>
                    </a:lnTo>
                    <a:lnTo>
                      <a:pt x="2511" y="9458"/>
                    </a:lnTo>
                    <a:lnTo>
                      <a:pt x="3076" y="9458"/>
                    </a:lnTo>
                    <a:lnTo>
                      <a:pt x="3223" y="9353"/>
                    </a:lnTo>
                    <a:lnTo>
                      <a:pt x="3306" y="9353"/>
                    </a:lnTo>
                    <a:lnTo>
                      <a:pt x="3432" y="9248"/>
                    </a:lnTo>
                    <a:lnTo>
                      <a:pt x="3557" y="9248"/>
                    </a:lnTo>
                    <a:lnTo>
                      <a:pt x="3725" y="9186"/>
                    </a:lnTo>
                    <a:lnTo>
                      <a:pt x="3829" y="8934"/>
                    </a:lnTo>
                    <a:lnTo>
                      <a:pt x="4081" y="8746"/>
                    </a:lnTo>
                    <a:lnTo>
                      <a:pt x="4269" y="8725"/>
                    </a:lnTo>
                    <a:lnTo>
                      <a:pt x="4457" y="8621"/>
                    </a:lnTo>
                    <a:lnTo>
                      <a:pt x="4583" y="8621"/>
                    </a:lnTo>
                    <a:lnTo>
                      <a:pt x="4687" y="8683"/>
                    </a:lnTo>
                    <a:lnTo>
                      <a:pt x="4813" y="8621"/>
                    </a:lnTo>
                    <a:lnTo>
                      <a:pt x="4897" y="8662"/>
                    </a:lnTo>
                    <a:lnTo>
                      <a:pt x="4876" y="8788"/>
                    </a:lnTo>
                    <a:lnTo>
                      <a:pt x="4959" y="8997"/>
                    </a:lnTo>
                    <a:lnTo>
                      <a:pt x="5085" y="9374"/>
                    </a:lnTo>
                    <a:lnTo>
                      <a:pt x="5169" y="9646"/>
                    </a:lnTo>
                    <a:lnTo>
                      <a:pt x="5106" y="9751"/>
                    </a:lnTo>
                    <a:lnTo>
                      <a:pt x="5210" y="9960"/>
                    </a:lnTo>
                    <a:lnTo>
                      <a:pt x="5357" y="10002"/>
                    </a:lnTo>
                    <a:lnTo>
                      <a:pt x="5399" y="10190"/>
                    </a:lnTo>
                    <a:lnTo>
                      <a:pt x="5524" y="10274"/>
                    </a:lnTo>
                    <a:lnTo>
                      <a:pt x="5713" y="10357"/>
                    </a:lnTo>
                    <a:lnTo>
                      <a:pt x="5838" y="10462"/>
                    </a:lnTo>
                    <a:lnTo>
                      <a:pt x="5901" y="10420"/>
                    </a:lnTo>
                    <a:lnTo>
                      <a:pt x="6131" y="10357"/>
                    </a:lnTo>
                    <a:lnTo>
                      <a:pt x="6340" y="10587"/>
                    </a:lnTo>
                    <a:lnTo>
                      <a:pt x="6508" y="10525"/>
                    </a:lnTo>
                    <a:lnTo>
                      <a:pt x="6717" y="10755"/>
                    </a:lnTo>
                    <a:lnTo>
                      <a:pt x="6822" y="10755"/>
                    </a:lnTo>
                    <a:lnTo>
                      <a:pt x="7073" y="10839"/>
                    </a:lnTo>
                    <a:lnTo>
                      <a:pt x="7240" y="10880"/>
                    </a:lnTo>
                    <a:lnTo>
                      <a:pt x="7261" y="11048"/>
                    </a:lnTo>
                    <a:lnTo>
                      <a:pt x="7366" y="11069"/>
                    </a:lnTo>
                    <a:lnTo>
                      <a:pt x="7512" y="11152"/>
                    </a:lnTo>
                    <a:lnTo>
                      <a:pt x="7868" y="11131"/>
                    </a:lnTo>
                    <a:lnTo>
                      <a:pt x="8098" y="11257"/>
                    </a:lnTo>
                    <a:lnTo>
                      <a:pt x="8140" y="11362"/>
                    </a:lnTo>
                    <a:lnTo>
                      <a:pt x="8119" y="11634"/>
                    </a:lnTo>
                    <a:lnTo>
                      <a:pt x="8182" y="11843"/>
                    </a:lnTo>
                    <a:lnTo>
                      <a:pt x="8098" y="11968"/>
                    </a:lnTo>
                    <a:lnTo>
                      <a:pt x="8307" y="12324"/>
                    </a:lnTo>
                    <a:lnTo>
                      <a:pt x="8286" y="12596"/>
                    </a:lnTo>
                    <a:lnTo>
                      <a:pt x="9290" y="12617"/>
                    </a:lnTo>
                    <a:lnTo>
                      <a:pt x="9353" y="12973"/>
                    </a:lnTo>
                    <a:lnTo>
                      <a:pt x="9332" y="13224"/>
                    </a:lnTo>
                    <a:lnTo>
                      <a:pt x="9604" y="13287"/>
                    </a:lnTo>
                    <a:lnTo>
                      <a:pt x="9897" y="13810"/>
                    </a:lnTo>
                    <a:lnTo>
                      <a:pt x="9918" y="14103"/>
                    </a:lnTo>
                    <a:lnTo>
                      <a:pt x="9646" y="14688"/>
                    </a:lnTo>
                    <a:lnTo>
                      <a:pt x="9667" y="14772"/>
                    </a:lnTo>
                    <a:lnTo>
                      <a:pt x="9583" y="14856"/>
                    </a:lnTo>
                    <a:lnTo>
                      <a:pt x="9646" y="14919"/>
                    </a:lnTo>
                    <a:lnTo>
                      <a:pt x="9604" y="15044"/>
                    </a:lnTo>
                    <a:lnTo>
                      <a:pt x="9751" y="15149"/>
                    </a:lnTo>
                    <a:lnTo>
                      <a:pt x="9751" y="15337"/>
                    </a:lnTo>
                    <a:lnTo>
                      <a:pt x="9855" y="15525"/>
                    </a:lnTo>
                    <a:lnTo>
                      <a:pt x="9793" y="15860"/>
                    </a:lnTo>
                    <a:lnTo>
                      <a:pt x="9814" y="15986"/>
                    </a:lnTo>
                    <a:lnTo>
                      <a:pt x="9772" y="16111"/>
                    </a:lnTo>
                    <a:lnTo>
                      <a:pt x="9814" y="16258"/>
                    </a:lnTo>
                    <a:lnTo>
                      <a:pt x="10023" y="16216"/>
                    </a:lnTo>
                    <a:lnTo>
                      <a:pt x="10107" y="16279"/>
                    </a:lnTo>
                    <a:lnTo>
                      <a:pt x="10379" y="16258"/>
                    </a:lnTo>
                    <a:lnTo>
                      <a:pt x="10525" y="16300"/>
                    </a:lnTo>
                    <a:lnTo>
                      <a:pt x="10797" y="16195"/>
                    </a:lnTo>
                    <a:lnTo>
                      <a:pt x="10923" y="16300"/>
                    </a:lnTo>
                    <a:lnTo>
                      <a:pt x="11027" y="16321"/>
                    </a:lnTo>
                    <a:lnTo>
                      <a:pt x="11069" y="16467"/>
                    </a:lnTo>
                    <a:lnTo>
                      <a:pt x="11236" y="17095"/>
                    </a:lnTo>
                    <a:lnTo>
                      <a:pt x="11341" y="17304"/>
                    </a:lnTo>
                    <a:lnTo>
                      <a:pt x="11446" y="17325"/>
                    </a:lnTo>
                    <a:lnTo>
                      <a:pt x="11676" y="17199"/>
                    </a:lnTo>
                    <a:lnTo>
                      <a:pt x="11801" y="17241"/>
                    </a:lnTo>
                    <a:lnTo>
                      <a:pt x="11885" y="17325"/>
                    </a:lnTo>
                    <a:lnTo>
                      <a:pt x="11969" y="17346"/>
                    </a:lnTo>
                    <a:lnTo>
                      <a:pt x="11906" y="17450"/>
                    </a:lnTo>
                    <a:lnTo>
                      <a:pt x="11885" y="17994"/>
                    </a:lnTo>
                    <a:lnTo>
                      <a:pt x="11864" y="18057"/>
                    </a:lnTo>
                    <a:lnTo>
                      <a:pt x="11822" y="18078"/>
                    </a:lnTo>
                    <a:lnTo>
                      <a:pt x="11822" y="18162"/>
                    </a:lnTo>
                    <a:lnTo>
                      <a:pt x="11801" y="18204"/>
                    </a:lnTo>
                    <a:lnTo>
                      <a:pt x="11801" y="18287"/>
                    </a:lnTo>
                    <a:lnTo>
                      <a:pt x="11906" y="18204"/>
                    </a:lnTo>
                    <a:lnTo>
                      <a:pt x="12178" y="18245"/>
                    </a:lnTo>
                    <a:lnTo>
                      <a:pt x="12178" y="18350"/>
                    </a:lnTo>
                    <a:lnTo>
                      <a:pt x="12283" y="18580"/>
                    </a:lnTo>
                    <a:lnTo>
                      <a:pt x="12283" y="18769"/>
                    </a:lnTo>
                    <a:lnTo>
                      <a:pt x="12303" y="18999"/>
                    </a:lnTo>
                    <a:lnTo>
                      <a:pt x="12324" y="19208"/>
                    </a:lnTo>
                    <a:lnTo>
                      <a:pt x="12303" y="19292"/>
                    </a:lnTo>
                    <a:lnTo>
                      <a:pt x="12199" y="19292"/>
                    </a:lnTo>
                    <a:lnTo>
                      <a:pt x="12073" y="19354"/>
                    </a:lnTo>
                    <a:lnTo>
                      <a:pt x="12031" y="19417"/>
                    </a:lnTo>
                    <a:lnTo>
                      <a:pt x="11969" y="19501"/>
                    </a:lnTo>
                    <a:lnTo>
                      <a:pt x="11927" y="19459"/>
                    </a:lnTo>
                    <a:lnTo>
                      <a:pt x="11697" y="19626"/>
                    </a:lnTo>
                    <a:lnTo>
                      <a:pt x="11655" y="19710"/>
                    </a:lnTo>
                    <a:lnTo>
                      <a:pt x="11571" y="19731"/>
                    </a:lnTo>
                    <a:lnTo>
                      <a:pt x="11362" y="19919"/>
                    </a:lnTo>
                    <a:lnTo>
                      <a:pt x="11278" y="19940"/>
                    </a:lnTo>
                    <a:lnTo>
                      <a:pt x="11278" y="20066"/>
                    </a:lnTo>
                    <a:lnTo>
                      <a:pt x="11195" y="20087"/>
                    </a:lnTo>
                    <a:lnTo>
                      <a:pt x="11132" y="20087"/>
                    </a:lnTo>
                    <a:lnTo>
                      <a:pt x="10943" y="20338"/>
                    </a:lnTo>
                    <a:lnTo>
                      <a:pt x="10923" y="20401"/>
                    </a:lnTo>
                    <a:lnTo>
                      <a:pt x="10923" y="20547"/>
                    </a:lnTo>
                    <a:lnTo>
                      <a:pt x="10839" y="20568"/>
                    </a:lnTo>
                    <a:lnTo>
                      <a:pt x="10776" y="20652"/>
                    </a:lnTo>
                    <a:lnTo>
                      <a:pt x="10671" y="20861"/>
                    </a:lnTo>
                    <a:lnTo>
                      <a:pt x="10609" y="20924"/>
                    </a:lnTo>
                    <a:lnTo>
                      <a:pt x="10504" y="21091"/>
                    </a:lnTo>
                    <a:lnTo>
                      <a:pt x="10504" y="21133"/>
                    </a:lnTo>
                    <a:lnTo>
                      <a:pt x="10399" y="21217"/>
                    </a:lnTo>
                    <a:lnTo>
                      <a:pt x="10358" y="21279"/>
                    </a:lnTo>
                    <a:lnTo>
                      <a:pt x="10441" y="21279"/>
                    </a:lnTo>
                    <a:lnTo>
                      <a:pt x="10504" y="21300"/>
                    </a:lnTo>
                    <a:lnTo>
                      <a:pt x="10776" y="21217"/>
                    </a:lnTo>
                    <a:lnTo>
                      <a:pt x="10923" y="21300"/>
                    </a:lnTo>
                    <a:lnTo>
                      <a:pt x="11048" y="21489"/>
                    </a:lnTo>
                    <a:lnTo>
                      <a:pt x="11153" y="21530"/>
                    </a:lnTo>
                    <a:lnTo>
                      <a:pt x="11236" y="21698"/>
                    </a:lnTo>
                    <a:lnTo>
                      <a:pt x="11362" y="21928"/>
                    </a:lnTo>
                    <a:lnTo>
                      <a:pt x="11446" y="21928"/>
                    </a:lnTo>
                    <a:lnTo>
                      <a:pt x="11550" y="21803"/>
                    </a:lnTo>
                    <a:lnTo>
                      <a:pt x="11592" y="21803"/>
                    </a:lnTo>
                    <a:lnTo>
                      <a:pt x="11718" y="22012"/>
                    </a:lnTo>
                    <a:lnTo>
                      <a:pt x="11885" y="22075"/>
                    </a:lnTo>
                    <a:lnTo>
                      <a:pt x="12011" y="22116"/>
                    </a:lnTo>
                    <a:lnTo>
                      <a:pt x="12136" y="22242"/>
                    </a:lnTo>
                    <a:lnTo>
                      <a:pt x="12136" y="22388"/>
                    </a:lnTo>
                    <a:lnTo>
                      <a:pt x="12241" y="22367"/>
                    </a:lnTo>
                    <a:lnTo>
                      <a:pt x="12492" y="22472"/>
                    </a:lnTo>
                    <a:lnTo>
                      <a:pt x="12617" y="22639"/>
                    </a:lnTo>
                    <a:lnTo>
                      <a:pt x="12743" y="22849"/>
                    </a:lnTo>
                    <a:lnTo>
                      <a:pt x="12868" y="22911"/>
                    </a:lnTo>
                    <a:lnTo>
                      <a:pt x="12848" y="23079"/>
                    </a:lnTo>
                    <a:lnTo>
                      <a:pt x="12743" y="23225"/>
                    </a:lnTo>
                    <a:lnTo>
                      <a:pt x="12806" y="23414"/>
                    </a:lnTo>
                    <a:lnTo>
                      <a:pt x="12827" y="23476"/>
                    </a:lnTo>
                    <a:lnTo>
                      <a:pt x="12848" y="23497"/>
                    </a:lnTo>
                    <a:lnTo>
                      <a:pt x="12931" y="23581"/>
                    </a:lnTo>
                    <a:lnTo>
                      <a:pt x="12952" y="23602"/>
                    </a:lnTo>
                    <a:lnTo>
                      <a:pt x="13161" y="23414"/>
                    </a:lnTo>
                    <a:lnTo>
                      <a:pt x="13245" y="23225"/>
                    </a:lnTo>
                    <a:lnTo>
                      <a:pt x="13350" y="22849"/>
                    </a:lnTo>
                    <a:lnTo>
                      <a:pt x="13433" y="22577"/>
                    </a:lnTo>
                    <a:lnTo>
                      <a:pt x="13454" y="22535"/>
                    </a:lnTo>
                    <a:lnTo>
                      <a:pt x="13426" y="22507"/>
                    </a:lnTo>
                    <a:lnTo>
                      <a:pt x="13426" y="22507"/>
                    </a:lnTo>
                    <a:lnTo>
                      <a:pt x="13496" y="22535"/>
                    </a:lnTo>
                    <a:lnTo>
                      <a:pt x="13873" y="22242"/>
                    </a:lnTo>
                    <a:lnTo>
                      <a:pt x="14061" y="22033"/>
                    </a:lnTo>
                    <a:lnTo>
                      <a:pt x="14312" y="21551"/>
                    </a:lnTo>
                    <a:lnTo>
                      <a:pt x="14417" y="21321"/>
                    </a:lnTo>
                    <a:lnTo>
                      <a:pt x="14521" y="21028"/>
                    </a:lnTo>
                    <a:lnTo>
                      <a:pt x="14793" y="20547"/>
                    </a:lnTo>
                    <a:lnTo>
                      <a:pt x="15044" y="20233"/>
                    </a:lnTo>
                    <a:lnTo>
                      <a:pt x="15107" y="20129"/>
                    </a:lnTo>
                    <a:lnTo>
                      <a:pt x="15065" y="20087"/>
                    </a:lnTo>
                    <a:lnTo>
                      <a:pt x="15065" y="20024"/>
                    </a:lnTo>
                    <a:lnTo>
                      <a:pt x="15128" y="19982"/>
                    </a:lnTo>
                    <a:lnTo>
                      <a:pt x="15170" y="19857"/>
                    </a:lnTo>
                    <a:lnTo>
                      <a:pt x="15254" y="19815"/>
                    </a:lnTo>
                    <a:lnTo>
                      <a:pt x="15233" y="19710"/>
                    </a:lnTo>
                    <a:lnTo>
                      <a:pt x="15254" y="19626"/>
                    </a:lnTo>
                    <a:lnTo>
                      <a:pt x="15233" y="19606"/>
                    </a:lnTo>
                    <a:lnTo>
                      <a:pt x="15296" y="19585"/>
                    </a:lnTo>
                    <a:lnTo>
                      <a:pt x="15296" y="19480"/>
                    </a:lnTo>
                    <a:lnTo>
                      <a:pt x="15191" y="19313"/>
                    </a:lnTo>
                    <a:lnTo>
                      <a:pt x="15191" y="19229"/>
                    </a:lnTo>
                    <a:lnTo>
                      <a:pt x="15212" y="19166"/>
                    </a:lnTo>
                    <a:lnTo>
                      <a:pt x="15191" y="19082"/>
                    </a:lnTo>
                    <a:lnTo>
                      <a:pt x="15149" y="18915"/>
                    </a:lnTo>
                    <a:lnTo>
                      <a:pt x="15107" y="18748"/>
                    </a:lnTo>
                    <a:lnTo>
                      <a:pt x="15149" y="18685"/>
                    </a:lnTo>
                    <a:lnTo>
                      <a:pt x="15316" y="18664"/>
                    </a:lnTo>
                    <a:lnTo>
                      <a:pt x="15296" y="18559"/>
                    </a:lnTo>
                    <a:lnTo>
                      <a:pt x="15212" y="18497"/>
                    </a:lnTo>
                    <a:lnTo>
                      <a:pt x="15337" y="18476"/>
                    </a:lnTo>
                    <a:lnTo>
                      <a:pt x="15337" y="18371"/>
                    </a:lnTo>
                    <a:lnTo>
                      <a:pt x="15212" y="18308"/>
                    </a:lnTo>
                    <a:lnTo>
                      <a:pt x="15316" y="18287"/>
                    </a:lnTo>
                    <a:lnTo>
                      <a:pt x="15379" y="18183"/>
                    </a:lnTo>
                    <a:lnTo>
                      <a:pt x="15442" y="18245"/>
                    </a:lnTo>
                    <a:lnTo>
                      <a:pt x="15630" y="18057"/>
                    </a:lnTo>
                    <a:lnTo>
                      <a:pt x="15735" y="17973"/>
                    </a:lnTo>
                    <a:lnTo>
                      <a:pt x="15735" y="17932"/>
                    </a:lnTo>
                    <a:lnTo>
                      <a:pt x="15881" y="17785"/>
                    </a:lnTo>
                    <a:lnTo>
                      <a:pt x="16070" y="17681"/>
                    </a:lnTo>
                    <a:lnTo>
                      <a:pt x="16300" y="17429"/>
                    </a:lnTo>
                    <a:lnTo>
                      <a:pt x="16509" y="17409"/>
                    </a:lnTo>
                    <a:lnTo>
                      <a:pt x="16614" y="17304"/>
                    </a:lnTo>
                    <a:lnTo>
                      <a:pt x="16739" y="17199"/>
                    </a:lnTo>
                    <a:lnTo>
                      <a:pt x="16844" y="17199"/>
                    </a:lnTo>
                    <a:lnTo>
                      <a:pt x="16928" y="17241"/>
                    </a:lnTo>
                    <a:lnTo>
                      <a:pt x="17011" y="17283"/>
                    </a:lnTo>
                    <a:lnTo>
                      <a:pt x="17011" y="17199"/>
                    </a:lnTo>
                    <a:lnTo>
                      <a:pt x="17095" y="17032"/>
                    </a:lnTo>
                    <a:lnTo>
                      <a:pt x="17325" y="16885"/>
                    </a:lnTo>
                    <a:lnTo>
                      <a:pt x="17430" y="16865"/>
                    </a:lnTo>
                    <a:lnTo>
                      <a:pt x="17430" y="16802"/>
                    </a:lnTo>
                    <a:lnTo>
                      <a:pt x="17367" y="16781"/>
                    </a:lnTo>
                    <a:lnTo>
                      <a:pt x="17304" y="16739"/>
                    </a:lnTo>
                    <a:lnTo>
                      <a:pt x="17262" y="16676"/>
                    </a:lnTo>
                    <a:lnTo>
                      <a:pt x="17346" y="16634"/>
                    </a:lnTo>
                    <a:lnTo>
                      <a:pt x="17513" y="16572"/>
                    </a:lnTo>
                    <a:lnTo>
                      <a:pt x="17576" y="16593"/>
                    </a:lnTo>
                    <a:lnTo>
                      <a:pt x="17681" y="16593"/>
                    </a:lnTo>
                    <a:lnTo>
                      <a:pt x="17765" y="16530"/>
                    </a:lnTo>
                    <a:lnTo>
                      <a:pt x="17869" y="16530"/>
                    </a:lnTo>
                    <a:lnTo>
                      <a:pt x="17869" y="16593"/>
                    </a:lnTo>
                    <a:lnTo>
                      <a:pt x="17744" y="16676"/>
                    </a:lnTo>
                    <a:lnTo>
                      <a:pt x="17576" y="16697"/>
                    </a:lnTo>
                    <a:lnTo>
                      <a:pt x="17555" y="16718"/>
                    </a:lnTo>
                    <a:lnTo>
                      <a:pt x="17618" y="16739"/>
                    </a:lnTo>
                    <a:lnTo>
                      <a:pt x="17848" y="16676"/>
                    </a:lnTo>
                    <a:lnTo>
                      <a:pt x="18099" y="16572"/>
                    </a:lnTo>
                    <a:lnTo>
                      <a:pt x="18078" y="16509"/>
                    </a:lnTo>
                    <a:lnTo>
                      <a:pt x="18162" y="16467"/>
                    </a:lnTo>
                    <a:lnTo>
                      <a:pt x="18246" y="16467"/>
                    </a:lnTo>
                    <a:lnTo>
                      <a:pt x="18204" y="16509"/>
                    </a:lnTo>
                    <a:cubicBezTo>
                      <a:pt x="18204" y="16509"/>
                      <a:pt x="18204" y="16613"/>
                      <a:pt x="18246" y="16613"/>
                    </a:cubicBezTo>
                    <a:lnTo>
                      <a:pt x="18392" y="16634"/>
                    </a:lnTo>
                    <a:lnTo>
                      <a:pt x="18497" y="16593"/>
                    </a:lnTo>
                    <a:lnTo>
                      <a:pt x="18664" y="16593"/>
                    </a:lnTo>
                    <a:lnTo>
                      <a:pt x="18832" y="16613"/>
                    </a:lnTo>
                    <a:lnTo>
                      <a:pt x="18936" y="16551"/>
                    </a:lnTo>
                    <a:lnTo>
                      <a:pt x="18936" y="16488"/>
                    </a:lnTo>
                    <a:lnTo>
                      <a:pt x="18915" y="16467"/>
                    </a:lnTo>
                    <a:lnTo>
                      <a:pt x="18936" y="16404"/>
                    </a:lnTo>
                    <a:lnTo>
                      <a:pt x="19208" y="16237"/>
                    </a:lnTo>
                    <a:lnTo>
                      <a:pt x="19418" y="16153"/>
                    </a:lnTo>
                    <a:lnTo>
                      <a:pt x="19522" y="16069"/>
                    </a:lnTo>
                    <a:lnTo>
                      <a:pt x="19543" y="15986"/>
                    </a:lnTo>
                    <a:lnTo>
                      <a:pt x="19522" y="15944"/>
                    </a:lnTo>
                    <a:lnTo>
                      <a:pt x="19418" y="15735"/>
                    </a:lnTo>
                    <a:lnTo>
                      <a:pt x="19501" y="15567"/>
                    </a:lnTo>
                    <a:lnTo>
                      <a:pt x="19564" y="15463"/>
                    </a:lnTo>
                    <a:lnTo>
                      <a:pt x="19564" y="15358"/>
                    </a:lnTo>
                    <a:lnTo>
                      <a:pt x="19627" y="15316"/>
                    </a:lnTo>
                    <a:lnTo>
                      <a:pt x="19731" y="15232"/>
                    </a:lnTo>
                    <a:lnTo>
                      <a:pt x="19752" y="15128"/>
                    </a:lnTo>
                    <a:lnTo>
                      <a:pt x="19731" y="15107"/>
                    </a:lnTo>
                    <a:lnTo>
                      <a:pt x="19878" y="14835"/>
                    </a:lnTo>
                    <a:lnTo>
                      <a:pt x="20087" y="14584"/>
                    </a:lnTo>
                    <a:lnTo>
                      <a:pt x="20087" y="14479"/>
                    </a:lnTo>
                    <a:lnTo>
                      <a:pt x="20045" y="14103"/>
                    </a:lnTo>
                    <a:lnTo>
                      <a:pt x="20003" y="14082"/>
                    </a:lnTo>
                    <a:lnTo>
                      <a:pt x="20066" y="13872"/>
                    </a:lnTo>
                    <a:lnTo>
                      <a:pt x="20129" y="13789"/>
                    </a:lnTo>
                    <a:lnTo>
                      <a:pt x="20129" y="13726"/>
                    </a:lnTo>
                    <a:lnTo>
                      <a:pt x="20317" y="13580"/>
                    </a:lnTo>
                    <a:lnTo>
                      <a:pt x="20338" y="13496"/>
                    </a:lnTo>
                    <a:lnTo>
                      <a:pt x="20275" y="13287"/>
                    </a:lnTo>
                    <a:lnTo>
                      <a:pt x="20359" y="13036"/>
                    </a:lnTo>
                    <a:lnTo>
                      <a:pt x="20338" y="12826"/>
                    </a:lnTo>
                    <a:lnTo>
                      <a:pt x="20359" y="12659"/>
                    </a:lnTo>
                    <a:lnTo>
                      <a:pt x="20359" y="12596"/>
                    </a:lnTo>
                    <a:lnTo>
                      <a:pt x="20422" y="12387"/>
                    </a:lnTo>
                    <a:lnTo>
                      <a:pt x="20359" y="11592"/>
                    </a:lnTo>
                    <a:lnTo>
                      <a:pt x="20359" y="11445"/>
                    </a:lnTo>
                    <a:lnTo>
                      <a:pt x="20422" y="11341"/>
                    </a:lnTo>
                    <a:lnTo>
                      <a:pt x="20422" y="11236"/>
                    </a:lnTo>
                    <a:lnTo>
                      <a:pt x="20359" y="11278"/>
                    </a:lnTo>
                    <a:lnTo>
                      <a:pt x="20275" y="11194"/>
                    </a:lnTo>
                    <a:lnTo>
                      <a:pt x="20275" y="11131"/>
                    </a:lnTo>
                    <a:lnTo>
                      <a:pt x="20359" y="10985"/>
                    </a:lnTo>
                    <a:lnTo>
                      <a:pt x="20338" y="10859"/>
                    </a:lnTo>
                    <a:lnTo>
                      <a:pt x="20359" y="10776"/>
                    </a:lnTo>
                    <a:lnTo>
                      <a:pt x="20443" y="10755"/>
                    </a:lnTo>
                    <a:lnTo>
                      <a:pt x="20464" y="10629"/>
                    </a:lnTo>
                    <a:lnTo>
                      <a:pt x="20380" y="10504"/>
                    </a:lnTo>
                    <a:lnTo>
                      <a:pt x="20234" y="10420"/>
                    </a:lnTo>
                    <a:lnTo>
                      <a:pt x="20275" y="10399"/>
                    </a:lnTo>
                    <a:lnTo>
                      <a:pt x="20317" y="10336"/>
                    </a:lnTo>
                    <a:lnTo>
                      <a:pt x="20338" y="10399"/>
                    </a:lnTo>
                    <a:lnTo>
                      <a:pt x="20422" y="10441"/>
                    </a:lnTo>
                    <a:lnTo>
                      <a:pt x="20485" y="10462"/>
                    </a:lnTo>
                    <a:lnTo>
                      <a:pt x="20526" y="10336"/>
                    </a:lnTo>
                    <a:lnTo>
                      <a:pt x="20589" y="10336"/>
                    </a:lnTo>
                    <a:lnTo>
                      <a:pt x="20631" y="10420"/>
                    </a:lnTo>
                    <a:lnTo>
                      <a:pt x="20673" y="10441"/>
                    </a:lnTo>
                    <a:lnTo>
                      <a:pt x="20631" y="10525"/>
                    </a:lnTo>
                    <a:lnTo>
                      <a:pt x="20547" y="10567"/>
                    </a:lnTo>
                    <a:lnTo>
                      <a:pt x="20526" y="10650"/>
                    </a:lnTo>
                    <a:lnTo>
                      <a:pt x="20568" y="10650"/>
                    </a:lnTo>
                    <a:lnTo>
                      <a:pt x="20673" y="10546"/>
                    </a:lnTo>
                    <a:lnTo>
                      <a:pt x="20840" y="10462"/>
                    </a:lnTo>
                    <a:lnTo>
                      <a:pt x="21008" y="10190"/>
                    </a:lnTo>
                    <a:lnTo>
                      <a:pt x="21091" y="9981"/>
                    </a:lnTo>
                    <a:lnTo>
                      <a:pt x="21112" y="9834"/>
                    </a:lnTo>
                    <a:lnTo>
                      <a:pt x="21196" y="9771"/>
                    </a:lnTo>
                    <a:lnTo>
                      <a:pt x="21280" y="9562"/>
                    </a:lnTo>
                    <a:lnTo>
                      <a:pt x="21363" y="9374"/>
                    </a:lnTo>
                    <a:lnTo>
                      <a:pt x="21677" y="9165"/>
                    </a:lnTo>
                    <a:lnTo>
                      <a:pt x="21698" y="9060"/>
                    </a:lnTo>
                    <a:lnTo>
                      <a:pt x="21803" y="9039"/>
                    </a:lnTo>
                    <a:lnTo>
                      <a:pt x="21887" y="8934"/>
                    </a:lnTo>
                    <a:lnTo>
                      <a:pt x="22138" y="8683"/>
                    </a:lnTo>
                    <a:lnTo>
                      <a:pt x="22368" y="8370"/>
                    </a:lnTo>
                    <a:lnTo>
                      <a:pt x="22431" y="8307"/>
                    </a:lnTo>
                    <a:lnTo>
                      <a:pt x="22556" y="7993"/>
                    </a:lnTo>
                    <a:lnTo>
                      <a:pt x="22577" y="7846"/>
                    </a:lnTo>
                    <a:lnTo>
                      <a:pt x="22661" y="7742"/>
                    </a:lnTo>
                    <a:lnTo>
                      <a:pt x="22661" y="7637"/>
                    </a:lnTo>
                    <a:lnTo>
                      <a:pt x="22577" y="7533"/>
                    </a:lnTo>
                    <a:lnTo>
                      <a:pt x="22619" y="7449"/>
                    </a:lnTo>
                    <a:lnTo>
                      <a:pt x="22682" y="7449"/>
                    </a:lnTo>
                    <a:lnTo>
                      <a:pt x="22661" y="7156"/>
                    </a:lnTo>
                    <a:lnTo>
                      <a:pt x="22577" y="7093"/>
                    </a:lnTo>
                    <a:lnTo>
                      <a:pt x="22556" y="6968"/>
                    </a:lnTo>
                    <a:lnTo>
                      <a:pt x="22347" y="6528"/>
                    </a:lnTo>
                    <a:lnTo>
                      <a:pt x="22347" y="6361"/>
                    </a:lnTo>
                    <a:lnTo>
                      <a:pt x="22326" y="6193"/>
                    </a:lnTo>
                    <a:lnTo>
                      <a:pt x="21949" y="6026"/>
                    </a:lnTo>
                    <a:lnTo>
                      <a:pt x="21740" y="6026"/>
                    </a:lnTo>
                    <a:lnTo>
                      <a:pt x="21594" y="6110"/>
                    </a:lnTo>
                    <a:lnTo>
                      <a:pt x="21489" y="5942"/>
                    </a:lnTo>
                    <a:lnTo>
                      <a:pt x="21342" y="5921"/>
                    </a:lnTo>
                    <a:lnTo>
                      <a:pt x="21217" y="5796"/>
                    </a:lnTo>
                    <a:lnTo>
                      <a:pt x="21070" y="5712"/>
                    </a:lnTo>
                    <a:lnTo>
                      <a:pt x="20966" y="5691"/>
                    </a:lnTo>
                    <a:lnTo>
                      <a:pt x="20694" y="5398"/>
                    </a:lnTo>
                    <a:lnTo>
                      <a:pt x="20485" y="5105"/>
                    </a:lnTo>
                    <a:lnTo>
                      <a:pt x="20380" y="5085"/>
                    </a:lnTo>
                    <a:lnTo>
                      <a:pt x="20254" y="4959"/>
                    </a:lnTo>
                    <a:lnTo>
                      <a:pt x="20129" y="4959"/>
                    </a:lnTo>
                    <a:lnTo>
                      <a:pt x="19773" y="4687"/>
                    </a:lnTo>
                    <a:lnTo>
                      <a:pt x="19627" y="4687"/>
                    </a:lnTo>
                    <a:lnTo>
                      <a:pt x="19438" y="4603"/>
                    </a:lnTo>
                    <a:lnTo>
                      <a:pt x="19334" y="4666"/>
                    </a:lnTo>
                    <a:lnTo>
                      <a:pt x="19187" y="4666"/>
                    </a:lnTo>
                    <a:lnTo>
                      <a:pt x="19083" y="4603"/>
                    </a:lnTo>
                    <a:lnTo>
                      <a:pt x="18978" y="4666"/>
                    </a:lnTo>
                    <a:lnTo>
                      <a:pt x="18915" y="4750"/>
                    </a:lnTo>
                    <a:lnTo>
                      <a:pt x="18832" y="4666"/>
                    </a:lnTo>
                    <a:lnTo>
                      <a:pt x="18685" y="4561"/>
                    </a:lnTo>
                    <a:lnTo>
                      <a:pt x="18685" y="4666"/>
                    </a:lnTo>
                    <a:lnTo>
                      <a:pt x="18602" y="4624"/>
                    </a:lnTo>
                    <a:lnTo>
                      <a:pt x="18581" y="4687"/>
                    </a:lnTo>
                    <a:lnTo>
                      <a:pt x="18581" y="4750"/>
                    </a:lnTo>
                    <a:lnTo>
                      <a:pt x="18476" y="4666"/>
                    </a:lnTo>
                    <a:lnTo>
                      <a:pt x="18455" y="4624"/>
                    </a:lnTo>
                    <a:lnTo>
                      <a:pt x="18371" y="4582"/>
                    </a:lnTo>
                    <a:lnTo>
                      <a:pt x="18371" y="4582"/>
                    </a:lnTo>
                    <a:lnTo>
                      <a:pt x="18392" y="4645"/>
                    </a:lnTo>
                    <a:lnTo>
                      <a:pt x="18371" y="4666"/>
                    </a:lnTo>
                    <a:lnTo>
                      <a:pt x="18183" y="4582"/>
                    </a:lnTo>
                    <a:lnTo>
                      <a:pt x="18141" y="4582"/>
                    </a:lnTo>
                    <a:lnTo>
                      <a:pt x="17995" y="4561"/>
                    </a:lnTo>
                    <a:lnTo>
                      <a:pt x="17702" y="4394"/>
                    </a:lnTo>
                    <a:lnTo>
                      <a:pt x="17555" y="4394"/>
                    </a:lnTo>
                    <a:lnTo>
                      <a:pt x="17555" y="4436"/>
                    </a:lnTo>
                    <a:lnTo>
                      <a:pt x="17597" y="4478"/>
                    </a:lnTo>
                    <a:lnTo>
                      <a:pt x="17555" y="4520"/>
                    </a:lnTo>
                    <a:lnTo>
                      <a:pt x="17472" y="4478"/>
                    </a:lnTo>
                    <a:lnTo>
                      <a:pt x="17451" y="4520"/>
                    </a:lnTo>
                    <a:lnTo>
                      <a:pt x="17430" y="4561"/>
                    </a:lnTo>
                    <a:lnTo>
                      <a:pt x="17325" y="4603"/>
                    </a:lnTo>
                    <a:lnTo>
                      <a:pt x="17262" y="4666"/>
                    </a:lnTo>
                    <a:lnTo>
                      <a:pt x="17241" y="4792"/>
                    </a:lnTo>
                    <a:lnTo>
                      <a:pt x="17200" y="4687"/>
                    </a:lnTo>
                    <a:lnTo>
                      <a:pt x="17158" y="4603"/>
                    </a:lnTo>
                    <a:lnTo>
                      <a:pt x="17116" y="4645"/>
                    </a:lnTo>
                    <a:lnTo>
                      <a:pt x="17116" y="4750"/>
                    </a:lnTo>
                    <a:lnTo>
                      <a:pt x="17011" y="4917"/>
                    </a:lnTo>
                    <a:lnTo>
                      <a:pt x="17011" y="5085"/>
                    </a:lnTo>
                    <a:lnTo>
                      <a:pt x="16990" y="4917"/>
                    </a:lnTo>
                    <a:lnTo>
                      <a:pt x="17011" y="4771"/>
                    </a:lnTo>
                    <a:lnTo>
                      <a:pt x="16990" y="4645"/>
                    </a:lnTo>
                    <a:lnTo>
                      <a:pt x="17032" y="4457"/>
                    </a:lnTo>
                    <a:lnTo>
                      <a:pt x="17095" y="4394"/>
                    </a:lnTo>
                    <a:lnTo>
                      <a:pt x="17032" y="4373"/>
                    </a:lnTo>
                    <a:lnTo>
                      <a:pt x="16928" y="4373"/>
                    </a:lnTo>
                    <a:lnTo>
                      <a:pt x="17053" y="4248"/>
                    </a:lnTo>
                    <a:lnTo>
                      <a:pt x="16907" y="4059"/>
                    </a:lnTo>
                    <a:lnTo>
                      <a:pt x="16823" y="3913"/>
                    </a:lnTo>
                    <a:lnTo>
                      <a:pt x="16739" y="3913"/>
                    </a:lnTo>
                    <a:lnTo>
                      <a:pt x="16614" y="3871"/>
                    </a:lnTo>
                    <a:lnTo>
                      <a:pt x="16530" y="3976"/>
                    </a:lnTo>
                    <a:lnTo>
                      <a:pt x="16467" y="4017"/>
                    </a:lnTo>
                    <a:lnTo>
                      <a:pt x="16425" y="3934"/>
                    </a:lnTo>
                    <a:lnTo>
                      <a:pt x="16384" y="3913"/>
                    </a:lnTo>
                    <a:lnTo>
                      <a:pt x="16363" y="3829"/>
                    </a:lnTo>
                    <a:lnTo>
                      <a:pt x="16279" y="3766"/>
                    </a:lnTo>
                    <a:lnTo>
                      <a:pt x="16195" y="3766"/>
                    </a:lnTo>
                    <a:lnTo>
                      <a:pt x="16153" y="3724"/>
                    </a:lnTo>
                    <a:lnTo>
                      <a:pt x="16070" y="3704"/>
                    </a:lnTo>
                    <a:lnTo>
                      <a:pt x="16007" y="3745"/>
                    </a:lnTo>
                    <a:lnTo>
                      <a:pt x="16007" y="3704"/>
                    </a:lnTo>
                    <a:lnTo>
                      <a:pt x="15965" y="3662"/>
                    </a:lnTo>
                    <a:lnTo>
                      <a:pt x="15902" y="3599"/>
                    </a:lnTo>
                    <a:lnTo>
                      <a:pt x="15840" y="3620"/>
                    </a:lnTo>
                    <a:lnTo>
                      <a:pt x="15693" y="3599"/>
                    </a:lnTo>
                    <a:lnTo>
                      <a:pt x="15526" y="3494"/>
                    </a:lnTo>
                    <a:lnTo>
                      <a:pt x="15463" y="3494"/>
                    </a:lnTo>
                    <a:lnTo>
                      <a:pt x="15442" y="3536"/>
                    </a:lnTo>
                    <a:lnTo>
                      <a:pt x="15337" y="3452"/>
                    </a:lnTo>
                    <a:lnTo>
                      <a:pt x="15254" y="3452"/>
                    </a:lnTo>
                    <a:lnTo>
                      <a:pt x="15233" y="3536"/>
                    </a:lnTo>
                    <a:lnTo>
                      <a:pt x="15170" y="3536"/>
                    </a:lnTo>
                    <a:lnTo>
                      <a:pt x="15149" y="3452"/>
                    </a:lnTo>
                    <a:lnTo>
                      <a:pt x="15024" y="3452"/>
                    </a:lnTo>
                    <a:lnTo>
                      <a:pt x="14919" y="3515"/>
                    </a:lnTo>
                    <a:lnTo>
                      <a:pt x="14856" y="3620"/>
                    </a:lnTo>
                    <a:lnTo>
                      <a:pt x="14856" y="3704"/>
                    </a:lnTo>
                    <a:lnTo>
                      <a:pt x="14731" y="3829"/>
                    </a:lnTo>
                    <a:lnTo>
                      <a:pt x="14584" y="3934"/>
                    </a:lnTo>
                    <a:lnTo>
                      <a:pt x="14375" y="4059"/>
                    </a:lnTo>
                    <a:lnTo>
                      <a:pt x="14270" y="4185"/>
                    </a:lnTo>
                    <a:lnTo>
                      <a:pt x="14208" y="4352"/>
                    </a:lnTo>
                    <a:lnTo>
                      <a:pt x="14187" y="4499"/>
                    </a:lnTo>
                    <a:lnTo>
                      <a:pt x="14124" y="4582"/>
                    </a:lnTo>
                    <a:lnTo>
                      <a:pt x="14019" y="4687"/>
                    </a:lnTo>
                    <a:lnTo>
                      <a:pt x="14019" y="4771"/>
                    </a:lnTo>
                    <a:lnTo>
                      <a:pt x="14061" y="4896"/>
                    </a:lnTo>
                    <a:lnTo>
                      <a:pt x="14019" y="5105"/>
                    </a:lnTo>
                    <a:lnTo>
                      <a:pt x="13998" y="4980"/>
                    </a:lnTo>
                    <a:lnTo>
                      <a:pt x="13915" y="4854"/>
                    </a:lnTo>
                    <a:lnTo>
                      <a:pt x="13915" y="4750"/>
                    </a:lnTo>
                    <a:lnTo>
                      <a:pt x="13998" y="4645"/>
                    </a:lnTo>
                    <a:lnTo>
                      <a:pt x="14103" y="4561"/>
                    </a:lnTo>
                    <a:lnTo>
                      <a:pt x="14082" y="4394"/>
                    </a:lnTo>
                    <a:lnTo>
                      <a:pt x="14124" y="4269"/>
                    </a:lnTo>
                    <a:lnTo>
                      <a:pt x="14124" y="4185"/>
                    </a:lnTo>
                    <a:lnTo>
                      <a:pt x="14061" y="4185"/>
                    </a:lnTo>
                    <a:lnTo>
                      <a:pt x="13915" y="4248"/>
                    </a:lnTo>
                    <a:lnTo>
                      <a:pt x="13768" y="4185"/>
                    </a:lnTo>
                    <a:lnTo>
                      <a:pt x="13643" y="4185"/>
                    </a:lnTo>
                    <a:lnTo>
                      <a:pt x="13538" y="4227"/>
                    </a:lnTo>
                    <a:lnTo>
                      <a:pt x="13454" y="4164"/>
                    </a:lnTo>
                    <a:lnTo>
                      <a:pt x="13538" y="4164"/>
                    </a:lnTo>
                    <a:lnTo>
                      <a:pt x="13643" y="4080"/>
                    </a:lnTo>
                    <a:lnTo>
                      <a:pt x="13747" y="4059"/>
                    </a:lnTo>
                    <a:lnTo>
                      <a:pt x="13915" y="4080"/>
                    </a:lnTo>
                    <a:lnTo>
                      <a:pt x="14019" y="4059"/>
                    </a:lnTo>
                    <a:lnTo>
                      <a:pt x="14103" y="3955"/>
                    </a:lnTo>
                    <a:lnTo>
                      <a:pt x="14166" y="3955"/>
                    </a:lnTo>
                    <a:lnTo>
                      <a:pt x="14208" y="4017"/>
                    </a:lnTo>
                    <a:lnTo>
                      <a:pt x="14270" y="3976"/>
                    </a:lnTo>
                    <a:lnTo>
                      <a:pt x="14375" y="3934"/>
                    </a:lnTo>
                    <a:lnTo>
                      <a:pt x="14521" y="3871"/>
                    </a:lnTo>
                    <a:lnTo>
                      <a:pt x="14521" y="3745"/>
                    </a:lnTo>
                    <a:lnTo>
                      <a:pt x="14689" y="3557"/>
                    </a:lnTo>
                    <a:lnTo>
                      <a:pt x="14689" y="3432"/>
                    </a:lnTo>
                    <a:lnTo>
                      <a:pt x="14731" y="3348"/>
                    </a:lnTo>
                    <a:lnTo>
                      <a:pt x="14731" y="3243"/>
                    </a:lnTo>
                    <a:lnTo>
                      <a:pt x="14584" y="3222"/>
                    </a:lnTo>
                    <a:lnTo>
                      <a:pt x="14438" y="3118"/>
                    </a:lnTo>
                    <a:lnTo>
                      <a:pt x="14333" y="3118"/>
                    </a:lnTo>
                    <a:lnTo>
                      <a:pt x="14187" y="3222"/>
                    </a:lnTo>
                    <a:lnTo>
                      <a:pt x="14061" y="3222"/>
                    </a:lnTo>
                    <a:lnTo>
                      <a:pt x="13852" y="3139"/>
                    </a:lnTo>
                    <a:lnTo>
                      <a:pt x="13643" y="3118"/>
                    </a:lnTo>
                    <a:lnTo>
                      <a:pt x="13475" y="3285"/>
                    </a:lnTo>
                    <a:lnTo>
                      <a:pt x="13475" y="3348"/>
                    </a:lnTo>
                    <a:lnTo>
                      <a:pt x="13538" y="3390"/>
                    </a:lnTo>
                    <a:lnTo>
                      <a:pt x="13559" y="3432"/>
                    </a:lnTo>
                    <a:lnTo>
                      <a:pt x="13475" y="3432"/>
                    </a:lnTo>
                    <a:lnTo>
                      <a:pt x="13433" y="3452"/>
                    </a:lnTo>
                    <a:lnTo>
                      <a:pt x="13371" y="3557"/>
                    </a:lnTo>
                    <a:lnTo>
                      <a:pt x="13350" y="3494"/>
                    </a:lnTo>
                    <a:lnTo>
                      <a:pt x="13287" y="3452"/>
                    </a:lnTo>
                    <a:lnTo>
                      <a:pt x="13161" y="3515"/>
                    </a:lnTo>
                    <a:lnTo>
                      <a:pt x="13036" y="3704"/>
                    </a:lnTo>
                    <a:lnTo>
                      <a:pt x="12848" y="3913"/>
                    </a:lnTo>
                    <a:lnTo>
                      <a:pt x="12973" y="3724"/>
                    </a:lnTo>
                    <a:lnTo>
                      <a:pt x="12973" y="3599"/>
                    </a:lnTo>
                    <a:lnTo>
                      <a:pt x="13015" y="3515"/>
                    </a:lnTo>
                    <a:lnTo>
                      <a:pt x="13015" y="3432"/>
                    </a:lnTo>
                    <a:lnTo>
                      <a:pt x="12952" y="3432"/>
                    </a:lnTo>
                    <a:lnTo>
                      <a:pt x="12848" y="3536"/>
                    </a:lnTo>
                    <a:lnTo>
                      <a:pt x="12806" y="3662"/>
                    </a:lnTo>
                    <a:lnTo>
                      <a:pt x="12743" y="3829"/>
                    </a:lnTo>
                    <a:lnTo>
                      <a:pt x="12638" y="3871"/>
                    </a:lnTo>
                    <a:lnTo>
                      <a:pt x="12722" y="3704"/>
                    </a:lnTo>
                    <a:lnTo>
                      <a:pt x="12743" y="3557"/>
                    </a:lnTo>
                    <a:lnTo>
                      <a:pt x="12952" y="3306"/>
                    </a:lnTo>
                    <a:lnTo>
                      <a:pt x="13015" y="3118"/>
                    </a:lnTo>
                    <a:lnTo>
                      <a:pt x="13078" y="3013"/>
                    </a:lnTo>
                    <a:lnTo>
                      <a:pt x="13182" y="2971"/>
                    </a:lnTo>
                    <a:lnTo>
                      <a:pt x="13329" y="2888"/>
                    </a:lnTo>
                    <a:lnTo>
                      <a:pt x="13392" y="2867"/>
                    </a:lnTo>
                    <a:lnTo>
                      <a:pt x="13496" y="2699"/>
                    </a:lnTo>
                    <a:lnTo>
                      <a:pt x="13768" y="2448"/>
                    </a:lnTo>
                    <a:lnTo>
                      <a:pt x="13789" y="2364"/>
                    </a:lnTo>
                    <a:lnTo>
                      <a:pt x="13852" y="2302"/>
                    </a:lnTo>
                    <a:lnTo>
                      <a:pt x="13789" y="2239"/>
                    </a:lnTo>
                    <a:lnTo>
                      <a:pt x="13810" y="2155"/>
                    </a:lnTo>
                    <a:lnTo>
                      <a:pt x="13852" y="2134"/>
                    </a:lnTo>
                    <a:lnTo>
                      <a:pt x="13852" y="2030"/>
                    </a:lnTo>
                    <a:lnTo>
                      <a:pt x="13747" y="1946"/>
                    </a:lnTo>
                    <a:lnTo>
                      <a:pt x="13601" y="1946"/>
                    </a:lnTo>
                    <a:lnTo>
                      <a:pt x="13580" y="1988"/>
                    </a:lnTo>
                    <a:lnTo>
                      <a:pt x="13538" y="1883"/>
                    </a:lnTo>
                    <a:lnTo>
                      <a:pt x="13454" y="1674"/>
                    </a:lnTo>
                    <a:lnTo>
                      <a:pt x="13329" y="1360"/>
                    </a:lnTo>
                    <a:lnTo>
                      <a:pt x="13224" y="1214"/>
                    </a:lnTo>
                    <a:lnTo>
                      <a:pt x="13140" y="1004"/>
                    </a:lnTo>
                    <a:lnTo>
                      <a:pt x="13140" y="879"/>
                    </a:lnTo>
                    <a:lnTo>
                      <a:pt x="13120" y="732"/>
                    </a:lnTo>
                    <a:lnTo>
                      <a:pt x="13057" y="691"/>
                    </a:lnTo>
                    <a:lnTo>
                      <a:pt x="13036" y="586"/>
                    </a:lnTo>
                    <a:lnTo>
                      <a:pt x="12952" y="460"/>
                    </a:lnTo>
                    <a:lnTo>
                      <a:pt x="12931" y="481"/>
                    </a:lnTo>
                    <a:lnTo>
                      <a:pt x="12931" y="565"/>
                    </a:lnTo>
                    <a:lnTo>
                      <a:pt x="12868" y="628"/>
                    </a:lnTo>
                    <a:lnTo>
                      <a:pt x="12743" y="711"/>
                    </a:lnTo>
                    <a:lnTo>
                      <a:pt x="12701" y="795"/>
                    </a:lnTo>
                    <a:lnTo>
                      <a:pt x="12555" y="984"/>
                    </a:lnTo>
                    <a:lnTo>
                      <a:pt x="12408" y="1151"/>
                    </a:lnTo>
                    <a:lnTo>
                      <a:pt x="12408" y="1256"/>
                    </a:lnTo>
                    <a:lnTo>
                      <a:pt x="12303" y="1507"/>
                    </a:lnTo>
                    <a:lnTo>
                      <a:pt x="12199" y="1653"/>
                    </a:lnTo>
                    <a:lnTo>
                      <a:pt x="12115" y="1779"/>
                    </a:lnTo>
                    <a:lnTo>
                      <a:pt x="12011" y="1820"/>
                    </a:lnTo>
                    <a:lnTo>
                      <a:pt x="11969" y="1862"/>
                    </a:lnTo>
                    <a:lnTo>
                      <a:pt x="11927" y="1967"/>
                    </a:lnTo>
                    <a:lnTo>
                      <a:pt x="11822" y="2051"/>
                    </a:lnTo>
                    <a:lnTo>
                      <a:pt x="11759" y="2030"/>
                    </a:lnTo>
                    <a:lnTo>
                      <a:pt x="11759" y="1862"/>
                    </a:lnTo>
                    <a:lnTo>
                      <a:pt x="11697" y="1841"/>
                    </a:lnTo>
                    <a:lnTo>
                      <a:pt x="11676" y="1779"/>
                    </a:lnTo>
                    <a:lnTo>
                      <a:pt x="11613" y="1779"/>
                    </a:lnTo>
                    <a:lnTo>
                      <a:pt x="11550" y="1820"/>
                    </a:lnTo>
                    <a:lnTo>
                      <a:pt x="11487" y="1883"/>
                    </a:lnTo>
                    <a:lnTo>
                      <a:pt x="11383" y="1862"/>
                    </a:lnTo>
                    <a:lnTo>
                      <a:pt x="11299" y="1779"/>
                    </a:lnTo>
                    <a:lnTo>
                      <a:pt x="11299" y="1737"/>
                    </a:lnTo>
                    <a:lnTo>
                      <a:pt x="11278" y="1716"/>
                    </a:lnTo>
                    <a:lnTo>
                      <a:pt x="11257" y="1611"/>
                    </a:lnTo>
                    <a:lnTo>
                      <a:pt x="11236" y="1548"/>
                    </a:lnTo>
                    <a:lnTo>
                      <a:pt x="11153" y="1528"/>
                    </a:lnTo>
                    <a:lnTo>
                      <a:pt x="11048" y="1423"/>
                    </a:lnTo>
                    <a:lnTo>
                      <a:pt x="10881" y="1423"/>
                    </a:lnTo>
                    <a:lnTo>
                      <a:pt x="10776" y="1465"/>
                    </a:lnTo>
                    <a:lnTo>
                      <a:pt x="10546" y="1465"/>
                    </a:lnTo>
                    <a:lnTo>
                      <a:pt x="10420" y="1444"/>
                    </a:lnTo>
                    <a:lnTo>
                      <a:pt x="10316" y="1528"/>
                    </a:lnTo>
                    <a:lnTo>
                      <a:pt x="10295" y="1632"/>
                    </a:lnTo>
                    <a:lnTo>
                      <a:pt x="10399" y="1737"/>
                    </a:lnTo>
                    <a:lnTo>
                      <a:pt x="10420" y="1820"/>
                    </a:lnTo>
                    <a:lnTo>
                      <a:pt x="10462" y="1946"/>
                    </a:lnTo>
                    <a:lnTo>
                      <a:pt x="10441" y="1988"/>
                    </a:lnTo>
                    <a:lnTo>
                      <a:pt x="10337" y="1988"/>
                    </a:lnTo>
                    <a:lnTo>
                      <a:pt x="10190" y="1946"/>
                    </a:lnTo>
                    <a:lnTo>
                      <a:pt x="10148" y="1925"/>
                    </a:lnTo>
                    <a:lnTo>
                      <a:pt x="9918" y="1925"/>
                    </a:lnTo>
                    <a:lnTo>
                      <a:pt x="9814" y="1946"/>
                    </a:lnTo>
                    <a:lnTo>
                      <a:pt x="9772" y="1883"/>
                    </a:lnTo>
                    <a:lnTo>
                      <a:pt x="9604" y="1883"/>
                    </a:lnTo>
                    <a:lnTo>
                      <a:pt x="9479" y="1946"/>
                    </a:lnTo>
                    <a:lnTo>
                      <a:pt x="9395" y="2134"/>
                    </a:lnTo>
                    <a:lnTo>
                      <a:pt x="9165" y="2134"/>
                    </a:lnTo>
                    <a:lnTo>
                      <a:pt x="9039" y="2155"/>
                    </a:lnTo>
                    <a:lnTo>
                      <a:pt x="8998" y="2197"/>
                    </a:lnTo>
                    <a:lnTo>
                      <a:pt x="8935" y="2302"/>
                    </a:lnTo>
                    <a:lnTo>
                      <a:pt x="8788" y="2302"/>
                    </a:lnTo>
                    <a:lnTo>
                      <a:pt x="8767" y="2281"/>
                    </a:lnTo>
                    <a:lnTo>
                      <a:pt x="8684" y="2302"/>
                    </a:lnTo>
                    <a:lnTo>
                      <a:pt x="8621" y="2385"/>
                    </a:lnTo>
                    <a:lnTo>
                      <a:pt x="8537" y="2364"/>
                    </a:lnTo>
                    <a:lnTo>
                      <a:pt x="8307" y="2176"/>
                    </a:lnTo>
                    <a:lnTo>
                      <a:pt x="8223" y="2072"/>
                    </a:lnTo>
                    <a:lnTo>
                      <a:pt x="8223" y="1988"/>
                    </a:lnTo>
                    <a:lnTo>
                      <a:pt x="8098" y="1862"/>
                    </a:lnTo>
                    <a:lnTo>
                      <a:pt x="7993" y="1758"/>
                    </a:lnTo>
                    <a:lnTo>
                      <a:pt x="7993" y="1653"/>
                    </a:lnTo>
                    <a:lnTo>
                      <a:pt x="8014" y="1569"/>
                    </a:lnTo>
                    <a:lnTo>
                      <a:pt x="7993" y="1528"/>
                    </a:lnTo>
                    <a:lnTo>
                      <a:pt x="8014" y="1423"/>
                    </a:lnTo>
                    <a:lnTo>
                      <a:pt x="8056" y="1339"/>
                    </a:lnTo>
                    <a:lnTo>
                      <a:pt x="8056" y="1214"/>
                    </a:lnTo>
                    <a:lnTo>
                      <a:pt x="8161" y="1025"/>
                    </a:lnTo>
                    <a:lnTo>
                      <a:pt x="8202" y="879"/>
                    </a:lnTo>
                    <a:lnTo>
                      <a:pt x="8307" y="732"/>
                    </a:lnTo>
                    <a:lnTo>
                      <a:pt x="8307" y="691"/>
                    </a:lnTo>
                    <a:lnTo>
                      <a:pt x="8202" y="691"/>
                    </a:lnTo>
                    <a:lnTo>
                      <a:pt x="8140" y="607"/>
                    </a:lnTo>
                    <a:lnTo>
                      <a:pt x="8119" y="523"/>
                    </a:lnTo>
                    <a:lnTo>
                      <a:pt x="7993" y="523"/>
                    </a:lnTo>
                    <a:lnTo>
                      <a:pt x="7889" y="481"/>
                    </a:lnTo>
                    <a:lnTo>
                      <a:pt x="7930" y="398"/>
                    </a:lnTo>
                    <a:lnTo>
                      <a:pt x="8014" y="293"/>
                    </a:lnTo>
                    <a:lnTo>
                      <a:pt x="8014" y="147"/>
                    </a:lnTo>
                    <a:lnTo>
                      <a:pt x="7910" y="0"/>
                    </a:lnTo>
                    <a:lnTo>
                      <a:pt x="7784" y="0"/>
                    </a:lnTo>
                    <a:lnTo>
                      <a:pt x="7721" y="63"/>
                    </a:lnTo>
                    <a:lnTo>
                      <a:pt x="767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grpSp>
        <p:grpSp>
          <p:nvGrpSpPr>
            <p:cNvPr id="1115" name="Google Shape;5858;p93">
              <a:extLst>
                <a:ext uri="{FF2B5EF4-FFF2-40B4-BE49-F238E27FC236}">
                  <a16:creationId xmlns:a16="http://schemas.microsoft.com/office/drawing/2014/main" id="{1AE39CCC-B9B0-4F04-B644-1C7DA678B008}"/>
                </a:ext>
              </a:extLst>
            </p:cNvPr>
            <p:cNvGrpSpPr/>
            <p:nvPr/>
          </p:nvGrpSpPr>
          <p:grpSpPr>
            <a:xfrm>
              <a:off x="3265985" y="3226989"/>
              <a:ext cx="87151" cy="346202"/>
              <a:chOff x="2680375" y="3423800"/>
              <a:chExt cx="182975" cy="761050"/>
            </a:xfrm>
          </p:grpSpPr>
          <p:sp>
            <p:nvSpPr>
              <p:cNvPr id="1327" name="Google Shape;5859;p93">
                <a:extLst>
                  <a:ext uri="{FF2B5EF4-FFF2-40B4-BE49-F238E27FC236}">
                    <a16:creationId xmlns:a16="http://schemas.microsoft.com/office/drawing/2014/main" id="{5F5AE593-8996-4A90-96AC-8C58CBD65888}"/>
                  </a:ext>
                </a:extLst>
              </p:cNvPr>
              <p:cNvSpPr/>
              <p:nvPr/>
            </p:nvSpPr>
            <p:spPr>
              <a:xfrm>
                <a:off x="2698650" y="3423800"/>
                <a:ext cx="164700" cy="703875"/>
              </a:xfrm>
              <a:custGeom>
                <a:avLst/>
                <a:gdLst/>
                <a:ahLst/>
                <a:cxnLst/>
                <a:rect l="l" t="t" r="r" b="b"/>
                <a:pathLst>
                  <a:path w="6588" h="28155" extrusionOk="0">
                    <a:moveTo>
                      <a:pt x="319" y="4568"/>
                    </a:moveTo>
                    <a:lnTo>
                      <a:pt x="107" y="1274"/>
                    </a:lnTo>
                    <a:lnTo>
                      <a:pt x="319" y="0"/>
                    </a:lnTo>
                    <a:lnTo>
                      <a:pt x="6588" y="4356"/>
                    </a:lnTo>
                    <a:lnTo>
                      <a:pt x="4994" y="7331"/>
                    </a:lnTo>
                    <a:lnTo>
                      <a:pt x="1913" y="16149"/>
                    </a:lnTo>
                    <a:lnTo>
                      <a:pt x="2656" y="24330"/>
                    </a:lnTo>
                    <a:lnTo>
                      <a:pt x="4144" y="28155"/>
                    </a:lnTo>
                    <a:lnTo>
                      <a:pt x="1700" y="27836"/>
                    </a:lnTo>
                    <a:lnTo>
                      <a:pt x="532" y="25605"/>
                    </a:lnTo>
                    <a:lnTo>
                      <a:pt x="1063" y="22736"/>
                    </a:lnTo>
                    <a:lnTo>
                      <a:pt x="0" y="17530"/>
                    </a:lnTo>
                    <a:lnTo>
                      <a:pt x="638" y="14024"/>
                    </a:lnTo>
                    <a:lnTo>
                      <a:pt x="213" y="11793"/>
                    </a:lnTo>
                    <a:lnTo>
                      <a:pt x="744" y="7756"/>
                    </a:lnTo>
                    <a:close/>
                  </a:path>
                </a:pathLst>
              </a:custGeom>
              <a:ln/>
            </p:spPr>
            <p:style>
              <a:lnRef idx="2">
                <a:schemeClr val="dk1"/>
              </a:lnRef>
              <a:fillRef idx="1">
                <a:schemeClr val="lt1"/>
              </a:fillRef>
              <a:effectRef idx="0">
                <a:schemeClr val="dk1"/>
              </a:effectRef>
              <a:fontRef idx="minor">
                <a:schemeClr val="dk1"/>
              </a:fontRef>
            </p:style>
          </p:sp>
          <p:sp>
            <p:nvSpPr>
              <p:cNvPr id="1328" name="Google Shape;5860;p93">
                <a:extLst>
                  <a:ext uri="{FF2B5EF4-FFF2-40B4-BE49-F238E27FC236}">
                    <a16:creationId xmlns:a16="http://schemas.microsoft.com/office/drawing/2014/main" id="{F7BCA29E-CDFA-4652-9E00-B5C2609844A3}"/>
                  </a:ext>
                </a:extLst>
              </p:cNvPr>
              <p:cNvSpPr/>
              <p:nvPr/>
            </p:nvSpPr>
            <p:spPr>
              <a:xfrm>
                <a:off x="2680375" y="3510050"/>
                <a:ext cx="137075" cy="674800"/>
              </a:xfrm>
              <a:custGeom>
                <a:avLst/>
                <a:gdLst/>
                <a:ahLst/>
                <a:cxnLst/>
                <a:rect l="l" t="t" r="r" b="b"/>
                <a:pathLst>
                  <a:path w="5483" h="26992" extrusionOk="0">
                    <a:moveTo>
                      <a:pt x="984" y="23016"/>
                    </a:moveTo>
                    <a:lnTo>
                      <a:pt x="984" y="23121"/>
                    </a:lnTo>
                    <a:lnTo>
                      <a:pt x="1026" y="23058"/>
                    </a:lnTo>
                    <a:lnTo>
                      <a:pt x="1088" y="23016"/>
                    </a:lnTo>
                    <a:close/>
                    <a:moveTo>
                      <a:pt x="1047" y="0"/>
                    </a:moveTo>
                    <a:lnTo>
                      <a:pt x="984" y="105"/>
                    </a:lnTo>
                    <a:lnTo>
                      <a:pt x="963" y="209"/>
                    </a:lnTo>
                    <a:lnTo>
                      <a:pt x="1068" y="314"/>
                    </a:lnTo>
                    <a:lnTo>
                      <a:pt x="1005" y="419"/>
                    </a:lnTo>
                    <a:lnTo>
                      <a:pt x="900" y="502"/>
                    </a:lnTo>
                    <a:lnTo>
                      <a:pt x="837" y="461"/>
                    </a:lnTo>
                    <a:lnTo>
                      <a:pt x="691" y="544"/>
                    </a:lnTo>
                    <a:lnTo>
                      <a:pt x="565" y="628"/>
                    </a:lnTo>
                    <a:lnTo>
                      <a:pt x="628" y="670"/>
                    </a:lnTo>
                    <a:lnTo>
                      <a:pt x="628" y="837"/>
                    </a:lnTo>
                    <a:lnTo>
                      <a:pt x="586" y="963"/>
                    </a:lnTo>
                    <a:lnTo>
                      <a:pt x="628" y="1130"/>
                    </a:lnTo>
                    <a:lnTo>
                      <a:pt x="733" y="1549"/>
                    </a:lnTo>
                    <a:lnTo>
                      <a:pt x="733" y="1695"/>
                    </a:lnTo>
                    <a:lnTo>
                      <a:pt x="691" y="1800"/>
                    </a:lnTo>
                    <a:lnTo>
                      <a:pt x="649" y="1883"/>
                    </a:lnTo>
                    <a:lnTo>
                      <a:pt x="691" y="2093"/>
                    </a:lnTo>
                    <a:lnTo>
                      <a:pt x="775" y="2302"/>
                    </a:lnTo>
                    <a:lnTo>
                      <a:pt x="858" y="2490"/>
                    </a:lnTo>
                    <a:lnTo>
                      <a:pt x="858" y="2762"/>
                    </a:lnTo>
                    <a:lnTo>
                      <a:pt x="837" y="2846"/>
                    </a:lnTo>
                    <a:lnTo>
                      <a:pt x="796" y="2909"/>
                    </a:lnTo>
                    <a:lnTo>
                      <a:pt x="837" y="3327"/>
                    </a:lnTo>
                    <a:lnTo>
                      <a:pt x="837" y="3432"/>
                    </a:lnTo>
                    <a:lnTo>
                      <a:pt x="754" y="3474"/>
                    </a:lnTo>
                    <a:lnTo>
                      <a:pt x="670" y="3536"/>
                    </a:lnTo>
                    <a:lnTo>
                      <a:pt x="670" y="3766"/>
                    </a:lnTo>
                    <a:lnTo>
                      <a:pt x="691" y="3829"/>
                    </a:lnTo>
                    <a:lnTo>
                      <a:pt x="775" y="3766"/>
                    </a:lnTo>
                    <a:lnTo>
                      <a:pt x="837" y="3829"/>
                    </a:lnTo>
                    <a:lnTo>
                      <a:pt x="754" y="3892"/>
                    </a:lnTo>
                    <a:lnTo>
                      <a:pt x="754" y="4499"/>
                    </a:lnTo>
                    <a:lnTo>
                      <a:pt x="837" y="4729"/>
                    </a:lnTo>
                    <a:lnTo>
                      <a:pt x="858" y="4917"/>
                    </a:lnTo>
                    <a:lnTo>
                      <a:pt x="837" y="5064"/>
                    </a:lnTo>
                    <a:lnTo>
                      <a:pt x="733" y="5231"/>
                    </a:lnTo>
                    <a:lnTo>
                      <a:pt x="733" y="5399"/>
                    </a:lnTo>
                    <a:lnTo>
                      <a:pt x="837" y="5566"/>
                    </a:lnTo>
                    <a:lnTo>
                      <a:pt x="796" y="5712"/>
                    </a:lnTo>
                    <a:lnTo>
                      <a:pt x="796" y="5984"/>
                    </a:lnTo>
                    <a:lnTo>
                      <a:pt x="754" y="6089"/>
                    </a:lnTo>
                    <a:lnTo>
                      <a:pt x="754" y="6256"/>
                    </a:lnTo>
                    <a:lnTo>
                      <a:pt x="775" y="6340"/>
                    </a:lnTo>
                    <a:lnTo>
                      <a:pt x="775" y="6403"/>
                    </a:lnTo>
                    <a:lnTo>
                      <a:pt x="670" y="6570"/>
                    </a:lnTo>
                    <a:lnTo>
                      <a:pt x="670" y="6717"/>
                    </a:lnTo>
                    <a:lnTo>
                      <a:pt x="628" y="6821"/>
                    </a:lnTo>
                    <a:lnTo>
                      <a:pt x="649" y="7010"/>
                    </a:lnTo>
                    <a:lnTo>
                      <a:pt x="628" y="7093"/>
                    </a:lnTo>
                    <a:lnTo>
                      <a:pt x="524" y="7303"/>
                    </a:lnTo>
                    <a:lnTo>
                      <a:pt x="524" y="7407"/>
                    </a:lnTo>
                    <a:lnTo>
                      <a:pt x="628" y="7554"/>
                    </a:lnTo>
                    <a:lnTo>
                      <a:pt x="649" y="7721"/>
                    </a:lnTo>
                    <a:lnTo>
                      <a:pt x="733" y="7826"/>
                    </a:lnTo>
                    <a:lnTo>
                      <a:pt x="649" y="7867"/>
                    </a:lnTo>
                    <a:lnTo>
                      <a:pt x="586" y="8014"/>
                    </a:lnTo>
                    <a:lnTo>
                      <a:pt x="670" y="8119"/>
                    </a:lnTo>
                    <a:lnTo>
                      <a:pt x="586" y="8202"/>
                    </a:lnTo>
                    <a:lnTo>
                      <a:pt x="524" y="8244"/>
                    </a:lnTo>
                    <a:lnTo>
                      <a:pt x="524" y="8391"/>
                    </a:lnTo>
                    <a:lnTo>
                      <a:pt x="544" y="8537"/>
                    </a:lnTo>
                    <a:lnTo>
                      <a:pt x="544" y="8663"/>
                    </a:lnTo>
                    <a:lnTo>
                      <a:pt x="670" y="8997"/>
                    </a:lnTo>
                    <a:lnTo>
                      <a:pt x="670" y="9186"/>
                    </a:lnTo>
                    <a:lnTo>
                      <a:pt x="628" y="9228"/>
                    </a:lnTo>
                    <a:lnTo>
                      <a:pt x="628" y="9332"/>
                    </a:lnTo>
                    <a:lnTo>
                      <a:pt x="754" y="9520"/>
                    </a:lnTo>
                    <a:lnTo>
                      <a:pt x="754" y="9730"/>
                    </a:lnTo>
                    <a:lnTo>
                      <a:pt x="733" y="9855"/>
                    </a:lnTo>
                    <a:lnTo>
                      <a:pt x="733" y="9918"/>
                    </a:lnTo>
                    <a:lnTo>
                      <a:pt x="754" y="10023"/>
                    </a:lnTo>
                    <a:lnTo>
                      <a:pt x="733" y="10106"/>
                    </a:lnTo>
                    <a:lnTo>
                      <a:pt x="691" y="10211"/>
                    </a:lnTo>
                    <a:lnTo>
                      <a:pt x="733" y="10253"/>
                    </a:lnTo>
                    <a:lnTo>
                      <a:pt x="858" y="10441"/>
                    </a:lnTo>
                    <a:lnTo>
                      <a:pt x="879" y="10546"/>
                    </a:lnTo>
                    <a:lnTo>
                      <a:pt x="837" y="10650"/>
                    </a:lnTo>
                    <a:lnTo>
                      <a:pt x="754" y="10692"/>
                    </a:lnTo>
                    <a:lnTo>
                      <a:pt x="670" y="10860"/>
                    </a:lnTo>
                    <a:lnTo>
                      <a:pt x="670" y="10901"/>
                    </a:lnTo>
                    <a:lnTo>
                      <a:pt x="733" y="10964"/>
                    </a:lnTo>
                    <a:lnTo>
                      <a:pt x="670" y="11090"/>
                    </a:lnTo>
                    <a:lnTo>
                      <a:pt x="586" y="11173"/>
                    </a:lnTo>
                    <a:lnTo>
                      <a:pt x="586" y="11278"/>
                    </a:lnTo>
                    <a:lnTo>
                      <a:pt x="565" y="11466"/>
                    </a:lnTo>
                    <a:lnTo>
                      <a:pt x="524" y="11571"/>
                    </a:lnTo>
                    <a:lnTo>
                      <a:pt x="524" y="11676"/>
                    </a:lnTo>
                    <a:lnTo>
                      <a:pt x="482" y="11717"/>
                    </a:lnTo>
                    <a:lnTo>
                      <a:pt x="482" y="11843"/>
                    </a:lnTo>
                    <a:lnTo>
                      <a:pt x="419" y="11927"/>
                    </a:lnTo>
                    <a:lnTo>
                      <a:pt x="419" y="11989"/>
                    </a:lnTo>
                    <a:lnTo>
                      <a:pt x="461" y="12052"/>
                    </a:lnTo>
                    <a:lnTo>
                      <a:pt x="377" y="12157"/>
                    </a:lnTo>
                    <a:lnTo>
                      <a:pt x="377" y="12324"/>
                    </a:lnTo>
                    <a:lnTo>
                      <a:pt x="377" y="12429"/>
                    </a:lnTo>
                    <a:lnTo>
                      <a:pt x="314" y="12471"/>
                    </a:lnTo>
                    <a:lnTo>
                      <a:pt x="314" y="12575"/>
                    </a:lnTo>
                    <a:lnTo>
                      <a:pt x="272" y="12659"/>
                    </a:lnTo>
                    <a:lnTo>
                      <a:pt x="272" y="12743"/>
                    </a:lnTo>
                    <a:lnTo>
                      <a:pt x="314" y="12847"/>
                    </a:lnTo>
                    <a:lnTo>
                      <a:pt x="314" y="12952"/>
                    </a:lnTo>
                    <a:lnTo>
                      <a:pt x="231" y="13057"/>
                    </a:lnTo>
                    <a:lnTo>
                      <a:pt x="147" y="13057"/>
                    </a:lnTo>
                    <a:lnTo>
                      <a:pt x="63" y="12994"/>
                    </a:lnTo>
                    <a:lnTo>
                      <a:pt x="0" y="13015"/>
                    </a:lnTo>
                    <a:lnTo>
                      <a:pt x="0" y="13098"/>
                    </a:lnTo>
                    <a:lnTo>
                      <a:pt x="21" y="13224"/>
                    </a:lnTo>
                    <a:lnTo>
                      <a:pt x="21" y="13412"/>
                    </a:lnTo>
                    <a:lnTo>
                      <a:pt x="105" y="13517"/>
                    </a:lnTo>
                    <a:lnTo>
                      <a:pt x="231" y="13621"/>
                    </a:lnTo>
                    <a:lnTo>
                      <a:pt x="252" y="13747"/>
                    </a:lnTo>
                    <a:lnTo>
                      <a:pt x="231" y="13914"/>
                    </a:lnTo>
                    <a:lnTo>
                      <a:pt x="398" y="14228"/>
                    </a:lnTo>
                    <a:lnTo>
                      <a:pt x="440" y="14312"/>
                    </a:lnTo>
                    <a:lnTo>
                      <a:pt x="524" y="14375"/>
                    </a:lnTo>
                    <a:lnTo>
                      <a:pt x="524" y="14563"/>
                    </a:lnTo>
                    <a:lnTo>
                      <a:pt x="461" y="14835"/>
                    </a:lnTo>
                    <a:lnTo>
                      <a:pt x="419" y="14856"/>
                    </a:lnTo>
                    <a:lnTo>
                      <a:pt x="440" y="14940"/>
                    </a:lnTo>
                    <a:lnTo>
                      <a:pt x="419" y="15002"/>
                    </a:lnTo>
                    <a:lnTo>
                      <a:pt x="356" y="14982"/>
                    </a:lnTo>
                    <a:lnTo>
                      <a:pt x="314" y="14982"/>
                    </a:lnTo>
                    <a:lnTo>
                      <a:pt x="272" y="15086"/>
                    </a:lnTo>
                    <a:lnTo>
                      <a:pt x="314" y="15191"/>
                    </a:lnTo>
                    <a:lnTo>
                      <a:pt x="377" y="15254"/>
                    </a:lnTo>
                    <a:lnTo>
                      <a:pt x="335" y="15484"/>
                    </a:lnTo>
                    <a:lnTo>
                      <a:pt x="356" y="15588"/>
                    </a:lnTo>
                    <a:lnTo>
                      <a:pt x="314" y="15672"/>
                    </a:lnTo>
                    <a:lnTo>
                      <a:pt x="356" y="15714"/>
                    </a:lnTo>
                    <a:lnTo>
                      <a:pt x="335" y="15798"/>
                    </a:lnTo>
                    <a:lnTo>
                      <a:pt x="314" y="15818"/>
                    </a:lnTo>
                    <a:lnTo>
                      <a:pt x="335" y="15881"/>
                    </a:lnTo>
                    <a:lnTo>
                      <a:pt x="524" y="16153"/>
                    </a:lnTo>
                    <a:lnTo>
                      <a:pt x="565" y="16216"/>
                    </a:lnTo>
                    <a:lnTo>
                      <a:pt x="565" y="16362"/>
                    </a:lnTo>
                    <a:lnTo>
                      <a:pt x="524" y="16342"/>
                    </a:lnTo>
                    <a:lnTo>
                      <a:pt x="377" y="16342"/>
                    </a:lnTo>
                    <a:lnTo>
                      <a:pt x="314" y="16425"/>
                    </a:lnTo>
                    <a:lnTo>
                      <a:pt x="314" y="16467"/>
                    </a:lnTo>
                    <a:lnTo>
                      <a:pt x="356" y="16530"/>
                    </a:lnTo>
                    <a:lnTo>
                      <a:pt x="356" y="16614"/>
                    </a:lnTo>
                    <a:lnTo>
                      <a:pt x="314" y="16655"/>
                    </a:lnTo>
                    <a:lnTo>
                      <a:pt x="272" y="16739"/>
                    </a:lnTo>
                    <a:lnTo>
                      <a:pt x="314" y="16823"/>
                    </a:lnTo>
                    <a:lnTo>
                      <a:pt x="335" y="16844"/>
                    </a:lnTo>
                    <a:lnTo>
                      <a:pt x="377" y="16969"/>
                    </a:lnTo>
                    <a:lnTo>
                      <a:pt x="419" y="17304"/>
                    </a:lnTo>
                    <a:lnTo>
                      <a:pt x="356" y="17451"/>
                    </a:lnTo>
                    <a:lnTo>
                      <a:pt x="482" y="17492"/>
                    </a:lnTo>
                    <a:lnTo>
                      <a:pt x="670" y="17471"/>
                    </a:lnTo>
                    <a:lnTo>
                      <a:pt x="670" y="17409"/>
                    </a:lnTo>
                    <a:lnTo>
                      <a:pt x="670" y="17283"/>
                    </a:lnTo>
                    <a:lnTo>
                      <a:pt x="733" y="17199"/>
                    </a:lnTo>
                    <a:lnTo>
                      <a:pt x="837" y="17241"/>
                    </a:lnTo>
                    <a:lnTo>
                      <a:pt x="858" y="17199"/>
                    </a:lnTo>
                    <a:lnTo>
                      <a:pt x="733" y="17095"/>
                    </a:lnTo>
                    <a:lnTo>
                      <a:pt x="775" y="17053"/>
                    </a:lnTo>
                    <a:lnTo>
                      <a:pt x="649" y="16927"/>
                    </a:lnTo>
                    <a:lnTo>
                      <a:pt x="649" y="16844"/>
                    </a:lnTo>
                    <a:lnTo>
                      <a:pt x="733" y="16844"/>
                    </a:lnTo>
                    <a:lnTo>
                      <a:pt x="837" y="16886"/>
                    </a:lnTo>
                    <a:lnTo>
                      <a:pt x="837" y="16865"/>
                    </a:lnTo>
                    <a:lnTo>
                      <a:pt x="775" y="16823"/>
                    </a:lnTo>
                    <a:lnTo>
                      <a:pt x="649" y="16718"/>
                    </a:lnTo>
                    <a:lnTo>
                      <a:pt x="775" y="16739"/>
                    </a:lnTo>
                    <a:lnTo>
                      <a:pt x="775" y="16634"/>
                    </a:lnTo>
                    <a:lnTo>
                      <a:pt x="754" y="16572"/>
                    </a:lnTo>
                    <a:lnTo>
                      <a:pt x="754" y="16425"/>
                    </a:lnTo>
                    <a:lnTo>
                      <a:pt x="733" y="16362"/>
                    </a:lnTo>
                    <a:cubicBezTo>
                      <a:pt x="733" y="16321"/>
                      <a:pt x="754" y="16258"/>
                      <a:pt x="775" y="16237"/>
                    </a:cubicBezTo>
                    <a:lnTo>
                      <a:pt x="837" y="16258"/>
                    </a:lnTo>
                    <a:lnTo>
                      <a:pt x="879" y="16237"/>
                    </a:lnTo>
                    <a:cubicBezTo>
                      <a:pt x="879" y="16342"/>
                      <a:pt x="900" y="16467"/>
                      <a:pt x="900" y="16572"/>
                    </a:cubicBezTo>
                    <a:lnTo>
                      <a:pt x="1068" y="17764"/>
                    </a:lnTo>
                    <a:lnTo>
                      <a:pt x="1047" y="17785"/>
                    </a:lnTo>
                    <a:lnTo>
                      <a:pt x="1068" y="17869"/>
                    </a:lnTo>
                    <a:lnTo>
                      <a:pt x="1068" y="18036"/>
                    </a:lnTo>
                    <a:lnTo>
                      <a:pt x="1005" y="18078"/>
                    </a:lnTo>
                    <a:lnTo>
                      <a:pt x="1047" y="18120"/>
                    </a:lnTo>
                    <a:lnTo>
                      <a:pt x="1047" y="18287"/>
                    </a:lnTo>
                    <a:lnTo>
                      <a:pt x="1005" y="18350"/>
                    </a:lnTo>
                    <a:lnTo>
                      <a:pt x="1047" y="18434"/>
                    </a:lnTo>
                    <a:lnTo>
                      <a:pt x="1047" y="18455"/>
                    </a:lnTo>
                    <a:cubicBezTo>
                      <a:pt x="1047" y="18643"/>
                      <a:pt x="1005" y="18852"/>
                      <a:pt x="963" y="19041"/>
                    </a:cubicBezTo>
                    <a:cubicBezTo>
                      <a:pt x="921" y="19187"/>
                      <a:pt x="900" y="19334"/>
                      <a:pt x="858" y="19459"/>
                    </a:cubicBezTo>
                    <a:lnTo>
                      <a:pt x="796" y="19480"/>
                    </a:lnTo>
                    <a:lnTo>
                      <a:pt x="691" y="19564"/>
                    </a:lnTo>
                    <a:lnTo>
                      <a:pt x="649" y="19564"/>
                    </a:lnTo>
                    <a:lnTo>
                      <a:pt x="649" y="19501"/>
                    </a:lnTo>
                    <a:lnTo>
                      <a:pt x="754" y="19480"/>
                    </a:lnTo>
                    <a:lnTo>
                      <a:pt x="837" y="19438"/>
                    </a:lnTo>
                    <a:lnTo>
                      <a:pt x="837" y="19271"/>
                    </a:lnTo>
                    <a:lnTo>
                      <a:pt x="775" y="19250"/>
                    </a:lnTo>
                    <a:lnTo>
                      <a:pt x="670" y="19292"/>
                    </a:lnTo>
                    <a:lnTo>
                      <a:pt x="461" y="19292"/>
                    </a:lnTo>
                    <a:lnTo>
                      <a:pt x="377" y="19271"/>
                    </a:lnTo>
                    <a:lnTo>
                      <a:pt x="293" y="19292"/>
                    </a:lnTo>
                    <a:lnTo>
                      <a:pt x="293" y="19375"/>
                    </a:lnTo>
                    <a:lnTo>
                      <a:pt x="356" y="19501"/>
                    </a:lnTo>
                    <a:lnTo>
                      <a:pt x="398" y="19501"/>
                    </a:lnTo>
                    <a:lnTo>
                      <a:pt x="440" y="19585"/>
                    </a:lnTo>
                    <a:lnTo>
                      <a:pt x="356" y="19585"/>
                    </a:lnTo>
                    <a:lnTo>
                      <a:pt x="335" y="19689"/>
                    </a:lnTo>
                    <a:lnTo>
                      <a:pt x="252" y="19752"/>
                    </a:lnTo>
                    <a:lnTo>
                      <a:pt x="189" y="19857"/>
                    </a:lnTo>
                    <a:lnTo>
                      <a:pt x="42" y="19919"/>
                    </a:lnTo>
                    <a:lnTo>
                      <a:pt x="42" y="20003"/>
                    </a:lnTo>
                    <a:lnTo>
                      <a:pt x="189" y="20192"/>
                    </a:lnTo>
                    <a:lnTo>
                      <a:pt x="272" y="20192"/>
                    </a:lnTo>
                    <a:lnTo>
                      <a:pt x="335" y="20129"/>
                    </a:lnTo>
                    <a:lnTo>
                      <a:pt x="335" y="20066"/>
                    </a:lnTo>
                    <a:lnTo>
                      <a:pt x="231" y="20024"/>
                    </a:lnTo>
                    <a:lnTo>
                      <a:pt x="231" y="19982"/>
                    </a:lnTo>
                    <a:lnTo>
                      <a:pt x="272" y="19878"/>
                    </a:lnTo>
                    <a:lnTo>
                      <a:pt x="440" y="19878"/>
                    </a:lnTo>
                    <a:lnTo>
                      <a:pt x="461" y="19857"/>
                    </a:lnTo>
                    <a:lnTo>
                      <a:pt x="482" y="19982"/>
                    </a:lnTo>
                    <a:lnTo>
                      <a:pt x="586" y="20066"/>
                    </a:lnTo>
                    <a:lnTo>
                      <a:pt x="712" y="20066"/>
                    </a:lnTo>
                    <a:lnTo>
                      <a:pt x="754" y="20003"/>
                    </a:lnTo>
                    <a:lnTo>
                      <a:pt x="754" y="20003"/>
                    </a:lnTo>
                    <a:cubicBezTo>
                      <a:pt x="670" y="20317"/>
                      <a:pt x="649" y="20631"/>
                      <a:pt x="649" y="20924"/>
                    </a:cubicBezTo>
                    <a:lnTo>
                      <a:pt x="586" y="20966"/>
                    </a:lnTo>
                    <a:lnTo>
                      <a:pt x="649" y="21008"/>
                    </a:lnTo>
                    <a:lnTo>
                      <a:pt x="649" y="21154"/>
                    </a:lnTo>
                    <a:lnTo>
                      <a:pt x="565" y="21028"/>
                    </a:lnTo>
                    <a:lnTo>
                      <a:pt x="461" y="21008"/>
                    </a:lnTo>
                    <a:lnTo>
                      <a:pt x="440" y="21049"/>
                    </a:lnTo>
                    <a:lnTo>
                      <a:pt x="440" y="21133"/>
                    </a:lnTo>
                    <a:lnTo>
                      <a:pt x="461" y="21259"/>
                    </a:lnTo>
                    <a:lnTo>
                      <a:pt x="565" y="21280"/>
                    </a:lnTo>
                    <a:lnTo>
                      <a:pt x="649" y="21342"/>
                    </a:lnTo>
                    <a:lnTo>
                      <a:pt x="649" y="21384"/>
                    </a:lnTo>
                    <a:lnTo>
                      <a:pt x="691" y="21552"/>
                    </a:lnTo>
                    <a:lnTo>
                      <a:pt x="754" y="21572"/>
                    </a:lnTo>
                    <a:cubicBezTo>
                      <a:pt x="754" y="21635"/>
                      <a:pt x="775" y="21656"/>
                      <a:pt x="796" y="21698"/>
                    </a:cubicBezTo>
                    <a:lnTo>
                      <a:pt x="670" y="21656"/>
                    </a:lnTo>
                    <a:lnTo>
                      <a:pt x="649" y="21635"/>
                    </a:lnTo>
                    <a:lnTo>
                      <a:pt x="586" y="21677"/>
                    </a:lnTo>
                    <a:lnTo>
                      <a:pt x="649" y="21865"/>
                    </a:lnTo>
                    <a:lnTo>
                      <a:pt x="649" y="21949"/>
                    </a:lnTo>
                    <a:lnTo>
                      <a:pt x="691" y="21970"/>
                    </a:lnTo>
                    <a:lnTo>
                      <a:pt x="796" y="21803"/>
                    </a:lnTo>
                    <a:lnTo>
                      <a:pt x="858" y="21782"/>
                    </a:lnTo>
                    <a:cubicBezTo>
                      <a:pt x="879" y="21844"/>
                      <a:pt x="900" y="21886"/>
                      <a:pt x="921" y="21970"/>
                    </a:cubicBezTo>
                    <a:lnTo>
                      <a:pt x="921" y="22012"/>
                    </a:lnTo>
                    <a:lnTo>
                      <a:pt x="816" y="22054"/>
                    </a:lnTo>
                    <a:lnTo>
                      <a:pt x="921" y="22284"/>
                    </a:lnTo>
                    <a:lnTo>
                      <a:pt x="963" y="22409"/>
                    </a:lnTo>
                    <a:cubicBezTo>
                      <a:pt x="963" y="22493"/>
                      <a:pt x="984" y="22577"/>
                      <a:pt x="1005" y="22640"/>
                    </a:cubicBezTo>
                    <a:lnTo>
                      <a:pt x="984" y="22681"/>
                    </a:lnTo>
                    <a:lnTo>
                      <a:pt x="984" y="22744"/>
                    </a:lnTo>
                    <a:lnTo>
                      <a:pt x="921" y="22807"/>
                    </a:lnTo>
                    <a:lnTo>
                      <a:pt x="1005" y="22849"/>
                    </a:lnTo>
                    <a:lnTo>
                      <a:pt x="1026" y="22932"/>
                    </a:lnTo>
                    <a:lnTo>
                      <a:pt x="1068" y="22932"/>
                    </a:lnTo>
                    <a:cubicBezTo>
                      <a:pt x="1068" y="22953"/>
                      <a:pt x="1068" y="22995"/>
                      <a:pt x="1088" y="23016"/>
                    </a:cubicBezTo>
                    <a:cubicBezTo>
                      <a:pt x="1130" y="23163"/>
                      <a:pt x="1193" y="23330"/>
                      <a:pt x="1235" y="23456"/>
                    </a:cubicBezTo>
                    <a:lnTo>
                      <a:pt x="1277" y="23518"/>
                    </a:lnTo>
                    <a:cubicBezTo>
                      <a:pt x="1277" y="23539"/>
                      <a:pt x="1277" y="23539"/>
                      <a:pt x="1298" y="23560"/>
                    </a:cubicBezTo>
                    <a:lnTo>
                      <a:pt x="1235" y="23665"/>
                    </a:lnTo>
                    <a:lnTo>
                      <a:pt x="1193" y="23728"/>
                    </a:lnTo>
                    <a:lnTo>
                      <a:pt x="1235" y="23749"/>
                    </a:lnTo>
                    <a:lnTo>
                      <a:pt x="1381" y="23728"/>
                    </a:lnTo>
                    <a:lnTo>
                      <a:pt x="1444" y="23874"/>
                    </a:lnTo>
                    <a:lnTo>
                      <a:pt x="1423" y="23874"/>
                    </a:lnTo>
                    <a:lnTo>
                      <a:pt x="1444" y="23937"/>
                    </a:lnTo>
                    <a:lnTo>
                      <a:pt x="1486" y="23958"/>
                    </a:lnTo>
                    <a:lnTo>
                      <a:pt x="1423" y="24000"/>
                    </a:lnTo>
                    <a:lnTo>
                      <a:pt x="1402" y="24062"/>
                    </a:lnTo>
                    <a:lnTo>
                      <a:pt x="1423" y="24146"/>
                    </a:lnTo>
                    <a:lnTo>
                      <a:pt x="1486" y="24167"/>
                    </a:lnTo>
                    <a:lnTo>
                      <a:pt x="1549" y="24188"/>
                    </a:lnTo>
                    <a:lnTo>
                      <a:pt x="1507" y="24104"/>
                    </a:lnTo>
                    <a:lnTo>
                      <a:pt x="1549" y="24083"/>
                    </a:lnTo>
                    <a:cubicBezTo>
                      <a:pt x="1612" y="24167"/>
                      <a:pt x="1653" y="24272"/>
                      <a:pt x="1716" y="24355"/>
                    </a:cubicBezTo>
                    <a:lnTo>
                      <a:pt x="1716" y="24397"/>
                    </a:lnTo>
                    <a:lnTo>
                      <a:pt x="1653" y="24460"/>
                    </a:lnTo>
                    <a:lnTo>
                      <a:pt x="1695" y="24481"/>
                    </a:lnTo>
                    <a:lnTo>
                      <a:pt x="1737" y="24460"/>
                    </a:lnTo>
                    <a:lnTo>
                      <a:pt x="1758" y="24418"/>
                    </a:lnTo>
                    <a:cubicBezTo>
                      <a:pt x="1967" y="24753"/>
                      <a:pt x="2218" y="25004"/>
                      <a:pt x="2469" y="25234"/>
                    </a:cubicBezTo>
                    <a:lnTo>
                      <a:pt x="2449" y="25234"/>
                    </a:lnTo>
                    <a:lnTo>
                      <a:pt x="2365" y="25192"/>
                    </a:lnTo>
                    <a:lnTo>
                      <a:pt x="2260" y="25150"/>
                    </a:lnTo>
                    <a:lnTo>
                      <a:pt x="2156" y="25150"/>
                    </a:lnTo>
                    <a:lnTo>
                      <a:pt x="2072" y="25109"/>
                    </a:lnTo>
                    <a:lnTo>
                      <a:pt x="1946" y="24983"/>
                    </a:lnTo>
                    <a:lnTo>
                      <a:pt x="1863" y="24920"/>
                    </a:lnTo>
                    <a:lnTo>
                      <a:pt x="1842" y="24983"/>
                    </a:lnTo>
                    <a:lnTo>
                      <a:pt x="1863" y="25088"/>
                    </a:lnTo>
                    <a:lnTo>
                      <a:pt x="1946" y="25213"/>
                    </a:lnTo>
                    <a:lnTo>
                      <a:pt x="2072" y="25234"/>
                    </a:lnTo>
                    <a:lnTo>
                      <a:pt x="2239" y="25318"/>
                    </a:lnTo>
                    <a:lnTo>
                      <a:pt x="2281" y="25401"/>
                    </a:lnTo>
                    <a:lnTo>
                      <a:pt x="2365" y="25401"/>
                    </a:lnTo>
                    <a:lnTo>
                      <a:pt x="2428" y="25360"/>
                    </a:lnTo>
                    <a:lnTo>
                      <a:pt x="2574" y="25422"/>
                    </a:lnTo>
                    <a:lnTo>
                      <a:pt x="2679" y="25464"/>
                    </a:lnTo>
                    <a:lnTo>
                      <a:pt x="2783" y="25464"/>
                    </a:lnTo>
                    <a:cubicBezTo>
                      <a:pt x="2804" y="25464"/>
                      <a:pt x="2846" y="25506"/>
                      <a:pt x="2846" y="25527"/>
                    </a:cubicBezTo>
                    <a:lnTo>
                      <a:pt x="2804" y="25527"/>
                    </a:lnTo>
                    <a:lnTo>
                      <a:pt x="2700" y="25569"/>
                    </a:lnTo>
                    <a:lnTo>
                      <a:pt x="2658" y="25548"/>
                    </a:lnTo>
                    <a:lnTo>
                      <a:pt x="2595" y="25506"/>
                    </a:lnTo>
                    <a:lnTo>
                      <a:pt x="2532" y="25506"/>
                    </a:lnTo>
                    <a:lnTo>
                      <a:pt x="2490" y="25548"/>
                    </a:lnTo>
                    <a:lnTo>
                      <a:pt x="2490" y="25611"/>
                    </a:lnTo>
                    <a:lnTo>
                      <a:pt x="2595" y="25653"/>
                    </a:lnTo>
                    <a:lnTo>
                      <a:pt x="2658" y="25757"/>
                    </a:lnTo>
                    <a:lnTo>
                      <a:pt x="2762" y="25799"/>
                    </a:lnTo>
                    <a:lnTo>
                      <a:pt x="2867" y="25925"/>
                    </a:lnTo>
                    <a:lnTo>
                      <a:pt x="2951" y="25945"/>
                    </a:lnTo>
                    <a:lnTo>
                      <a:pt x="3076" y="25925"/>
                    </a:lnTo>
                    <a:lnTo>
                      <a:pt x="3118" y="25945"/>
                    </a:lnTo>
                    <a:lnTo>
                      <a:pt x="3118" y="26029"/>
                    </a:lnTo>
                    <a:lnTo>
                      <a:pt x="3202" y="26092"/>
                    </a:lnTo>
                    <a:lnTo>
                      <a:pt x="3285" y="26071"/>
                    </a:lnTo>
                    <a:lnTo>
                      <a:pt x="3265" y="26029"/>
                    </a:lnTo>
                    <a:lnTo>
                      <a:pt x="3327" y="25945"/>
                    </a:lnTo>
                    <a:lnTo>
                      <a:pt x="3327" y="25883"/>
                    </a:lnTo>
                    <a:lnTo>
                      <a:pt x="3285" y="25862"/>
                    </a:lnTo>
                    <a:lnTo>
                      <a:pt x="3327" y="25841"/>
                    </a:lnTo>
                    <a:lnTo>
                      <a:pt x="3411" y="25841"/>
                    </a:lnTo>
                    <a:lnTo>
                      <a:pt x="3369" y="25757"/>
                    </a:lnTo>
                    <a:lnTo>
                      <a:pt x="3285" y="25736"/>
                    </a:lnTo>
                    <a:lnTo>
                      <a:pt x="3160" y="25757"/>
                    </a:lnTo>
                    <a:lnTo>
                      <a:pt x="3118" y="25715"/>
                    </a:lnTo>
                    <a:lnTo>
                      <a:pt x="3118" y="25715"/>
                    </a:lnTo>
                    <a:cubicBezTo>
                      <a:pt x="3141" y="25721"/>
                      <a:pt x="3164" y="25724"/>
                      <a:pt x="3189" y="25724"/>
                    </a:cubicBezTo>
                    <a:cubicBezTo>
                      <a:pt x="3256" y="25724"/>
                      <a:pt x="3329" y="25704"/>
                      <a:pt x="3390" y="25673"/>
                    </a:cubicBezTo>
                    <a:lnTo>
                      <a:pt x="3411" y="25715"/>
                    </a:lnTo>
                    <a:lnTo>
                      <a:pt x="3578" y="25736"/>
                    </a:lnTo>
                    <a:lnTo>
                      <a:pt x="3683" y="25778"/>
                    </a:lnTo>
                    <a:lnTo>
                      <a:pt x="3746" y="25778"/>
                    </a:lnTo>
                    <a:lnTo>
                      <a:pt x="3829" y="25841"/>
                    </a:lnTo>
                    <a:lnTo>
                      <a:pt x="3892" y="25778"/>
                    </a:lnTo>
                    <a:lnTo>
                      <a:pt x="3955" y="25653"/>
                    </a:lnTo>
                    <a:lnTo>
                      <a:pt x="3913" y="25464"/>
                    </a:lnTo>
                    <a:lnTo>
                      <a:pt x="3934" y="25401"/>
                    </a:lnTo>
                    <a:lnTo>
                      <a:pt x="3934" y="25318"/>
                    </a:lnTo>
                    <a:lnTo>
                      <a:pt x="3955" y="25150"/>
                    </a:lnTo>
                    <a:lnTo>
                      <a:pt x="3955" y="25109"/>
                    </a:lnTo>
                    <a:cubicBezTo>
                      <a:pt x="4018" y="25213"/>
                      <a:pt x="4060" y="25318"/>
                      <a:pt x="4143" y="25422"/>
                    </a:cubicBezTo>
                    <a:lnTo>
                      <a:pt x="4122" y="25527"/>
                    </a:lnTo>
                    <a:lnTo>
                      <a:pt x="4060" y="25632"/>
                    </a:lnTo>
                    <a:lnTo>
                      <a:pt x="4122" y="25736"/>
                    </a:lnTo>
                    <a:lnTo>
                      <a:pt x="4060" y="25820"/>
                    </a:lnTo>
                    <a:lnTo>
                      <a:pt x="4060" y="25883"/>
                    </a:lnTo>
                    <a:lnTo>
                      <a:pt x="4164" y="25945"/>
                    </a:lnTo>
                    <a:lnTo>
                      <a:pt x="4269" y="25966"/>
                    </a:lnTo>
                    <a:lnTo>
                      <a:pt x="4332" y="25987"/>
                    </a:lnTo>
                    <a:lnTo>
                      <a:pt x="4373" y="25945"/>
                    </a:lnTo>
                    <a:lnTo>
                      <a:pt x="4248" y="25841"/>
                    </a:lnTo>
                    <a:lnTo>
                      <a:pt x="4332" y="25757"/>
                    </a:lnTo>
                    <a:lnTo>
                      <a:pt x="4562" y="26155"/>
                    </a:lnTo>
                    <a:lnTo>
                      <a:pt x="4562" y="26155"/>
                    </a:lnTo>
                    <a:lnTo>
                      <a:pt x="4520" y="26134"/>
                    </a:lnTo>
                    <a:lnTo>
                      <a:pt x="4332" y="26050"/>
                    </a:lnTo>
                    <a:lnTo>
                      <a:pt x="4227" y="25987"/>
                    </a:lnTo>
                    <a:lnTo>
                      <a:pt x="4206" y="26029"/>
                    </a:lnTo>
                    <a:lnTo>
                      <a:pt x="4248" y="26071"/>
                    </a:lnTo>
                    <a:lnTo>
                      <a:pt x="4520" y="26197"/>
                    </a:lnTo>
                    <a:lnTo>
                      <a:pt x="4541" y="26259"/>
                    </a:lnTo>
                    <a:lnTo>
                      <a:pt x="4436" y="26259"/>
                    </a:lnTo>
                    <a:lnTo>
                      <a:pt x="4436" y="26322"/>
                    </a:lnTo>
                    <a:lnTo>
                      <a:pt x="4373" y="26322"/>
                    </a:lnTo>
                    <a:lnTo>
                      <a:pt x="4353" y="26238"/>
                    </a:lnTo>
                    <a:lnTo>
                      <a:pt x="4227" y="26155"/>
                    </a:lnTo>
                    <a:lnTo>
                      <a:pt x="4206" y="26176"/>
                    </a:lnTo>
                    <a:lnTo>
                      <a:pt x="4206" y="26259"/>
                    </a:lnTo>
                    <a:lnTo>
                      <a:pt x="4122" y="26259"/>
                    </a:lnTo>
                    <a:lnTo>
                      <a:pt x="3934" y="26280"/>
                    </a:lnTo>
                    <a:lnTo>
                      <a:pt x="3892" y="26322"/>
                    </a:lnTo>
                    <a:lnTo>
                      <a:pt x="3934" y="26364"/>
                    </a:lnTo>
                    <a:lnTo>
                      <a:pt x="3913" y="26385"/>
                    </a:lnTo>
                    <a:lnTo>
                      <a:pt x="3809" y="26364"/>
                    </a:lnTo>
                    <a:lnTo>
                      <a:pt x="3704" y="26385"/>
                    </a:lnTo>
                    <a:lnTo>
                      <a:pt x="3725" y="26448"/>
                    </a:lnTo>
                    <a:lnTo>
                      <a:pt x="3850" y="26469"/>
                    </a:lnTo>
                    <a:lnTo>
                      <a:pt x="3955" y="26469"/>
                    </a:lnTo>
                    <a:lnTo>
                      <a:pt x="3997" y="26427"/>
                    </a:lnTo>
                    <a:lnTo>
                      <a:pt x="4018" y="26385"/>
                    </a:lnTo>
                    <a:lnTo>
                      <a:pt x="4101" y="26427"/>
                    </a:lnTo>
                    <a:lnTo>
                      <a:pt x="4206" y="26490"/>
                    </a:lnTo>
                    <a:lnTo>
                      <a:pt x="4248" y="26469"/>
                    </a:lnTo>
                    <a:lnTo>
                      <a:pt x="4269" y="26531"/>
                    </a:lnTo>
                    <a:lnTo>
                      <a:pt x="4269" y="26573"/>
                    </a:lnTo>
                    <a:lnTo>
                      <a:pt x="4353" y="26636"/>
                    </a:lnTo>
                    <a:lnTo>
                      <a:pt x="4269" y="26678"/>
                    </a:lnTo>
                    <a:lnTo>
                      <a:pt x="4227" y="26782"/>
                    </a:lnTo>
                    <a:lnTo>
                      <a:pt x="4269" y="26866"/>
                    </a:lnTo>
                    <a:lnTo>
                      <a:pt x="4353" y="26866"/>
                    </a:lnTo>
                    <a:lnTo>
                      <a:pt x="4436" y="26887"/>
                    </a:lnTo>
                    <a:lnTo>
                      <a:pt x="4541" y="26992"/>
                    </a:lnTo>
                    <a:lnTo>
                      <a:pt x="4625" y="26992"/>
                    </a:lnTo>
                    <a:lnTo>
                      <a:pt x="4646" y="26971"/>
                    </a:lnTo>
                    <a:lnTo>
                      <a:pt x="4562" y="26908"/>
                    </a:lnTo>
                    <a:lnTo>
                      <a:pt x="4457" y="26845"/>
                    </a:lnTo>
                    <a:lnTo>
                      <a:pt x="4436" y="26782"/>
                    </a:lnTo>
                    <a:lnTo>
                      <a:pt x="4457" y="26782"/>
                    </a:lnTo>
                    <a:lnTo>
                      <a:pt x="4541" y="26803"/>
                    </a:lnTo>
                    <a:lnTo>
                      <a:pt x="4625" y="26762"/>
                    </a:lnTo>
                    <a:lnTo>
                      <a:pt x="4646" y="26699"/>
                    </a:lnTo>
                    <a:lnTo>
                      <a:pt x="4562" y="26678"/>
                    </a:lnTo>
                    <a:lnTo>
                      <a:pt x="4520" y="26636"/>
                    </a:lnTo>
                    <a:lnTo>
                      <a:pt x="4750" y="26531"/>
                    </a:lnTo>
                    <a:lnTo>
                      <a:pt x="4855" y="26469"/>
                    </a:lnTo>
                    <a:lnTo>
                      <a:pt x="4938" y="26490"/>
                    </a:lnTo>
                    <a:cubicBezTo>
                      <a:pt x="4959" y="26531"/>
                      <a:pt x="4959" y="26552"/>
                      <a:pt x="4980" y="26552"/>
                    </a:cubicBezTo>
                    <a:lnTo>
                      <a:pt x="5001" y="26552"/>
                    </a:lnTo>
                    <a:lnTo>
                      <a:pt x="5001" y="26531"/>
                    </a:lnTo>
                    <a:lnTo>
                      <a:pt x="5294" y="26594"/>
                    </a:lnTo>
                    <a:lnTo>
                      <a:pt x="5357" y="26573"/>
                    </a:lnTo>
                    <a:lnTo>
                      <a:pt x="5357" y="26510"/>
                    </a:lnTo>
                    <a:lnTo>
                      <a:pt x="5482" y="26510"/>
                    </a:lnTo>
                    <a:lnTo>
                      <a:pt x="5420" y="26322"/>
                    </a:lnTo>
                    <a:lnTo>
                      <a:pt x="5357" y="26322"/>
                    </a:lnTo>
                    <a:lnTo>
                      <a:pt x="5252" y="26238"/>
                    </a:lnTo>
                    <a:lnTo>
                      <a:pt x="5106" y="26176"/>
                    </a:lnTo>
                    <a:lnTo>
                      <a:pt x="5106" y="26113"/>
                    </a:lnTo>
                    <a:lnTo>
                      <a:pt x="5273" y="26218"/>
                    </a:lnTo>
                    <a:lnTo>
                      <a:pt x="5399" y="26238"/>
                    </a:lnTo>
                    <a:lnTo>
                      <a:pt x="5148" y="25171"/>
                    </a:lnTo>
                    <a:lnTo>
                      <a:pt x="5106" y="25171"/>
                    </a:lnTo>
                    <a:lnTo>
                      <a:pt x="5106" y="25129"/>
                    </a:lnTo>
                    <a:lnTo>
                      <a:pt x="4959" y="24481"/>
                    </a:lnTo>
                    <a:lnTo>
                      <a:pt x="4792" y="24544"/>
                    </a:lnTo>
                    <a:lnTo>
                      <a:pt x="4750" y="24585"/>
                    </a:lnTo>
                    <a:lnTo>
                      <a:pt x="4666" y="24502"/>
                    </a:lnTo>
                    <a:lnTo>
                      <a:pt x="4583" y="24481"/>
                    </a:lnTo>
                    <a:lnTo>
                      <a:pt x="4562" y="24544"/>
                    </a:lnTo>
                    <a:cubicBezTo>
                      <a:pt x="4562" y="24502"/>
                      <a:pt x="4541" y="24502"/>
                      <a:pt x="4541" y="24481"/>
                    </a:cubicBezTo>
                    <a:lnTo>
                      <a:pt x="4541" y="24334"/>
                    </a:lnTo>
                    <a:lnTo>
                      <a:pt x="4625" y="24272"/>
                    </a:lnTo>
                    <a:lnTo>
                      <a:pt x="4750" y="24251"/>
                    </a:lnTo>
                    <a:lnTo>
                      <a:pt x="4897" y="24334"/>
                    </a:lnTo>
                    <a:lnTo>
                      <a:pt x="4980" y="24272"/>
                    </a:lnTo>
                    <a:lnTo>
                      <a:pt x="5001" y="24272"/>
                    </a:lnTo>
                    <a:lnTo>
                      <a:pt x="4855" y="24146"/>
                    </a:lnTo>
                    <a:lnTo>
                      <a:pt x="4520" y="23937"/>
                    </a:lnTo>
                    <a:lnTo>
                      <a:pt x="4457" y="23874"/>
                    </a:lnTo>
                    <a:lnTo>
                      <a:pt x="3725" y="23874"/>
                    </a:lnTo>
                    <a:lnTo>
                      <a:pt x="3306" y="23958"/>
                    </a:lnTo>
                    <a:lnTo>
                      <a:pt x="3202" y="23895"/>
                    </a:lnTo>
                    <a:lnTo>
                      <a:pt x="2930" y="23874"/>
                    </a:lnTo>
                    <a:lnTo>
                      <a:pt x="2846" y="23644"/>
                    </a:lnTo>
                    <a:lnTo>
                      <a:pt x="2783" y="23435"/>
                    </a:lnTo>
                    <a:lnTo>
                      <a:pt x="2658" y="23330"/>
                    </a:lnTo>
                    <a:lnTo>
                      <a:pt x="2637" y="22995"/>
                    </a:lnTo>
                    <a:lnTo>
                      <a:pt x="2637" y="22828"/>
                    </a:lnTo>
                    <a:lnTo>
                      <a:pt x="2511" y="22828"/>
                    </a:lnTo>
                    <a:lnTo>
                      <a:pt x="2323" y="22912"/>
                    </a:lnTo>
                    <a:lnTo>
                      <a:pt x="2218" y="23016"/>
                    </a:lnTo>
                    <a:lnTo>
                      <a:pt x="2093" y="23016"/>
                    </a:lnTo>
                    <a:lnTo>
                      <a:pt x="1842" y="22577"/>
                    </a:lnTo>
                    <a:cubicBezTo>
                      <a:pt x="1821" y="22493"/>
                      <a:pt x="1800" y="22409"/>
                      <a:pt x="1800" y="22326"/>
                    </a:cubicBezTo>
                    <a:lnTo>
                      <a:pt x="1884" y="21844"/>
                    </a:lnTo>
                    <a:lnTo>
                      <a:pt x="2009" y="21656"/>
                    </a:lnTo>
                    <a:lnTo>
                      <a:pt x="2218" y="21447"/>
                    </a:lnTo>
                    <a:lnTo>
                      <a:pt x="2260" y="21154"/>
                    </a:lnTo>
                    <a:lnTo>
                      <a:pt x="2218" y="20840"/>
                    </a:lnTo>
                    <a:lnTo>
                      <a:pt x="2135" y="20610"/>
                    </a:lnTo>
                    <a:lnTo>
                      <a:pt x="2197" y="20338"/>
                    </a:lnTo>
                    <a:lnTo>
                      <a:pt x="2302" y="20212"/>
                    </a:lnTo>
                    <a:lnTo>
                      <a:pt x="2197" y="19961"/>
                    </a:lnTo>
                    <a:lnTo>
                      <a:pt x="2218" y="19815"/>
                    </a:lnTo>
                    <a:lnTo>
                      <a:pt x="2323" y="19710"/>
                    </a:lnTo>
                    <a:lnTo>
                      <a:pt x="2239" y="19480"/>
                    </a:lnTo>
                    <a:lnTo>
                      <a:pt x="2197" y="19166"/>
                    </a:lnTo>
                    <a:lnTo>
                      <a:pt x="2114" y="19020"/>
                    </a:lnTo>
                    <a:lnTo>
                      <a:pt x="2114" y="18915"/>
                    </a:lnTo>
                    <a:lnTo>
                      <a:pt x="2260" y="18769"/>
                    </a:lnTo>
                    <a:lnTo>
                      <a:pt x="2260" y="18643"/>
                    </a:lnTo>
                    <a:lnTo>
                      <a:pt x="2135" y="18434"/>
                    </a:lnTo>
                    <a:lnTo>
                      <a:pt x="1946" y="18308"/>
                    </a:lnTo>
                    <a:lnTo>
                      <a:pt x="1821" y="18308"/>
                    </a:lnTo>
                    <a:lnTo>
                      <a:pt x="1800" y="18329"/>
                    </a:lnTo>
                    <a:lnTo>
                      <a:pt x="1716" y="18246"/>
                    </a:lnTo>
                    <a:lnTo>
                      <a:pt x="1779" y="18141"/>
                    </a:lnTo>
                    <a:lnTo>
                      <a:pt x="2030" y="18141"/>
                    </a:lnTo>
                    <a:lnTo>
                      <a:pt x="2156" y="17995"/>
                    </a:lnTo>
                    <a:lnTo>
                      <a:pt x="2156" y="17869"/>
                    </a:lnTo>
                    <a:lnTo>
                      <a:pt x="2093" y="17827"/>
                    </a:lnTo>
                    <a:lnTo>
                      <a:pt x="2009" y="17890"/>
                    </a:lnTo>
                    <a:lnTo>
                      <a:pt x="1905" y="17869"/>
                    </a:lnTo>
                    <a:lnTo>
                      <a:pt x="1842" y="17597"/>
                    </a:lnTo>
                    <a:lnTo>
                      <a:pt x="1737" y="17367"/>
                    </a:lnTo>
                    <a:lnTo>
                      <a:pt x="1737" y="17199"/>
                    </a:lnTo>
                    <a:lnTo>
                      <a:pt x="1737" y="17032"/>
                    </a:lnTo>
                    <a:lnTo>
                      <a:pt x="1570" y="16969"/>
                    </a:lnTo>
                    <a:lnTo>
                      <a:pt x="1570" y="16948"/>
                    </a:lnTo>
                    <a:cubicBezTo>
                      <a:pt x="1528" y="16865"/>
                      <a:pt x="1528" y="16760"/>
                      <a:pt x="1507" y="16676"/>
                    </a:cubicBezTo>
                    <a:lnTo>
                      <a:pt x="1486" y="16362"/>
                    </a:lnTo>
                    <a:lnTo>
                      <a:pt x="1612" y="16300"/>
                    </a:lnTo>
                    <a:lnTo>
                      <a:pt x="1633" y="16132"/>
                    </a:lnTo>
                    <a:lnTo>
                      <a:pt x="1591" y="16028"/>
                    </a:lnTo>
                    <a:lnTo>
                      <a:pt x="1486" y="15986"/>
                    </a:lnTo>
                    <a:lnTo>
                      <a:pt x="1423" y="15714"/>
                    </a:lnTo>
                    <a:lnTo>
                      <a:pt x="1402" y="15358"/>
                    </a:lnTo>
                    <a:lnTo>
                      <a:pt x="1423" y="14940"/>
                    </a:lnTo>
                    <a:lnTo>
                      <a:pt x="1319" y="14751"/>
                    </a:lnTo>
                    <a:lnTo>
                      <a:pt x="1298" y="14542"/>
                    </a:lnTo>
                    <a:lnTo>
                      <a:pt x="1507" y="14249"/>
                    </a:lnTo>
                    <a:lnTo>
                      <a:pt x="1528" y="13935"/>
                    </a:lnTo>
                    <a:lnTo>
                      <a:pt x="1695" y="13852"/>
                    </a:lnTo>
                    <a:lnTo>
                      <a:pt x="1779" y="13747"/>
                    </a:lnTo>
                    <a:lnTo>
                      <a:pt x="1423" y="13077"/>
                    </a:lnTo>
                    <a:lnTo>
                      <a:pt x="1486" y="12847"/>
                    </a:lnTo>
                    <a:lnTo>
                      <a:pt x="1486" y="12680"/>
                    </a:lnTo>
                    <a:lnTo>
                      <a:pt x="1486" y="12282"/>
                    </a:lnTo>
                    <a:lnTo>
                      <a:pt x="1612" y="12052"/>
                    </a:lnTo>
                    <a:lnTo>
                      <a:pt x="1737" y="11927"/>
                    </a:lnTo>
                    <a:lnTo>
                      <a:pt x="1716" y="11717"/>
                    </a:lnTo>
                    <a:lnTo>
                      <a:pt x="1612" y="11529"/>
                    </a:lnTo>
                    <a:lnTo>
                      <a:pt x="1528" y="11445"/>
                    </a:lnTo>
                    <a:lnTo>
                      <a:pt x="1674" y="11278"/>
                    </a:lnTo>
                    <a:lnTo>
                      <a:pt x="1633" y="11027"/>
                    </a:lnTo>
                    <a:lnTo>
                      <a:pt x="1737" y="10797"/>
                    </a:lnTo>
                    <a:lnTo>
                      <a:pt x="1842" y="10776"/>
                    </a:lnTo>
                    <a:lnTo>
                      <a:pt x="1884" y="10504"/>
                    </a:lnTo>
                    <a:lnTo>
                      <a:pt x="1821" y="10064"/>
                    </a:lnTo>
                    <a:lnTo>
                      <a:pt x="1737" y="9981"/>
                    </a:lnTo>
                    <a:lnTo>
                      <a:pt x="1674" y="9646"/>
                    </a:lnTo>
                    <a:lnTo>
                      <a:pt x="1591" y="9458"/>
                    </a:lnTo>
                    <a:lnTo>
                      <a:pt x="1444" y="9248"/>
                    </a:lnTo>
                    <a:lnTo>
                      <a:pt x="1423" y="9144"/>
                    </a:lnTo>
                    <a:lnTo>
                      <a:pt x="1319" y="9018"/>
                    </a:lnTo>
                    <a:lnTo>
                      <a:pt x="1277" y="8725"/>
                    </a:lnTo>
                    <a:lnTo>
                      <a:pt x="1298" y="8516"/>
                    </a:lnTo>
                    <a:lnTo>
                      <a:pt x="1444" y="8453"/>
                    </a:lnTo>
                    <a:lnTo>
                      <a:pt x="1444" y="8160"/>
                    </a:lnTo>
                    <a:lnTo>
                      <a:pt x="1528" y="8056"/>
                    </a:lnTo>
                    <a:lnTo>
                      <a:pt x="1528" y="7784"/>
                    </a:lnTo>
                    <a:lnTo>
                      <a:pt x="1423" y="7616"/>
                    </a:lnTo>
                    <a:lnTo>
                      <a:pt x="1402" y="7240"/>
                    </a:lnTo>
                    <a:lnTo>
                      <a:pt x="1486" y="7156"/>
                    </a:lnTo>
                    <a:lnTo>
                      <a:pt x="1528" y="6738"/>
                    </a:lnTo>
                    <a:lnTo>
                      <a:pt x="1633" y="6591"/>
                    </a:lnTo>
                    <a:lnTo>
                      <a:pt x="1800" y="6194"/>
                    </a:lnTo>
                    <a:lnTo>
                      <a:pt x="1946" y="6047"/>
                    </a:lnTo>
                    <a:lnTo>
                      <a:pt x="2051" y="5984"/>
                    </a:lnTo>
                    <a:lnTo>
                      <a:pt x="2135" y="5880"/>
                    </a:lnTo>
                    <a:lnTo>
                      <a:pt x="2093" y="5838"/>
                    </a:lnTo>
                    <a:lnTo>
                      <a:pt x="2093" y="5671"/>
                    </a:lnTo>
                    <a:lnTo>
                      <a:pt x="2030" y="5587"/>
                    </a:lnTo>
                    <a:lnTo>
                      <a:pt x="1946" y="5545"/>
                    </a:lnTo>
                    <a:lnTo>
                      <a:pt x="1988" y="5440"/>
                    </a:lnTo>
                    <a:lnTo>
                      <a:pt x="2093" y="5357"/>
                    </a:lnTo>
                    <a:lnTo>
                      <a:pt x="2093" y="5210"/>
                    </a:lnTo>
                    <a:lnTo>
                      <a:pt x="1946" y="5043"/>
                    </a:lnTo>
                    <a:lnTo>
                      <a:pt x="1925" y="4854"/>
                    </a:lnTo>
                    <a:lnTo>
                      <a:pt x="2009" y="4729"/>
                    </a:lnTo>
                    <a:lnTo>
                      <a:pt x="1988" y="4624"/>
                    </a:lnTo>
                    <a:lnTo>
                      <a:pt x="1842" y="4520"/>
                    </a:lnTo>
                    <a:lnTo>
                      <a:pt x="1905" y="4373"/>
                    </a:lnTo>
                    <a:lnTo>
                      <a:pt x="2574" y="3997"/>
                    </a:lnTo>
                    <a:lnTo>
                      <a:pt x="2741" y="3348"/>
                    </a:lnTo>
                    <a:lnTo>
                      <a:pt x="2658" y="3181"/>
                    </a:lnTo>
                    <a:lnTo>
                      <a:pt x="2553" y="3222"/>
                    </a:lnTo>
                    <a:lnTo>
                      <a:pt x="2511" y="3285"/>
                    </a:lnTo>
                    <a:lnTo>
                      <a:pt x="2344" y="3285"/>
                    </a:lnTo>
                    <a:lnTo>
                      <a:pt x="1925" y="2134"/>
                    </a:lnTo>
                    <a:lnTo>
                      <a:pt x="1633" y="1883"/>
                    </a:lnTo>
                    <a:lnTo>
                      <a:pt x="1570" y="1779"/>
                    </a:lnTo>
                    <a:lnTo>
                      <a:pt x="1695" y="1465"/>
                    </a:lnTo>
                    <a:lnTo>
                      <a:pt x="1633" y="1360"/>
                    </a:lnTo>
                    <a:lnTo>
                      <a:pt x="1716" y="1193"/>
                    </a:lnTo>
                    <a:lnTo>
                      <a:pt x="1695" y="1130"/>
                    </a:lnTo>
                    <a:lnTo>
                      <a:pt x="1423" y="921"/>
                    </a:lnTo>
                    <a:lnTo>
                      <a:pt x="1360" y="774"/>
                    </a:lnTo>
                    <a:lnTo>
                      <a:pt x="1319" y="607"/>
                    </a:lnTo>
                    <a:lnTo>
                      <a:pt x="1298" y="544"/>
                    </a:lnTo>
                    <a:lnTo>
                      <a:pt x="1319" y="440"/>
                    </a:lnTo>
                    <a:lnTo>
                      <a:pt x="1298" y="335"/>
                    </a:lnTo>
                    <a:lnTo>
                      <a:pt x="1256" y="293"/>
                    </a:lnTo>
                    <a:lnTo>
                      <a:pt x="1151" y="189"/>
                    </a:lnTo>
                    <a:lnTo>
                      <a:pt x="1151" y="21"/>
                    </a:lnTo>
                    <a:lnTo>
                      <a:pt x="1109" y="21"/>
                    </a:lnTo>
                    <a:lnTo>
                      <a:pt x="104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6" name="Google Shape;5861;p93">
              <a:extLst>
                <a:ext uri="{FF2B5EF4-FFF2-40B4-BE49-F238E27FC236}">
                  <a16:creationId xmlns:a16="http://schemas.microsoft.com/office/drawing/2014/main" id="{E1D779C0-5593-414C-A593-E47F067E6416}"/>
                </a:ext>
              </a:extLst>
            </p:cNvPr>
            <p:cNvGrpSpPr/>
            <p:nvPr/>
          </p:nvGrpSpPr>
          <p:grpSpPr>
            <a:xfrm>
              <a:off x="3855466" y="3289811"/>
              <a:ext cx="112514" cy="94210"/>
              <a:chOff x="3918000" y="3561900"/>
              <a:chExt cx="236225" cy="207100"/>
            </a:xfrm>
          </p:grpSpPr>
          <p:sp>
            <p:nvSpPr>
              <p:cNvPr id="1325" name="Google Shape;5862;p93">
                <a:extLst>
                  <a:ext uri="{FF2B5EF4-FFF2-40B4-BE49-F238E27FC236}">
                    <a16:creationId xmlns:a16="http://schemas.microsoft.com/office/drawing/2014/main" id="{3BE2DB26-552D-450E-96D9-0C12867E689F}"/>
                  </a:ext>
                </a:extLst>
              </p:cNvPr>
              <p:cNvSpPr/>
              <p:nvPr/>
            </p:nvSpPr>
            <p:spPr>
              <a:xfrm>
                <a:off x="3925800" y="3561900"/>
                <a:ext cx="228425" cy="170000"/>
              </a:xfrm>
              <a:custGeom>
                <a:avLst/>
                <a:gdLst/>
                <a:ahLst/>
                <a:cxnLst/>
                <a:rect l="l" t="t" r="r" b="b"/>
                <a:pathLst>
                  <a:path w="9137" h="6800" extrusionOk="0">
                    <a:moveTo>
                      <a:pt x="0" y="4356"/>
                    </a:moveTo>
                    <a:lnTo>
                      <a:pt x="1381" y="1594"/>
                    </a:lnTo>
                    <a:lnTo>
                      <a:pt x="7012" y="0"/>
                    </a:lnTo>
                    <a:lnTo>
                      <a:pt x="9137" y="532"/>
                    </a:lnTo>
                    <a:lnTo>
                      <a:pt x="8500" y="2444"/>
                    </a:lnTo>
                    <a:lnTo>
                      <a:pt x="6906" y="5206"/>
                    </a:lnTo>
                    <a:lnTo>
                      <a:pt x="3719" y="6800"/>
                    </a:lnTo>
                    <a:close/>
                  </a:path>
                </a:pathLst>
              </a:custGeom>
              <a:ln/>
            </p:spPr>
            <p:style>
              <a:lnRef idx="2">
                <a:schemeClr val="dk1"/>
              </a:lnRef>
              <a:fillRef idx="1">
                <a:schemeClr val="lt1"/>
              </a:fillRef>
              <a:effectRef idx="0">
                <a:schemeClr val="dk1"/>
              </a:effectRef>
              <a:fontRef idx="minor">
                <a:schemeClr val="dk1"/>
              </a:fontRef>
            </p:style>
          </p:sp>
          <p:sp>
            <p:nvSpPr>
              <p:cNvPr id="1326" name="Google Shape;5863;p93">
                <a:extLst>
                  <a:ext uri="{FF2B5EF4-FFF2-40B4-BE49-F238E27FC236}">
                    <a16:creationId xmlns:a16="http://schemas.microsoft.com/office/drawing/2014/main" id="{9F3F036C-3D4C-4773-ADEC-ADFA87C325B4}"/>
                  </a:ext>
                </a:extLst>
              </p:cNvPr>
              <p:cNvSpPr/>
              <p:nvPr/>
            </p:nvSpPr>
            <p:spPr>
              <a:xfrm>
                <a:off x="3918000" y="3569675"/>
                <a:ext cx="229150" cy="199325"/>
              </a:xfrm>
              <a:custGeom>
                <a:avLst/>
                <a:gdLst/>
                <a:ahLst/>
                <a:cxnLst/>
                <a:rect l="l" t="t" r="r" b="b"/>
                <a:pathLst>
                  <a:path w="9166" h="7973" extrusionOk="0">
                    <a:moveTo>
                      <a:pt x="6696" y="3976"/>
                    </a:moveTo>
                    <a:lnTo>
                      <a:pt x="6738" y="4018"/>
                    </a:lnTo>
                    <a:lnTo>
                      <a:pt x="6780" y="3997"/>
                    </a:lnTo>
                    <a:lnTo>
                      <a:pt x="6843" y="4039"/>
                    </a:lnTo>
                    <a:lnTo>
                      <a:pt x="6926" y="4018"/>
                    </a:lnTo>
                    <a:lnTo>
                      <a:pt x="7052" y="4122"/>
                    </a:lnTo>
                    <a:lnTo>
                      <a:pt x="7136" y="4353"/>
                    </a:lnTo>
                    <a:lnTo>
                      <a:pt x="7136" y="4499"/>
                    </a:lnTo>
                    <a:lnTo>
                      <a:pt x="7094" y="4583"/>
                    </a:lnTo>
                    <a:lnTo>
                      <a:pt x="6989" y="4625"/>
                    </a:lnTo>
                    <a:lnTo>
                      <a:pt x="6989" y="4708"/>
                    </a:lnTo>
                    <a:lnTo>
                      <a:pt x="7031" y="4750"/>
                    </a:lnTo>
                    <a:lnTo>
                      <a:pt x="7031" y="4834"/>
                    </a:lnTo>
                    <a:lnTo>
                      <a:pt x="6926" y="4918"/>
                    </a:lnTo>
                    <a:lnTo>
                      <a:pt x="6843" y="4876"/>
                    </a:lnTo>
                    <a:lnTo>
                      <a:pt x="6738" y="4918"/>
                    </a:lnTo>
                    <a:lnTo>
                      <a:pt x="6675" y="4959"/>
                    </a:lnTo>
                    <a:lnTo>
                      <a:pt x="6571" y="5001"/>
                    </a:lnTo>
                    <a:lnTo>
                      <a:pt x="6508" y="5127"/>
                    </a:lnTo>
                    <a:lnTo>
                      <a:pt x="6466" y="5169"/>
                    </a:lnTo>
                    <a:lnTo>
                      <a:pt x="6424" y="5231"/>
                    </a:lnTo>
                    <a:lnTo>
                      <a:pt x="6320" y="5231"/>
                    </a:lnTo>
                    <a:lnTo>
                      <a:pt x="6194" y="5169"/>
                    </a:lnTo>
                    <a:lnTo>
                      <a:pt x="6152" y="5106"/>
                    </a:lnTo>
                    <a:lnTo>
                      <a:pt x="6069" y="5022"/>
                    </a:lnTo>
                    <a:lnTo>
                      <a:pt x="6069" y="4918"/>
                    </a:lnTo>
                    <a:lnTo>
                      <a:pt x="5985" y="4834"/>
                    </a:lnTo>
                    <a:lnTo>
                      <a:pt x="5964" y="4771"/>
                    </a:lnTo>
                    <a:lnTo>
                      <a:pt x="5880" y="4708"/>
                    </a:lnTo>
                    <a:lnTo>
                      <a:pt x="5838" y="4604"/>
                    </a:lnTo>
                    <a:lnTo>
                      <a:pt x="5901" y="4541"/>
                    </a:lnTo>
                    <a:lnTo>
                      <a:pt x="6069" y="4415"/>
                    </a:lnTo>
                    <a:lnTo>
                      <a:pt x="6110" y="4248"/>
                    </a:lnTo>
                    <a:lnTo>
                      <a:pt x="6257" y="4164"/>
                    </a:lnTo>
                    <a:lnTo>
                      <a:pt x="6466" y="4122"/>
                    </a:lnTo>
                    <a:lnTo>
                      <a:pt x="6508" y="4081"/>
                    </a:lnTo>
                    <a:lnTo>
                      <a:pt x="6592" y="4018"/>
                    </a:lnTo>
                    <a:lnTo>
                      <a:pt x="6613" y="3976"/>
                    </a:lnTo>
                    <a:close/>
                    <a:moveTo>
                      <a:pt x="7659" y="1"/>
                    </a:moveTo>
                    <a:lnTo>
                      <a:pt x="7470" y="21"/>
                    </a:lnTo>
                    <a:lnTo>
                      <a:pt x="7387" y="21"/>
                    </a:lnTo>
                    <a:lnTo>
                      <a:pt x="7345" y="63"/>
                    </a:lnTo>
                    <a:lnTo>
                      <a:pt x="7240" y="63"/>
                    </a:lnTo>
                    <a:lnTo>
                      <a:pt x="7178" y="126"/>
                    </a:lnTo>
                    <a:lnTo>
                      <a:pt x="7178" y="168"/>
                    </a:lnTo>
                    <a:lnTo>
                      <a:pt x="7157" y="252"/>
                    </a:lnTo>
                    <a:lnTo>
                      <a:pt x="7073" y="273"/>
                    </a:lnTo>
                    <a:lnTo>
                      <a:pt x="7010" y="356"/>
                    </a:lnTo>
                    <a:lnTo>
                      <a:pt x="6843" y="356"/>
                    </a:lnTo>
                    <a:lnTo>
                      <a:pt x="6822" y="335"/>
                    </a:lnTo>
                    <a:lnTo>
                      <a:pt x="6717" y="356"/>
                    </a:lnTo>
                    <a:lnTo>
                      <a:pt x="6592" y="461"/>
                    </a:lnTo>
                    <a:lnTo>
                      <a:pt x="6529" y="524"/>
                    </a:lnTo>
                    <a:lnTo>
                      <a:pt x="6445" y="565"/>
                    </a:lnTo>
                    <a:lnTo>
                      <a:pt x="6424" y="628"/>
                    </a:lnTo>
                    <a:lnTo>
                      <a:pt x="6341" y="649"/>
                    </a:lnTo>
                    <a:lnTo>
                      <a:pt x="6299" y="691"/>
                    </a:lnTo>
                    <a:lnTo>
                      <a:pt x="6236" y="733"/>
                    </a:lnTo>
                    <a:lnTo>
                      <a:pt x="6173" y="754"/>
                    </a:lnTo>
                    <a:lnTo>
                      <a:pt x="6006" y="963"/>
                    </a:lnTo>
                    <a:lnTo>
                      <a:pt x="5985" y="1089"/>
                    </a:lnTo>
                    <a:lnTo>
                      <a:pt x="6006" y="1151"/>
                    </a:lnTo>
                    <a:lnTo>
                      <a:pt x="6006" y="1214"/>
                    </a:lnTo>
                    <a:lnTo>
                      <a:pt x="5922" y="1256"/>
                    </a:lnTo>
                    <a:lnTo>
                      <a:pt x="5901" y="1298"/>
                    </a:lnTo>
                    <a:lnTo>
                      <a:pt x="5859" y="1319"/>
                    </a:lnTo>
                    <a:lnTo>
                      <a:pt x="5776" y="1402"/>
                    </a:lnTo>
                    <a:lnTo>
                      <a:pt x="5755" y="1486"/>
                    </a:lnTo>
                    <a:lnTo>
                      <a:pt x="5713" y="1507"/>
                    </a:lnTo>
                    <a:lnTo>
                      <a:pt x="5692" y="1570"/>
                    </a:lnTo>
                    <a:lnTo>
                      <a:pt x="5608" y="1570"/>
                    </a:lnTo>
                    <a:lnTo>
                      <a:pt x="5545" y="1612"/>
                    </a:lnTo>
                    <a:lnTo>
                      <a:pt x="5399" y="1633"/>
                    </a:lnTo>
                    <a:lnTo>
                      <a:pt x="5357" y="1737"/>
                    </a:lnTo>
                    <a:lnTo>
                      <a:pt x="5357" y="1905"/>
                    </a:lnTo>
                    <a:lnTo>
                      <a:pt x="5294" y="1967"/>
                    </a:lnTo>
                    <a:lnTo>
                      <a:pt x="5294" y="2030"/>
                    </a:lnTo>
                    <a:lnTo>
                      <a:pt x="5273" y="2135"/>
                    </a:lnTo>
                    <a:lnTo>
                      <a:pt x="5294" y="2197"/>
                    </a:lnTo>
                    <a:lnTo>
                      <a:pt x="5169" y="2260"/>
                    </a:lnTo>
                    <a:lnTo>
                      <a:pt x="5085" y="2239"/>
                    </a:lnTo>
                    <a:lnTo>
                      <a:pt x="5043" y="2197"/>
                    </a:lnTo>
                    <a:lnTo>
                      <a:pt x="4834" y="2197"/>
                    </a:lnTo>
                    <a:lnTo>
                      <a:pt x="4709" y="2218"/>
                    </a:lnTo>
                    <a:lnTo>
                      <a:pt x="4604" y="2197"/>
                    </a:lnTo>
                    <a:lnTo>
                      <a:pt x="4520" y="2218"/>
                    </a:lnTo>
                    <a:lnTo>
                      <a:pt x="4311" y="2093"/>
                    </a:lnTo>
                    <a:lnTo>
                      <a:pt x="4227" y="2093"/>
                    </a:lnTo>
                    <a:lnTo>
                      <a:pt x="4185" y="2009"/>
                    </a:lnTo>
                    <a:lnTo>
                      <a:pt x="3997" y="1988"/>
                    </a:lnTo>
                    <a:lnTo>
                      <a:pt x="3872" y="2009"/>
                    </a:lnTo>
                    <a:lnTo>
                      <a:pt x="3704" y="2135"/>
                    </a:lnTo>
                    <a:lnTo>
                      <a:pt x="3621" y="2365"/>
                    </a:lnTo>
                    <a:lnTo>
                      <a:pt x="3516" y="2469"/>
                    </a:lnTo>
                    <a:lnTo>
                      <a:pt x="3349" y="2553"/>
                    </a:lnTo>
                    <a:lnTo>
                      <a:pt x="3286" y="2637"/>
                    </a:lnTo>
                    <a:lnTo>
                      <a:pt x="3181" y="2721"/>
                    </a:lnTo>
                    <a:lnTo>
                      <a:pt x="3056" y="2742"/>
                    </a:lnTo>
                    <a:lnTo>
                      <a:pt x="2972" y="2783"/>
                    </a:lnTo>
                    <a:lnTo>
                      <a:pt x="2846" y="2762"/>
                    </a:lnTo>
                    <a:lnTo>
                      <a:pt x="2763" y="2825"/>
                    </a:lnTo>
                    <a:lnTo>
                      <a:pt x="2616" y="2783"/>
                    </a:lnTo>
                    <a:lnTo>
                      <a:pt x="2449" y="2825"/>
                    </a:lnTo>
                    <a:lnTo>
                      <a:pt x="2449" y="2721"/>
                    </a:lnTo>
                    <a:lnTo>
                      <a:pt x="2532" y="2532"/>
                    </a:lnTo>
                    <a:lnTo>
                      <a:pt x="2532" y="2365"/>
                    </a:lnTo>
                    <a:lnTo>
                      <a:pt x="2365" y="2051"/>
                    </a:lnTo>
                    <a:lnTo>
                      <a:pt x="2323" y="1905"/>
                    </a:lnTo>
                    <a:lnTo>
                      <a:pt x="2135" y="1779"/>
                    </a:lnTo>
                    <a:lnTo>
                      <a:pt x="2051" y="3871"/>
                    </a:lnTo>
                    <a:lnTo>
                      <a:pt x="1821" y="3871"/>
                    </a:lnTo>
                    <a:lnTo>
                      <a:pt x="1675" y="3934"/>
                    </a:lnTo>
                    <a:lnTo>
                      <a:pt x="1612" y="4039"/>
                    </a:lnTo>
                    <a:lnTo>
                      <a:pt x="1528" y="4081"/>
                    </a:lnTo>
                    <a:lnTo>
                      <a:pt x="1486" y="4122"/>
                    </a:lnTo>
                    <a:lnTo>
                      <a:pt x="1486" y="4248"/>
                    </a:lnTo>
                    <a:lnTo>
                      <a:pt x="1403" y="4227"/>
                    </a:lnTo>
                    <a:lnTo>
                      <a:pt x="1319" y="4227"/>
                    </a:lnTo>
                    <a:lnTo>
                      <a:pt x="1277" y="4143"/>
                    </a:lnTo>
                    <a:lnTo>
                      <a:pt x="1193" y="4143"/>
                    </a:lnTo>
                    <a:lnTo>
                      <a:pt x="1152" y="4206"/>
                    </a:lnTo>
                    <a:lnTo>
                      <a:pt x="1047" y="4185"/>
                    </a:lnTo>
                    <a:lnTo>
                      <a:pt x="984" y="4143"/>
                    </a:lnTo>
                    <a:lnTo>
                      <a:pt x="880" y="4185"/>
                    </a:lnTo>
                    <a:lnTo>
                      <a:pt x="754" y="4102"/>
                    </a:lnTo>
                    <a:lnTo>
                      <a:pt x="566" y="4039"/>
                    </a:lnTo>
                    <a:lnTo>
                      <a:pt x="482" y="3871"/>
                    </a:lnTo>
                    <a:lnTo>
                      <a:pt x="545" y="3725"/>
                    </a:lnTo>
                    <a:lnTo>
                      <a:pt x="440" y="3725"/>
                    </a:lnTo>
                    <a:lnTo>
                      <a:pt x="356" y="3599"/>
                    </a:lnTo>
                    <a:lnTo>
                      <a:pt x="231" y="3662"/>
                    </a:lnTo>
                    <a:lnTo>
                      <a:pt x="168" y="3767"/>
                    </a:lnTo>
                    <a:lnTo>
                      <a:pt x="210" y="3788"/>
                    </a:lnTo>
                    <a:lnTo>
                      <a:pt x="210" y="3871"/>
                    </a:lnTo>
                    <a:lnTo>
                      <a:pt x="64" y="3892"/>
                    </a:lnTo>
                    <a:lnTo>
                      <a:pt x="1" y="3934"/>
                    </a:lnTo>
                    <a:lnTo>
                      <a:pt x="22" y="4122"/>
                    </a:lnTo>
                    <a:lnTo>
                      <a:pt x="210" y="4248"/>
                    </a:lnTo>
                    <a:lnTo>
                      <a:pt x="336" y="4625"/>
                    </a:lnTo>
                    <a:lnTo>
                      <a:pt x="336" y="4771"/>
                    </a:lnTo>
                    <a:lnTo>
                      <a:pt x="461" y="5085"/>
                    </a:lnTo>
                    <a:lnTo>
                      <a:pt x="545" y="5441"/>
                    </a:lnTo>
                    <a:lnTo>
                      <a:pt x="691" y="5650"/>
                    </a:lnTo>
                    <a:lnTo>
                      <a:pt x="691" y="5775"/>
                    </a:lnTo>
                    <a:lnTo>
                      <a:pt x="859" y="6027"/>
                    </a:lnTo>
                    <a:lnTo>
                      <a:pt x="859" y="6110"/>
                    </a:lnTo>
                    <a:lnTo>
                      <a:pt x="900" y="6299"/>
                    </a:lnTo>
                    <a:lnTo>
                      <a:pt x="880" y="6487"/>
                    </a:lnTo>
                    <a:lnTo>
                      <a:pt x="796" y="6550"/>
                    </a:lnTo>
                    <a:lnTo>
                      <a:pt x="754" y="6550"/>
                    </a:lnTo>
                    <a:lnTo>
                      <a:pt x="691" y="6508"/>
                    </a:lnTo>
                    <a:lnTo>
                      <a:pt x="649" y="6550"/>
                    </a:lnTo>
                    <a:lnTo>
                      <a:pt x="649" y="6717"/>
                    </a:lnTo>
                    <a:lnTo>
                      <a:pt x="733" y="6863"/>
                    </a:lnTo>
                    <a:lnTo>
                      <a:pt x="838" y="6968"/>
                    </a:lnTo>
                    <a:lnTo>
                      <a:pt x="942" y="7156"/>
                    </a:lnTo>
                    <a:lnTo>
                      <a:pt x="859" y="7282"/>
                    </a:lnTo>
                    <a:lnTo>
                      <a:pt x="880" y="7449"/>
                    </a:lnTo>
                    <a:lnTo>
                      <a:pt x="838" y="7554"/>
                    </a:lnTo>
                    <a:lnTo>
                      <a:pt x="838" y="7659"/>
                    </a:lnTo>
                    <a:lnTo>
                      <a:pt x="900" y="7700"/>
                    </a:lnTo>
                    <a:lnTo>
                      <a:pt x="900" y="7596"/>
                    </a:lnTo>
                    <a:lnTo>
                      <a:pt x="1005" y="7533"/>
                    </a:lnTo>
                    <a:lnTo>
                      <a:pt x="1152" y="7554"/>
                    </a:lnTo>
                    <a:lnTo>
                      <a:pt x="1172" y="7679"/>
                    </a:lnTo>
                    <a:lnTo>
                      <a:pt x="1110" y="7721"/>
                    </a:lnTo>
                    <a:lnTo>
                      <a:pt x="1172" y="7742"/>
                    </a:lnTo>
                    <a:lnTo>
                      <a:pt x="1256" y="7679"/>
                    </a:lnTo>
                    <a:lnTo>
                      <a:pt x="1361" y="7742"/>
                    </a:lnTo>
                    <a:lnTo>
                      <a:pt x="1361" y="7868"/>
                    </a:lnTo>
                    <a:lnTo>
                      <a:pt x="1403" y="7847"/>
                    </a:lnTo>
                    <a:lnTo>
                      <a:pt x="1696" y="7972"/>
                    </a:lnTo>
                    <a:lnTo>
                      <a:pt x="1737" y="7951"/>
                    </a:lnTo>
                    <a:lnTo>
                      <a:pt x="1800" y="7972"/>
                    </a:lnTo>
                    <a:lnTo>
                      <a:pt x="1821" y="7889"/>
                    </a:lnTo>
                    <a:lnTo>
                      <a:pt x="1926" y="7868"/>
                    </a:lnTo>
                    <a:lnTo>
                      <a:pt x="2051" y="7742"/>
                    </a:lnTo>
                    <a:lnTo>
                      <a:pt x="2198" y="7763"/>
                    </a:lnTo>
                    <a:lnTo>
                      <a:pt x="2219" y="7721"/>
                    </a:lnTo>
                    <a:lnTo>
                      <a:pt x="2344" y="7721"/>
                    </a:lnTo>
                    <a:lnTo>
                      <a:pt x="2512" y="7763"/>
                    </a:lnTo>
                    <a:lnTo>
                      <a:pt x="2574" y="7742"/>
                    </a:lnTo>
                    <a:lnTo>
                      <a:pt x="2721" y="7742"/>
                    </a:lnTo>
                    <a:lnTo>
                      <a:pt x="2742" y="7679"/>
                    </a:lnTo>
                    <a:lnTo>
                      <a:pt x="2784" y="7638"/>
                    </a:lnTo>
                    <a:lnTo>
                      <a:pt x="2867" y="7596"/>
                    </a:lnTo>
                    <a:lnTo>
                      <a:pt x="2930" y="7638"/>
                    </a:lnTo>
                    <a:lnTo>
                      <a:pt x="2951" y="7533"/>
                    </a:lnTo>
                    <a:lnTo>
                      <a:pt x="3035" y="7470"/>
                    </a:lnTo>
                    <a:lnTo>
                      <a:pt x="3349" y="7470"/>
                    </a:lnTo>
                    <a:lnTo>
                      <a:pt x="3474" y="7554"/>
                    </a:lnTo>
                    <a:lnTo>
                      <a:pt x="3558" y="7533"/>
                    </a:lnTo>
                    <a:lnTo>
                      <a:pt x="3558" y="7470"/>
                    </a:lnTo>
                    <a:lnTo>
                      <a:pt x="3725" y="7449"/>
                    </a:lnTo>
                    <a:lnTo>
                      <a:pt x="3997" y="7533"/>
                    </a:lnTo>
                    <a:lnTo>
                      <a:pt x="4081" y="7575"/>
                    </a:lnTo>
                    <a:lnTo>
                      <a:pt x="4353" y="7638"/>
                    </a:lnTo>
                    <a:lnTo>
                      <a:pt x="4395" y="7596"/>
                    </a:lnTo>
                    <a:lnTo>
                      <a:pt x="4353" y="7533"/>
                    </a:lnTo>
                    <a:lnTo>
                      <a:pt x="4437" y="7449"/>
                    </a:lnTo>
                    <a:lnTo>
                      <a:pt x="4541" y="7449"/>
                    </a:lnTo>
                    <a:lnTo>
                      <a:pt x="4667" y="7491"/>
                    </a:lnTo>
                    <a:lnTo>
                      <a:pt x="4876" y="7491"/>
                    </a:lnTo>
                    <a:lnTo>
                      <a:pt x="4876" y="7470"/>
                    </a:lnTo>
                    <a:lnTo>
                      <a:pt x="4813" y="7387"/>
                    </a:lnTo>
                    <a:lnTo>
                      <a:pt x="4855" y="7303"/>
                    </a:lnTo>
                    <a:lnTo>
                      <a:pt x="5022" y="7240"/>
                    </a:lnTo>
                    <a:lnTo>
                      <a:pt x="5190" y="7240"/>
                    </a:lnTo>
                    <a:lnTo>
                      <a:pt x="5253" y="7303"/>
                    </a:lnTo>
                    <a:lnTo>
                      <a:pt x="5378" y="7303"/>
                    </a:lnTo>
                    <a:lnTo>
                      <a:pt x="5504" y="7219"/>
                    </a:lnTo>
                    <a:lnTo>
                      <a:pt x="5713" y="7156"/>
                    </a:lnTo>
                    <a:lnTo>
                      <a:pt x="5713" y="7135"/>
                    </a:lnTo>
                    <a:lnTo>
                      <a:pt x="5859" y="7073"/>
                    </a:lnTo>
                    <a:lnTo>
                      <a:pt x="5922" y="6968"/>
                    </a:lnTo>
                    <a:lnTo>
                      <a:pt x="6320" y="6717"/>
                    </a:lnTo>
                    <a:lnTo>
                      <a:pt x="6424" y="6612"/>
                    </a:lnTo>
                    <a:lnTo>
                      <a:pt x="6424" y="6591"/>
                    </a:lnTo>
                    <a:lnTo>
                      <a:pt x="6508" y="6591"/>
                    </a:lnTo>
                    <a:lnTo>
                      <a:pt x="7115" y="5985"/>
                    </a:lnTo>
                    <a:lnTo>
                      <a:pt x="7136" y="5922"/>
                    </a:lnTo>
                    <a:lnTo>
                      <a:pt x="7198" y="5922"/>
                    </a:lnTo>
                    <a:lnTo>
                      <a:pt x="7282" y="5796"/>
                    </a:lnTo>
                    <a:lnTo>
                      <a:pt x="7387" y="5755"/>
                    </a:lnTo>
                    <a:lnTo>
                      <a:pt x="7429" y="5587"/>
                    </a:lnTo>
                    <a:lnTo>
                      <a:pt x="7596" y="5399"/>
                    </a:lnTo>
                    <a:lnTo>
                      <a:pt x="7847" y="5022"/>
                    </a:lnTo>
                    <a:lnTo>
                      <a:pt x="7910" y="4834"/>
                    </a:lnTo>
                    <a:lnTo>
                      <a:pt x="8014" y="4834"/>
                    </a:lnTo>
                    <a:lnTo>
                      <a:pt x="8077" y="4708"/>
                    </a:lnTo>
                    <a:lnTo>
                      <a:pt x="8077" y="4646"/>
                    </a:lnTo>
                    <a:lnTo>
                      <a:pt x="8182" y="4520"/>
                    </a:lnTo>
                    <a:lnTo>
                      <a:pt x="8266" y="4394"/>
                    </a:lnTo>
                    <a:lnTo>
                      <a:pt x="8391" y="4311"/>
                    </a:lnTo>
                    <a:lnTo>
                      <a:pt x="8433" y="4227"/>
                    </a:lnTo>
                    <a:lnTo>
                      <a:pt x="8538" y="4185"/>
                    </a:lnTo>
                    <a:lnTo>
                      <a:pt x="8579" y="4122"/>
                    </a:lnTo>
                    <a:lnTo>
                      <a:pt x="8621" y="4122"/>
                    </a:lnTo>
                    <a:lnTo>
                      <a:pt x="8789" y="3934"/>
                    </a:lnTo>
                    <a:lnTo>
                      <a:pt x="8810" y="3830"/>
                    </a:lnTo>
                    <a:lnTo>
                      <a:pt x="8893" y="3725"/>
                    </a:lnTo>
                    <a:lnTo>
                      <a:pt x="8935" y="3516"/>
                    </a:lnTo>
                    <a:lnTo>
                      <a:pt x="9019" y="3348"/>
                    </a:lnTo>
                    <a:lnTo>
                      <a:pt x="9040" y="3160"/>
                    </a:lnTo>
                    <a:lnTo>
                      <a:pt x="9123" y="2951"/>
                    </a:lnTo>
                    <a:lnTo>
                      <a:pt x="9103" y="2951"/>
                    </a:lnTo>
                    <a:lnTo>
                      <a:pt x="9165" y="2846"/>
                    </a:lnTo>
                    <a:lnTo>
                      <a:pt x="9165" y="2825"/>
                    </a:lnTo>
                    <a:lnTo>
                      <a:pt x="9061" y="2825"/>
                    </a:lnTo>
                    <a:lnTo>
                      <a:pt x="8935" y="2762"/>
                    </a:lnTo>
                    <a:lnTo>
                      <a:pt x="8830" y="2762"/>
                    </a:lnTo>
                    <a:lnTo>
                      <a:pt x="8768" y="2825"/>
                    </a:lnTo>
                    <a:lnTo>
                      <a:pt x="8768" y="2909"/>
                    </a:lnTo>
                    <a:lnTo>
                      <a:pt x="8726" y="3014"/>
                    </a:lnTo>
                    <a:lnTo>
                      <a:pt x="8663" y="3034"/>
                    </a:lnTo>
                    <a:lnTo>
                      <a:pt x="8454" y="3034"/>
                    </a:lnTo>
                    <a:lnTo>
                      <a:pt x="8266" y="2930"/>
                    </a:lnTo>
                    <a:lnTo>
                      <a:pt x="8182" y="2804"/>
                    </a:lnTo>
                    <a:lnTo>
                      <a:pt x="8140" y="2742"/>
                    </a:lnTo>
                    <a:lnTo>
                      <a:pt x="8098" y="2658"/>
                    </a:lnTo>
                    <a:lnTo>
                      <a:pt x="8161" y="2532"/>
                    </a:lnTo>
                    <a:lnTo>
                      <a:pt x="8286" y="2281"/>
                    </a:lnTo>
                    <a:lnTo>
                      <a:pt x="8307" y="2177"/>
                    </a:lnTo>
                    <a:lnTo>
                      <a:pt x="8412" y="2114"/>
                    </a:lnTo>
                    <a:lnTo>
                      <a:pt x="8579" y="2197"/>
                    </a:lnTo>
                    <a:lnTo>
                      <a:pt x="8663" y="2260"/>
                    </a:lnTo>
                    <a:lnTo>
                      <a:pt x="8768" y="2323"/>
                    </a:lnTo>
                    <a:lnTo>
                      <a:pt x="8768" y="2135"/>
                    </a:lnTo>
                    <a:lnTo>
                      <a:pt x="8768" y="1988"/>
                    </a:lnTo>
                    <a:lnTo>
                      <a:pt x="8810" y="1800"/>
                    </a:lnTo>
                    <a:lnTo>
                      <a:pt x="8810" y="1361"/>
                    </a:lnTo>
                    <a:lnTo>
                      <a:pt x="8789" y="1214"/>
                    </a:lnTo>
                    <a:lnTo>
                      <a:pt x="8747" y="1109"/>
                    </a:lnTo>
                    <a:lnTo>
                      <a:pt x="8747" y="1005"/>
                    </a:lnTo>
                    <a:lnTo>
                      <a:pt x="8747" y="984"/>
                    </a:lnTo>
                    <a:lnTo>
                      <a:pt x="8747" y="733"/>
                    </a:lnTo>
                    <a:lnTo>
                      <a:pt x="8684" y="586"/>
                    </a:lnTo>
                    <a:lnTo>
                      <a:pt x="8642" y="440"/>
                    </a:lnTo>
                    <a:lnTo>
                      <a:pt x="8621" y="273"/>
                    </a:lnTo>
                    <a:lnTo>
                      <a:pt x="8517" y="168"/>
                    </a:lnTo>
                    <a:lnTo>
                      <a:pt x="8328" y="126"/>
                    </a:lnTo>
                    <a:lnTo>
                      <a:pt x="8182" y="147"/>
                    </a:lnTo>
                    <a:lnTo>
                      <a:pt x="8098" y="168"/>
                    </a:lnTo>
                    <a:lnTo>
                      <a:pt x="8056" y="147"/>
                    </a:lnTo>
                    <a:lnTo>
                      <a:pt x="7910" y="105"/>
                    </a:lnTo>
                    <a:lnTo>
                      <a:pt x="7847" y="105"/>
                    </a:lnTo>
                    <a:lnTo>
                      <a:pt x="7784" y="21"/>
                    </a:lnTo>
                    <a:lnTo>
                      <a:pt x="765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17" name="Google Shape;5864;p93">
              <a:extLst>
                <a:ext uri="{FF2B5EF4-FFF2-40B4-BE49-F238E27FC236}">
                  <a16:creationId xmlns:a16="http://schemas.microsoft.com/office/drawing/2014/main" id="{C0E26508-C24A-4191-8326-F37C795896FA}"/>
                </a:ext>
              </a:extLst>
            </p:cNvPr>
            <p:cNvSpPr/>
            <p:nvPr/>
          </p:nvSpPr>
          <p:spPr>
            <a:xfrm>
              <a:off x="3292646" y="3020419"/>
              <a:ext cx="18695" cy="5482"/>
            </a:xfrm>
            <a:custGeom>
              <a:avLst/>
              <a:gdLst/>
              <a:ahLst/>
              <a:cxnLst/>
              <a:rect l="l" t="t" r="r" b="b"/>
              <a:pathLst>
                <a:path w="1570" h="482" extrusionOk="0">
                  <a:moveTo>
                    <a:pt x="189" y="0"/>
                  </a:moveTo>
                  <a:lnTo>
                    <a:pt x="126" y="84"/>
                  </a:lnTo>
                  <a:lnTo>
                    <a:pt x="21" y="147"/>
                  </a:lnTo>
                  <a:lnTo>
                    <a:pt x="21" y="209"/>
                  </a:lnTo>
                  <a:lnTo>
                    <a:pt x="0" y="272"/>
                  </a:lnTo>
                  <a:lnTo>
                    <a:pt x="42" y="377"/>
                  </a:lnTo>
                  <a:lnTo>
                    <a:pt x="314" y="377"/>
                  </a:lnTo>
                  <a:lnTo>
                    <a:pt x="398" y="398"/>
                  </a:lnTo>
                  <a:lnTo>
                    <a:pt x="607" y="356"/>
                  </a:lnTo>
                  <a:lnTo>
                    <a:pt x="691" y="377"/>
                  </a:lnTo>
                  <a:lnTo>
                    <a:pt x="837" y="293"/>
                  </a:lnTo>
                  <a:cubicBezTo>
                    <a:pt x="1026" y="398"/>
                    <a:pt x="1235" y="356"/>
                    <a:pt x="1423" y="481"/>
                  </a:cubicBezTo>
                  <a:lnTo>
                    <a:pt x="1570" y="460"/>
                  </a:lnTo>
                  <a:lnTo>
                    <a:pt x="1528" y="398"/>
                  </a:lnTo>
                  <a:lnTo>
                    <a:pt x="1444" y="460"/>
                  </a:lnTo>
                  <a:lnTo>
                    <a:pt x="1444" y="440"/>
                  </a:lnTo>
                  <a:cubicBezTo>
                    <a:pt x="1360" y="377"/>
                    <a:pt x="1318" y="356"/>
                    <a:pt x="1235" y="335"/>
                  </a:cubicBezTo>
                  <a:lnTo>
                    <a:pt x="1277" y="293"/>
                  </a:lnTo>
                  <a:lnTo>
                    <a:pt x="1130" y="251"/>
                  </a:lnTo>
                  <a:lnTo>
                    <a:pt x="1046" y="335"/>
                  </a:lnTo>
                  <a:cubicBezTo>
                    <a:pt x="1005" y="335"/>
                    <a:pt x="942" y="335"/>
                    <a:pt x="921" y="293"/>
                  </a:cubicBezTo>
                  <a:lnTo>
                    <a:pt x="921" y="272"/>
                  </a:lnTo>
                  <a:lnTo>
                    <a:pt x="1046" y="147"/>
                  </a:lnTo>
                  <a:lnTo>
                    <a:pt x="942" y="105"/>
                  </a:lnTo>
                  <a:lnTo>
                    <a:pt x="921" y="42"/>
                  </a:lnTo>
                  <a:lnTo>
                    <a:pt x="837" y="0"/>
                  </a:lnTo>
                  <a:lnTo>
                    <a:pt x="607" y="42"/>
                  </a:lnTo>
                  <a:lnTo>
                    <a:pt x="1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 name="Google Shape;5865;p93">
              <a:extLst>
                <a:ext uri="{FF2B5EF4-FFF2-40B4-BE49-F238E27FC236}">
                  <a16:creationId xmlns:a16="http://schemas.microsoft.com/office/drawing/2014/main" id="{985AE060-054F-4B36-BA4A-7F017E84F79E}"/>
                </a:ext>
              </a:extLst>
            </p:cNvPr>
            <p:cNvSpPr/>
            <p:nvPr/>
          </p:nvSpPr>
          <p:spPr>
            <a:xfrm>
              <a:off x="3260258" y="3010662"/>
              <a:ext cx="26423" cy="16661"/>
            </a:xfrm>
            <a:custGeom>
              <a:avLst/>
              <a:gdLst/>
              <a:ahLst/>
              <a:cxnLst/>
              <a:rect l="l" t="t" r="r" b="b"/>
              <a:pathLst>
                <a:path w="2219" h="1465" extrusionOk="0">
                  <a:moveTo>
                    <a:pt x="481" y="0"/>
                  </a:moveTo>
                  <a:lnTo>
                    <a:pt x="293" y="42"/>
                  </a:lnTo>
                  <a:lnTo>
                    <a:pt x="230" y="147"/>
                  </a:lnTo>
                  <a:lnTo>
                    <a:pt x="230" y="209"/>
                  </a:lnTo>
                  <a:lnTo>
                    <a:pt x="189" y="314"/>
                  </a:lnTo>
                  <a:lnTo>
                    <a:pt x="230" y="398"/>
                  </a:lnTo>
                  <a:lnTo>
                    <a:pt x="189" y="523"/>
                  </a:lnTo>
                  <a:lnTo>
                    <a:pt x="105" y="586"/>
                  </a:lnTo>
                  <a:lnTo>
                    <a:pt x="84" y="607"/>
                  </a:lnTo>
                  <a:lnTo>
                    <a:pt x="126" y="733"/>
                  </a:lnTo>
                  <a:lnTo>
                    <a:pt x="126" y="837"/>
                  </a:lnTo>
                  <a:lnTo>
                    <a:pt x="126" y="900"/>
                  </a:lnTo>
                  <a:lnTo>
                    <a:pt x="0" y="1046"/>
                  </a:lnTo>
                  <a:lnTo>
                    <a:pt x="0" y="1109"/>
                  </a:lnTo>
                  <a:lnTo>
                    <a:pt x="63" y="1130"/>
                  </a:lnTo>
                  <a:lnTo>
                    <a:pt x="126" y="1256"/>
                  </a:lnTo>
                  <a:lnTo>
                    <a:pt x="84" y="1339"/>
                  </a:lnTo>
                  <a:lnTo>
                    <a:pt x="189" y="1402"/>
                  </a:lnTo>
                  <a:lnTo>
                    <a:pt x="230" y="1444"/>
                  </a:lnTo>
                  <a:lnTo>
                    <a:pt x="293" y="1465"/>
                  </a:lnTo>
                  <a:lnTo>
                    <a:pt x="377" y="1318"/>
                  </a:lnTo>
                  <a:lnTo>
                    <a:pt x="502" y="1130"/>
                  </a:lnTo>
                  <a:lnTo>
                    <a:pt x="502" y="1088"/>
                  </a:lnTo>
                  <a:lnTo>
                    <a:pt x="544" y="984"/>
                  </a:lnTo>
                  <a:lnTo>
                    <a:pt x="607" y="1046"/>
                  </a:lnTo>
                  <a:lnTo>
                    <a:pt x="691" y="1046"/>
                  </a:lnTo>
                  <a:lnTo>
                    <a:pt x="753" y="921"/>
                  </a:lnTo>
                  <a:lnTo>
                    <a:pt x="837" y="984"/>
                  </a:lnTo>
                  <a:lnTo>
                    <a:pt x="837" y="1088"/>
                  </a:lnTo>
                  <a:lnTo>
                    <a:pt x="921" y="1130"/>
                  </a:lnTo>
                  <a:lnTo>
                    <a:pt x="1067" y="1088"/>
                  </a:lnTo>
                  <a:lnTo>
                    <a:pt x="1235" y="942"/>
                  </a:lnTo>
                  <a:lnTo>
                    <a:pt x="1381" y="900"/>
                  </a:lnTo>
                  <a:lnTo>
                    <a:pt x="1569" y="921"/>
                  </a:lnTo>
                  <a:lnTo>
                    <a:pt x="1674" y="900"/>
                  </a:lnTo>
                  <a:lnTo>
                    <a:pt x="1758" y="942"/>
                  </a:lnTo>
                  <a:lnTo>
                    <a:pt x="1883" y="984"/>
                  </a:lnTo>
                  <a:lnTo>
                    <a:pt x="2072" y="1005"/>
                  </a:lnTo>
                  <a:lnTo>
                    <a:pt x="2093" y="921"/>
                  </a:lnTo>
                  <a:lnTo>
                    <a:pt x="2176" y="921"/>
                  </a:lnTo>
                  <a:lnTo>
                    <a:pt x="2218" y="816"/>
                  </a:lnTo>
                  <a:lnTo>
                    <a:pt x="2176" y="733"/>
                  </a:lnTo>
                  <a:lnTo>
                    <a:pt x="1946" y="607"/>
                  </a:lnTo>
                  <a:lnTo>
                    <a:pt x="1862" y="607"/>
                  </a:lnTo>
                  <a:lnTo>
                    <a:pt x="1695" y="565"/>
                  </a:lnTo>
                  <a:lnTo>
                    <a:pt x="1632" y="565"/>
                  </a:lnTo>
                  <a:lnTo>
                    <a:pt x="1465" y="502"/>
                  </a:lnTo>
                  <a:lnTo>
                    <a:pt x="1277" y="398"/>
                  </a:lnTo>
                  <a:lnTo>
                    <a:pt x="1172" y="398"/>
                  </a:lnTo>
                  <a:lnTo>
                    <a:pt x="1256" y="377"/>
                  </a:lnTo>
                  <a:lnTo>
                    <a:pt x="1423" y="419"/>
                  </a:lnTo>
                  <a:lnTo>
                    <a:pt x="1674" y="419"/>
                  </a:lnTo>
                  <a:lnTo>
                    <a:pt x="1779" y="398"/>
                  </a:lnTo>
                  <a:lnTo>
                    <a:pt x="1695" y="356"/>
                  </a:lnTo>
                  <a:lnTo>
                    <a:pt x="1632" y="356"/>
                  </a:lnTo>
                  <a:lnTo>
                    <a:pt x="1444" y="314"/>
                  </a:lnTo>
                  <a:lnTo>
                    <a:pt x="1360" y="147"/>
                  </a:lnTo>
                  <a:lnTo>
                    <a:pt x="1256" y="147"/>
                  </a:lnTo>
                  <a:lnTo>
                    <a:pt x="1214" y="168"/>
                  </a:lnTo>
                  <a:lnTo>
                    <a:pt x="1130" y="105"/>
                  </a:lnTo>
                  <a:lnTo>
                    <a:pt x="649" y="0"/>
                  </a:lnTo>
                  <a:lnTo>
                    <a:pt x="586" y="42"/>
                  </a:lnTo>
                  <a:lnTo>
                    <a:pt x="48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 name="Google Shape;5866;p93">
              <a:extLst>
                <a:ext uri="{FF2B5EF4-FFF2-40B4-BE49-F238E27FC236}">
                  <a16:creationId xmlns:a16="http://schemas.microsoft.com/office/drawing/2014/main" id="{C39E10FD-D13D-4E6A-9955-CBBF662B565E}"/>
                </a:ext>
              </a:extLst>
            </p:cNvPr>
            <p:cNvSpPr/>
            <p:nvPr/>
          </p:nvSpPr>
          <p:spPr>
            <a:xfrm>
              <a:off x="3408744" y="2329870"/>
              <a:ext cx="289769" cy="354333"/>
            </a:xfrm>
            <a:custGeom>
              <a:avLst/>
              <a:gdLst/>
              <a:ahLst/>
              <a:cxnLst/>
              <a:rect l="l" t="t" r="r" b="b"/>
              <a:pathLst>
                <a:path w="24335" h="31157" extrusionOk="0">
                  <a:moveTo>
                    <a:pt x="19167" y="16300"/>
                  </a:moveTo>
                  <a:lnTo>
                    <a:pt x="19161" y="16311"/>
                  </a:lnTo>
                  <a:lnTo>
                    <a:pt x="19167" y="16321"/>
                  </a:lnTo>
                  <a:lnTo>
                    <a:pt x="19167" y="16300"/>
                  </a:lnTo>
                  <a:close/>
                  <a:moveTo>
                    <a:pt x="16572" y="17849"/>
                  </a:moveTo>
                  <a:lnTo>
                    <a:pt x="16593" y="17870"/>
                  </a:lnTo>
                  <a:lnTo>
                    <a:pt x="16509" y="17870"/>
                  </a:lnTo>
                  <a:lnTo>
                    <a:pt x="16509" y="17849"/>
                  </a:lnTo>
                  <a:close/>
                  <a:moveTo>
                    <a:pt x="4771" y="22933"/>
                  </a:moveTo>
                  <a:lnTo>
                    <a:pt x="4813" y="22996"/>
                  </a:lnTo>
                  <a:lnTo>
                    <a:pt x="4792" y="23038"/>
                  </a:lnTo>
                  <a:lnTo>
                    <a:pt x="4750" y="23038"/>
                  </a:lnTo>
                  <a:lnTo>
                    <a:pt x="4688" y="23059"/>
                  </a:lnTo>
                  <a:lnTo>
                    <a:pt x="4709" y="23142"/>
                  </a:lnTo>
                  <a:lnTo>
                    <a:pt x="4792" y="23205"/>
                  </a:lnTo>
                  <a:lnTo>
                    <a:pt x="4960" y="23205"/>
                  </a:lnTo>
                  <a:lnTo>
                    <a:pt x="4981" y="23163"/>
                  </a:lnTo>
                  <a:lnTo>
                    <a:pt x="4960" y="23121"/>
                  </a:lnTo>
                  <a:lnTo>
                    <a:pt x="4960" y="23059"/>
                  </a:lnTo>
                  <a:lnTo>
                    <a:pt x="5001" y="23038"/>
                  </a:lnTo>
                  <a:lnTo>
                    <a:pt x="5127" y="23059"/>
                  </a:lnTo>
                  <a:lnTo>
                    <a:pt x="5169" y="23121"/>
                  </a:lnTo>
                  <a:lnTo>
                    <a:pt x="5106" y="23163"/>
                  </a:lnTo>
                  <a:lnTo>
                    <a:pt x="4960" y="23226"/>
                  </a:lnTo>
                  <a:lnTo>
                    <a:pt x="4750" y="23226"/>
                  </a:lnTo>
                  <a:lnTo>
                    <a:pt x="4750" y="23268"/>
                  </a:lnTo>
                  <a:lnTo>
                    <a:pt x="4855" y="23435"/>
                  </a:lnTo>
                  <a:lnTo>
                    <a:pt x="4981" y="23519"/>
                  </a:lnTo>
                  <a:lnTo>
                    <a:pt x="5064" y="23540"/>
                  </a:lnTo>
                  <a:lnTo>
                    <a:pt x="5085" y="23519"/>
                  </a:lnTo>
                  <a:lnTo>
                    <a:pt x="5190" y="23477"/>
                  </a:lnTo>
                  <a:lnTo>
                    <a:pt x="5211" y="23540"/>
                  </a:lnTo>
                  <a:lnTo>
                    <a:pt x="5190" y="23561"/>
                  </a:lnTo>
                  <a:lnTo>
                    <a:pt x="5127" y="23561"/>
                  </a:lnTo>
                  <a:lnTo>
                    <a:pt x="5064" y="23582"/>
                  </a:lnTo>
                  <a:lnTo>
                    <a:pt x="4897" y="23540"/>
                  </a:lnTo>
                  <a:lnTo>
                    <a:pt x="4771" y="23477"/>
                  </a:lnTo>
                  <a:lnTo>
                    <a:pt x="4646" y="23352"/>
                  </a:lnTo>
                  <a:lnTo>
                    <a:pt x="4541" y="23310"/>
                  </a:lnTo>
                  <a:lnTo>
                    <a:pt x="4436" y="23310"/>
                  </a:lnTo>
                  <a:lnTo>
                    <a:pt x="4332" y="23205"/>
                  </a:lnTo>
                  <a:lnTo>
                    <a:pt x="4185" y="23142"/>
                  </a:lnTo>
                  <a:lnTo>
                    <a:pt x="4164" y="23121"/>
                  </a:lnTo>
                  <a:lnTo>
                    <a:pt x="4081" y="23121"/>
                  </a:lnTo>
                  <a:lnTo>
                    <a:pt x="4018" y="23142"/>
                  </a:lnTo>
                  <a:lnTo>
                    <a:pt x="3913" y="23142"/>
                  </a:lnTo>
                  <a:lnTo>
                    <a:pt x="3892" y="23132"/>
                  </a:lnTo>
                  <a:lnTo>
                    <a:pt x="3892" y="23132"/>
                  </a:lnTo>
                  <a:lnTo>
                    <a:pt x="3913" y="23121"/>
                  </a:lnTo>
                  <a:lnTo>
                    <a:pt x="3976" y="23121"/>
                  </a:lnTo>
                  <a:lnTo>
                    <a:pt x="4123" y="23100"/>
                  </a:lnTo>
                  <a:lnTo>
                    <a:pt x="4164" y="23038"/>
                  </a:lnTo>
                  <a:lnTo>
                    <a:pt x="4185" y="23038"/>
                  </a:lnTo>
                  <a:lnTo>
                    <a:pt x="4185" y="23100"/>
                  </a:lnTo>
                  <a:lnTo>
                    <a:pt x="4248" y="23121"/>
                  </a:lnTo>
                  <a:lnTo>
                    <a:pt x="4332" y="23121"/>
                  </a:lnTo>
                  <a:lnTo>
                    <a:pt x="4436" y="23247"/>
                  </a:lnTo>
                  <a:lnTo>
                    <a:pt x="4478" y="23268"/>
                  </a:lnTo>
                  <a:lnTo>
                    <a:pt x="4562" y="23226"/>
                  </a:lnTo>
                  <a:lnTo>
                    <a:pt x="4604" y="23142"/>
                  </a:lnTo>
                  <a:lnTo>
                    <a:pt x="4604" y="23059"/>
                  </a:lnTo>
                  <a:lnTo>
                    <a:pt x="4583" y="23017"/>
                  </a:lnTo>
                  <a:lnTo>
                    <a:pt x="4583" y="22954"/>
                  </a:lnTo>
                  <a:lnTo>
                    <a:pt x="4688" y="22954"/>
                  </a:lnTo>
                  <a:lnTo>
                    <a:pt x="4709" y="22933"/>
                  </a:lnTo>
                  <a:close/>
                  <a:moveTo>
                    <a:pt x="4269" y="25193"/>
                  </a:moveTo>
                  <a:lnTo>
                    <a:pt x="4290" y="25277"/>
                  </a:lnTo>
                  <a:lnTo>
                    <a:pt x="4395" y="25297"/>
                  </a:lnTo>
                  <a:lnTo>
                    <a:pt x="4436" y="25339"/>
                  </a:lnTo>
                  <a:lnTo>
                    <a:pt x="4353" y="25339"/>
                  </a:lnTo>
                  <a:lnTo>
                    <a:pt x="4290" y="25318"/>
                  </a:lnTo>
                  <a:lnTo>
                    <a:pt x="4123" y="25318"/>
                  </a:lnTo>
                  <a:lnTo>
                    <a:pt x="4060" y="25381"/>
                  </a:lnTo>
                  <a:lnTo>
                    <a:pt x="4039" y="25318"/>
                  </a:lnTo>
                  <a:lnTo>
                    <a:pt x="3976" y="25339"/>
                  </a:lnTo>
                  <a:lnTo>
                    <a:pt x="3955" y="25444"/>
                  </a:lnTo>
                  <a:lnTo>
                    <a:pt x="3913" y="25486"/>
                  </a:lnTo>
                  <a:lnTo>
                    <a:pt x="3851" y="25528"/>
                  </a:lnTo>
                  <a:lnTo>
                    <a:pt x="3725" y="25549"/>
                  </a:lnTo>
                  <a:lnTo>
                    <a:pt x="3641" y="25611"/>
                  </a:lnTo>
                  <a:lnTo>
                    <a:pt x="3725" y="25528"/>
                  </a:lnTo>
                  <a:lnTo>
                    <a:pt x="3830" y="25507"/>
                  </a:lnTo>
                  <a:lnTo>
                    <a:pt x="3872" y="25444"/>
                  </a:lnTo>
                  <a:lnTo>
                    <a:pt x="3913" y="25381"/>
                  </a:lnTo>
                  <a:lnTo>
                    <a:pt x="3955" y="25318"/>
                  </a:lnTo>
                  <a:lnTo>
                    <a:pt x="4018" y="25318"/>
                  </a:lnTo>
                  <a:lnTo>
                    <a:pt x="4227" y="25193"/>
                  </a:lnTo>
                  <a:close/>
                  <a:moveTo>
                    <a:pt x="16614" y="1"/>
                  </a:moveTo>
                  <a:lnTo>
                    <a:pt x="16530" y="22"/>
                  </a:lnTo>
                  <a:lnTo>
                    <a:pt x="16489" y="84"/>
                  </a:lnTo>
                  <a:lnTo>
                    <a:pt x="16489" y="168"/>
                  </a:lnTo>
                  <a:lnTo>
                    <a:pt x="16509" y="273"/>
                  </a:lnTo>
                  <a:lnTo>
                    <a:pt x="16509" y="336"/>
                  </a:lnTo>
                  <a:lnTo>
                    <a:pt x="16468" y="398"/>
                  </a:lnTo>
                  <a:lnTo>
                    <a:pt x="16405" y="336"/>
                  </a:lnTo>
                  <a:lnTo>
                    <a:pt x="16384" y="210"/>
                  </a:lnTo>
                  <a:lnTo>
                    <a:pt x="16321" y="126"/>
                  </a:lnTo>
                  <a:lnTo>
                    <a:pt x="16279" y="126"/>
                  </a:lnTo>
                  <a:lnTo>
                    <a:pt x="16216" y="84"/>
                  </a:lnTo>
                  <a:lnTo>
                    <a:pt x="16175" y="64"/>
                  </a:lnTo>
                  <a:lnTo>
                    <a:pt x="16154" y="105"/>
                  </a:lnTo>
                  <a:lnTo>
                    <a:pt x="16112" y="210"/>
                  </a:lnTo>
                  <a:lnTo>
                    <a:pt x="16070" y="273"/>
                  </a:lnTo>
                  <a:lnTo>
                    <a:pt x="15986" y="231"/>
                  </a:lnTo>
                  <a:lnTo>
                    <a:pt x="15903" y="273"/>
                  </a:lnTo>
                  <a:lnTo>
                    <a:pt x="15882" y="377"/>
                  </a:lnTo>
                  <a:lnTo>
                    <a:pt x="15924" y="440"/>
                  </a:lnTo>
                  <a:lnTo>
                    <a:pt x="15965" y="503"/>
                  </a:lnTo>
                  <a:lnTo>
                    <a:pt x="15882" y="587"/>
                  </a:lnTo>
                  <a:lnTo>
                    <a:pt x="15777" y="712"/>
                  </a:lnTo>
                  <a:lnTo>
                    <a:pt x="15777" y="754"/>
                  </a:lnTo>
                  <a:lnTo>
                    <a:pt x="15861" y="796"/>
                  </a:lnTo>
                  <a:lnTo>
                    <a:pt x="15882" y="838"/>
                  </a:lnTo>
                  <a:lnTo>
                    <a:pt x="15840" y="901"/>
                  </a:lnTo>
                  <a:lnTo>
                    <a:pt x="15777" y="901"/>
                  </a:lnTo>
                  <a:lnTo>
                    <a:pt x="15631" y="817"/>
                  </a:lnTo>
                  <a:lnTo>
                    <a:pt x="15421" y="817"/>
                  </a:lnTo>
                  <a:lnTo>
                    <a:pt x="15380" y="963"/>
                  </a:lnTo>
                  <a:lnTo>
                    <a:pt x="15421" y="1131"/>
                  </a:lnTo>
                  <a:lnTo>
                    <a:pt x="15484" y="1277"/>
                  </a:lnTo>
                  <a:lnTo>
                    <a:pt x="15631" y="1340"/>
                  </a:lnTo>
                  <a:lnTo>
                    <a:pt x="15672" y="1382"/>
                  </a:lnTo>
                  <a:lnTo>
                    <a:pt x="15672" y="1445"/>
                  </a:lnTo>
                  <a:lnTo>
                    <a:pt x="15547" y="1403"/>
                  </a:lnTo>
                  <a:lnTo>
                    <a:pt x="15421" y="1340"/>
                  </a:lnTo>
                  <a:lnTo>
                    <a:pt x="15317" y="1152"/>
                  </a:lnTo>
                  <a:lnTo>
                    <a:pt x="15128" y="1026"/>
                  </a:lnTo>
                  <a:lnTo>
                    <a:pt x="15045" y="963"/>
                  </a:lnTo>
                  <a:lnTo>
                    <a:pt x="15024" y="1026"/>
                  </a:lnTo>
                  <a:lnTo>
                    <a:pt x="15045" y="1068"/>
                  </a:lnTo>
                  <a:lnTo>
                    <a:pt x="15045" y="1173"/>
                  </a:lnTo>
                  <a:lnTo>
                    <a:pt x="15066" y="1256"/>
                  </a:lnTo>
                  <a:lnTo>
                    <a:pt x="15128" y="1340"/>
                  </a:lnTo>
                  <a:lnTo>
                    <a:pt x="15128" y="1465"/>
                  </a:lnTo>
                  <a:lnTo>
                    <a:pt x="15045" y="1549"/>
                  </a:lnTo>
                  <a:lnTo>
                    <a:pt x="15045" y="1382"/>
                  </a:lnTo>
                  <a:lnTo>
                    <a:pt x="15003" y="1256"/>
                  </a:lnTo>
                  <a:lnTo>
                    <a:pt x="14919" y="1110"/>
                  </a:lnTo>
                  <a:lnTo>
                    <a:pt x="14919" y="1026"/>
                  </a:lnTo>
                  <a:lnTo>
                    <a:pt x="14836" y="921"/>
                  </a:lnTo>
                  <a:lnTo>
                    <a:pt x="14731" y="859"/>
                  </a:lnTo>
                  <a:lnTo>
                    <a:pt x="14647" y="984"/>
                  </a:lnTo>
                  <a:lnTo>
                    <a:pt x="14605" y="1068"/>
                  </a:lnTo>
                  <a:lnTo>
                    <a:pt x="14543" y="984"/>
                  </a:lnTo>
                  <a:lnTo>
                    <a:pt x="14605" y="921"/>
                  </a:lnTo>
                  <a:lnTo>
                    <a:pt x="14605" y="859"/>
                  </a:lnTo>
                  <a:lnTo>
                    <a:pt x="14522" y="817"/>
                  </a:lnTo>
                  <a:lnTo>
                    <a:pt x="14501" y="733"/>
                  </a:lnTo>
                  <a:lnTo>
                    <a:pt x="14480" y="691"/>
                  </a:lnTo>
                  <a:lnTo>
                    <a:pt x="14375" y="691"/>
                  </a:lnTo>
                  <a:lnTo>
                    <a:pt x="14292" y="733"/>
                  </a:lnTo>
                  <a:lnTo>
                    <a:pt x="14271" y="712"/>
                  </a:lnTo>
                  <a:lnTo>
                    <a:pt x="14292" y="628"/>
                  </a:lnTo>
                  <a:lnTo>
                    <a:pt x="14375" y="545"/>
                  </a:lnTo>
                  <a:lnTo>
                    <a:pt x="14271" y="566"/>
                  </a:lnTo>
                  <a:lnTo>
                    <a:pt x="14166" y="670"/>
                  </a:lnTo>
                  <a:lnTo>
                    <a:pt x="14124" y="754"/>
                  </a:lnTo>
                  <a:lnTo>
                    <a:pt x="14020" y="817"/>
                  </a:lnTo>
                  <a:lnTo>
                    <a:pt x="13957" y="838"/>
                  </a:lnTo>
                  <a:lnTo>
                    <a:pt x="13852" y="984"/>
                  </a:lnTo>
                  <a:lnTo>
                    <a:pt x="13810" y="984"/>
                  </a:lnTo>
                  <a:lnTo>
                    <a:pt x="13768" y="880"/>
                  </a:lnTo>
                  <a:lnTo>
                    <a:pt x="13685" y="817"/>
                  </a:lnTo>
                  <a:lnTo>
                    <a:pt x="13643" y="817"/>
                  </a:lnTo>
                  <a:lnTo>
                    <a:pt x="13601" y="880"/>
                  </a:lnTo>
                  <a:lnTo>
                    <a:pt x="13580" y="963"/>
                  </a:lnTo>
                  <a:lnTo>
                    <a:pt x="13601" y="1089"/>
                  </a:lnTo>
                  <a:lnTo>
                    <a:pt x="13768" y="1193"/>
                  </a:lnTo>
                  <a:lnTo>
                    <a:pt x="13768" y="1256"/>
                  </a:lnTo>
                  <a:lnTo>
                    <a:pt x="13685" y="1256"/>
                  </a:lnTo>
                  <a:lnTo>
                    <a:pt x="13643" y="1382"/>
                  </a:lnTo>
                  <a:lnTo>
                    <a:pt x="13643" y="1507"/>
                  </a:lnTo>
                  <a:lnTo>
                    <a:pt x="13768" y="1591"/>
                  </a:lnTo>
                  <a:lnTo>
                    <a:pt x="13852" y="1570"/>
                  </a:lnTo>
                  <a:lnTo>
                    <a:pt x="13915" y="1507"/>
                  </a:lnTo>
                  <a:lnTo>
                    <a:pt x="14103" y="1507"/>
                  </a:lnTo>
                  <a:lnTo>
                    <a:pt x="14229" y="1675"/>
                  </a:lnTo>
                  <a:lnTo>
                    <a:pt x="14333" y="1717"/>
                  </a:lnTo>
                  <a:lnTo>
                    <a:pt x="14396" y="1800"/>
                  </a:lnTo>
                  <a:lnTo>
                    <a:pt x="14375" y="1863"/>
                  </a:lnTo>
                  <a:lnTo>
                    <a:pt x="14375" y="1926"/>
                  </a:lnTo>
                  <a:lnTo>
                    <a:pt x="14396" y="2072"/>
                  </a:lnTo>
                  <a:lnTo>
                    <a:pt x="14333" y="2219"/>
                  </a:lnTo>
                  <a:lnTo>
                    <a:pt x="14333" y="2302"/>
                  </a:lnTo>
                  <a:lnTo>
                    <a:pt x="14417" y="2407"/>
                  </a:lnTo>
                  <a:lnTo>
                    <a:pt x="14417" y="2533"/>
                  </a:lnTo>
                  <a:lnTo>
                    <a:pt x="14438" y="2616"/>
                  </a:lnTo>
                  <a:lnTo>
                    <a:pt x="14543" y="2700"/>
                  </a:lnTo>
                  <a:lnTo>
                    <a:pt x="14626" y="2700"/>
                  </a:lnTo>
                  <a:lnTo>
                    <a:pt x="14710" y="2784"/>
                  </a:lnTo>
                  <a:lnTo>
                    <a:pt x="14836" y="2846"/>
                  </a:lnTo>
                  <a:lnTo>
                    <a:pt x="14836" y="2909"/>
                  </a:lnTo>
                  <a:lnTo>
                    <a:pt x="14856" y="2993"/>
                  </a:lnTo>
                  <a:lnTo>
                    <a:pt x="14731" y="2888"/>
                  </a:lnTo>
                  <a:lnTo>
                    <a:pt x="14584" y="2805"/>
                  </a:lnTo>
                  <a:lnTo>
                    <a:pt x="14417" y="2805"/>
                  </a:lnTo>
                  <a:lnTo>
                    <a:pt x="14333" y="2742"/>
                  </a:lnTo>
                  <a:lnTo>
                    <a:pt x="14312" y="2679"/>
                  </a:lnTo>
                  <a:lnTo>
                    <a:pt x="14312" y="2533"/>
                  </a:lnTo>
                  <a:lnTo>
                    <a:pt x="14271" y="2323"/>
                  </a:lnTo>
                  <a:lnTo>
                    <a:pt x="14312" y="2219"/>
                  </a:lnTo>
                  <a:lnTo>
                    <a:pt x="14312" y="2114"/>
                  </a:lnTo>
                  <a:lnTo>
                    <a:pt x="14208" y="2009"/>
                  </a:lnTo>
                  <a:lnTo>
                    <a:pt x="14208" y="1926"/>
                  </a:lnTo>
                  <a:lnTo>
                    <a:pt x="14166" y="1779"/>
                  </a:lnTo>
                  <a:lnTo>
                    <a:pt x="14103" y="1737"/>
                  </a:lnTo>
                  <a:lnTo>
                    <a:pt x="14020" y="1696"/>
                  </a:lnTo>
                  <a:lnTo>
                    <a:pt x="13957" y="1654"/>
                  </a:lnTo>
                  <a:lnTo>
                    <a:pt x="13852" y="1633"/>
                  </a:lnTo>
                  <a:lnTo>
                    <a:pt x="13748" y="1675"/>
                  </a:lnTo>
                  <a:lnTo>
                    <a:pt x="13601" y="1696"/>
                  </a:lnTo>
                  <a:lnTo>
                    <a:pt x="13538" y="1675"/>
                  </a:lnTo>
                  <a:lnTo>
                    <a:pt x="13476" y="1675"/>
                  </a:lnTo>
                  <a:lnTo>
                    <a:pt x="13434" y="1863"/>
                  </a:lnTo>
                  <a:lnTo>
                    <a:pt x="13476" y="1905"/>
                  </a:lnTo>
                  <a:lnTo>
                    <a:pt x="13476" y="2009"/>
                  </a:lnTo>
                  <a:lnTo>
                    <a:pt x="13434" y="2072"/>
                  </a:lnTo>
                  <a:lnTo>
                    <a:pt x="13266" y="1989"/>
                  </a:lnTo>
                  <a:lnTo>
                    <a:pt x="13078" y="1779"/>
                  </a:lnTo>
                  <a:lnTo>
                    <a:pt x="13036" y="1779"/>
                  </a:lnTo>
                  <a:lnTo>
                    <a:pt x="12973" y="1821"/>
                  </a:lnTo>
                  <a:lnTo>
                    <a:pt x="12931" y="1821"/>
                  </a:lnTo>
                  <a:lnTo>
                    <a:pt x="12869" y="1758"/>
                  </a:lnTo>
                  <a:lnTo>
                    <a:pt x="12701" y="1717"/>
                  </a:lnTo>
                  <a:lnTo>
                    <a:pt x="12639" y="1779"/>
                  </a:lnTo>
                  <a:lnTo>
                    <a:pt x="12639" y="1884"/>
                  </a:lnTo>
                  <a:lnTo>
                    <a:pt x="12701" y="2009"/>
                  </a:lnTo>
                  <a:lnTo>
                    <a:pt x="12639" y="2093"/>
                  </a:lnTo>
                  <a:lnTo>
                    <a:pt x="12701" y="2198"/>
                  </a:lnTo>
                  <a:lnTo>
                    <a:pt x="12743" y="2344"/>
                  </a:lnTo>
                  <a:lnTo>
                    <a:pt x="12722" y="2491"/>
                  </a:lnTo>
                  <a:lnTo>
                    <a:pt x="12743" y="2533"/>
                  </a:lnTo>
                  <a:lnTo>
                    <a:pt x="12764" y="2700"/>
                  </a:lnTo>
                  <a:lnTo>
                    <a:pt x="12743" y="2742"/>
                  </a:lnTo>
                  <a:lnTo>
                    <a:pt x="12743" y="2846"/>
                  </a:lnTo>
                  <a:lnTo>
                    <a:pt x="12827" y="3014"/>
                  </a:lnTo>
                  <a:lnTo>
                    <a:pt x="12848" y="3118"/>
                  </a:lnTo>
                  <a:lnTo>
                    <a:pt x="12827" y="3265"/>
                  </a:lnTo>
                  <a:lnTo>
                    <a:pt x="12827" y="3349"/>
                  </a:lnTo>
                  <a:lnTo>
                    <a:pt x="12911" y="3453"/>
                  </a:lnTo>
                  <a:lnTo>
                    <a:pt x="12931" y="3579"/>
                  </a:lnTo>
                  <a:lnTo>
                    <a:pt x="12931" y="3662"/>
                  </a:lnTo>
                  <a:lnTo>
                    <a:pt x="13057" y="3767"/>
                  </a:lnTo>
                  <a:lnTo>
                    <a:pt x="13120" y="3851"/>
                  </a:lnTo>
                  <a:lnTo>
                    <a:pt x="13120" y="3955"/>
                  </a:lnTo>
                  <a:lnTo>
                    <a:pt x="13162" y="3997"/>
                  </a:lnTo>
                  <a:lnTo>
                    <a:pt x="13245" y="3997"/>
                  </a:lnTo>
                  <a:lnTo>
                    <a:pt x="13245" y="4060"/>
                  </a:lnTo>
                  <a:lnTo>
                    <a:pt x="13266" y="4123"/>
                  </a:lnTo>
                  <a:lnTo>
                    <a:pt x="13371" y="4186"/>
                  </a:lnTo>
                  <a:lnTo>
                    <a:pt x="13392" y="4206"/>
                  </a:lnTo>
                  <a:lnTo>
                    <a:pt x="13371" y="4227"/>
                  </a:lnTo>
                  <a:lnTo>
                    <a:pt x="13266" y="4227"/>
                  </a:lnTo>
                  <a:lnTo>
                    <a:pt x="13224" y="4206"/>
                  </a:lnTo>
                  <a:lnTo>
                    <a:pt x="13141" y="4206"/>
                  </a:lnTo>
                  <a:lnTo>
                    <a:pt x="13078" y="4165"/>
                  </a:lnTo>
                  <a:lnTo>
                    <a:pt x="13078" y="4081"/>
                  </a:lnTo>
                  <a:lnTo>
                    <a:pt x="13057" y="4018"/>
                  </a:lnTo>
                  <a:lnTo>
                    <a:pt x="12973" y="3997"/>
                  </a:lnTo>
                  <a:lnTo>
                    <a:pt x="12911" y="4018"/>
                  </a:lnTo>
                  <a:lnTo>
                    <a:pt x="12848" y="4018"/>
                  </a:lnTo>
                  <a:lnTo>
                    <a:pt x="12827" y="3976"/>
                  </a:lnTo>
                  <a:lnTo>
                    <a:pt x="12827" y="3872"/>
                  </a:lnTo>
                  <a:lnTo>
                    <a:pt x="12806" y="3851"/>
                  </a:lnTo>
                  <a:lnTo>
                    <a:pt x="12743" y="3893"/>
                  </a:lnTo>
                  <a:lnTo>
                    <a:pt x="12659" y="4060"/>
                  </a:lnTo>
                  <a:lnTo>
                    <a:pt x="12534" y="4102"/>
                  </a:lnTo>
                  <a:lnTo>
                    <a:pt x="12450" y="4102"/>
                  </a:lnTo>
                  <a:lnTo>
                    <a:pt x="12325" y="3997"/>
                  </a:lnTo>
                  <a:lnTo>
                    <a:pt x="12220" y="3997"/>
                  </a:lnTo>
                  <a:lnTo>
                    <a:pt x="12178" y="3914"/>
                  </a:lnTo>
                  <a:lnTo>
                    <a:pt x="12178" y="3809"/>
                  </a:lnTo>
                  <a:lnTo>
                    <a:pt x="12199" y="3683"/>
                  </a:lnTo>
                  <a:lnTo>
                    <a:pt x="12115" y="3495"/>
                  </a:lnTo>
                  <a:lnTo>
                    <a:pt x="12074" y="3453"/>
                  </a:lnTo>
                  <a:lnTo>
                    <a:pt x="12032" y="3328"/>
                  </a:lnTo>
                  <a:lnTo>
                    <a:pt x="12032" y="3244"/>
                  </a:lnTo>
                  <a:lnTo>
                    <a:pt x="12095" y="3181"/>
                  </a:lnTo>
                  <a:lnTo>
                    <a:pt x="12115" y="3139"/>
                  </a:lnTo>
                  <a:lnTo>
                    <a:pt x="12095" y="2867"/>
                  </a:lnTo>
                  <a:lnTo>
                    <a:pt x="12011" y="2742"/>
                  </a:lnTo>
                  <a:lnTo>
                    <a:pt x="11906" y="2595"/>
                  </a:lnTo>
                  <a:lnTo>
                    <a:pt x="11906" y="2491"/>
                  </a:lnTo>
                  <a:lnTo>
                    <a:pt x="11802" y="2240"/>
                  </a:lnTo>
                  <a:lnTo>
                    <a:pt x="11760" y="2135"/>
                  </a:lnTo>
                  <a:lnTo>
                    <a:pt x="11676" y="2093"/>
                  </a:lnTo>
                  <a:lnTo>
                    <a:pt x="11655" y="2009"/>
                  </a:lnTo>
                  <a:lnTo>
                    <a:pt x="11571" y="1989"/>
                  </a:lnTo>
                  <a:lnTo>
                    <a:pt x="11467" y="1968"/>
                  </a:lnTo>
                  <a:lnTo>
                    <a:pt x="11383" y="1905"/>
                  </a:lnTo>
                  <a:lnTo>
                    <a:pt x="11279" y="1926"/>
                  </a:lnTo>
                  <a:lnTo>
                    <a:pt x="11237" y="1989"/>
                  </a:lnTo>
                  <a:lnTo>
                    <a:pt x="11237" y="2114"/>
                  </a:lnTo>
                  <a:lnTo>
                    <a:pt x="11195" y="2177"/>
                  </a:lnTo>
                  <a:lnTo>
                    <a:pt x="11237" y="2240"/>
                  </a:lnTo>
                  <a:lnTo>
                    <a:pt x="11195" y="2323"/>
                  </a:lnTo>
                  <a:lnTo>
                    <a:pt x="11132" y="2533"/>
                  </a:lnTo>
                  <a:lnTo>
                    <a:pt x="11132" y="2658"/>
                  </a:lnTo>
                  <a:lnTo>
                    <a:pt x="11153" y="2825"/>
                  </a:lnTo>
                  <a:lnTo>
                    <a:pt x="11195" y="2867"/>
                  </a:lnTo>
                  <a:lnTo>
                    <a:pt x="11174" y="3035"/>
                  </a:lnTo>
                  <a:lnTo>
                    <a:pt x="11132" y="3181"/>
                  </a:lnTo>
                  <a:lnTo>
                    <a:pt x="11153" y="3286"/>
                  </a:lnTo>
                  <a:lnTo>
                    <a:pt x="11153" y="3495"/>
                  </a:lnTo>
                  <a:lnTo>
                    <a:pt x="11090" y="3537"/>
                  </a:lnTo>
                  <a:lnTo>
                    <a:pt x="11048" y="3474"/>
                  </a:lnTo>
                  <a:lnTo>
                    <a:pt x="10986" y="3453"/>
                  </a:lnTo>
                  <a:lnTo>
                    <a:pt x="10944" y="3495"/>
                  </a:lnTo>
                  <a:lnTo>
                    <a:pt x="10860" y="3474"/>
                  </a:lnTo>
                  <a:lnTo>
                    <a:pt x="10839" y="3453"/>
                  </a:lnTo>
                  <a:lnTo>
                    <a:pt x="10755" y="3432"/>
                  </a:lnTo>
                  <a:lnTo>
                    <a:pt x="10630" y="3390"/>
                  </a:lnTo>
                  <a:lnTo>
                    <a:pt x="10546" y="3328"/>
                  </a:lnTo>
                  <a:lnTo>
                    <a:pt x="10504" y="3328"/>
                  </a:lnTo>
                  <a:lnTo>
                    <a:pt x="10462" y="3349"/>
                  </a:lnTo>
                  <a:lnTo>
                    <a:pt x="10504" y="3432"/>
                  </a:lnTo>
                  <a:lnTo>
                    <a:pt x="10567" y="3495"/>
                  </a:lnTo>
                  <a:lnTo>
                    <a:pt x="10567" y="3558"/>
                  </a:lnTo>
                  <a:lnTo>
                    <a:pt x="10546" y="3600"/>
                  </a:lnTo>
                  <a:lnTo>
                    <a:pt x="10525" y="3662"/>
                  </a:lnTo>
                  <a:lnTo>
                    <a:pt x="10462" y="3662"/>
                  </a:lnTo>
                  <a:lnTo>
                    <a:pt x="10442" y="3641"/>
                  </a:lnTo>
                  <a:lnTo>
                    <a:pt x="10358" y="3641"/>
                  </a:lnTo>
                  <a:lnTo>
                    <a:pt x="10316" y="3579"/>
                  </a:lnTo>
                  <a:lnTo>
                    <a:pt x="10316" y="3432"/>
                  </a:lnTo>
                  <a:lnTo>
                    <a:pt x="10232" y="3286"/>
                  </a:lnTo>
                  <a:lnTo>
                    <a:pt x="10211" y="3160"/>
                  </a:lnTo>
                  <a:lnTo>
                    <a:pt x="10190" y="3056"/>
                  </a:lnTo>
                  <a:lnTo>
                    <a:pt x="10107" y="2972"/>
                  </a:lnTo>
                  <a:lnTo>
                    <a:pt x="10107" y="2909"/>
                  </a:lnTo>
                  <a:lnTo>
                    <a:pt x="10044" y="2825"/>
                  </a:lnTo>
                  <a:lnTo>
                    <a:pt x="9981" y="2909"/>
                  </a:lnTo>
                  <a:lnTo>
                    <a:pt x="10023" y="2993"/>
                  </a:lnTo>
                  <a:lnTo>
                    <a:pt x="9981" y="3035"/>
                  </a:lnTo>
                  <a:lnTo>
                    <a:pt x="9981" y="3118"/>
                  </a:lnTo>
                  <a:lnTo>
                    <a:pt x="9939" y="3202"/>
                  </a:lnTo>
                  <a:lnTo>
                    <a:pt x="9898" y="3244"/>
                  </a:lnTo>
                  <a:lnTo>
                    <a:pt x="9814" y="3265"/>
                  </a:lnTo>
                  <a:lnTo>
                    <a:pt x="9772" y="3369"/>
                  </a:lnTo>
                  <a:lnTo>
                    <a:pt x="9667" y="3537"/>
                  </a:lnTo>
                  <a:lnTo>
                    <a:pt x="9584" y="3621"/>
                  </a:lnTo>
                  <a:lnTo>
                    <a:pt x="9584" y="3662"/>
                  </a:lnTo>
                  <a:lnTo>
                    <a:pt x="9521" y="3725"/>
                  </a:lnTo>
                  <a:lnTo>
                    <a:pt x="9458" y="3851"/>
                  </a:lnTo>
                  <a:lnTo>
                    <a:pt x="9395" y="3851"/>
                  </a:lnTo>
                  <a:lnTo>
                    <a:pt x="9374" y="3788"/>
                  </a:lnTo>
                  <a:lnTo>
                    <a:pt x="9395" y="3683"/>
                  </a:lnTo>
                  <a:lnTo>
                    <a:pt x="9479" y="3579"/>
                  </a:lnTo>
                  <a:lnTo>
                    <a:pt x="9500" y="3474"/>
                  </a:lnTo>
                  <a:lnTo>
                    <a:pt x="9563" y="3432"/>
                  </a:lnTo>
                  <a:lnTo>
                    <a:pt x="9667" y="3369"/>
                  </a:lnTo>
                  <a:lnTo>
                    <a:pt x="9709" y="3244"/>
                  </a:lnTo>
                  <a:lnTo>
                    <a:pt x="9793" y="3160"/>
                  </a:lnTo>
                  <a:lnTo>
                    <a:pt x="9814" y="3077"/>
                  </a:lnTo>
                  <a:lnTo>
                    <a:pt x="9814" y="3035"/>
                  </a:lnTo>
                  <a:lnTo>
                    <a:pt x="9772" y="2993"/>
                  </a:lnTo>
                  <a:lnTo>
                    <a:pt x="9793" y="2930"/>
                  </a:lnTo>
                  <a:lnTo>
                    <a:pt x="9877" y="2909"/>
                  </a:lnTo>
                  <a:lnTo>
                    <a:pt x="9898" y="2825"/>
                  </a:lnTo>
                  <a:lnTo>
                    <a:pt x="9898" y="2742"/>
                  </a:lnTo>
                  <a:lnTo>
                    <a:pt x="9939" y="2637"/>
                  </a:lnTo>
                  <a:lnTo>
                    <a:pt x="10023" y="2470"/>
                  </a:lnTo>
                  <a:lnTo>
                    <a:pt x="10023" y="2365"/>
                  </a:lnTo>
                  <a:lnTo>
                    <a:pt x="10086" y="2198"/>
                  </a:lnTo>
                  <a:lnTo>
                    <a:pt x="10107" y="1947"/>
                  </a:lnTo>
                  <a:lnTo>
                    <a:pt x="10086" y="1863"/>
                  </a:lnTo>
                  <a:lnTo>
                    <a:pt x="9918" y="1842"/>
                  </a:lnTo>
                  <a:lnTo>
                    <a:pt x="9814" y="1863"/>
                  </a:lnTo>
                  <a:lnTo>
                    <a:pt x="9709" y="1947"/>
                  </a:lnTo>
                  <a:lnTo>
                    <a:pt x="9605" y="1884"/>
                  </a:lnTo>
                  <a:lnTo>
                    <a:pt x="9521" y="1863"/>
                  </a:lnTo>
                  <a:lnTo>
                    <a:pt x="9479" y="1884"/>
                  </a:lnTo>
                  <a:lnTo>
                    <a:pt x="9500" y="1968"/>
                  </a:lnTo>
                  <a:lnTo>
                    <a:pt x="9584" y="2051"/>
                  </a:lnTo>
                  <a:lnTo>
                    <a:pt x="9584" y="2198"/>
                  </a:lnTo>
                  <a:lnTo>
                    <a:pt x="9563" y="2281"/>
                  </a:lnTo>
                  <a:lnTo>
                    <a:pt x="9500" y="2219"/>
                  </a:lnTo>
                  <a:lnTo>
                    <a:pt x="9479" y="2093"/>
                  </a:lnTo>
                  <a:lnTo>
                    <a:pt x="9395" y="2009"/>
                  </a:lnTo>
                  <a:lnTo>
                    <a:pt x="9312" y="1989"/>
                  </a:lnTo>
                  <a:lnTo>
                    <a:pt x="9165" y="2114"/>
                  </a:lnTo>
                  <a:lnTo>
                    <a:pt x="9165" y="2219"/>
                  </a:lnTo>
                  <a:lnTo>
                    <a:pt x="9207" y="2302"/>
                  </a:lnTo>
                  <a:lnTo>
                    <a:pt x="9165" y="2386"/>
                  </a:lnTo>
                  <a:lnTo>
                    <a:pt x="9061" y="2386"/>
                  </a:lnTo>
                  <a:lnTo>
                    <a:pt x="9061" y="2323"/>
                  </a:lnTo>
                  <a:lnTo>
                    <a:pt x="9061" y="2219"/>
                  </a:lnTo>
                  <a:lnTo>
                    <a:pt x="9040" y="2114"/>
                  </a:lnTo>
                  <a:lnTo>
                    <a:pt x="8956" y="2072"/>
                  </a:lnTo>
                  <a:lnTo>
                    <a:pt x="8747" y="2072"/>
                  </a:lnTo>
                  <a:lnTo>
                    <a:pt x="8538" y="2156"/>
                  </a:lnTo>
                  <a:lnTo>
                    <a:pt x="8307" y="2156"/>
                  </a:lnTo>
                  <a:lnTo>
                    <a:pt x="8140" y="2093"/>
                  </a:lnTo>
                  <a:lnTo>
                    <a:pt x="8056" y="2093"/>
                  </a:lnTo>
                  <a:lnTo>
                    <a:pt x="7994" y="2114"/>
                  </a:lnTo>
                  <a:lnTo>
                    <a:pt x="7910" y="2093"/>
                  </a:lnTo>
                  <a:lnTo>
                    <a:pt x="7805" y="2093"/>
                  </a:lnTo>
                  <a:lnTo>
                    <a:pt x="7701" y="2177"/>
                  </a:lnTo>
                  <a:lnTo>
                    <a:pt x="7680" y="2219"/>
                  </a:lnTo>
                  <a:lnTo>
                    <a:pt x="7722" y="2302"/>
                  </a:lnTo>
                  <a:lnTo>
                    <a:pt x="7722" y="2386"/>
                  </a:lnTo>
                  <a:lnTo>
                    <a:pt x="7784" y="2491"/>
                  </a:lnTo>
                  <a:lnTo>
                    <a:pt x="7805" y="2533"/>
                  </a:lnTo>
                  <a:lnTo>
                    <a:pt x="7784" y="2616"/>
                  </a:lnTo>
                  <a:lnTo>
                    <a:pt x="7722" y="2784"/>
                  </a:lnTo>
                  <a:lnTo>
                    <a:pt x="7742" y="2930"/>
                  </a:lnTo>
                  <a:lnTo>
                    <a:pt x="7889" y="3118"/>
                  </a:lnTo>
                  <a:lnTo>
                    <a:pt x="7889" y="3223"/>
                  </a:lnTo>
                  <a:lnTo>
                    <a:pt x="7910" y="3432"/>
                  </a:lnTo>
                  <a:lnTo>
                    <a:pt x="7889" y="3453"/>
                  </a:lnTo>
                  <a:lnTo>
                    <a:pt x="7826" y="3411"/>
                  </a:lnTo>
                  <a:lnTo>
                    <a:pt x="7784" y="3307"/>
                  </a:lnTo>
                  <a:lnTo>
                    <a:pt x="7638" y="3160"/>
                  </a:lnTo>
                  <a:lnTo>
                    <a:pt x="7596" y="3118"/>
                  </a:lnTo>
                  <a:lnTo>
                    <a:pt x="7596" y="2909"/>
                  </a:lnTo>
                  <a:lnTo>
                    <a:pt x="7617" y="2700"/>
                  </a:lnTo>
                  <a:lnTo>
                    <a:pt x="7617" y="2595"/>
                  </a:lnTo>
                  <a:lnTo>
                    <a:pt x="7512" y="2428"/>
                  </a:lnTo>
                  <a:lnTo>
                    <a:pt x="7512" y="2323"/>
                  </a:lnTo>
                  <a:lnTo>
                    <a:pt x="7491" y="2281"/>
                  </a:lnTo>
                  <a:lnTo>
                    <a:pt x="7429" y="2261"/>
                  </a:lnTo>
                  <a:lnTo>
                    <a:pt x="7303" y="2302"/>
                  </a:lnTo>
                  <a:lnTo>
                    <a:pt x="7177" y="2386"/>
                  </a:lnTo>
                  <a:lnTo>
                    <a:pt x="7010" y="2407"/>
                  </a:lnTo>
                  <a:lnTo>
                    <a:pt x="6947" y="2470"/>
                  </a:lnTo>
                  <a:lnTo>
                    <a:pt x="6905" y="2595"/>
                  </a:lnTo>
                  <a:lnTo>
                    <a:pt x="6947" y="2700"/>
                  </a:lnTo>
                  <a:lnTo>
                    <a:pt x="6905" y="2825"/>
                  </a:lnTo>
                  <a:lnTo>
                    <a:pt x="6843" y="2930"/>
                  </a:lnTo>
                  <a:lnTo>
                    <a:pt x="6801" y="2993"/>
                  </a:lnTo>
                  <a:lnTo>
                    <a:pt x="6843" y="3035"/>
                  </a:lnTo>
                  <a:lnTo>
                    <a:pt x="6885" y="3035"/>
                  </a:lnTo>
                  <a:lnTo>
                    <a:pt x="6947" y="3056"/>
                  </a:lnTo>
                  <a:lnTo>
                    <a:pt x="6947" y="3202"/>
                  </a:lnTo>
                  <a:lnTo>
                    <a:pt x="6885" y="3307"/>
                  </a:lnTo>
                  <a:lnTo>
                    <a:pt x="6738" y="3411"/>
                  </a:lnTo>
                  <a:lnTo>
                    <a:pt x="6633" y="3411"/>
                  </a:lnTo>
                  <a:lnTo>
                    <a:pt x="6592" y="3453"/>
                  </a:lnTo>
                  <a:lnTo>
                    <a:pt x="6571" y="3558"/>
                  </a:lnTo>
                  <a:lnTo>
                    <a:pt x="6529" y="3621"/>
                  </a:lnTo>
                  <a:lnTo>
                    <a:pt x="6487" y="3683"/>
                  </a:lnTo>
                  <a:lnTo>
                    <a:pt x="6529" y="3767"/>
                  </a:lnTo>
                  <a:lnTo>
                    <a:pt x="6487" y="3830"/>
                  </a:lnTo>
                  <a:lnTo>
                    <a:pt x="6424" y="3830"/>
                  </a:lnTo>
                  <a:lnTo>
                    <a:pt x="6382" y="3851"/>
                  </a:lnTo>
                  <a:lnTo>
                    <a:pt x="6236" y="3872"/>
                  </a:lnTo>
                  <a:lnTo>
                    <a:pt x="6131" y="3830"/>
                  </a:lnTo>
                  <a:lnTo>
                    <a:pt x="6089" y="3767"/>
                  </a:lnTo>
                  <a:lnTo>
                    <a:pt x="6089" y="3683"/>
                  </a:lnTo>
                  <a:lnTo>
                    <a:pt x="6048" y="3662"/>
                  </a:lnTo>
                  <a:lnTo>
                    <a:pt x="5985" y="3662"/>
                  </a:lnTo>
                  <a:lnTo>
                    <a:pt x="5964" y="3621"/>
                  </a:lnTo>
                  <a:lnTo>
                    <a:pt x="5943" y="3537"/>
                  </a:lnTo>
                  <a:lnTo>
                    <a:pt x="5838" y="3537"/>
                  </a:lnTo>
                  <a:lnTo>
                    <a:pt x="5797" y="3579"/>
                  </a:lnTo>
                  <a:lnTo>
                    <a:pt x="5755" y="3641"/>
                  </a:lnTo>
                  <a:lnTo>
                    <a:pt x="5671" y="3641"/>
                  </a:lnTo>
                  <a:lnTo>
                    <a:pt x="5629" y="3662"/>
                  </a:lnTo>
                  <a:lnTo>
                    <a:pt x="5629" y="3830"/>
                  </a:lnTo>
                  <a:lnTo>
                    <a:pt x="5608" y="3893"/>
                  </a:lnTo>
                  <a:lnTo>
                    <a:pt x="5608" y="3997"/>
                  </a:lnTo>
                  <a:lnTo>
                    <a:pt x="5650" y="4165"/>
                  </a:lnTo>
                  <a:lnTo>
                    <a:pt x="5629" y="4353"/>
                  </a:lnTo>
                  <a:lnTo>
                    <a:pt x="5566" y="4416"/>
                  </a:lnTo>
                  <a:lnTo>
                    <a:pt x="5525" y="4416"/>
                  </a:lnTo>
                  <a:lnTo>
                    <a:pt x="5545" y="4206"/>
                  </a:lnTo>
                  <a:lnTo>
                    <a:pt x="5545" y="4060"/>
                  </a:lnTo>
                  <a:lnTo>
                    <a:pt x="5525" y="3976"/>
                  </a:lnTo>
                  <a:lnTo>
                    <a:pt x="5525" y="3767"/>
                  </a:lnTo>
                  <a:lnTo>
                    <a:pt x="5504" y="3662"/>
                  </a:lnTo>
                  <a:lnTo>
                    <a:pt x="5462" y="3641"/>
                  </a:lnTo>
                  <a:lnTo>
                    <a:pt x="5420" y="3662"/>
                  </a:lnTo>
                  <a:lnTo>
                    <a:pt x="5336" y="3662"/>
                  </a:lnTo>
                  <a:lnTo>
                    <a:pt x="5253" y="3767"/>
                  </a:lnTo>
                  <a:lnTo>
                    <a:pt x="5190" y="3788"/>
                  </a:lnTo>
                  <a:lnTo>
                    <a:pt x="5085" y="3872"/>
                  </a:lnTo>
                  <a:lnTo>
                    <a:pt x="5043" y="3955"/>
                  </a:lnTo>
                  <a:lnTo>
                    <a:pt x="5043" y="4039"/>
                  </a:lnTo>
                  <a:lnTo>
                    <a:pt x="4918" y="4186"/>
                  </a:lnTo>
                  <a:lnTo>
                    <a:pt x="4876" y="4206"/>
                  </a:lnTo>
                  <a:lnTo>
                    <a:pt x="4834" y="4165"/>
                  </a:lnTo>
                  <a:lnTo>
                    <a:pt x="4729" y="4165"/>
                  </a:lnTo>
                  <a:lnTo>
                    <a:pt x="4688" y="4186"/>
                  </a:lnTo>
                  <a:lnTo>
                    <a:pt x="4688" y="4248"/>
                  </a:lnTo>
                  <a:lnTo>
                    <a:pt x="4771" y="4269"/>
                  </a:lnTo>
                  <a:lnTo>
                    <a:pt x="4792" y="4290"/>
                  </a:lnTo>
                  <a:lnTo>
                    <a:pt x="4709" y="4311"/>
                  </a:lnTo>
                  <a:lnTo>
                    <a:pt x="4562" y="4311"/>
                  </a:lnTo>
                  <a:lnTo>
                    <a:pt x="4478" y="4353"/>
                  </a:lnTo>
                  <a:lnTo>
                    <a:pt x="4416" y="4416"/>
                  </a:lnTo>
                  <a:lnTo>
                    <a:pt x="4248" y="4478"/>
                  </a:lnTo>
                  <a:lnTo>
                    <a:pt x="4248" y="4520"/>
                  </a:lnTo>
                  <a:lnTo>
                    <a:pt x="4185" y="4583"/>
                  </a:lnTo>
                  <a:lnTo>
                    <a:pt x="4081" y="4625"/>
                  </a:lnTo>
                  <a:lnTo>
                    <a:pt x="3997" y="4625"/>
                  </a:lnTo>
                  <a:lnTo>
                    <a:pt x="3976" y="4688"/>
                  </a:lnTo>
                  <a:lnTo>
                    <a:pt x="3976" y="4771"/>
                  </a:lnTo>
                  <a:lnTo>
                    <a:pt x="4039" y="4813"/>
                  </a:lnTo>
                  <a:lnTo>
                    <a:pt x="3997" y="4876"/>
                  </a:lnTo>
                  <a:lnTo>
                    <a:pt x="3955" y="4897"/>
                  </a:lnTo>
                  <a:lnTo>
                    <a:pt x="3892" y="4939"/>
                  </a:lnTo>
                  <a:lnTo>
                    <a:pt x="3851" y="5022"/>
                  </a:lnTo>
                  <a:lnTo>
                    <a:pt x="3767" y="5043"/>
                  </a:lnTo>
                  <a:lnTo>
                    <a:pt x="3746" y="5127"/>
                  </a:lnTo>
                  <a:lnTo>
                    <a:pt x="3746" y="5169"/>
                  </a:lnTo>
                  <a:lnTo>
                    <a:pt x="3767" y="5211"/>
                  </a:lnTo>
                  <a:lnTo>
                    <a:pt x="3767" y="5294"/>
                  </a:lnTo>
                  <a:lnTo>
                    <a:pt x="3767" y="5336"/>
                  </a:lnTo>
                  <a:lnTo>
                    <a:pt x="3830" y="5357"/>
                  </a:lnTo>
                  <a:lnTo>
                    <a:pt x="3892" y="5357"/>
                  </a:lnTo>
                  <a:lnTo>
                    <a:pt x="3976" y="5420"/>
                  </a:lnTo>
                  <a:lnTo>
                    <a:pt x="4039" y="5420"/>
                  </a:lnTo>
                  <a:lnTo>
                    <a:pt x="4081" y="5357"/>
                  </a:lnTo>
                  <a:lnTo>
                    <a:pt x="4144" y="5357"/>
                  </a:lnTo>
                  <a:lnTo>
                    <a:pt x="4248" y="5441"/>
                  </a:lnTo>
                  <a:lnTo>
                    <a:pt x="4269" y="5525"/>
                  </a:lnTo>
                  <a:lnTo>
                    <a:pt x="4353" y="5525"/>
                  </a:lnTo>
                  <a:lnTo>
                    <a:pt x="4457" y="5441"/>
                  </a:lnTo>
                  <a:lnTo>
                    <a:pt x="4499" y="5441"/>
                  </a:lnTo>
                  <a:lnTo>
                    <a:pt x="4604" y="5462"/>
                  </a:lnTo>
                  <a:lnTo>
                    <a:pt x="4792" y="5462"/>
                  </a:lnTo>
                  <a:lnTo>
                    <a:pt x="4834" y="5441"/>
                  </a:lnTo>
                  <a:lnTo>
                    <a:pt x="4834" y="5336"/>
                  </a:lnTo>
                  <a:lnTo>
                    <a:pt x="4918" y="5253"/>
                  </a:lnTo>
                  <a:lnTo>
                    <a:pt x="4939" y="5253"/>
                  </a:lnTo>
                  <a:lnTo>
                    <a:pt x="4939" y="5357"/>
                  </a:lnTo>
                  <a:lnTo>
                    <a:pt x="4981" y="5378"/>
                  </a:lnTo>
                  <a:lnTo>
                    <a:pt x="4939" y="5441"/>
                  </a:lnTo>
                  <a:lnTo>
                    <a:pt x="4813" y="5483"/>
                  </a:lnTo>
                  <a:lnTo>
                    <a:pt x="4709" y="5566"/>
                  </a:lnTo>
                  <a:lnTo>
                    <a:pt x="4562" y="5546"/>
                  </a:lnTo>
                  <a:lnTo>
                    <a:pt x="4457" y="5566"/>
                  </a:lnTo>
                  <a:lnTo>
                    <a:pt x="4416" y="5629"/>
                  </a:lnTo>
                  <a:lnTo>
                    <a:pt x="4416" y="5671"/>
                  </a:lnTo>
                  <a:lnTo>
                    <a:pt x="4520" y="5755"/>
                  </a:lnTo>
                  <a:lnTo>
                    <a:pt x="4667" y="5755"/>
                  </a:lnTo>
                  <a:lnTo>
                    <a:pt x="4688" y="5776"/>
                  </a:lnTo>
                  <a:lnTo>
                    <a:pt x="4667" y="5859"/>
                  </a:lnTo>
                  <a:lnTo>
                    <a:pt x="4520" y="5943"/>
                  </a:lnTo>
                  <a:lnTo>
                    <a:pt x="4290" y="5943"/>
                  </a:lnTo>
                  <a:lnTo>
                    <a:pt x="4206" y="6048"/>
                  </a:lnTo>
                  <a:lnTo>
                    <a:pt x="4206" y="6152"/>
                  </a:lnTo>
                  <a:lnTo>
                    <a:pt x="4290" y="6194"/>
                  </a:lnTo>
                  <a:lnTo>
                    <a:pt x="4269" y="6299"/>
                  </a:lnTo>
                  <a:lnTo>
                    <a:pt x="4185" y="6320"/>
                  </a:lnTo>
                  <a:lnTo>
                    <a:pt x="4081" y="6487"/>
                  </a:lnTo>
                  <a:lnTo>
                    <a:pt x="4039" y="6571"/>
                  </a:lnTo>
                  <a:lnTo>
                    <a:pt x="3892" y="6613"/>
                  </a:lnTo>
                  <a:lnTo>
                    <a:pt x="3788" y="6738"/>
                  </a:lnTo>
                  <a:lnTo>
                    <a:pt x="3725" y="6843"/>
                  </a:lnTo>
                  <a:lnTo>
                    <a:pt x="3620" y="6947"/>
                  </a:lnTo>
                  <a:lnTo>
                    <a:pt x="3620" y="7010"/>
                  </a:lnTo>
                  <a:lnTo>
                    <a:pt x="3537" y="7031"/>
                  </a:lnTo>
                  <a:lnTo>
                    <a:pt x="3453" y="7031"/>
                  </a:lnTo>
                  <a:lnTo>
                    <a:pt x="3348" y="6947"/>
                  </a:lnTo>
                  <a:lnTo>
                    <a:pt x="3307" y="6906"/>
                  </a:lnTo>
                  <a:lnTo>
                    <a:pt x="3202" y="6885"/>
                  </a:lnTo>
                  <a:lnTo>
                    <a:pt x="3139" y="6822"/>
                  </a:lnTo>
                  <a:lnTo>
                    <a:pt x="3014" y="6801"/>
                  </a:lnTo>
                  <a:lnTo>
                    <a:pt x="2888" y="6822"/>
                  </a:lnTo>
                  <a:lnTo>
                    <a:pt x="2784" y="6885"/>
                  </a:lnTo>
                  <a:lnTo>
                    <a:pt x="2679" y="6843"/>
                  </a:lnTo>
                  <a:lnTo>
                    <a:pt x="2616" y="6822"/>
                  </a:lnTo>
                  <a:lnTo>
                    <a:pt x="2512" y="6843"/>
                  </a:lnTo>
                  <a:lnTo>
                    <a:pt x="2344" y="6843"/>
                  </a:lnTo>
                  <a:lnTo>
                    <a:pt x="2177" y="6927"/>
                  </a:lnTo>
                  <a:lnTo>
                    <a:pt x="2156" y="7010"/>
                  </a:lnTo>
                  <a:lnTo>
                    <a:pt x="2198" y="7052"/>
                  </a:lnTo>
                  <a:lnTo>
                    <a:pt x="2177" y="7115"/>
                  </a:lnTo>
                  <a:lnTo>
                    <a:pt x="2156" y="7052"/>
                  </a:lnTo>
                  <a:lnTo>
                    <a:pt x="2072" y="7052"/>
                  </a:lnTo>
                  <a:lnTo>
                    <a:pt x="1654" y="7157"/>
                  </a:lnTo>
                  <a:lnTo>
                    <a:pt x="1549" y="7157"/>
                  </a:lnTo>
                  <a:lnTo>
                    <a:pt x="1486" y="7199"/>
                  </a:lnTo>
                  <a:lnTo>
                    <a:pt x="1465" y="7199"/>
                  </a:lnTo>
                  <a:lnTo>
                    <a:pt x="1382" y="7157"/>
                  </a:lnTo>
                  <a:lnTo>
                    <a:pt x="1319" y="7219"/>
                  </a:lnTo>
                  <a:lnTo>
                    <a:pt x="1277" y="7261"/>
                  </a:lnTo>
                  <a:lnTo>
                    <a:pt x="1214" y="7303"/>
                  </a:lnTo>
                  <a:lnTo>
                    <a:pt x="1172" y="7261"/>
                  </a:lnTo>
                  <a:lnTo>
                    <a:pt x="1172" y="7240"/>
                  </a:lnTo>
                  <a:lnTo>
                    <a:pt x="1110" y="7219"/>
                  </a:lnTo>
                  <a:lnTo>
                    <a:pt x="1026" y="7219"/>
                  </a:lnTo>
                  <a:lnTo>
                    <a:pt x="942" y="7261"/>
                  </a:lnTo>
                  <a:lnTo>
                    <a:pt x="859" y="7261"/>
                  </a:lnTo>
                  <a:lnTo>
                    <a:pt x="817" y="7240"/>
                  </a:lnTo>
                  <a:lnTo>
                    <a:pt x="733" y="7240"/>
                  </a:lnTo>
                  <a:lnTo>
                    <a:pt x="691" y="7303"/>
                  </a:lnTo>
                  <a:lnTo>
                    <a:pt x="607" y="7324"/>
                  </a:lnTo>
                  <a:lnTo>
                    <a:pt x="607" y="7366"/>
                  </a:lnTo>
                  <a:lnTo>
                    <a:pt x="607" y="7429"/>
                  </a:lnTo>
                  <a:lnTo>
                    <a:pt x="419" y="7512"/>
                  </a:lnTo>
                  <a:lnTo>
                    <a:pt x="315" y="7512"/>
                  </a:lnTo>
                  <a:lnTo>
                    <a:pt x="294" y="7554"/>
                  </a:lnTo>
                  <a:lnTo>
                    <a:pt x="335" y="7638"/>
                  </a:lnTo>
                  <a:lnTo>
                    <a:pt x="419" y="7638"/>
                  </a:lnTo>
                  <a:lnTo>
                    <a:pt x="482" y="7659"/>
                  </a:lnTo>
                  <a:lnTo>
                    <a:pt x="482" y="7722"/>
                  </a:lnTo>
                  <a:lnTo>
                    <a:pt x="398" y="7722"/>
                  </a:lnTo>
                  <a:lnTo>
                    <a:pt x="377" y="7680"/>
                  </a:lnTo>
                  <a:lnTo>
                    <a:pt x="335" y="7722"/>
                  </a:lnTo>
                  <a:lnTo>
                    <a:pt x="294" y="7784"/>
                  </a:lnTo>
                  <a:lnTo>
                    <a:pt x="189" y="7847"/>
                  </a:lnTo>
                  <a:lnTo>
                    <a:pt x="105" y="7868"/>
                  </a:lnTo>
                  <a:lnTo>
                    <a:pt x="168" y="7931"/>
                  </a:lnTo>
                  <a:lnTo>
                    <a:pt x="273" y="7973"/>
                  </a:lnTo>
                  <a:lnTo>
                    <a:pt x="315" y="8035"/>
                  </a:lnTo>
                  <a:lnTo>
                    <a:pt x="419" y="8266"/>
                  </a:lnTo>
                  <a:lnTo>
                    <a:pt x="482" y="8307"/>
                  </a:lnTo>
                  <a:lnTo>
                    <a:pt x="587" y="8307"/>
                  </a:lnTo>
                  <a:lnTo>
                    <a:pt x="628" y="8349"/>
                  </a:lnTo>
                  <a:lnTo>
                    <a:pt x="649" y="8391"/>
                  </a:lnTo>
                  <a:lnTo>
                    <a:pt x="607" y="8454"/>
                  </a:lnTo>
                  <a:lnTo>
                    <a:pt x="545" y="8496"/>
                  </a:lnTo>
                  <a:lnTo>
                    <a:pt x="524" y="8559"/>
                  </a:lnTo>
                  <a:lnTo>
                    <a:pt x="587" y="8621"/>
                  </a:lnTo>
                  <a:lnTo>
                    <a:pt x="691" y="8663"/>
                  </a:lnTo>
                  <a:lnTo>
                    <a:pt x="817" y="8621"/>
                  </a:lnTo>
                  <a:lnTo>
                    <a:pt x="921" y="8559"/>
                  </a:lnTo>
                  <a:lnTo>
                    <a:pt x="963" y="8496"/>
                  </a:lnTo>
                  <a:lnTo>
                    <a:pt x="1005" y="8475"/>
                  </a:lnTo>
                  <a:lnTo>
                    <a:pt x="1047" y="8496"/>
                  </a:lnTo>
                  <a:lnTo>
                    <a:pt x="1068" y="8559"/>
                  </a:lnTo>
                  <a:lnTo>
                    <a:pt x="1005" y="8684"/>
                  </a:lnTo>
                  <a:lnTo>
                    <a:pt x="900" y="8726"/>
                  </a:lnTo>
                  <a:lnTo>
                    <a:pt x="796" y="8768"/>
                  </a:lnTo>
                  <a:lnTo>
                    <a:pt x="754" y="8810"/>
                  </a:lnTo>
                  <a:lnTo>
                    <a:pt x="796" y="8893"/>
                  </a:lnTo>
                  <a:lnTo>
                    <a:pt x="900" y="8914"/>
                  </a:lnTo>
                  <a:lnTo>
                    <a:pt x="963" y="8872"/>
                  </a:lnTo>
                  <a:lnTo>
                    <a:pt x="1110" y="8810"/>
                  </a:lnTo>
                  <a:lnTo>
                    <a:pt x="1151" y="8831"/>
                  </a:lnTo>
                  <a:lnTo>
                    <a:pt x="1151" y="8872"/>
                  </a:lnTo>
                  <a:lnTo>
                    <a:pt x="963" y="8935"/>
                  </a:lnTo>
                  <a:lnTo>
                    <a:pt x="838" y="8998"/>
                  </a:lnTo>
                  <a:lnTo>
                    <a:pt x="817" y="9040"/>
                  </a:lnTo>
                  <a:lnTo>
                    <a:pt x="1005" y="9228"/>
                  </a:lnTo>
                  <a:lnTo>
                    <a:pt x="1131" y="9291"/>
                  </a:lnTo>
                  <a:lnTo>
                    <a:pt x="1277" y="9291"/>
                  </a:lnTo>
                  <a:lnTo>
                    <a:pt x="1340" y="9228"/>
                  </a:lnTo>
                  <a:lnTo>
                    <a:pt x="1361" y="9103"/>
                  </a:lnTo>
                  <a:lnTo>
                    <a:pt x="1319" y="9040"/>
                  </a:lnTo>
                  <a:lnTo>
                    <a:pt x="1277" y="8998"/>
                  </a:lnTo>
                  <a:lnTo>
                    <a:pt x="1319" y="8977"/>
                  </a:lnTo>
                  <a:lnTo>
                    <a:pt x="1361" y="8977"/>
                  </a:lnTo>
                  <a:lnTo>
                    <a:pt x="1444" y="9082"/>
                  </a:lnTo>
                  <a:lnTo>
                    <a:pt x="1465" y="9103"/>
                  </a:lnTo>
                  <a:lnTo>
                    <a:pt x="1465" y="9144"/>
                  </a:lnTo>
                  <a:lnTo>
                    <a:pt x="1570" y="9207"/>
                  </a:lnTo>
                  <a:lnTo>
                    <a:pt x="1758" y="9228"/>
                  </a:lnTo>
                  <a:lnTo>
                    <a:pt x="1884" y="9228"/>
                  </a:lnTo>
                  <a:lnTo>
                    <a:pt x="1988" y="9144"/>
                  </a:lnTo>
                  <a:lnTo>
                    <a:pt x="2051" y="9123"/>
                  </a:lnTo>
                  <a:lnTo>
                    <a:pt x="2114" y="9144"/>
                  </a:lnTo>
                  <a:lnTo>
                    <a:pt x="2114" y="9228"/>
                  </a:lnTo>
                  <a:lnTo>
                    <a:pt x="2177" y="9291"/>
                  </a:lnTo>
                  <a:lnTo>
                    <a:pt x="2219" y="9291"/>
                  </a:lnTo>
                  <a:lnTo>
                    <a:pt x="2281" y="9312"/>
                  </a:lnTo>
                  <a:lnTo>
                    <a:pt x="2302" y="9458"/>
                  </a:lnTo>
                  <a:lnTo>
                    <a:pt x="2260" y="9458"/>
                  </a:lnTo>
                  <a:lnTo>
                    <a:pt x="2114" y="9542"/>
                  </a:lnTo>
                  <a:lnTo>
                    <a:pt x="2114" y="9626"/>
                  </a:lnTo>
                  <a:lnTo>
                    <a:pt x="2156" y="9667"/>
                  </a:lnTo>
                  <a:lnTo>
                    <a:pt x="2156" y="9730"/>
                  </a:lnTo>
                  <a:lnTo>
                    <a:pt x="2072" y="9667"/>
                  </a:lnTo>
                  <a:lnTo>
                    <a:pt x="2051" y="9647"/>
                  </a:lnTo>
                  <a:lnTo>
                    <a:pt x="1968" y="9626"/>
                  </a:lnTo>
                  <a:lnTo>
                    <a:pt x="1884" y="9542"/>
                  </a:lnTo>
                  <a:lnTo>
                    <a:pt x="1696" y="9458"/>
                  </a:lnTo>
                  <a:lnTo>
                    <a:pt x="1465" y="9458"/>
                  </a:lnTo>
                  <a:lnTo>
                    <a:pt x="1319" y="9437"/>
                  </a:lnTo>
                  <a:lnTo>
                    <a:pt x="1110" y="9500"/>
                  </a:lnTo>
                  <a:lnTo>
                    <a:pt x="1110" y="9542"/>
                  </a:lnTo>
                  <a:lnTo>
                    <a:pt x="1214" y="9626"/>
                  </a:lnTo>
                  <a:lnTo>
                    <a:pt x="1361" y="9647"/>
                  </a:lnTo>
                  <a:lnTo>
                    <a:pt x="1486" y="9667"/>
                  </a:lnTo>
                  <a:lnTo>
                    <a:pt x="1654" y="9772"/>
                  </a:lnTo>
                  <a:lnTo>
                    <a:pt x="1842" y="9856"/>
                  </a:lnTo>
                  <a:lnTo>
                    <a:pt x="1947" y="9856"/>
                  </a:lnTo>
                  <a:lnTo>
                    <a:pt x="2009" y="9877"/>
                  </a:lnTo>
                  <a:lnTo>
                    <a:pt x="1884" y="9940"/>
                  </a:lnTo>
                  <a:lnTo>
                    <a:pt x="1654" y="9940"/>
                  </a:lnTo>
                  <a:lnTo>
                    <a:pt x="1444" y="9814"/>
                  </a:lnTo>
                  <a:lnTo>
                    <a:pt x="1361" y="9751"/>
                  </a:lnTo>
                  <a:lnTo>
                    <a:pt x="1214" y="9751"/>
                  </a:lnTo>
                  <a:lnTo>
                    <a:pt x="1005" y="9647"/>
                  </a:lnTo>
                  <a:lnTo>
                    <a:pt x="796" y="9647"/>
                  </a:lnTo>
                  <a:lnTo>
                    <a:pt x="649" y="9563"/>
                  </a:lnTo>
                  <a:lnTo>
                    <a:pt x="482" y="9521"/>
                  </a:lnTo>
                  <a:lnTo>
                    <a:pt x="294" y="9605"/>
                  </a:lnTo>
                  <a:lnTo>
                    <a:pt x="294" y="9730"/>
                  </a:lnTo>
                  <a:lnTo>
                    <a:pt x="231" y="9667"/>
                  </a:lnTo>
                  <a:lnTo>
                    <a:pt x="168" y="9667"/>
                  </a:lnTo>
                  <a:lnTo>
                    <a:pt x="105" y="9730"/>
                  </a:lnTo>
                  <a:lnTo>
                    <a:pt x="63" y="9730"/>
                  </a:lnTo>
                  <a:lnTo>
                    <a:pt x="1" y="9814"/>
                  </a:lnTo>
                  <a:lnTo>
                    <a:pt x="1" y="9877"/>
                  </a:lnTo>
                  <a:lnTo>
                    <a:pt x="1" y="9960"/>
                  </a:lnTo>
                  <a:lnTo>
                    <a:pt x="63" y="9940"/>
                  </a:lnTo>
                  <a:lnTo>
                    <a:pt x="105" y="9940"/>
                  </a:lnTo>
                  <a:lnTo>
                    <a:pt x="147" y="9960"/>
                  </a:lnTo>
                  <a:lnTo>
                    <a:pt x="63" y="10023"/>
                  </a:lnTo>
                  <a:lnTo>
                    <a:pt x="22" y="10086"/>
                  </a:lnTo>
                  <a:lnTo>
                    <a:pt x="63" y="10191"/>
                  </a:lnTo>
                  <a:lnTo>
                    <a:pt x="189" y="10253"/>
                  </a:lnTo>
                  <a:lnTo>
                    <a:pt x="273" y="10170"/>
                  </a:lnTo>
                  <a:lnTo>
                    <a:pt x="315" y="10149"/>
                  </a:lnTo>
                  <a:lnTo>
                    <a:pt x="377" y="10149"/>
                  </a:lnTo>
                  <a:lnTo>
                    <a:pt x="440" y="10023"/>
                  </a:lnTo>
                  <a:lnTo>
                    <a:pt x="503" y="9981"/>
                  </a:lnTo>
                  <a:lnTo>
                    <a:pt x="587" y="9981"/>
                  </a:lnTo>
                  <a:lnTo>
                    <a:pt x="524" y="10044"/>
                  </a:lnTo>
                  <a:lnTo>
                    <a:pt x="482" y="10170"/>
                  </a:lnTo>
                  <a:lnTo>
                    <a:pt x="398" y="10232"/>
                  </a:lnTo>
                  <a:lnTo>
                    <a:pt x="315" y="10274"/>
                  </a:lnTo>
                  <a:lnTo>
                    <a:pt x="356" y="10442"/>
                  </a:lnTo>
                  <a:lnTo>
                    <a:pt x="503" y="10588"/>
                  </a:lnTo>
                  <a:lnTo>
                    <a:pt x="566" y="10546"/>
                  </a:lnTo>
                  <a:lnTo>
                    <a:pt x="607" y="10546"/>
                  </a:lnTo>
                  <a:lnTo>
                    <a:pt x="775" y="10609"/>
                  </a:lnTo>
                  <a:lnTo>
                    <a:pt x="879" y="10609"/>
                  </a:lnTo>
                  <a:lnTo>
                    <a:pt x="879" y="10672"/>
                  </a:lnTo>
                  <a:lnTo>
                    <a:pt x="817" y="10756"/>
                  </a:lnTo>
                  <a:lnTo>
                    <a:pt x="733" y="10797"/>
                  </a:lnTo>
                  <a:lnTo>
                    <a:pt x="712" y="10776"/>
                  </a:lnTo>
                  <a:lnTo>
                    <a:pt x="545" y="10776"/>
                  </a:lnTo>
                  <a:lnTo>
                    <a:pt x="482" y="10797"/>
                  </a:lnTo>
                  <a:lnTo>
                    <a:pt x="419" y="10881"/>
                  </a:lnTo>
                  <a:lnTo>
                    <a:pt x="273" y="10881"/>
                  </a:lnTo>
                  <a:lnTo>
                    <a:pt x="210" y="10923"/>
                  </a:lnTo>
                  <a:lnTo>
                    <a:pt x="210" y="11069"/>
                  </a:lnTo>
                  <a:lnTo>
                    <a:pt x="294" y="11174"/>
                  </a:lnTo>
                  <a:lnTo>
                    <a:pt x="335" y="11237"/>
                  </a:lnTo>
                  <a:lnTo>
                    <a:pt x="419" y="11425"/>
                  </a:lnTo>
                  <a:lnTo>
                    <a:pt x="545" y="11488"/>
                  </a:lnTo>
                  <a:lnTo>
                    <a:pt x="503" y="11509"/>
                  </a:lnTo>
                  <a:lnTo>
                    <a:pt x="503" y="11530"/>
                  </a:lnTo>
                  <a:lnTo>
                    <a:pt x="587" y="11592"/>
                  </a:lnTo>
                  <a:lnTo>
                    <a:pt x="670" y="11697"/>
                  </a:lnTo>
                  <a:lnTo>
                    <a:pt x="754" y="11760"/>
                  </a:lnTo>
                  <a:lnTo>
                    <a:pt x="859" y="11823"/>
                  </a:lnTo>
                  <a:lnTo>
                    <a:pt x="963" y="11927"/>
                  </a:lnTo>
                  <a:lnTo>
                    <a:pt x="1047" y="11969"/>
                  </a:lnTo>
                  <a:lnTo>
                    <a:pt x="1068" y="11948"/>
                  </a:lnTo>
                  <a:lnTo>
                    <a:pt x="1068" y="11864"/>
                  </a:lnTo>
                  <a:lnTo>
                    <a:pt x="1047" y="11718"/>
                  </a:lnTo>
                  <a:lnTo>
                    <a:pt x="1047" y="11634"/>
                  </a:lnTo>
                  <a:lnTo>
                    <a:pt x="1110" y="11592"/>
                  </a:lnTo>
                  <a:lnTo>
                    <a:pt x="1131" y="11488"/>
                  </a:lnTo>
                  <a:lnTo>
                    <a:pt x="1131" y="11404"/>
                  </a:lnTo>
                  <a:lnTo>
                    <a:pt x="1172" y="11383"/>
                  </a:lnTo>
                  <a:lnTo>
                    <a:pt x="1214" y="11383"/>
                  </a:lnTo>
                  <a:lnTo>
                    <a:pt x="1235" y="11488"/>
                  </a:lnTo>
                  <a:lnTo>
                    <a:pt x="1277" y="11592"/>
                  </a:lnTo>
                  <a:lnTo>
                    <a:pt x="1277" y="11655"/>
                  </a:lnTo>
                  <a:lnTo>
                    <a:pt x="1319" y="11718"/>
                  </a:lnTo>
                  <a:lnTo>
                    <a:pt x="1340" y="11697"/>
                  </a:lnTo>
                  <a:lnTo>
                    <a:pt x="1361" y="11634"/>
                  </a:lnTo>
                  <a:lnTo>
                    <a:pt x="1444" y="11634"/>
                  </a:lnTo>
                  <a:lnTo>
                    <a:pt x="1549" y="11551"/>
                  </a:lnTo>
                  <a:lnTo>
                    <a:pt x="1570" y="11592"/>
                  </a:lnTo>
                  <a:lnTo>
                    <a:pt x="1654" y="11592"/>
                  </a:lnTo>
                  <a:lnTo>
                    <a:pt x="1675" y="11634"/>
                  </a:lnTo>
                  <a:lnTo>
                    <a:pt x="1612" y="11718"/>
                  </a:lnTo>
                  <a:lnTo>
                    <a:pt x="1549" y="11823"/>
                  </a:lnTo>
                  <a:lnTo>
                    <a:pt x="1549" y="11927"/>
                  </a:lnTo>
                  <a:lnTo>
                    <a:pt x="1633" y="11948"/>
                  </a:lnTo>
                  <a:lnTo>
                    <a:pt x="1675" y="11927"/>
                  </a:lnTo>
                  <a:lnTo>
                    <a:pt x="1737" y="11739"/>
                  </a:lnTo>
                  <a:lnTo>
                    <a:pt x="1758" y="11655"/>
                  </a:lnTo>
                  <a:lnTo>
                    <a:pt x="1842" y="11697"/>
                  </a:lnTo>
                  <a:lnTo>
                    <a:pt x="1926" y="11823"/>
                  </a:lnTo>
                  <a:lnTo>
                    <a:pt x="1968" y="11844"/>
                  </a:lnTo>
                  <a:lnTo>
                    <a:pt x="2051" y="11802"/>
                  </a:lnTo>
                  <a:lnTo>
                    <a:pt x="2051" y="11718"/>
                  </a:lnTo>
                  <a:lnTo>
                    <a:pt x="2093" y="11634"/>
                  </a:lnTo>
                  <a:lnTo>
                    <a:pt x="2198" y="11634"/>
                  </a:lnTo>
                  <a:lnTo>
                    <a:pt x="2240" y="11655"/>
                  </a:lnTo>
                  <a:lnTo>
                    <a:pt x="2240" y="11760"/>
                  </a:lnTo>
                  <a:lnTo>
                    <a:pt x="2177" y="11864"/>
                  </a:lnTo>
                  <a:lnTo>
                    <a:pt x="2177" y="11969"/>
                  </a:lnTo>
                  <a:lnTo>
                    <a:pt x="2240" y="11927"/>
                  </a:lnTo>
                  <a:lnTo>
                    <a:pt x="2344" y="11844"/>
                  </a:lnTo>
                  <a:lnTo>
                    <a:pt x="2386" y="11739"/>
                  </a:lnTo>
                  <a:lnTo>
                    <a:pt x="2470" y="11655"/>
                  </a:lnTo>
                  <a:lnTo>
                    <a:pt x="2595" y="11634"/>
                  </a:lnTo>
                  <a:lnTo>
                    <a:pt x="2700" y="11655"/>
                  </a:lnTo>
                  <a:lnTo>
                    <a:pt x="2784" y="11739"/>
                  </a:lnTo>
                  <a:lnTo>
                    <a:pt x="2909" y="11802"/>
                  </a:lnTo>
                  <a:lnTo>
                    <a:pt x="3076" y="11927"/>
                  </a:lnTo>
                  <a:lnTo>
                    <a:pt x="3181" y="11948"/>
                  </a:lnTo>
                  <a:lnTo>
                    <a:pt x="3223" y="11906"/>
                  </a:lnTo>
                  <a:lnTo>
                    <a:pt x="3286" y="11906"/>
                  </a:lnTo>
                  <a:lnTo>
                    <a:pt x="3390" y="12011"/>
                  </a:lnTo>
                  <a:lnTo>
                    <a:pt x="3516" y="12116"/>
                  </a:lnTo>
                  <a:lnTo>
                    <a:pt x="3495" y="12220"/>
                  </a:lnTo>
                  <a:lnTo>
                    <a:pt x="3495" y="12241"/>
                  </a:lnTo>
                  <a:lnTo>
                    <a:pt x="3537" y="12241"/>
                  </a:lnTo>
                  <a:lnTo>
                    <a:pt x="3558" y="12220"/>
                  </a:lnTo>
                  <a:lnTo>
                    <a:pt x="3620" y="12241"/>
                  </a:lnTo>
                  <a:lnTo>
                    <a:pt x="3662" y="12325"/>
                  </a:lnTo>
                  <a:lnTo>
                    <a:pt x="3746" y="12367"/>
                  </a:lnTo>
                  <a:lnTo>
                    <a:pt x="3809" y="12429"/>
                  </a:lnTo>
                  <a:lnTo>
                    <a:pt x="3830" y="12492"/>
                  </a:lnTo>
                  <a:lnTo>
                    <a:pt x="3851" y="12534"/>
                  </a:lnTo>
                  <a:lnTo>
                    <a:pt x="3913" y="12534"/>
                  </a:lnTo>
                  <a:lnTo>
                    <a:pt x="3913" y="12471"/>
                  </a:lnTo>
                  <a:lnTo>
                    <a:pt x="3955" y="12471"/>
                  </a:lnTo>
                  <a:lnTo>
                    <a:pt x="4018" y="12492"/>
                  </a:lnTo>
                  <a:lnTo>
                    <a:pt x="4039" y="12576"/>
                  </a:lnTo>
                  <a:lnTo>
                    <a:pt x="4164" y="12681"/>
                  </a:lnTo>
                  <a:lnTo>
                    <a:pt x="4248" y="12785"/>
                  </a:lnTo>
                  <a:lnTo>
                    <a:pt x="4290" y="12806"/>
                  </a:lnTo>
                  <a:lnTo>
                    <a:pt x="4353" y="12869"/>
                  </a:lnTo>
                  <a:lnTo>
                    <a:pt x="4332" y="12953"/>
                  </a:lnTo>
                  <a:lnTo>
                    <a:pt x="4353" y="12973"/>
                  </a:lnTo>
                  <a:lnTo>
                    <a:pt x="4353" y="13015"/>
                  </a:lnTo>
                  <a:lnTo>
                    <a:pt x="4290" y="13078"/>
                  </a:lnTo>
                  <a:lnTo>
                    <a:pt x="4248" y="13183"/>
                  </a:lnTo>
                  <a:lnTo>
                    <a:pt x="4164" y="13225"/>
                  </a:lnTo>
                  <a:lnTo>
                    <a:pt x="4164" y="13266"/>
                  </a:lnTo>
                  <a:lnTo>
                    <a:pt x="4269" y="13266"/>
                  </a:lnTo>
                  <a:lnTo>
                    <a:pt x="4290" y="13287"/>
                  </a:lnTo>
                  <a:lnTo>
                    <a:pt x="4269" y="13329"/>
                  </a:lnTo>
                  <a:lnTo>
                    <a:pt x="4227" y="13371"/>
                  </a:lnTo>
                  <a:lnTo>
                    <a:pt x="4123" y="13476"/>
                  </a:lnTo>
                  <a:lnTo>
                    <a:pt x="4081" y="13497"/>
                  </a:lnTo>
                  <a:lnTo>
                    <a:pt x="4081" y="13538"/>
                  </a:lnTo>
                  <a:lnTo>
                    <a:pt x="4144" y="13601"/>
                  </a:lnTo>
                  <a:lnTo>
                    <a:pt x="4185" y="13685"/>
                  </a:lnTo>
                  <a:lnTo>
                    <a:pt x="4185" y="13727"/>
                  </a:lnTo>
                  <a:lnTo>
                    <a:pt x="4374" y="13894"/>
                  </a:lnTo>
                  <a:lnTo>
                    <a:pt x="4416" y="13957"/>
                  </a:lnTo>
                  <a:lnTo>
                    <a:pt x="4416" y="14061"/>
                  </a:lnTo>
                  <a:lnTo>
                    <a:pt x="4457" y="14124"/>
                  </a:lnTo>
                  <a:lnTo>
                    <a:pt x="4416" y="14166"/>
                  </a:lnTo>
                  <a:lnTo>
                    <a:pt x="4416" y="14250"/>
                  </a:lnTo>
                  <a:lnTo>
                    <a:pt x="4478" y="14333"/>
                  </a:lnTo>
                  <a:lnTo>
                    <a:pt x="4520" y="14333"/>
                  </a:lnTo>
                  <a:lnTo>
                    <a:pt x="4562" y="14354"/>
                  </a:lnTo>
                  <a:lnTo>
                    <a:pt x="4583" y="14438"/>
                  </a:lnTo>
                  <a:lnTo>
                    <a:pt x="4667" y="14543"/>
                  </a:lnTo>
                  <a:lnTo>
                    <a:pt x="4709" y="14585"/>
                  </a:lnTo>
                  <a:lnTo>
                    <a:pt x="4709" y="14668"/>
                  </a:lnTo>
                  <a:lnTo>
                    <a:pt x="4688" y="14752"/>
                  </a:lnTo>
                  <a:lnTo>
                    <a:pt x="4604" y="14773"/>
                  </a:lnTo>
                  <a:lnTo>
                    <a:pt x="4520" y="14857"/>
                  </a:lnTo>
                  <a:lnTo>
                    <a:pt x="4499" y="14940"/>
                  </a:lnTo>
                  <a:lnTo>
                    <a:pt x="4457" y="15003"/>
                  </a:lnTo>
                  <a:lnTo>
                    <a:pt x="4395" y="15003"/>
                  </a:lnTo>
                  <a:lnTo>
                    <a:pt x="4290" y="15087"/>
                  </a:lnTo>
                  <a:lnTo>
                    <a:pt x="4269" y="15149"/>
                  </a:lnTo>
                  <a:lnTo>
                    <a:pt x="4311" y="15170"/>
                  </a:lnTo>
                  <a:lnTo>
                    <a:pt x="4374" y="15149"/>
                  </a:lnTo>
                  <a:lnTo>
                    <a:pt x="4416" y="15087"/>
                  </a:lnTo>
                  <a:lnTo>
                    <a:pt x="4478" y="15087"/>
                  </a:lnTo>
                  <a:lnTo>
                    <a:pt x="4583" y="14982"/>
                  </a:lnTo>
                  <a:lnTo>
                    <a:pt x="4688" y="14982"/>
                  </a:lnTo>
                  <a:lnTo>
                    <a:pt x="4667" y="15108"/>
                  </a:lnTo>
                  <a:lnTo>
                    <a:pt x="4625" y="15170"/>
                  </a:lnTo>
                  <a:lnTo>
                    <a:pt x="4667" y="15254"/>
                  </a:lnTo>
                  <a:lnTo>
                    <a:pt x="4667" y="15317"/>
                  </a:lnTo>
                  <a:lnTo>
                    <a:pt x="4709" y="15421"/>
                  </a:lnTo>
                  <a:lnTo>
                    <a:pt x="4729" y="15526"/>
                  </a:lnTo>
                  <a:lnTo>
                    <a:pt x="4688" y="15631"/>
                  </a:lnTo>
                  <a:lnTo>
                    <a:pt x="4688" y="15694"/>
                  </a:lnTo>
                  <a:lnTo>
                    <a:pt x="4709" y="15777"/>
                  </a:lnTo>
                  <a:lnTo>
                    <a:pt x="4709" y="15798"/>
                  </a:lnTo>
                  <a:lnTo>
                    <a:pt x="4667" y="15735"/>
                  </a:lnTo>
                  <a:lnTo>
                    <a:pt x="4604" y="15777"/>
                  </a:lnTo>
                  <a:lnTo>
                    <a:pt x="4625" y="15903"/>
                  </a:lnTo>
                  <a:lnTo>
                    <a:pt x="4688" y="16007"/>
                  </a:lnTo>
                  <a:lnTo>
                    <a:pt x="4688" y="16049"/>
                  </a:lnTo>
                  <a:lnTo>
                    <a:pt x="4667" y="16049"/>
                  </a:lnTo>
                  <a:lnTo>
                    <a:pt x="4604" y="16112"/>
                  </a:lnTo>
                  <a:lnTo>
                    <a:pt x="4625" y="16196"/>
                  </a:lnTo>
                  <a:lnTo>
                    <a:pt x="4667" y="16238"/>
                  </a:lnTo>
                  <a:lnTo>
                    <a:pt x="4729" y="16238"/>
                  </a:lnTo>
                  <a:lnTo>
                    <a:pt x="4792" y="16300"/>
                  </a:lnTo>
                  <a:lnTo>
                    <a:pt x="4792" y="16342"/>
                  </a:lnTo>
                  <a:lnTo>
                    <a:pt x="4729" y="16405"/>
                  </a:lnTo>
                  <a:lnTo>
                    <a:pt x="4729" y="16468"/>
                  </a:lnTo>
                  <a:lnTo>
                    <a:pt x="4667" y="16551"/>
                  </a:lnTo>
                  <a:lnTo>
                    <a:pt x="4604" y="16572"/>
                  </a:lnTo>
                  <a:lnTo>
                    <a:pt x="4520" y="16551"/>
                  </a:lnTo>
                  <a:lnTo>
                    <a:pt x="4478" y="16572"/>
                  </a:lnTo>
                  <a:lnTo>
                    <a:pt x="4478" y="16635"/>
                  </a:lnTo>
                  <a:lnTo>
                    <a:pt x="4562" y="16656"/>
                  </a:lnTo>
                  <a:lnTo>
                    <a:pt x="4625" y="16656"/>
                  </a:lnTo>
                  <a:lnTo>
                    <a:pt x="4688" y="16719"/>
                  </a:lnTo>
                  <a:lnTo>
                    <a:pt x="4729" y="16719"/>
                  </a:lnTo>
                  <a:lnTo>
                    <a:pt x="4813" y="16740"/>
                  </a:lnTo>
                  <a:lnTo>
                    <a:pt x="4855" y="16782"/>
                  </a:lnTo>
                  <a:lnTo>
                    <a:pt x="4855" y="16886"/>
                  </a:lnTo>
                  <a:lnTo>
                    <a:pt x="4876" y="17033"/>
                  </a:lnTo>
                  <a:lnTo>
                    <a:pt x="4771" y="17137"/>
                  </a:lnTo>
                  <a:lnTo>
                    <a:pt x="4750" y="17200"/>
                  </a:lnTo>
                  <a:lnTo>
                    <a:pt x="4792" y="17263"/>
                  </a:lnTo>
                  <a:lnTo>
                    <a:pt x="4709" y="17409"/>
                  </a:lnTo>
                  <a:lnTo>
                    <a:pt x="4604" y="17472"/>
                  </a:lnTo>
                  <a:lnTo>
                    <a:pt x="4541" y="17472"/>
                  </a:lnTo>
                  <a:lnTo>
                    <a:pt x="4478" y="17409"/>
                  </a:lnTo>
                  <a:lnTo>
                    <a:pt x="4436" y="17409"/>
                  </a:lnTo>
                  <a:lnTo>
                    <a:pt x="4332" y="17493"/>
                  </a:lnTo>
                  <a:lnTo>
                    <a:pt x="4290" y="17577"/>
                  </a:lnTo>
                  <a:lnTo>
                    <a:pt x="4332" y="17598"/>
                  </a:lnTo>
                  <a:lnTo>
                    <a:pt x="4374" y="17598"/>
                  </a:lnTo>
                  <a:lnTo>
                    <a:pt x="4541" y="17618"/>
                  </a:lnTo>
                  <a:lnTo>
                    <a:pt x="4583" y="17577"/>
                  </a:lnTo>
                  <a:lnTo>
                    <a:pt x="4604" y="17556"/>
                  </a:lnTo>
                  <a:lnTo>
                    <a:pt x="4646" y="17577"/>
                  </a:lnTo>
                  <a:lnTo>
                    <a:pt x="4646" y="17618"/>
                  </a:lnTo>
                  <a:lnTo>
                    <a:pt x="4667" y="17660"/>
                  </a:lnTo>
                  <a:lnTo>
                    <a:pt x="4604" y="17702"/>
                  </a:lnTo>
                  <a:lnTo>
                    <a:pt x="4562" y="17702"/>
                  </a:lnTo>
                  <a:lnTo>
                    <a:pt x="4541" y="17723"/>
                  </a:lnTo>
                  <a:lnTo>
                    <a:pt x="4541" y="17807"/>
                  </a:lnTo>
                  <a:lnTo>
                    <a:pt x="4499" y="17828"/>
                  </a:lnTo>
                  <a:lnTo>
                    <a:pt x="4436" y="17828"/>
                  </a:lnTo>
                  <a:lnTo>
                    <a:pt x="4290" y="17932"/>
                  </a:lnTo>
                  <a:lnTo>
                    <a:pt x="4185" y="17995"/>
                  </a:lnTo>
                  <a:lnTo>
                    <a:pt x="4185" y="18037"/>
                  </a:lnTo>
                  <a:lnTo>
                    <a:pt x="4269" y="18121"/>
                  </a:lnTo>
                  <a:lnTo>
                    <a:pt x="4395" y="18142"/>
                  </a:lnTo>
                  <a:lnTo>
                    <a:pt x="4499" y="18121"/>
                  </a:lnTo>
                  <a:lnTo>
                    <a:pt x="4583" y="18016"/>
                  </a:lnTo>
                  <a:lnTo>
                    <a:pt x="4646" y="17911"/>
                  </a:lnTo>
                  <a:lnTo>
                    <a:pt x="4688" y="17870"/>
                  </a:lnTo>
                  <a:lnTo>
                    <a:pt x="4709" y="17870"/>
                  </a:lnTo>
                  <a:lnTo>
                    <a:pt x="4709" y="17911"/>
                  </a:lnTo>
                  <a:lnTo>
                    <a:pt x="4604" y="18079"/>
                  </a:lnTo>
                  <a:lnTo>
                    <a:pt x="4478" y="18204"/>
                  </a:lnTo>
                  <a:lnTo>
                    <a:pt x="4436" y="18183"/>
                  </a:lnTo>
                  <a:lnTo>
                    <a:pt x="4269" y="18204"/>
                  </a:lnTo>
                  <a:lnTo>
                    <a:pt x="4227" y="18225"/>
                  </a:lnTo>
                  <a:lnTo>
                    <a:pt x="4164" y="18309"/>
                  </a:lnTo>
                  <a:lnTo>
                    <a:pt x="4144" y="18288"/>
                  </a:lnTo>
                  <a:lnTo>
                    <a:pt x="4039" y="18288"/>
                  </a:lnTo>
                  <a:lnTo>
                    <a:pt x="3934" y="18330"/>
                  </a:lnTo>
                  <a:lnTo>
                    <a:pt x="3934" y="18393"/>
                  </a:lnTo>
                  <a:lnTo>
                    <a:pt x="3955" y="18414"/>
                  </a:lnTo>
                  <a:lnTo>
                    <a:pt x="3976" y="18455"/>
                  </a:lnTo>
                  <a:lnTo>
                    <a:pt x="3955" y="18539"/>
                  </a:lnTo>
                  <a:lnTo>
                    <a:pt x="4018" y="18665"/>
                  </a:lnTo>
                  <a:lnTo>
                    <a:pt x="4039" y="18665"/>
                  </a:lnTo>
                  <a:lnTo>
                    <a:pt x="4060" y="18602"/>
                  </a:lnTo>
                  <a:lnTo>
                    <a:pt x="4123" y="18602"/>
                  </a:lnTo>
                  <a:lnTo>
                    <a:pt x="4164" y="18644"/>
                  </a:lnTo>
                  <a:lnTo>
                    <a:pt x="4185" y="18707"/>
                  </a:lnTo>
                  <a:lnTo>
                    <a:pt x="4185" y="18769"/>
                  </a:lnTo>
                  <a:lnTo>
                    <a:pt x="4248" y="18832"/>
                  </a:lnTo>
                  <a:lnTo>
                    <a:pt x="4374" y="18832"/>
                  </a:lnTo>
                  <a:lnTo>
                    <a:pt x="4457" y="18769"/>
                  </a:lnTo>
                  <a:lnTo>
                    <a:pt x="4478" y="18748"/>
                  </a:lnTo>
                  <a:lnTo>
                    <a:pt x="4541" y="18748"/>
                  </a:lnTo>
                  <a:lnTo>
                    <a:pt x="4646" y="18727"/>
                  </a:lnTo>
                  <a:lnTo>
                    <a:pt x="4688" y="18665"/>
                  </a:lnTo>
                  <a:lnTo>
                    <a:pt x="4709" y="18560"/>
                  </a:lnTo>
                  <a:lnTo>
                    <a:pt x="4688" y="18497"/>
                  </a:lnTo>
                  <a:lnTo>
                    <a:pt x="4646" y="18434"/>
                  </a:lnTo>
                  <a:lnTo>
                    <a:pt x="4750" y="18434"/>
                  </a:lnTo>
                  <a:lnTo>
                    <a:pt x="4750" y="18393"/>
                  </a:lnTo>
                  <a:lnTo>
                    <a:pt x="4771" y="18225"/>
                  </a:lnTo>
                  <a:lnTo>
                    <a:pt x="4813" y="18309"/>
                  </a:lnTo>
                  <a:lnTo>
                    <a:pt x="4876" y="18351"/>
                  </a:lnTo>
                  <a:lnTo>
                    <a:pt x="4918" y="18351"/>
                  </a:lnTo>
                  <a:lnTo>
                    <a:pt x="4981" y="18288"/>
                  </a:lnTo>
                  <a:lnTo>
                    <a:pt x="4981" y="18121"/>
                  </a:lnTo>
                  <a:lnTo>
                    <a:pt x="4981" y="18016"/>
                  </a:lnTo>
                  <a:lnTo>
                    <a:pt x="4918" y="17911"/>
                  </a:lnTo>
                  <a:lnTo>
                    <a:pt x="4897" y="17828"/>
                  </a:lnTo>
                  <a:lnTo>
                    <a:pt x="4918" y="17618"/>
                  </a:lnTo>
                  <a:lnTo>
                    <a:pt x="4960" y="17577"/>
                  </a:lnTo>
                  <a:lnTo>
                    <a:pt x="4981" y="17577"/>
                  </a:lnTo>
                  <a:lnTo>
                    <a:pt x="4981" y="17660"/>
                  </a:lnTo>
                  <a:lnTo>
                    <a:pt x="4960" y="17723"/>
                  </a:lnTo>
                  <a:lnTo>
                    <a:pt x="4981" y="17828"/>
                  </a:lnTo>
                  <a:lnTo>
                    <a:pt x="5022" y="17932"/>
                  </a:lnTo>
                  <a:lnTo>
                    <a:pt x="5022" y="18079"/>
                  </a:lnTo>
                  <a:lnTo>
                    <a:pt x="5001" y="18204"/>
                  </a:lnTo>
                  <a:lnTo>
                    <a:pt x="5001" y="18309"/>
                  </a:lnTo>
                  <a:lnTo>
                    <a:pt x="5064" y="18309"/>
                  </a:lnTo>
                  <a:lnTo>
                    <a:pt x="5085" y="18288"/>
                  </a:lnTo>
                  <a:lnTo>
                    <a:pt x="5169" y="18225"/>
                  </a:lnTo>
                  <a:lnTo>
                    <a:pt x="5169" y="18183"/>
                  </a:lnTo>
                  <a:lnTo>
                    <a:pt x="5273" y="18037"/>
                  </a:lnTo>
                  <a:lnTo>
                    <a:pt x="5378" y="17995"/>
                  </a:lnTo>
                  <a:lnTo>
                    <a:pt x="5420" y="17995"/>
                  </a:lnTo>
                  <a:lnTo>
                    <a:pt x="5420" y="18016"/>
                  </a:lnTo>
                  <a:lnTo>
                    <a:pt x="5336" y="18079"/>
                  </a:lnTo>
                  <a:lnTo>
                    <a:pt x="5294" y="18121"/>
                  </a:lnTo>
                  <a:lnTo>
                    <a:pt x="5232" y="18246"/>
                  </a:lnTo>
                  <a:lnTo>
                    <a:pt x="5169" y="18330"/>
                  </a:lnTo>
                  <a:lnTo>
                    <a:pt x="5169" y="18393"/>
                  </a:lnTo>
                  <a:lnTo>
                    <a:pt x="5211" y="18414"/>
                  </a:lnTo>
                  <a:lnTo>
                    <a:pt x="5294" y="18414"/>
                  </a:lnTo>
                  <a:lnTo>
                    <a:pt x="5336" y="18434"/>
                  </a:lnTo>
                  <a:lnTo>
                    <a:pt x="5399" y="18518"/>
                  </a:lnTo>
                  <a:lnTo>
                    <a:pt x="5483" y="18539"/>
                  </a:lnTo>
                  <a:lnTo>
                    <a:pt x="5587" y="18518"/>
                  </a:lnTo>
                  <a:lnTo>
                    <a:pt x="5650" y="18455"/>
                  </a:lnTo>
                  <a:lnTo>
                    <a:pt x="5713" y="18455"/>
                  </a:lnTo>
                  <a:lnTo>
                    <a:pt x="5734" y="18497"/>
                  </a:lnTo>
                  <a:lnTo>
                    <a:pt x="5734" y="18539"/>
                  </a:lnTo>
                  <a:lnTo>
                    <a:pt x="5608" y="18623"/>
                  </a:lnTo>
                  <a:lnTo>
                    <a:pt x="5420" y="18665"/>
                  </a:lnTo>
                  <a:lnTo>
                    <a:pt x="5294" y="18665"/>
                  </a:lnTo>
                  <a:lnTo>
                    <a:pt x="5211" y="18727"/>
                  </a:lnTo>
                  <a:lnTo>
                    <a:pt x="5169" y="18769"/>
                  </a:lnTo>
                  <a:lnTo>
                    <a:pt x="5169" y="18832"/>
                  </a:lnTo>
                  <a:lnTo>
                    <a:pt x="5190" y="18853"/>
                  </a:lnTo>
                  <a:lnTo>
                    <a:pt x="5315" y="18832"/>
                  </a:lnTo>
                  <a:lnTo>
                    <a:pt x="5378" y="18853"/>
                  </a:lnTo>
                  <a:lnTo>
                    <a:pt x="5420" y="18832"/>
                  </a:lnTo>
                  <a:lnTo>
                    <a:pt x="5504" y="18769"/>
                  </a:lnTo>
                  <a:lnTo>
                    <a:pt x="5629" y="18769"/>
                  </a:lnTo>
                  <a:lnTo>
                    <a:pt x="5650" y="18811"/>
                  </a:lnTo>
                  <a:lnTo>
                    <a:pt x="5629" y="18853"/>
                  </a:lnTo>
                  <a:lnTo>
                    <a:pt x="5545" y="18874"/>
                  </a:lnTo>
                  <a:lnTo>
                    <a:pt x="5483" y="18937"/>
                  </a:lnTo>
                  <a:lnTo>
                    <a:pt x="5336" y="18937"/>
                  </a:lnTo>
                  <a:lnTo>
                    <a:pt x="5294" y="19020"/>
                  </a:lnTo>
                  <a:lnTo>
                    <a:pt x="5273" y="19083"/>
                  </a:lnTo>
                  <a:lnTo>
                    <a:pt x="5211" y="19146"/>
                  </a:lnTo>
                  <a:lnTo>
                    <a:pt x="5211" y="19188"/>
                  </a:lnTo>
                  <a:lnTo>
                    <a:pt x="5273" y="19188"/>
                  </a:lnTo>
                  <a:lnTo>
                    <a:pt x="5420" y="19062"/>
                  </a:lnTo>
                  <a:lnTo>
                    <a:pt x="5483" y="19041"/>
                  </a:lnTo>
                  <a:lnTo>
                    <a:pt x="5545" y="19041"/>
                  </a:lnTo>
                  <a:lnTo>
                    <a:pt x="5587" y="19020"/>
                  </a:lnTo>
                  <a:lnTo>
                    <a:pt x="5629" y="19020"/>
                  </a:lnTo>
                  <a:lnTo>
                    <a:pt x="5692" y="19083"/>
                  </a:lnTo>
                  <a:lnTo>
                    <a:pt x="5692" y="19146"/>
                  </a:lnTo>
                  <a:lnTo>
                    <a:pt x="5650" y="19188"/>
                  </a:lnTo>
                  <a:lnTo>
                    <a:pt x="5587" y="19146"/>
                  </a:lnTo>
                  <a:lnTo>
                    <a:pt x="5525" y="19125"/>
                  </a:lnTo>
                  <a:lnTo>
                    <a:pt x="5399" y="19167"/>
                  </a:lnTo>
                  <a:lnTo>
                    <a:pt x="5378" y="19230"/>
                  </a:lnTo>
                  <a:lnTo>
                    <a:pt x="5399" y="19271"/>
                  </a:lnTo>
                  <a:lnTo>
                    <a:pt x="5587" y="19271"/>
                  </a:lnTo>
                  <a:lnTo>
                    <a:pt x="5650" y="19230"/>
                  </a:lnTo>
                  <a:lnTo>
                    <a:pt x="5713" y="19230"/>
                  </a:lnTo>
                  <a:lnTo>
                    <a:pt x="5797" y="19334"/>
                  </a:lnTo>
                  <a:lnTo>
                    <a:pt x="5797" y="19397"/>
                  </a:lnTo>
                  <a:lnTo>
                    <a:pt x="5734" y="19439"/>
                  </a:lnTo>
                  <a:lnTo>
                    <a:pt x="5525" y="19355"/>
                  </a:lnTo>
                  <a:lnTo>
                    <a:pt x="5420" y="19292"/>
                  </a:lnTo>
                  <a:lnTo>
                    <a:pt x="5399" y="19355"/>
                  </a:lnTo>
                  <a:lnTo>
                    <a:pt x="5420" y="19439"/>
                  </a:lnTo>
                  <a:lnTo>
                    <a:pt x="5525" y="19502"/>
                  </a:lnTo>
                  <a:lnTo>
                    <a:pt x="5629" y="19648"/>
                  </a:lnTo>
                  <a:lnTo>
                    <a:pt x="5692" y="19753"/>
                  </a:lnTo>
                  <a:lnTo>
                    <a:pt x="5629" y="19753"/>
                  </a:lnTo>
                  <a:lnTo>
                    <a:pt x="5545" y="19648"/>
                  </a:lnTo>
                  <a:lnTo>
                    <a:pt x="5525" y="19648"/>
                  </a:lnTo>
                  <a:lnTo>
                    <a:pt x="5504" y="19690"/>
                  </a:lnTo>
                  <a:lnTo>
                    <a:pt x="5525" y="19774"/>
                  </a:lnTo>
                  <a:lnTo>
                    <a:pt x="5650" y="19878"/>
                  </a:lnTo>
                  <a:lnTo>
                    <a:pt x="5797" y="19983"/>
                  </a:lnTo>
                  <a:lnTo>
                    <a:pt x="5797" y="20025"/>
                  </a:lnTo>
                  <a:lnTo>
                    <a:pt x="5734" y="20025"/>
                  </a:lnTo>
                  <a:lnTo>
                    <a:pt x="5734" y="20087"/>
                  </a:lnTo>
                  <a:lnTo>
                    <a:pt x="5692" y="20087"/>
                  </a:lnTo>
                  <a:lnTo>
                    <a:pt x="5587" y="19983"/>
                  </a:lnTo>
                  <a:lnTo>
                    <a:pt x="5545" y="19983"/>
                  </a:lnTo>
                  <a:lnTo>
                    <a:pt x="5545" y="20025"/>
                  </a:lnTo>
                  <a:lnTo>
                    <a:pt x="5650" y="20171"/>
                  </a:lnTo>
                  <a:lnTo>
                    <a:pt x="5713" y="20213"/>
                  </a:lnTo>
                  <a:lnTo>
                    <a:pt x="5755" y="20213"/>
                  </a:lnTo>
                  <a:lnTo>
                    <a:pt x="5817" y="20192"/>
                  </a:lnTo>
                  <a:lnTo>
                    <a:pt x="5838" y="20213"/>
                  </a:lnTo>
                  <a:lnTo>
                    <a:pt x="5797" y="20297"/>
                  </a:lnTo>
                  <a:lnTo>
                    <a:pt x="5734" y="20318"/>
                  </a:lnTo>
                  <a:lnTo>
                    <a:pt x="5629" y="20276"/>
                  </a:lnTo>
                  <a:lnTo>
                    <a:pt x="5545" y="20192"/>
                  </a:lnTo>
                  <a:lnTo>
                    <a:pt x="5441" y="20108"/>
                  </a:lnTo>
                  <a:lnTo>
                    <a:pt x="5378" y="20004"/>
                  </a:lnTo>
                  <a:lnTo>
                    <a:pt x="5294" y="19795"/>
                  </a:lnTo>
                  <a:lnTo>
                    <a:pt x="5232" y="19711"/>
                  </a:lnTo>
                  <a:lnTo>
                    <a:pt x="5169" y="19690"/>
                  </a:lnTo>
                  <a:lnTo>
                    <a:pt x="5085" y="19648"/>
                  </a:lnTo>
                  <a:lnTo>
                    <a:pt x="4981" y="19606"/>
                  </a:lnTo>
                  <a:lnTo>
                    <a:pt x="4876" y="19606"/>
                  </a:lnTo>
                  <a:lnTo>
                    <a:pt x="4813" y="19585"/>
                  </a:lnTo>
                  <a:lnTo>
                    <a:pt x="4750" y="19585"/>
                  </a:lnTo>
                  <a:lnTo>
                    <a:pt x="4646" y="19564"/>
                  </a:lnTo>
                  <a:lnTo>
                    <a:pt x="4541" y="19460"/>
                  </a:lnTo>
                  <a:lnTo>
                    <a:pt x="4436" y="19460"/>
                  </a:lnTo>
                  <a:lnTo>
                    <a:pt x="4353" y="19439"/>
                  </a:lnTo>
                  <a:lnTo>
                    <a:pt x="4290" y="19460"/>
                  </a:lnTo>
                  <a:lnTo>
                    <a:pt x="4185" y="19460"/>
                  </a:lnTo>
                  <a:lnTo>
                    <a:pt x="4060" y="19564"/>
                  </a:lnTo>
                  <a:lnTo>
                    <a:pt x="4060" y="19606"/>
                  </a:lnTo>
                  <a:lnTo>
                    <a:pt x="4123" y="19669"/>
                  </a:lnTo>
                  <a:lnTo>
                    <a:pt x="4185" y="19753"/>
                  </a:lnTo>
                  <a:lnTo>
                    <a:pt x="4248" y="19878"/>
                  </a:lnTo>
                  <a:lnTo>
                    <a:pt x="4248" y="19962"/>
                  </a:lnTo>
                  <a:lnTo>
                    <a:pt x="4353" y="20067"/>
                  </a:lnTo>
                  <a:lnTo>
                    <a:pt x="4499" y="20108"/>
                  </a:lnTo>
                  <a:lnTo>
                    <a:pt x="4709" y="20192"/>
                  </a:lnTo>
                  <a:lnTo>
                    <a:pt x="4855" y="20276"/>
                  </a:lnTo>
                  <a:lnTo>
                    <a:pt x="4897" y="20380"/>
                  </a:lnTo>
                  <a:lnTo>
                    <a:pt x="4897" y="20422"/>
                  </a:lnTo>
                  <a:lnTo>
                    <a:pt x="4981" y="20443"/>
                  </a:lnTo>
                  <a:lnTo>
                    <a:pt x="5064" y="20443"/>
                  </a:lnTo>
                  <a:lnTo>
                    <a:pt x="5127" y="20527"/>
                  </a:lnTo>
                  <a:lnTo>
                    <a:pt x="5211" y="20548"/>
                  </a:lnTo>
                  <a:lnTo>
                    <a:pt x="5273" y="20527"/>
                  </a:lnTo>
                  <a:lnTo>
                    <a:pt x="5315" y="20590"/>
                  </a:lnTo>
                  <a:lnTo>
                    <a:pt x="5399" y="20590"/>
                  </a:lnTo>
                  <a:lnTo>
                    <a:pt x="5441" y="20548"/>
                  </a:lnTo>
                  <a:lnTo>
                    <a:pt x="5504" y="20631"/>
                  </a:lnTo>
                  <a:lnTo>
                    <a:pt x="5608" y="20631"/>
                  </a:lnTo>
                  <a:lnTo>
                    <a:pt x="5692" y="20548"/>
                  </a:lnTo>
                  <a:lnTo>
                    <a:pt x="5797" y="20548"/>
                  </a:lnTo>
                  <a:lnTo>
                    <a:pt x="5838" y="20590"/>
                  </a:lnTo>
                  <a:lnTo>
                    <a:pt x="5838" y="20652"/>
                  </a:lnTo>
                  <a:lnTo>
                    <a:pt x="5755" y="20652"/>
                  </a:lnTo>
                  <a:lnTo>
                    <a:pt x="5692" y="20694"/>
                  </a:lnTo>
                  <a:lnTo>
                    <a:pt x="5692" y="20736"/>
                  </a:lnTo>
                  <a:lnTo>
                    <a:pt x="5755" y="20736"/>
                  </a:lnTo>
                  <a:lnTo>
                    <a:pt x="5817" y="20820"/>
                  </a:lnTo>
                  <a:lnTo>
                    <a:pt x="5734" y="20862"/>
                  </a:lnTo>
                  <a:lnTo>
                    <a:pt x="5734" y="20903"/>
                  </a:lnTo>
                  <a:lnTo>
                    <a:pt x="5650" y="20924"/>
                  </a:lnTo>
                  <a:lnTo>
                    <a:pt x="5608" y="20966"/>
                  </a:lnTo>
                  <a:lnTo>
                    <a:pt x="5504" y="21029"/>
                  </a:lnTo>
                  <a:lnTo>
                    <a:pt x="5483" y="21071"/>
                  </a:lnTo>
                  <a:lnTo>
                    <a:pt x="5504" y="21113"/>
                  </a:lnTo>
                  <a:lnTo>
                    <a:pt x="5608" y="21113"/>
                  </a:lnTo>
                  <a:lnTo>
                    <a:pt x="5692" y="21134"/>
                  </a:lnTo>
                  <a:lnTo>
                    <a:pt x="5713" y="21175"/>
                  </a:lnTo>
                  <a:lnTo>
                    <a:pt x="5629" y="21175"/>
                  </a:lnTo>
                  <a:lnTo>
                    <a:pt x="5587" y="21217"/>
                  </a:lnTo>
                  <a:lnTo>
                    <a:pt x="5545" y="21175"/>
                  </a:lnTo>
                  <a:lnTo>
                    <a:pt x="5504" y="21238"/>
                  </a:lnTo>
                  <a:lnTo>
                    <a:pt x="5420" y="21364"/>
                  </a:lnTo>
                  <a:lnTo>
                    <a:pt x="5378" y="21364"/>
                  </a:lnTo>
                  <a:lnTo>
                    <a:pt x="5315" y="21427"/>
                  </a:lnTo>
                  <a:lnTo>
                    <a:pt x="5315" y="21468"/>
                  </a:lnTo>
                  <a:lnTo>
                    <a:pt x="5399" y="21489"/>
                  </a:lnTo>
                  <a:lnTo>
                    <a:pt x="5441" y="21489"/>
                  </a:lnTo>
                  <a:lnTo>
                    <a:pt x="5504" y="21468"/>
                  </a:lnTo>
                  <a:lnTo>
                    <a:pt x="5525" y="21489"/>
                  </a:lnTo>
                  <a:lnTo>
                    <a:pt x="5545" y="21552"/>
                  </a:lnTo>
                  <a:lnTo>
                    <a:pt x="5608" y="21552"/>
                  </a:lnTo>
                  <a:lnTo>
                    <a:pt x="5650" y="21573"/>
                  </a:lnTo>
                  <a:lnTo>
                    <a:pt x="5650" y="21636"/>
                  </a:lnTo>
                  <a:lnTo>
                    <a:pt x="5545" y="21657"/>
                  </a:lnTo>
                  <a:lnTo>
                    <a:pt x="5483" y="21678"/>
                  </a:lnTo>
                  <a:lnTo>
                    <a:pt x="5483" y="21699"/>
                  </a:lnTo>
                  <a:lnTo>
                    <a:pt x="5608" y="21699"/>
                  </a:lnTo>
                  <a:lnTo>
                    <a:pt x="5650" y="21761"/>
                  </a:lnTo>
                  <a:lnTo>
                    <a:pt x="5650" y="21803"/>
                  </a:lnTo>
                  <a:lnTo>
                    <a:pt x="5608" y="21803"/>
                  </a:lnTo>
                  <a:lnTo>
                    <a:pt x="5545" y="21782"/>
                  </a:lnTo>
                  <a:lnTo>
                    <a:pt x="5525" y="21803"/>
                  </a:lnTo>
                  <a:lnTo>
                    <a:pt x="5483" y="21803"/>
                  </a:lnTo>
                  <a:lnTo>
                    <a:pt x="5420" y="21761"/>
                  </a:lnTo>
                  <a:lnTo>
                    <a:pt x="5336" y="21761"/>
                  </a:lnTo>
                  <a:lnTo>
                    <a:pt x="5232" y="21740"/>
                  </a:lnTo>
                  <a:lnTo>
                    <a:pt x="5232" y="21678"/>
                  </a:lnTo>
                  <a:lnTo>
                    <a:pt x="5273" y="21657"/>
                  </a:lnTo>
                  <a:lnTo>
                    <a:pt x="5211" y="21552"/>
                  </a:lnTo>
                  <a:lnTo>
                    <a:pt x="5190" y="21531"/>
                  </a:lnTo>
                  <a:lnTo>
                    <a:pt x="5127" y="21552"/>
                  </a:lnTo>
                  <a:lnTo>
                    <a:pt x="5127" y="21657"/>
                  </a:lnTo>
                  <a:lnTo>
                    <a:pt x="5064" y="21866"/>
                  </a:lnTo>
                  <a:lnTo>
                    <a:pt x="5001" y="21950"/>
                  </a:lnTo>
                  <a:lnTo>
                    <a:pt x="5022" y="21992"/>
                  </a:lnTo>
                  <a:lnTo>
                    <a:pt x="5085" y="21992"/>
                  </a:lnTo>
                  <a:lnTo>
                    <a:pt x="5169" y="21950"/>
                  </a:lnTo>
                  <a:lnTo>
                    <a:pt x="5190" y="21950"/>
                  </a:lnTo>
                  <a:lnTo>
                    <a:pt x="5169" y="21992"/>
                  </a:lnTo>
                  <a:lnTo>
                    <a:pt x="5085" y="22054"/>
                  </a:lnTo>
                  <a:lnTo>
                    <a:pt x="5022" y="22096"/>
                  </a:lnTo>
                  <a:lnTo>
                    <a:pt x="4981" y="22117"/>
                  </a:lnTo>
                  <a:lnTo>
                    <a:pt x="4981" y="22180"/>
                  </a:lnTo>
                  <a:lnTo>
                    <a:pt x="4855" y="22159"/>
                  </a:lnTo>
                  <a:lnTo>
                    <a:pt x="4750" y="22159"/>
                  </a:lnTo>
                  <a:lnTo>
                    <a:pt x="4646" y="22180"/>
                  </a:lnTo>
                  <a:lnTo>
                    <a:pt x="4604" y="22159"/>
                  </a:lnTo>
                  <a:lnTo>
                    <a:pt x="4478" y="22159"/>
                  </a:lnTo>
                  <a:lnTo>
                    <a:pt x="4395" y="22180"/>
                  </a:lnTo>
                  <a:lnTo>
                    <a:pt x="4248" y="22264"/>
                  </a:lnTo>
                  <a:lnTo>
                    <a:pt x="4123" y="22284"/>
                  </a:lnTo>
                  <a:lnTo>
                    <a:pt x="4144" y="22305"/>
                  </a:lnTo>
                  <a:lnTo>
                    <a:pt x="4248" y="22284"/>
                  </a:lnTo>
                  <a:lnTo>
                    <a:pt x="4290" y="22284"/>
                  </a:lnTo>
                  <a:lnTo>
                    <a:pt x="4248" y="22326"/>
                  </a:lnTo>
                  <a:lnTo>
                    <a:pt x="4185" y="22368"/>
                  </a:lnTo>
                  <a:lnTo>
                    <a:pt x="4227" y="22410"/>
                  </a:lnTo>
                  <a:lnTo>
                    <a:pt x="4290" y="22431"/>
                  </a:lnTo>
                  <a:lnTo>
                    <a:pt x="4353" y="22515"/>
                  </a:lnTo>
                  <a:lnTo>
                    <a:pt x="4457" y="22494"/>
                  </a:lnTo>
                  <a:lnTo>
                    <a:pt x="4541" y="22515"/>
                  </a:lnTo>
                  <a:lnTo>
                    <a:pt x="4583" y="22494"/>
                  </a:lnTo>
                  <a:lnTo>
                    <a:pt x="4709" y="22494"/>
                  </a:lnTo>
                  <a:lnTo>
                    <a:pt x="4750" y="22473"/>
                  </a:lnTo>
                  <a:lnTo>
                    <a:pt x="4667" y="22410"/>
                  </a:lnTo>
                  <a:lnTo>
                    <a:pt x="4646" y="22389"/>
                  </a:lnTo>
                  <a:lnTo>
                    <a:pt x="4688" y="22326"/>
                  </a:lnTo>
                  <a:lnTo>
                    <a:pt x="4855" y="22326"/>
                  </a:lnTo>
                  <a:lnTo>
                    <a:pt x="4918" y="22305"/>
                  </a:lnTo>
                  <a:lnTo>
                    <a:pt x="5001" y="22305"/>
                  </a:lnTo>
                  <a:lnTo>
                    <a:pt x="5001" y="22326"/>
                  </a:lnTo>
                  <a:lnTo>
                    <a:pt x="4960" y="22368"/>
                  </a:lnTo>
                  <a:lnTo>
                    <a:pt x="4918" y="22431"/>
                  </a:lnTo>
                  <a:lnTo>
                    <a:pt x="4918" y="22515"/>
                  </a:lnTo>
                  <a:lnTo>
                    <a:pt x="4792" y="22577"/>
                  </a:lnTo>
                  <a:lnTo>
                    <a:pt x="4792" y="22619"/>
                  </a:lnTo>
                  <a:lnTo>
                    <a:pt x="4813" y="22682"/>
                  </a:lnTo>
                  <a:lnTo>
                    <a:pt x="5064" y="22849"/>
                  </a:lnTo>
                  <a:lnTo>
                    <a:pt x="5169" y="22933"/>
                  </a:lnTo>
                  <a:lnTo>
                    <a:pt x="5169" y="22954"/>
                  </a:lnTo>
                  <a:lnTo>
                    <a:pt x="5085" y="22954"/>
                  </a:lnTo>
                  <a:lnTo>
                    <a:pt x="5064" y="22933"/>
                  </a:lnTo>
                  <a:lnTo>
                    <a:pt x="4960" y="22891"/>
                  </a:lnTo>
                  <a:lnTo>
                    <a:pt x="4813" y="22808"/>
                  </a:lnTo>
                  <a:lnTo>
                    <a:pt x="4771" y="22745"/>
                  </a:lnTo>
                  <a:lnTo>
                    <a:pt x="4667" y="22745"/>
                  </a:lnTo>
                  <a:lnTo>
                    <a:pt x="4604" y="22787"/>
                  </a:lnTo>
                  <a:lnTo>
                    <a:pt x="4541" y="22808"/>
                  </a:lnTo>
                  <a:lnTo>
                    <a:pt x="4332" y="22682"/>
                  </a:lnTo>
                  <a:lnTo>
                    <a:pt x="4290" y="22598"/>
                  </a:lnTo>
                  <a:lnTo>
                    <a:pt x="4248" y="22515"/>
                  </a:lnTo>
                  <a:lnTo>
                    <a:pt x="4227" y="22515"/>
                  </a:lnTo>
                  <a:lnTo>
                    <a:pt x="4248" y="22619"/>
                  </a:lnTo>
                  <a:lnTo>
                    <a:pt x="4269" y="22703"/>
                  </a:lnTo>
                  <a:lnTo>
                    <a:pt x="4248" y="22724"/>
                  </a:lnTo>
                  <a:lnTo>
                    <a:pt x="4144" y="22619"/>
                  </a:lnTo>
                  <a:lnTo>
                    <a:pt x="4039" y="22494"/>
                  </a:lnTo>
                  <a:lnTo>
                    <a:pt x="3913" y="22431"/>
                  </a:lnTo>
                  <a:lnTo>
                    <a:pt x="3851" y="22473"/>
                  </a:lnTo>
                  <a:lnTo>
                    <a:pt x="3872" y="22515"/>
                  </a:lnTo>
                  <a:lnTo>
                    <a:pt x="3955" y="22536"/>
                  </a:lnTo>
                  <a:lnTo>
                    <a:pt x="3976" y="22619"/>
                  </a:lnTo>
                  <a:lnTo>
                    <a:pt x="4123" y="22745"/>
                  </a:lnTo>
                  <a:lnTo>
                    <a:pt x="4164" y="22808"/>
                  </a:lnTo>
                  <a:lnTo>
                    <a:pt x="4227" y="22808"/>
                  </a:lnTo>
                  <a:lnTo>
                    <a:pt x="4290" y="22828"/>
                  </a:lnTo>
                  <a:lnTo>
                    <a:pt x="4332" y="22891"/>
                  </a:lnTo>
                  <a:lnTo>
                    <a:pt x="4164" y="22891"/>
                  </a:lnTo>
                  <a:lnTo>
                    <a:pt x="4060" y="22828"/>
                  </a:lnTo>
                  <a:lnTo>
                    <a:pt x="3976" y="22787"/>
                  </a:lnTo>
                  <a:lnTo>
                    <a:pt x="3934" y="22787"/>
                  </a:lnTo>
                  <a:lnTo>
                    <a:pt x="3913" y="22849"/>
                  </a:lnTo>
                  <a:lnTo>
                    <a:pt x="3913" y="22912"/>
                  </a:lnTo>
                  <a:lnTo>
                    <a:pt x="3851" y="22954"/>
                  </a:lnTo>
                  <a:lnTo>
                    <a:pt x="3830" y="22954"/>
                  </a:lnTo>
                  <a:lnTo>
                    <a:pt x="3830" y="23017"/>
                  </a:lnTo>
                  <a:lnTo>
                    <a:pt x="3767" y="23059"/>
                  </a:lnTo>
                  <a:lnTo>
                    <a:pt x="3725" y="23100"/>
                  </a:lnTo>
                  <a:lnTo>
                    <a:pt x="3600" y="23247"/>
                  </a:lnTo>
                  <a:lnTo>
                    <a:pt x="3600" y="23310"/>
                  </a:lnTo>
                  <a:lnTo>
                    <a:pt x="3627" y="23324"/>
                  </a:lnTo>
                  <a:lnTo>
                    <a:pt x="3627" y="23324"/>
                  </a:lnTo>
                  <a:lnTo>
                    <a:pt x="3558" y="23352"/>
                  </a:lnTo>
                  <a:lnTo>
                    <a:pt x="3495" y="23414"/>
                  </a:lnTo>
                  <a:lnTo>
                    <a:pt x="3390" y="23456"/>
                  </a:lnTo>
                  <a:lnTo>
                    <a:pt x="3328" y="23561"/>
                  </a:lnTo>
                  <a:lnTo>
                    <a:pt x="3328" y="23644"/>
                  </a:lnTo>
                  <a:lnTo>
                    <a:pt x="3348" y="23665"/>
                  </a:lnTo>
                  <a:lnTo>
                    <a:pt x="3432" y="23624"/>
                  </a:lnTo>
                  <a:lnTo>
                    <a:pt x="3537" y="23582"/>
                  </a:lnTo>
                  <a:lnTo>
                    <a:pt x="3600" y="23624"/>
                  </a:lnTo>
                  <a:lnTo>
                    <a:pt x="3620" y="23644"/>
                  </a:lnTo>
                  <a:lnTo>
                    <a:pt x="3725" y="23644"/>
                  </a:lnTo>
                  <a:lnTo>
                    <a:pt x="3913" y="23582"/>
                  </a:lnTo>
                  <a:lnTo>
                    <a:pt x="4060" y="23582"/>
                  </a:lnTo>
                  <a:lnTo>
                    <a:pt x="4185" y="23644"/>
                  </a:lnTo>
                  <a:lnTo>
                    <a:pt x="4185" y="23686"/>
                  </a:lnTo>
                  <a:lnTo>
                    <a:pt x="4144" y="23728"/>
                  </a:lnTo>
                  <a:lnTo>
                    <a:pt x="4018" y="23686"/>
                  </a:lnTo>
                  <a:lnTo>
                    <a:pt x="3934" y="23728"/>
                  </a:lnTo>
                  <a:lnTo>
                    <a:pt x="3558" y="23686"/>
                  </a:lnTo>
                  <a:lnTo>
                    <a:pt x="3453" y="23686"/>
                  </a:lnTo>
                  <a:lnTo>
                    <a:pt x="3432" y="23728"/>
                  </a:lnTo>
                  <a:lnTo>
                    <a:pt x="3286" y="23728"/>
                  </a:lnTo>
                  <a:lnTo>
                    <a:pt x="3286" y="23770"/>
                  </a:lnTo>
                  <a:lnTo>
                    <a:pt x="3307" y="23791"/>
                  </a:lnTo>
                  <a:lnTo>
                    <a:pt x="3411" y="23791"/>
                  </a:lnTo>
                  <a:lnTo>
                    <a:pt x="3432" y="23833"/>
                  </a:lnTo>
                  <a:lnTo>
                    <a:pt x="3390" y="23854"/>
                  </a:lnTo>
                  <a:lnTo>
                    <a:pt x="3307" y="23833"/>
                  </a:lnTo>
                  <a:lnTo>
                    <a:pt x="3202" y="23833"/>
                  </a:lnTo>
                  <a:lnTo>
                    <a:pt x="3202" y="23854"/>
                  </a:lnTo>
                  <a:lnTo>
                    <a:pt x="3244" y="23896"/>
                  </a:lnTo>
                  <a:lnTo>
                    <a:pt x="3348" y="23896"/>
                  </a:lnTo>
                  <a:lnTo>
                    <a:pt x="3620" y="23979"/>
                  </a:lnTo>
                  <a:lnTo>
                    <a:pt x="3704" y="23979"/>
                  </a:lnTo>
                  <a:lnTo>
                    <a:pt x="3746" y="23958"/>
                  </a:lnTo>
                  <a:lnTo>
                    <a:pt x="3830" y="23958"/>
                  </a:lnTo>
                  <a:lnTo>
                    <a:pt x="3851" y="23979"/>
                  </a:lnTo>
                  <a:lnTo>
                    <a:pt x="3851" y="24063"/>
                  </a:lnTo>
                  <a:lnTo>
                    <a:pt x="3872" y="24147"/>
                  </a:lnTo>
                  <a:lnTo>
                    <a:pt x="3830" y="24168"/>
                  </a:lnTo>
                  <a:lnTo>
                    <a:pt x="3746" y="24147"/>
                  </a:lnTo>
                  <a:lnTo>
                    <a:pt x="3725" y="24168"/>
                  </a:lnTo>
                  <a:lnTo>
                    <a:pt x="3704" y="24147"/>
                  </a:lnTo>
                  <a:lnTo>
                    <a:pt x="3600" y="24168"/>
                  </a:lnTo>
                  <a:lnTo>
                    <a:pt x="3600" y="24209"/>
                  </a:lnTo>
                  <a:lnTo>
                    <a:pt x="3620" y="24251"/>
                  </a:lnTo>
                  <a:lnTo>
                    <a:pt x="3662" y="24251"/>
                  </a:lnTo>
                  <a:lnTo>
                    <a:pt x="3746" y="24272"/>
                  </a:lnTo>
                  <a:lnTo>
                    <a:pt x="3767" y="24293"/>
                  </a:lnTo>
                  <a:lnTo>
                    <a:pt x="3662" y="24356"/>
                  </a:lnTo>
                  <a:lnTo>
                    <a:pt x="3600" y="24356"/>
                  </a:lnTo>
                  <a:lnTo>
                    <a:pt x="3495" y="24293"/>
                  </a:lnTo>
                  <a:lnTo>
                    <a:pt x="3390" y="24335"/>
                  </a:lnTo>
                  <a:lnTo>
                    <a:pt x="3390" y="24377"/>
                  </a:lnTo>
                  <a:lnTo>
                    <a:pt x="3411" y="24460"/>
                  </a:lnTo>
                  <a:lnTo>
                    <a:pt x="3453" y="24481"/>
                  </a:lnTo>
                  <a:lnTo>
                    <a:pt x="3516" y="24460"/>
                  </a:lnTo>
                  <a:lnTo>
                    <a:pt x="3620" y="24460"/>
                  </a:lnTo>
                  <a:lnTo>
                    <a:pt x="3704" y="24502"/>
                  </a:lnTo>
                  <a:lnTo>
                    <a:pt x="3725" y="24565"/>
                  </a:lnTo>
                  <a:lnTo>
                    <a:pt x="3495" y="24565"/>
                  </a:lnTo>
                  <a:lnTo>
                    <a:pt x="3432" y="24586"/>
                  </a:lnTo>
                  <a:lnTo>
                    <a:pt x="3348" y="24544"/>
                  </a:lnTo>
                  <a:lnTo>
                    <a:pt x="3307" y="24544"/>
                  </a:lnTo>
                  <a:lnTo>
                    <a:pt x="3244" y="24607"/>
                  </a:lnTo>
                  <a:lnTo>
                    <a:pt x="3244" y="24816"/>
                  </a:lnTo>
                  <a:lnTo>
                    <a:pt x="3223" y="24879"/>
                  </a:lnTo>
                  <a:lnTo>
                    <a:pt x="3244" y="24921"/>
                  </a:lnTo>
                  <a:lnTo>
                    <a:pt x="3328" y="24921"/>
                  </a:lnTo>
                  <a:lnTo>
                    <a:pt x="3558" y="24816"/>
                  </a:lnTo>
                  <a:lnTo>
                    <a:pt x="3620" y="24774"/>
                  </a:lnTo>
                  <a:lnTo>
                    <a:pt x="3809" y="24712"/>
                  </a:lnTo>
                  <a:lnTo>
                    <a:pt x="3913" y="24670"/>
                  </a:lnTo>
                  <a:lnTo>
                    <a:pt x="3976" y="24544"/>
                  </a:lnTo>
                  <a:lnTo>
                    <a:pt x="4123" y="24398"/>
                  </a:lnTo>
                  <a:lnTo>
                    <a:pt x="4395" y="24272"/>
                  </a:lnTo>
                  <a:lnTo>
                    <a:pt x="4541" y="24230"/>
                  </a:lnTo>
                  <a:lnTo>
                    <a:pt x="4604" y="24251"/>
                  </a:lnTo>
                  <a:lnTo>
                    <a:pt x="4604" y="24293"/>
                  </a:lnTo>
                  <a:lnTo>
                    <a:pt x="4562" y="24335"/>
                  </a:lnTo>
                  <a:lnTo>
                    <a:pt x="4478" y="24335"/>
                  </a:lnTo>
                  <a:lnTo>
                    <a:pt x="4332" y="24377"/>
                  </a:lnTo>
                  <a:lnTo>
                    <a:pt x="4144" y="24460"/>
                  </a:lnTo>
                  <a:lnTo>
                    <a:pt x="3955" y="24670"/>
                  </a:lnTo>
                  <a:lnTo>
                    <a:pt x="3872" y="24774"/>
                  </a:lnTo>
                  <a:lnTo>
                    <a:pt x="3725" y="24795"/>
                  </a:lnTo>
                  <a:lnTo>
                    <a:pt x="3641" y="24816"/>
                  </a:lnTo>
                  <a:lnTo>
                    <a:pt x="3495" y="24921"/>
                  </a:lnTo>
                  <a:lnTo>
                    <a:pt x="3328" y="24984"/>
                  </a:lnTo>
                  <a:lnTo>
                    <a:pt x="3244" y="25005"/>
                  </a:lnTo>
                  <a:lnTo>
                    <a:pt x="3223" y="25067"/>
                  </a:lnTo>
                  <a:lnTo>
                    <a:pt x="3307" y="25067"/>
                  </a:lnTo>
                  <a:lnTo>
                    <a:pt x="3348" y="25025"/>
                  </a:lnTo>
                  <a:lnTo>
                    <a:pt x="3411" y="25067"/>
                  </a:lnTo>
                  <a:lnTo>
                    <a:pt x="3411" y="25109"/>
                  </a:lnTo>
                  <a:lnTo>
                    <a:pt x="3516" y="25067"/>
                  </a:lnTo>
                  <a:lnTo>
                    <a:pt x="3558" y="25005"/>
                  </a:lnTo>
                  <a:lnTo>
                    <a:pt x="3620" y="25005"/>
                  </a:lnTo>
                  <a:lnTo>
                    <a:pt x="3704" y="25088"/>
                  </a:lnTo>
                  <a:lnTo>
                    <a:pt x="3746" y="25088"/>
                  </a:lnTo>
                  <a:lnTo>
                    <a:pt x="3830" y="25025"/>
                  </a:lnTo>
                  <a:lnTo>
                    <a:pt x="3934" y="24963"/>
                  </a:lnTo>
                  <a:lnTo>
                    <a:pt x="4018" y="24963"/>
                  </a:lnTo>
                  <a:lnTo>
                    <a:pt x="4039" y="24984"/>
                  </a:lnTo>
                  <a:lnTo>
                    <a:pt x="4018" y="25025"/>
                  </a:lnTo>
                  <a:lnTo>
                    <a:pt x="3934" y="25025"/>
                  </a:lnTo>
                  <a:lnTo>
                    <a:pt x="3851" y="25109"/>
                  </a:lnTo>
                  <a:lnTo>
                    <a:pt x="3767" y="25130"/>
                  </a:lnTo>
                  <a:lnTo>
                    <a:pt x="3662" y="25130"/>
                  </a:lnTo>
                  <a:lnTo>
                    <a:pt x="3620" y="25088"/>
                  </a:lnTo>
                  <a:lnTo>
                    <a:pt x="3558" y="25109"/>
                  </a:lnTo>
                  <a:lnTo>
                    <a:pt x="3516" y="25172"/>
                  </a:lnTo>
                  <a:lnTo>
                    <a:pt x="3390" y="25214"/>
                  </a:lnTo>
                  <a:lnTo>
                    <a:pt x="3348" y="25235"/>
                  </a:lnTo>
                  <a:lnTo>
                    <a:pt x="3432" y="25297"/>
                  </a:lnTo>
                  <a:lnTo>
                    <a:pt x="3495" y="25297"/>
                  </a:lnTo>
                  <a:lnTo>
                    <a:pt x="3600" y="25339"/>
                  </a:lnTo>
                  <a:lnTo>
                    <a:pt x="3516" y="25423"/>
                  </a:lnTo>
                  <a:lnTo>
                    <a:pt x="3516" y="25486"/>
                  </a:lnTo>
                  <a:lnTo>
                    <a:pt x="3600" y="25507"/>
                  </a:lnTo>
                  <a:lnTo>
                    <a:pt x="3558" y="25549"/>
                  </a:lnTo>
                  <a:lnTo>
                    <a:pt x="3600" y="25611"/>
                  </a:lnTo>
                  <a:lnTo>
                    <a:pt x="3537" y="25611"/>
                  </a:lnTo>
                  <a:lnTo>
                    <a:pt x="3453" y="25695"/>
                  </a:lnTo>
                  <a:lnTo>
                    <a:pt x="3495" y="25758"/>
                  </a:lnTo>
                  <a:lnTo>
                    <a:pt x="3537" y="25758"/>
                  </a:lnTo>
                  <a:lnTo>
                    <a:pt x="3600" y="25716"/>
                  </a:lnTo>
                  <a:lnTo>
                    <a:pt x="3620" y="25716"/>
                  </a:lnTo>
                  <a:lnTo>
                    <a:pt x="3641" y="25821"/>
                  </a:lnTo>
                  <a:lnTo>
                    <a:pt x="3641" y="25904"/>
                  </a:lnTo>
                  <a:lnTo>
                    <a:pt x="3558" y="25946"/>
                  </a:lnTo>
                  <a:lnTo>
                    <a:pt x="3558" y="26113"/>
                  </a:lnTo>
                  <a:lnTo>
                    <a:pt x="3620" y="26176"/>
                  </a:lnTo>
                  <a:lnTo>
                    <a:pt x="3704" y="26176"/>
                  </a:lnTo>
                  <a:lnTo>
                    <a:pt x="3767" y="26134"/>
                  </a:lnTo>
                  <a:lnTo>
                    <a:pt x="3809" y="26051"/>
                  </a:lnTo>
                  <a:lnTo>
                    <a:pt x="3851" y="26072"/>
                  </a:lnTo>
                  <a:lnTo>
                    <a:pt x="3913" y="26030"/>
                  </a:lnTo>
                  <a:lnTo>
                    <a:pt x="3955" y="26030"/>
                  </a:lnTo>
                  <a:lnTo>
                    <a:pt x="4018" y="26072"/>
                  </a:lnTo>
                  <a:lnTo>
                    <a:pt x="3976" y="26113"/>
                  </a:lnTo>
                  <a:lnTo>
                    <a:pt x="3872" y="26176"/>
                  </a:lnTo>
                  <a:lnTo>
                    <a:pt x="3809" y="26176"/>
                  </a:lnTo>
                  <a:lnTo>
                    <a:pt x="3641" y="26239"/>
                  </a:lnTo>
                  <a:lnTo>
                    <a:pt x="3558" y="26281"/>
                  </a:lnTo>
                  <a:lnTo>
                    <a:pt x="3558" y="26365"/>
                  </a:lnTo>
                  <a:lnTo>
                    <a:pt x="3537" y="26448"/>
                  </a:lnTo>
                  <a:lnTo>
                    <a:pt x="3620" y="26490"/>
                  </a:lnTo>
                  <a:lnTo>
                    <a:pt x="3558" y="26553"/>
                  </a:lnTo>
                  <a:lnTo>
                    <a:pt x="3537" y="26657"/>
                  </a:lnTo>
                  <a:lnTo>
                    <a:pt x="3558" y="26783"/>
                  </a:lnTo>
                  <a:lnTo>
                    <a:pt x="3620" y="26783"/>
                  </a:lnTo>
                  <a:lnTo>
                    <a:pt x="3704" y="26637"/>
                  </a:lnTo>
                  <a:lnTo>
                    <a:pt x="3746" y="26595"/>
                  </a:lnTo>
                  <a:lnTo>
                    <a:pt x="3872" y="26469"/>
                  </a:lnTo>
                  <a:lnTo>
                    <a:pt x="3934" y="26469"/>
                  </a:lnTo>
                  <a:lnTo>
                    <a:pt x="3976" y="26385"/>
                  </a:lnTo>
                  <a:lnTo>
                    <a:pt x="4060" y="26365"/>
                  </a:lnTo>
                  <a:lnTo>
                    <a:pt x="4060" y="26385"/>
                  </a:lnTo>
                  <a:lnTo>
                    <a:pt x="4018" y="26448"/>
                  </a:lnTo>
                  <a:lnTo>
                    <a:pt x="4018" y="26490"/>
                  </a:lnTo>
                  <a:lnTo>
                    <a:pt x="4039" y="26532"/>
                  </a:lnTo>
                  <a:lnTo>
                    <a:pt x="4123" y="26490"/>
                  </a:lnTo>
                  <a:lnTo>
                    <a:pt x="4248" y="26365"/>
                  </a:lnTo>
                  <a:lnTo>
                    <a:pt x="4269" y="26323"/>
                  </a:lnTo>
                  <a:lnTo>
                    <a:pt x="4332" y="26385"/>
                  </a:lnTo>
                  <a:lnTo>
                    <a:pt x="4374" y="26385"/>
                  </a:lnTo>
                  <a:lnTo>
                    <a:pt x="4436" y="26344"/>
                  </a:lnTo>
                  <a:lnTo>
                    <a:pt x="4499" y="26344"/>
                  </a:lnTo>
                  <a:lnTo>
                    <a:pt x="4499" y="26365"/>
                  </a:lnTo>
                  <a:lnTo>
                    <a:pt x="4436" y="26448"/>
                  </a:lnTo>
                  <a:lnTo>
                    <a:pt x="4436" y="26637"/>
                  </a:lnTo>
                  <a:lnTo>
                    <a:pt x="4478" y="26657"/>
                  </a:lnTo>
                  <a:lnTo>
                    <a:pt x="4541" y="26741"/>
                  </a:lnTo>
                  <a:lnTo>
                    <a:pt x="4499" y="26762"/>
                  </a:lnTo>
                  <a:lnTo>
                    <a:pt x="4436" y="26741"/>
                  </a:lnTo>
                  <a:lnTo>
                    <a:pt x="4332" y="26637"/>
                  </a:lnTo>
                  <a:lnTo>
                    <a:pt x="4269" y="26553"/>
                  </a:lnTo>
                  <a:lnTo>
                    <a:pt x="4227" y="26553"/>
                  </a:lnTo>
                  <a:lnTo>
                    <a:pt x="4164" y="26574"/>
                  </a:lnTo>
                  <a:lnTo>
                    <a:pt x="4081" y="26574"/>
                  </a:lnTo>
                  <a:lnTo>
                    <a:pt x="4060" y="26637"/>
                  </a:lnTo>
                  <a:lnTo>
                    <a:pt x="4123" y="26678"/>
                  </a:lnTo>
                  <a:lnTo>
                    <a:pt x="4164" y="26678"/>
                  </a:lnTo>
                  <a:lnTo>
                    <a:pt x="4248" y="26783"/>
                  </a:lnTo>
                  <a:lnTo>
                    <a:pt x="4290" y="26804"/>
                  </a:lnTo>
                  <a:lnTo>
                    <a:pt x="4269" y="26867"/>
                  </a:lnTo>
                  <a:lnTo>
                    <a:pt x="4185" y="26783"/>
                  </a:lnTo>
                  <a:lnTo>
                    <a:pt x="4144" y="26762"/>
                  </a:lnTo>
                  <a:lnTo>
                    <a:pt x="4060" y="26762"/>
                  </a:lnTo>
                  <a:lnTo>
                    <a:pt x="3955" y="26888"/>
                  </a:lnTo>
                  <a:lnTo>
                    <a:pt x="3872" y="26950"/>
                  </a:lnTo>
                  <a:lnTo>
                    <a:pt x="3704" y="26950"/>
                  </a:lnTo>
                  <a:lnTo>
                    <a:pt x="3662" y="26971"/>
                  </a:lnTo>
                  <a:lnTo>
                    <a:pt x="3725" y="26992"/>
                  </a:lnTo>
                  <a:lnTo>
                    <a:pt x="3830" y="26992"/>
                  </a:lnTo>
                  <a:lnTo>
                    <a:pt x="3892" y="26971"/>
                  </a:lnTo>
                  <a:lnTo>
                    <a:pt x="4060" y="26950"/>
                  </a:lnTo>
                  <a:lnTo>
                    <a:pt x="4164" y="26888"/>
                  </a:lnTo>
                  <a:lnTo>
                    <a:pt x="4248" y="26909"/>
                  </a:lnTo>
                  <a:lnTo>
                    <a:pt x="4353" y="26909"/>
                  </a:lnTo>
                  <a:lnTo>
                    <a:pt x="4311" y="26950"/>
                  </a:lnTo>
                  <a:lnTo>
                    <a:pt x="4248" y="27013"/>
                  </a:lnTo>
                  <a:lnTo>
                    <a:pt x="4102" y="27013"/>
                  </a:lnTo>
                  <a:lnTo>
                    <a:pt x="3976" y="27055"/>
                  </a:lnTo>
                  <a:lnTo>
                    <a:pt x="3767" y="27055"/>
                  </a:lnTo>
                  <a:lnTo>
                    <a:pt x="3662" y="27076"/>
                  </a:lnTo>
                  <a:lnTo>
                    <a:pt x="3641" y="27160"/>
                  </a:lnTo>
                  <a:lnTo>
                    <a:pt x="3662" y="27222"/>
                  </a:lnTo>
                  <a:lnTo>
                    <a:pt x="3767" y="27264"/>
                  </a:lnTo>
                  <a:lnTo>
                    <a:pt x="3872" y="27222"/>
                  </a:lnTo>
                  <a:lnTo>
                    <a:pt x="3892" y="27264"/>
                  </a:lnTo>
                  <a:lnTo>
                    <a:pt x="3830" y="27306"/>
                  </a:lnTo>
                  <a:lnTo>
                    <a:pt x="3725" y="27306"/>
                  </a:lnTo>
                  <a:lnTo>
                    <a:pt x="3662" y="27390"/>
                  </a:lnTo>
                  <a:lnTo>
                    <a:pt x="3683" y="27473"/>
                  </a:lnTo>
                  <a:lnTo>
                    <a:pt x="3767" y="27515"/>
                  </a:lnTo>
                  <a:lnTo>
                    <a:pt x="3830" y="27473"/>
                  </a:lnTo>
                  <a:lnTo>
                    <a:pt x="3851" y="27411"/>
                  </a:lnTo>
                  <a:lnTo>
                    <a:pt x="3934" y="27411"/>
                  </a:lnTo>
                  <a:lnTo>
                    <a:pt x="3976" y="27432"/>
                  </a:lnTo>
                  <a:lnTo>
                    <a:pt x="4060" y="27432"/>
                  </a:lnTo>
                  <a:lnTo>
                    <a:pt x="4144" y="27411"/>
                  </a:lnTo>
                  <a:lnTo>
                    <a:pt x="4185" y="27390"/>
                  </a:lnTo>
                  <a:lnTo>
                    <a:pt x="4227" y="27411"/>
                  </a:lnTo>
                  <a:lnTo>
                    <a:pt x="4164" y="27473"/>
                  </a:lnTo>
                  <a:lnTo>
                    <a:pt x="4039" y="27515"/>
                  </a:lnTo>
                  <a:lnTo>
                    <a:pt x="3976" y="27494"/>
                  </a:lnTo>
                  <a:lnTo>
                    <a:pt x="3913" y="27473"/>
                  </a:lnTo>
                  <a:lnTo>
                    <a:pt x="3851" y="27473"/>
                  </a:lnTo>
                  <a:lnTo>
                    <a:pt x="3913" y="27515"/>
                  </a:lnTo>
                  <a:lnTo>
                    <a:pt x="3976" y="27515"/>
                  </a:lnTo>
                  <a:lnTo>
                    <a:pt x="4039" y="27536"/>
                  </a:lnTo>
                  <a:lnTo>
                    <a:pt x="3976" y="27578"/>
                  </a:lnTo>
                  <a:lnTo>
                    <a:pt x="3851" y="27578"/>
                  </a:lnTo>
                  <a:lnTo>
                    <a:pt x="3746" y="27641"/>
                  </a:lnTo>
                  <a:lnTo>
                    <a:pt x="3809" y="27704"/>
                  </a:lnTo>
                  <a:lnTo>
                    <a:pt x="3851" y="27704"/>
                  </a:lnTo>
                  <a:lnTo>
                    <a:pt x="3913" y="27683"/>
                  </a:lnTo>
                  <a:lnTo>
                    <a:pt x="4039" y="27683"/>
                  </a:lnTo>
                  <a:lnTo>
                    <a:pt x="4081" y="27704"/>
                  </a:lnTo>
                  <a:lnTo>
                    <a:pt x="4144" y="27704"/>
                  </a:lnTo>
                  <a:lnTo>
                    <a:pt x="4081" y="27746"/>
                  </a:lnTo>
                  <a:lnTo>
                    <a:pt x="3955" y="27787"/>
                  </a:lnTo>
                  <a:lnTo>
                    <a:pt x="3872" y="27746"/>
                  </a:lnTo>
                  <a:lnTo>
                    <a:pt x="3809" y="27787"/>
                  </a:lnTo>
                  <a:lnTo>
                    <a:pt x="3767" y="27829"/>
                  </a:lnTo>
                  <a:lnTo>
                    <a:pt x="3809" y="27892"/>
                  </a:lnTo>
                  <a:lnTo>
                    <a:pt x="3851" y="27892"/>
                  </a:lnTo>
                  <a:lnTo>
                    <a:pt x="3934" y="27829"/>
                  </a:lnTo>
                  <a:lnTo>
                    <a:pt x="4018" y="27829"/>
                  </a:lnTo>
                  <a:lnTo>
                    <a:pt x="4081" y="27892"/>
                  </a:lnTo>
                  <a:lnTo>
                    <a:pt x="4081" y="27934"/>
                  </a:lnTo>
                  <a:lnTo>
                    <a:pt x="3934" y="27997"/>
                  </a:lnTo>
                  <a:lnTo>
                    <a:pt x="3892" y="28038"/>
                  </a:lnTo>
                  <a:lnTo>
                    <a:pt x="3955" y="28143"/>
                  </a:lnTo>
                  <a:lnTo>
                    <a:pt x="3997" y="28143"/>
                  </a:lnTo>
                  <a:lnTo>
                    <a:pt x="4039" y="28122"/>
                  </a:lnTo>
                  <a:lnTo>
                    <a:pt x="4102" y="28122"/>
                  </a:lnTo>
                  <a:lnTo>
                    <a:pt x="4164" y="28206"/>
                  </a:lnTo>
                  <a:lnTo>
                    <a:pt x="4185" y="28143"/>
                  </a:lnTo>
                  <a:lnTo>
                    <a:pt x="4227" y="28122"/>
                  </a:lnTo>
                  <a:lnTo>
                    <a:pt x="4269" y="28143"/>
                  </a:lnTo>
                  <a:lnTo>
                    <a:pt x="4248" y="28206"/>
                  </a:lnTo>
                  <a:lnTo>
                    <a:pt x="4206" y="28248"/>
                  </a:lnTo>
                  <a:lnTo>
                    <a:pt x="4269" y="28310"/>
                  </a:lnTo>
                  <a:lnTo>
                    <a:pt x="4164" y="28436"/>
                  </a:lnTo>
                  <a:lnTo>
                    <a:pt x="4144" y="28436"/>
                  </a:lnTo>
                  <a:lnTo>
                    <a:pt x="4081" y="28520"/>
                  </a:lnTo>
                  <a:lnTo>
                    <a:pt x="4039" y="28582"/>
                  </a:lnTo>
                  <a:lnTo>
                    <a:pt x="4039" y="28624"/>
                  </a:lnTo>
                  <a:lnTo>
                    <a:pt x="4102" y="28624"/>
                  </a:lnTo>
                  <a:lnTo>
                    <a:pt x="4164" y="28582"/>
                  </a:lnTo>
                  <a:lnTo>
                    <a:pt x="4248" y="28624"/>
                  </a:lnTo>
                  <a:lnTo>
                    <a:pt x="4269" y="28687"/>
                  </a:lnTo>
                  <a:lnTo>
                    <a:pt x="4227" y="28750"/>
                  </a:lnTo>
                  <a:lnTo>
                    <a:pt x="4227" y="28771"/>
                  </a:lnTo>
                  <a:lnTo>
                    <a:pt x="4290" y="28771"/>
                  </a:lnTo>
                  <a:lnTo>
                    <a:pt x="4353" y="28792"/>
                  </a:lnTo>
                  <a:lnTo>
                    <a:pt x="4353" y="28854"/>
                  </a:lnTo>
                  <a:lnTo>
                    <a:pt x="4290" y="28896"/>
                  </a:lnTo>
                  <a:lnTo>
                    <a:pt x="4353" y="28959"/>
                  </a:lnTo>
                  <a:lnTo>
                    <a:pt x="4332" y="29043"/>
                  </a:lnTo>
                  <a:lnTo>
                    <a:pt x="4248" y="29085"/>
                  </a:lnTo>
                  <a:lnTo>
                    <a:pt x="4206" y="29147"/>
                  </a:lnTo>
                  <a:lnTo>
                    <a:pt x="4311" y="29147"/>
                  </a:lnTo>
                  <a:lnTo>
                    <a:pt x="4374" y="29085"/>
                  </a:lnTo>
                  <a:lnTo>
                    <a:pt x="4395" y="29043"/>
                  </a:lnTo>
                  <a:lnTo>
                    <a:pt x="4520" y="28980"/>
                  </a:lnTo>
                  <a:lnTo>
                    <a:pt x="4562" y="29001"/>
                  </a:lnTo>
                  <a:lnTo>
                    <a:pt x="4499" y="29064"/>
                  </a:lnTo>
                  <a:lnTo>
                    <a:pt x="4541" y="29106"/>
                  </a:lnTo>
                  <a:lnTo>
                    <a:pt x="4457" y="29168"/>
                  </a:lnTo>
                  <a:lnTo>
                    <a:pt x="4395" y="29210"/>
                  </a:lnTo>
                  <a:lnTo>
                    <a:pt x="4332" y="29210"/>
                  </a:lnTo>
                  <a:lnTo>
                    <a:pt x="4248" y="29252"/>
                  </a:lnTo>
                  <a:lnTo>
                    <a:pt x="4185" y="29294"/>
                  </a:lnTo>
                  <a:lnTo>
                    <a:pt x="4248" y="29357"/>
                  </a:lnTo>
                  <a:lnTo>
                    <a:pt x="4332" y="29294"/>
                  </a:lnTo>
                  <a:lnTo>
                    <a:pt x="4374" y="29252"/>
                  </a:lnTo>
                  <a:lnTo>
                    <a:pt x="4478" y="29273"/>
                  </a:lnTo>
                  <a:lnTo>
                    <a:pt x="4499" y="29294"/>
                  </a:lnTo>
                  <a:lnTo>
                    <a:pt x="4457" y="29357"/>
                  </a:lnTo>
                  <a:lnTo>
                    <a:pt x="4332" y="29398"/>
                  </a:lnTo>
                  <a:lnTo>
                    <a:pt x="4332" y="29503"/>
                  </a:lnTo>
                  <a:lnTo>
                    <a:pt x="4269" y="29566"/>
                  </a:lnTo>
                  <a:lnTo>
                    <a:pt x="4185" y="29587"/>
                  </a:lnTo>
                  <a:lnTo>
                    <a:pt x="4164" y="29629"/>
                  </a:lnTo>
                  <a:lnTo>
                    <a:pt x="4248" y="29691"/>
                  </a:lnTo>
                  <a:lnTo>
                    <a:pt x="4374" y="29670"/>
                  </a:lnTo>
                  <a:lnTo>
                    <a:pt x="4457" y="29608"/>
                  </a:lnTo>
                  <a:lnTo>
                    <a:pt x="4562" y="29587"/>
                  </a:lnTo>
                  <a:lnTo>
                    <a:pt x="4625" y="29587"/>
                  </a:lnTo>
                  <a:lnTo>
                    <a:pt x="4667" y="29629"/>
                  </a:lnTo>
                  <a:lnTo>
                    <a:pt x="4625" y="29691"/>
                  </a:lnTo>
                  <a:lnTo>
                    <a:pt x="4562" y="29691"/>
                  </a:lnTo>
                  <a:lnTo>
                    <a:pt x="4416" y="29733"/>
                  </a:lnTo>
                  <a:lnTo>
                    <a:pt x="4416" y="29775"/>
                  </a:lnTo>
                  <a:lnTo>
                    <a:pt x="4499" y="29775"/>
                  </a:lnTo>
                  <a:lnTo>
                    <a:pt x="4541" y="29817"/>
                  </a:lnTo>
                  <a:lnTo>
                    <a:pt x="4457" y="29901"/>
                  </a:lnTo>
                  <a:lnTo>
                    <a:pt x="4478" y="29984"/>
                  </a:lnTo>
                  <a:lnTo>
                    <a:pt x="4562" y="30005"/>
                  </a:lnTo>
                  <a:lnTo>
                    <a:pt x="4688" y="29901"/>
                  </a:lnTo>
                  <a:lnTo>
                    <a:pt x="4750" y="29880"/>
                  </a:lnTo>
                  <a:lnTo>
                    <a:pt x="4771" y="29901"/>
                  </a:lnTo>
                  <a:lnTo>
                    <a:pt x="4855" y="29984"/>
                  </a:lnTo>
                  <a:lnTo>
                    <a:pt x="4855" y="30089"/>
                  </a:lnTo>
                  <a:lnTo>
                    <a:pt x="4918" y="30131"/>
                  </a:lnTo>
                  <a:lnTo>
                    <a:pt x="4918" y="30152"/>
                  </a:lnTo>
                  <a:lnTo>
                    <a:pt x="4876" y="30214"/>
                  </a:lnTo>
                  <a:lnTo>
                    <a:pt x="4792" y="30214"/>
                  </a:lnTo>
                  <a:lnTo>
                    <a:pt x="4750" y="30298"/>
                  </a:lnTo>
                  <a:lnTo>
                    <a:pt x="4771" y="30340"/>
                  </a:lnTo>
                  <a:lnTo>
                    <a:pt x="4918" y="30361"/>
                  </a:lnTo>
                  <a:lnTo>
                    <a:pt x="4981" y="30340"/>
                  </a:lnTo>
                  <a:lnTo>
                    <a:pt x="4960" y="30298"/>
                  </a:lnTo>
                  <a:lnTo>
                    <a:pt x="4960" y="30235"/>
                  </a:lnTo>
                  <a:lnTo>
                    <a:pt x="5001" y="30214"/>
                  </a:lnTo>
                  <a:lnTo>
                    <a:pt x="5064" y="30235"/>
                  </a:lnTo>
                  <a:lnTo>
                    <a:pt x="5127" y="30194"/>
                  </a:lnTo>
                  <a:lnTo>
                    <a:pt x="5211" y="30152"/>
                  </a:lnTo>
                  <a:lnTo>
                    <a:pt x="5273" y="30214"/>
                  </a:lnTo>
                  <a:lnTo>
                    <a:pt x="5315" y="30235"/>
                  </a:lnTo>
                  <a:lnTo>
                    <a:pt x="5378" y="30214"/>
                  </a:lnTo>
                  <a:lnTo>
                    <a:pt x="5420" y="30131"/>
                  </a:lnTo>
                  <a:lnTo>
                    <a:pt x="5483" y="30089"/>
                  </a:lnTo>
                  <a:lnTo>
                    <a:pt x="5545" y="30089"/>
                  </a:lnTo>
                  <a:lnTo>
                    <a:pt x="5629" y="30047"/>
                  </a:lnTo>
                  <a:lnTo>
                    <a:pt x="5713" y="30089"/>
                  </a:lnTo>
                  <a:lnTo>
                    <a:pt x="5755" y="30026"/>
                  </a:lnTo>
                  <a:lnTo>
                    <a:pt x="5755" y="29984"/>
                  </a:lnTo>
                  <a:lnTo>
                    <a:pt x="5713" y="29922"/>
                  </a:lnTo>
                  <a:lnTo>
                    <a:pt x="5713" y="29880"/>
                  </a:lnTo>
                  <a:lnTo>
                    <a:pt x="5755" y="29838"/>
                  </a:lnTo>
                  <a:lnTo>
                    <a:pt x="5817" y="29880"/>
                  </a:lnTo>
                  <a:lnTo>
                    <a:pt x="5859" y="29942"/>
                  </a:lnTo>
                  <a:lnTo>
                    <a:pt x="5859" y="30047"/>
                  </a:lnTo>
                  <a:lnTo>
                    <a:pt x="5797" y="30131"/>
                  </a:lnTo>
                  <a:lnTo>
                    <a:pt x="5734" y="30152"/>
                  </a:lnTo>
                  <a:lnTo>
                    <a:pt x="5692" y="30214"/>
                  </a:lnTo>
                  <a:lnTo>
                    <a:pt x="5713" y="30235"/>
                  </a:lnTo>
                  <a:lnTo>
                    <a:pt x="5838" y="30194"/>
                  </a:lnTo>
                  <a:lnTo>
                    <a:pt x="6027" y="30089"/>
                  </a:lnTo>
                  <a:lnTo>
                    <a:pt x="6131" y="29922"/>
                  </a:lnTo>
                  <a:lnTo>
                    <a:pt x="6173" y="29922"/>
                  </a:lnTo>
                  <a:lnTo>
                    <a:pt x="6215" y="30005"/>
                  </a:lnTo>
                  <a:lnTo>
                    <a:pt x="6215" y="30110"/>
                  </a:lnTo>
                  <a:lnTo>
                    <a:pt x="6131" y="30131"/>
                  </a:lnTo>
                  <a:lnTo>
                    <a:pt x="6048" y="30194"/>
                  </a:lnTo>
                  <a:lnTo>
                    <a:pt x="5964" y="30256"/>
                  </a:lnTo>
                  <a:lnTo>
                    <a:pt x="5859" y="30298"/>
                  </a:lnTo>
                  <a:lnTo>
                    <a:pt x="5838" y="30319"/>
                  </a:lnTo>
                  <a:lnTo>
                    <a:pt x="5859" y="30340"/>
                  </a:lnTo>
                  <a:lnTo>
                    <a:pt x="5964" y="30319"/>
                  </a:lnTo>
                  <a:lnTo>
                    <a:pt x="6110" y="30235"/>
                  </a:lnTo>
                  <a:lnTo>
                    <a:pt x="6131" y="30256"/>
                  </a:lnTo>
                  <a:lnTo>
                    <a:pt x="6027" y="30361"/>
                  </a:lnTo>
                  <a:lnTo>
                    <a:pt x="5943" y="30403"/>
                  </a:lnTo>
                  <a:lnTo>
                    <a:pt x="5943" y="30507"/>
                  </a:lnTo>
                  <a:lnTo>
                    <a:pt x="5797" y="30612"/>
                  </a:lnTo>
                  <a:lnTo>
                    <a:pt x="5755" y="30654"/>
                  </a:lnTo>
                  <a:lnTo>
                    <a:pt x="5817" y="30654"/>
                  </a:lnTo>
                  <a:lnTo>
                    <a:pt x="5859" y="30612"/>
                  </a:lnTo>
                  <a:lnTo>
                    <a:pt x="5901" y="30612"/>
                  </a:lnTo>
                  <a:lnTo>
                    <a:pt x="5901" y="30633"/>
                  </a:lnTo>
                  <a:lnTo>
                    <a:pt x="5922" y="30738"/>
                  </a:lnTo>
                  <a:lnTo>
                    <a:pt x="5943" y="30654"/>
                  </a:lnTo>
                  <a:lnTo>
                    <a:pt x="6027" y="30612"/>
                  </a:lnTo>
                  <a:lnTo>
                    <a:pt x="6048" y="30549"/>
                  </a:lnTo>
                  <a:lnTo>
                    <a:pt x="6110" y="30549"/>
                  </a:lnTo>
                  <a:lnTo>
                    <a:pt x="6131" y="30570"/>
                  </a:lnTo>
                  <a:lnTo>
                    <a:pt x="6048" y="30654"/>
                  </a:lnTo>
                  <a:lnTo>
                    <a:pt x="6027" y="30738"/>
                  </a:lnTo>
                  <a:lnTo>
                    <a:pt x="6048" y="30759"/>
                  </a:lnTo>
                  <a:lnTo>
                    <a:pt x="6131" y="30738"/>
                  </a:lnTo>
                  <a:lnTo>
                    <a:pt x="6173" y="30654"/>
                  </a:lnTo>
                  <a:lnTo>
                    <a:pt x="6236" y="30654"/>
                  </a:lnTo>
                  <a:lnTo>
                    <a:pt x="6320" y="30633"/>
                  </a:lnTo>
                  <a:lnTo>
                    <a:pt x="6236" y="30738"/>
                  </a:lnTo>
                  <a:lnTo>
                    <a:pt x="6215" y="30842"/>
                  </a:lnTo>
                  <a:lnTo>
                    <a:pt x="6110" y="30926"/>
                  </a:lnTo>
                  <a:lnTo>
                    <a:pt x="6110" y="30989"/>
                  </a:lnTo>
                  <a:lnTo>
                    <a:pt x="6131" y="31031"/>
                  </a:lnTo>
                  <a:lnTo>
                    <a:pt x="6236" y="30947"/>
                  </a:lnTo>
                  <a:lnTo>
                    <a:pt x="6320" y="30738"/>
                  </a:lnTo>
                  <a:lnTo>
                    <a:pt x="6382" y="30675"/>
                  </a:lnTo>
                  <a:lnTo>
                    <a:pt x="6424" y="30717"/>
                  </a:lnTo>
                  <a:lnTo>
                    <a:pt x="6320" y="30863"/>
                  </a:lnTo>
                  <a:lnTo>
                    <a:pt x="6320" y="30947"/>
                  </a:lnTo>
                  <a:lnTo>
                    <a:pt x="6257" y="31031"/>
                  </a:lnTo>
                  <a:lnTo>
                    <a:pt x="6236" y="31135"/>
                  </a:lnTo>
                  <a:lnTo>
                    <a:pt x="6278" y="31156"/>
                  </a:lnTo>
                  <a:lnTo>
                    <a:pt x="6341" y="31093"/>
                  </a:lnTo>
                  <a:lnTo>
                    <a:pt x="6341" y="31031"/>
                  </a:lnTo>
                  <a:lnTo>
                    <a:pt x="6361" y="30968"/>
                  </a:lnTo>
                  <a:lnTo>
                    <a:pt x="6424" y="30968"/>
                  </a:lnTo>
                  <a:lnTo>
                    <a:pt x="6487" y="30989"/>
                  </a:lnTo>
                  <a:lnTo>
                    <a:pt x="6487" y="30842"/>
                  </a:lnTo>
                  <a:lnTo>
                    <a:pt x="6550" y="30842"/>
                  </a:lnTo>
                  <a:lnTo>
                    <a:pt x="6592" y="30759"/>
                  </a:lnTo>
                  <a:lnTo>
                    <a:pt x="6654" y="30759"/>
                  </a:lnTo>
                  <a:lnTo>
                    <a:pt x="6654" y="30821"/>
                  </a:lnTo>
                  <a:lnTo>
                    <a:pt x="6633" y="30821"/>
                  </a:lnTo>
                  <a:lnTo>
                    <a:pt x="6592" y="30926"/>
                  </a:lnTo>
                  <a:lnTo>
                    <a:pt x="6592" y="30968"/>
                  </a:lnTo>
                  <a:lnTo>
                    <a:pt x="6759" y="30968"/>
                  </a:lnTo>
                  <a:lnTo>
                    <a:pt x="7010" y="31093"/>
                  </a:lnTo>
                  <a:lnTo>
                    <a:pt x="7052" y="31093"/>
                  </a:lnTo>
                  <a:lnTo>
                    <a:pt x="7052" y="31051"/>
                  </a:lnTo>
                  <a:lnTo>
                    <a:pt x="7094" y="30989"/>
                  </a:lnTo>
                  <a:lnTo>
                    <a:pt x="7157" y="30968"/>
                  </a:lnTo>
                  <a:lnTo>
                    <a:pt x="7157" y="30926"/>
                  </a:lnTo>
                  <a:lnTo>
                    <a:pt x="7094" y="30884"/>
                  </a:lnTo>
                  <a:lnTo>
                    <a:pt x="7073" y="30863"/>
                  </a:lnTo>
                  <a:lnTo>
                    <a:pt x="6989" y="30863"/>
                  </a:lnTo>
                  <a:lnTo>
                    <a:pt x="6968" y="30884"/>
                  </a:lnTo>
                  <a:lnTo>
                    <a:pt x="6968" y="30842"/>
                  </a:lnTo>
                  <a:lnTo>
                    <a:pt x="6989" y="30821"/>
                  </a:lnTo>
                  <a:lnTo>
                    <a:pt x="6989" y="30759"/>
                  </a:lnTo>
                  <a:lnTo>
                    <a:pt x="6885" y="30717"/>
                  </a:lnTo>
                  <a:lnTo>
                    <a:pt x="6696" y="30633"/>
                  </a:lnTo>
                  <a:lnTo>
                    <a:pt x="6675" y="30570"/>
                  </a:lnTo>
                  <a:lnTo>
                    <a:pt x="6696" y="30549"/>
                  </a:lnTo>
                  <a:lnTo>
                    <a:pt x="6780" y="30570"/>
                  </a:lnTo>
                  <a:lnTo>
                    <a:pt x="6843" y="30549"/>
                  </a:lnTo>
                  <a:lnTo>
                    <a:pt x="6864" y="30549"/>
                  </a:lnTo>
                  <a:lnTo>
                    <a:pt x="6885" y="30612"/>
                  </a:lnTo>
                  <a:lnTo>
                    <a:pt x="6968" y="30675"/>
                  </a:lnTo>
                  <a:lnTo>
                    <a:pt x="7052" y="30738"/>
                  </a:lnTo>
                  <a:lnTo>
                    <a:pt x="7115" y="30738"/>
                  </a:lnTo>
                  <a:lnTo>
                    <a:pt x="7219" y="30675"/>
                  </a:lnTo>
                  <a:lnTo>
                    <a:pt x="7303" y="30633"/>
                  </a:lnTo>
                  <a:lnTo>
                    <a:pt x="7324" y="30570"/>
                  </a:lnTo>
                  <a:lnTo>
                    <a:pt x="7261" y="30549"/>
                  </a:lnTo>
                  <a:lnTo>
                    <a:pt x="7157" y="30549"/>
                  </a:lnTo>
                  <a:lnTo>
                    <a:pt x="7094" y="30528"/>
                  </a:lnTo>
                  <a:lnTo>
                    <a:pt x="7094" y="30466"/>
                  </a:lnTo>
                  <a:lnTo>
                    <a:pt x="7219" y="30466"/>
                  </a:lnTo>
                  <a:lnTo>
                    <a:pt x="7303" y="30424"/>
                  </a:lnTo>
                  <a:lnTo>
                    <a:pt x="7303" y="30403"/>
                  </a:lnTo>
                  <a:lnTo>
                    <a:pt x="7219" y="30340"/>
                  </a:lnTo>
                  <a:lnTo>
                    <a:pt x="7157" y="30319"/>
                  </a:lnTo>
                  <a:lnTo>
                    <a:pt x="7157" y="30298"/>
                  </a:lnTo>
                  <a:lnTo>
                    <a:pt x="7198" y="30298"/>
                  </a:lnTo>
                  <a:lnTo>
                    <a:pt x="7219" y="30256"/>
                  </a:lnTo>
                  <a:lnTo>
                    <a:pt x="7198" y="30235"/>
                  </a:lnTo>
                  <a:lnTo>
                    <a:pt x="7094" y="30214"/>
                  </a:lnTo>
                  <a:lnTo>
                    <a:pt x="7052" y="30152"/>
                  </a:lnTo>
                  <a:lnTo>
                    <a:pt x="7073" y="30131"/>
                  </a:lnTo>
                  <a:lnTo>
                    <a:pt x="7157" y="30152"/>
                  </a:lnTo>
                  <a:lnTo>
                    <a:pt x="7261" y="30194"/>
                  </a:lnTo>
                  <a:lnTo>
                    <a:pt x="7408" y="30152"/>
                  </a:lnTo>
                  <a:lnTo>
                    <a:pt x="7491" y="30110"/>
                  </a:lnTo>
                  <a:lnTo>
                    <a:pt x="7512" y="30047"/>
                  </a:lnTo>
                  <a:lnTo>
                    <a:pt x="7491" y="30005"/>
                  </a:lnTo>
                  <a:lnTo>
                    <a:pt x="7387" y="29984"/>
                  </a:lnTo>
                  <a:lnTo>
                    <a:pt x="7198" y="29942"/>
                  </a:lnTo>
                  <a:lnTo>
                    <a:pt x="7115" y="29901"/>
                  </a:lnTo>
                  <a:lnTo>
                    <a:pt x="7115" y="29880"/>
                  </a:lnTo>
                  <a:lnTo>
                    <a:pt x="7177" y="29880"/>
                  </a:lnTo>
                  <a:lnTo>
                    <a:pt x="7261" y="29901"/>
                  </a:lnTo>
                  <a:lnTo>
                    <a:pt x="7408" y="29901"/>
                  </a:lnTo>
                  <a:lnTo>
                    <a:pt x="7491" y="29838"/>
                  </a:lnTo>
                  <a:lnTo>
                    <a:pt x="7491" y="29775"/>
                  </a:lnTo>
                  <a:lnTo>
                    <a:pt x="7408" y="29712"/>
                  </a:lnTo>
                  <a:lnTo>
                    <a:pt x="7324" y="29691"/>
                  </a:lnTo>
                  <a:lnTo>
                    <a:pt x="7303" y="29629"/>
                  </a:lnTo>
                  <a:lnTo>
                    <a:pt x="7366" y="29629"/>
                  </a:lnTo>
                  <a:lnTo>
                    <a:pt x="7408" y="29670"/>
                  </a:lnTo>
                  <a:lnTo>
                    <a:pt x="7429" y="29712"/>
                  </a:lnTo>
                  <a:lnTo>
                    <a:pt x="7512" y="29691"/>
                  </a:lnTo>
                  <a:lnTo>
                    <a:pt x="7575" y="29629"/>
                  </a:lnTo>
                  <a:lnTo>
                    <a:pt x="7575" y="29587"/>
                  </a:lnTo>
                  <a:lnTo>
                    <a:pt x="7512" y="29566"/>
                  </a:lnTo>
                  <a:lnTo>
                    <a:pt x="7429" y="29503"/>
                  </a:lnTo>
                  <a:lnTo>
                    <a:pt x="7429" y="29482"/>
                  </a:lnTo>
                  <a:lnTo>
                    <a:pt x="7491" y="29461"/>
                  </a:lnTo>
                  <a:lnTo>
                    <a:pt x="7512" y="29503"/>
                  </a:lnTo>
                  <a:lnTo>
                    <a:pt x="7575" y="29524"/>
                  </a:lnTo>
                  <a:lnTo>
                    <a:pt x="7638" y="29461"/>
                  </a:lnTo>
                  <a:lnTo>
                    <a:pt x="7638" y="29419"/>
                  </a:lnTo>
                  <a:lnTo>
                    <a:pt x="7533" y="29398"/>
                  </a:lnTo>
                  <a:lnTo>
                    <a:pt x="7470" y="29357"/>
                  </a:lnTo>
                  <a:lnTo>
                    <a:pt x="7429" y="29294"/>
                  </a:lnTo>
                  <a:lnTo>
                    <a:pt x="7491" y="29294"/>
                  </a:lnTo>
                  <a:lnTo>
                    <a:pt x="7575" y="29357"/>
                  </a:lnTo>
                  <a:lnTo>
                    <a:pt x="7638" y="29357"/>
                  </a:lnTo>
                  <a:lnTo>
                    <a:pt x="7701" y="29398"/>
                  </a:lnTo>
                  <a:lnTo>
                    <a:pt x="7742" y="29398"/>
                  </a:lnTo>
                  <a:lnTo>
                    <a:pt x="7784" y="29315"/>
                  </a:lnTo>
                  <a:lnTo>
                    <a:pt x="7784" y="29273"/>
                  </a:lnTo>
                  <a:lnTo>
                    <a:pt x="7826" y="29210"/>
                  </a:lnTo>
                  <a:lnTo>
                    <a:pt x="7826" y="29168"/>
                  </a:lnTo>
                  <a:lnTo>
                    <a:pt x="7805" y="29106"/>
                  </a:lnTo>
                  <a:lnTo>
                    <a:pt x="7826" y="29001"/>
                  </a:lnTo>
                  <a:lnTo>
                    <a:pt x="7826" y="28959"/>
                  </a:lnTo>
                  <a:lnTo>
                    <a:pt x="7742" y="28854"/>
                  </a:lnTo>
                  <a:lnTo>
                    <a:pt x="7617" y="28750"/>
                  </a:lnTo>
                  <a:lnTo>
                    <a:pt x="7512" y="28729"/>
                  </a:lnTo>
                  <a:lnTo>
                    <a:pt x="7470" y="28666"/>
                  </a:lnTo>
                  <a:lnTo>
                    <a:pt x="7470" y="28645"/>
                  </a:lnTo>
                  <a:lnTo>
                    <a:pt x="7533" y="28645"/>
                  </a:lnTo>
                  <a:lnTo>
                    <a:pt x="7596" y="28666"/>
                  </a:lnTo>
                  <a:lnTo>
                    <a:pt x="7722" y="28771"/>
                  </a:lnTo>
                  <a:lnTo>
                    <a:pt x="7805" y="28854"/>
                  </a:lnTo>
                  <a:lnTo>
                    <a:pt x="7889" y="28854"/>
                  </a:lnTo>
                  <a:lnTo>
                    <a:pt x="7910" y="28834"/>
                  </a:lnTo>
                  <a:lnTo>
                    <a:pt x="7889" y="28687"/>
                  </a:lnTo>
                  <a:lnTo>
                    <a:pt x="7826" y="28582"/>
                  </a:lnTo>
                  <a:lnTo>
                    <a:pt x="7701" y="28562"/>
                  </a:lnTo>
                  <a:lnTo>
                    <a:pt x="7533" y="28478"/>
                  </a:lnTo>
                  <a:lnTo>
                    <a:pt x="7491" y="28457"/>
                  </a:lnTo>
                  <a:lnTo>
                    <a:pt x="7491" y="28415"/>
                  </a:lnTo>
                  <a:lnTo>
                    <a:pt x="7533" y="28415"/>
                  </a:lnTo>
                  <a:lnTo>
                    <a:pt x="7596" y="28436"/>
                  </a:lnTo>
                  <a:lnTo>
                    <a:pt x="7638" y="28478"/>
                  </a:lnTo>
                  <a:lnTo>
                    <a:pt x="7742" y="28478"/>
                  </a:lnTo>
                  <a:lnTo>
                    <a:pt x="7805" y="28415"/>
                  </a:lnTo>
                  <a:lnTo>
                    <a:pt x="7826" y="28352"/>
                  </a:lnTo>
                  <a:lnTo>
                    <a:pt x="7826" y="28269"/>
                  </a:lnTo>
                  <a:lnTo>
                    <a:pt x="7847" y="28269"/>
                  </a:lnTo>
                  <a:lnTo>
                    <a:pt x="7910" y="28310"/>
                  </a:lnTo>
                  <a:lnTo>
                    <a:pt x="7910" y="28331"/>
                  </a:lnTo>
                  <a:lnTo>
                    <a:pt x="7910" y="28373"/>
                  </a:lnTo>
                  <a:lnTo>
                    <a:pt x="8014" y="28436"/>
                  </a:lnTo>
                  <a:lnTo>
                    <a:pt x="8056" y="28436"/>
                  </a:lnTo>
                  <a:lnTo>
                    <a:pt x="8119" y="28478"/>
                  </a:lnTo>
                  <a:lnTo>
                    <a:pt x="8161" y="28478"/>
                  </a:lnTo>
                  <a:lnTo>
                    <a:pt x="8203" y="28436"/>
                  </a:lnTo>
                  <a:lnTo>
                    <a:pt x="8245" y="28373"/>
                  </a:lnTo>
                  <a:lnTo>
                    <a:pt x="8266" y="28352"/>
                  </a:lnTo>
                  <a:lnTo>
                    <a:pt x="8245" y="28310"/>
                  </a:lnTo>
                  <a:lnTo>
                    <a:pt x="8161" y="28269"/>
                  </a:lnTo>
                  <a:lnTo>
                    <a:pt x="8014" y="28269"/>
                  </a:lnTo>
                  <a:lnTo>
                    <a:pt x="7994" y="28248"/>
                  </a:lnTo>
                  <a:lnTo>
                    <a:pt x="7994" y="28227"/>
                  </a:lnTo>
                  <a:lnTo>
                    <a:pt x="7994" y="28164"/>
                  </a:lnTo>
                  <a:lnTo>
                    <a:pt x="7931" y="28122"/>
                  </a:lnTo>
                  <a:lnTo>
                    <a:pt x="7931" y="28059"/>
                  </a:lnTo>
                  <a:lnTo>
                    <a:pt x="7994" y="28018"/>
                  </a:lnTo>
                  <a:lnTo>
                    <a:pt x="8014" y="28018"/>
                  </a:lnTo>
                  <a:lnTo>
                    <a:pt x="8056" y="28059"/>
                  </a:lnTo>
                  <a:lnTo>
                    <a:pt x="8056" y="28143"/>
                  </a:lnTo>
                  <a:lnTo>
                    <a:pt x="8119" y="28206"/>
                  </a:lnTo>
                  <a:lnTo>
                    <a:pt x="8245" y="28206"/>
                  </a:lnTo>
                  <a:lnTo>
                    <a:pt x="8307" y="28164"/>
                  </a:lnTo>
                  <a:lnTo>
                    <a:pt x="8307" y="28122"/>
                  </a:lnTo>
                  <a:lnTo>
                    <a:pt x="8266" y="28059"/>
                  </a:lnTo>
                  <a:lnTo>
                    <a:pt x="8161" y="28018"/>
                  </a:lnTo>
                  <a:lnTo>
                    <a:pt x="8098" y="27955"/>
                  </a:lnTo>
                  <a:lnTo>
                    <a:pt x="8056" y="27850"/>
                  </a:lnTo>
                  <a:lnTo>
                    <a:pt x="8098" y="27850"/>
                  </a:lnTo>
                  <a:lnTo>
                    <a:pt x="8140" y="27913"/>
                  </a:lnTo>
                  <a:lnTo>
                    <a:pt x="8245" y="27955"/>
                  </a:lnTo>
                  <a:lnTo>
                    <a:pt x="8307" y="27997"/>
                  </a:lnTo>
                  <a:lnTo>
                    <a:pt x="8370" y="28059"/>
                  </a:lnTo>
                  <a:lnTo>
                    <a:pt x="8412" y="28038"/>
                  </a:lnTo>
                  <a:lnTo>
                    <a:pt x="8412" y="27997"/>
                  </a:lnTo>
                  <a:lnTo>
                    <a:pt x="8370" y="27934"/>
                  </a:lnTo>
                  <a:lnTo>
                    <a:pt x="8266" y="27892"/>
                  </a:lnTo>
                  <a:lnTo>
                    <a:pt x="8203" y="27829"/>
                  </a:lnTo>
                  <a:lnTo>
                    <a:pt x="8203" y="27746"/>
                  </a:lnTo>
                  <a:lnTo>
                    <a:pt x="8245" y="27704"/>
                  </a:lnTo>
                  <a:lnTo>
                    <a:pt x="8266" y="27641"/>
                  </a:lnTo>
                  <a:lnTo>
                    <a:pt x="8328" y="27641"/>
                  </a:lnTo>
                  <a:lnTo>
                    <a:pt x="8349" y="27704"/>
                  </a:lnTo>
                  <a:lnTo>
                    <a:pt x="8475" y="27808"/>
                  </a:lnTo>
                  <a:lnTo>
                    <a:pt x="8558" y="27808"/>
                  </a:lnTo>
                  <a:lnTo>
                    <a:pt x="8621" y="27787"/>
                  </a:lnTo>
                  <a:lnTo>
                    <a:pt x="8684" y="27787"/>
                  </a:lnTo>
                  <a:lnTo>
                    <a:pt x="8768" y="27746"/>
                  </a:lnTo>
                  <a:lnTo>
                    <a:pt x="8789" y="27683"/>
                  </a:lnTo>
                  <a:lnTo>
                    <a:pt x="8768" y="27641"/>
                  </a:lnTo>
                  <a:lnTo>
                    <a:pt x="8684" y="27620"/>
                  </a:lnTo>
                  <a:lnTo>
                    <a:pt x="8621" y="27578"/>
                  </a:lnTo>
                  <a:lnTo>
                    <a:pt x="8517" y="27515"/>
                  </a:lnTo>
                  <a:lnTo>
                    <a:pt x="8454" y="27515"/>
                  </a:lnTo>
                  <a:lnTo>
                    <a:pt x="8370" y="27494"/>
                  </a:lnTo>
                  <a:lnTo>
                    <a:pt x="8412" y="27432"/>
                  </a:lnTo>
                  <a:lnTo>
                    <a:pt x="8433" y="27411"/>
                  </a:lnTo>
                  <a:lnTo>
                    <a:pt x="8517" y="27411"/>
                  </a:lnTo>
                  <a:lnTo>
                    <a:pt x="8579" y="27494"/>
                  </a:lnTo>
                  <a:lnTo>
                    <a:pt x="8642" y="27515"/>
                  </a:lnTo>
                  <a:lnTo>
                    <a:pt x="8684" y="27515"/>
                  </a:lnTo>
                  <a:lnTo>
                    <a:pt x="8768" y="27620"/>
                  </a:lnTo>
                  <a:lnTo>
                    <a:pt x="8851" y="27641"/>
                  </a:lnTo>
                  <a:lnTo>
                    <a:pt x="8893" y="27620"/>
                  </a:lnTo>
                  <a:lnTo>
                    <a:pt x="8935" y="27578"/>
                  </a:lnTo>
                  <a:lnTo>
                    <a:pt x="8935" y="27515"/>
                  </a:lnTo>
                  <a:lnTo>
                    <a:pt x="8935" y="27411"/>
                  </a:lnTo>
                  <a:lnTo>
                    <a:pt x="8893" y="27369"/>
                  </a:lnTo>
                  <a:lnTo>
                    <a:pt x="8851" y="27327"/>
                  </a:lnTo>
                  <a:lnTo>
                    <a:pt x="8851" y="27306"/>
                  </a:lnTo>
                  <a:lnTo>
                    <a:pt x="8956" y="27306"/>
                  </a:lnTo>
                  <a:lnTo>
                    <a:pt x="8977" y="27222"/>
                  </a:lnTo>
                  <a:lnTo>
                    <a:pt x="8977" y="27181"/>
                  </a:lnTo>
                  <a:lnTo>
                    <a:pt x="8935" y="27181"/>
                  </a:lnTo>
                  <a:lnTo>
                    <a:pt x="8872" y="27201"/>
                  </a:lnTo>
                  <a:lnTo>
                    <a:pt x="8830" y="27160"/>
                  </a:lnTo>
                  <a:lnTo>
                    <a:pt x="8768" y="27097"/>
                  </a:lnTo>
                  <a:lnTo>
                    <a:pt x="8684" y="27097"/>
                  </a:lnTo>
                  <a:lnTo>
                    <a:pt x="8558" y="27013"/>
                  </a:lnTo>
                  <a:lnTo>
                    <a:pt x="8538" y="26992"/>
                  </a:lnTo>
                  <a:lnTo>
                    <a:pt x="8579" y="26950"/>
                  </a:lnTo>
                  <a:lnTo>
                    <a:pt x="8684" y="26950"/>
                  </a:lnTo>
                  <a:lnTo>
                    <a:pt x="8789" y="26971"/>
                  </a:lnTo>
                  <a:lnTo>
                    <a:pt x="8872" y="26971"/>
                  </a:lnTo>
                  <a:lnTo>
                    <a:pt x="8893" y="26909"/>
                  </a:lnTo>
                  <a:lnTo>
                    <a:pt x="8956" y="26909"/>
                  </a:lnTo>
                  <a:lnTo>
                    <a:pt x="9040" y="26971"/>
                  </a:lnTo>
                  <a:lnTo>
                    <a:pt x="9061" y="26867"/>
                  </a:lnTo>
                  <a:lnTo>
                    <a:pt x="9040" y="26699"/>
                  </a:lnTo>
                  <a:lnTo>
                    <a:pt x="8998" y="26595"/>
                  </a:lnTo>
                  <a:lnTo>
                    <a:pt x="8956" y="26553"/>
                  </a:lnTo>
                  <a:lnTo>
                    <a:pt x="8935" y="26469"/>
                  </a:lnTo>
                  <a:lnTo>
                    <a:pt x="8935" y="26427"/>
                  </a:lnTo>
                  <a:lnTo>
                    <a:pt x="8977" y="26365"/>
                  </a:lnTo>
                  <a:lnTo>
                    <a:pt x="8956" y="26260"/>
                  </a:lnTo>
                  <a:lnTo>
                    <a:pt x="8956" y="26218"/>
                  </a:lnTo>
                  <a:lnTo>
                    <a:pt x="8977" y="26155"/>
                  </a:lnTo>
                  <a:lnTo>
                    <a:pt x="8998" y="26176"/>
                  </a:lnTo>
                  <a:lnTo>
                    <a:pt x="9040" y="26239"/>
                  </a:lnTo>
                  <a:lnTo>
                    <a:pt x="9102" y="26260"/>
                  </a:lnTo>
                  <a:lnTo>
                    <a:pt x="9102" y="26218"/>
                  </a:lnTo>
                  <a:lnTo>
                    <a:pt x="9165" y="26176"/>
                  </a:lnTo>
                  <a:lnTo>
                    <a:pt x="9207" y="26218"/>
                  </a:lnTo>
                  <a:lnTo>
                    <a:pt x="9249" y="26344"/>
                  </a:lnTo>
                  <a:lnTo>
                    <a:pt x="9291" y="26365"/>
                  </a:lnTo>
                  <a:lnTo>
                    <a:pt x="9374" y="26365"/>
                  </a:lnTo>
                  <a:lnTo>
                    <a:pt x="9479" y="26239"/>
                  </a:lnTo>
                  <a:lnTo>
                    <a:pt x="9521" y="26113"/>
                  </a:lnTo>
                  <a:lnTo>
                    <a:pt x="9521" y="26009"/>
                  </a:lnTo>
                  <a:lnTo>
                    <a:pt x="9500" y="25925"/>
                  </a:lnTo>
                  <a:lnTo>
                    <a:pt x="9500" y="25862"/>
                  </a:lnTo>
                  <a:lnTo>
                    <a:pt x="9563" y="25841"/>
                  </a:lnTo>
                  <a:lnTo>
                    <a:pt x="9605" y="25841"/>
                  </a:lnTo>
                  <a:lnTo>
                    <a:pt x="9626" y="25800"/>
                  </a:lnTo>
                  <a:lnTo>
                    <a:pt x="9667" y="25758"/>
                  </a:lnTo>
                  <a:lnTo>
                    <a:pt x="9688" y="25821"/>
                  </a:lnTo>
                  <a:lnTo>
                    <a:pt x="9730" y="25883"/>
                  </a:lnTo>
                  <a:lnTo>
                    <a:pt x="9814" y="25883"/>
                  </a:lnTo>
                  <a:lnTo>
                    <a:pt x="9877" y="25841"/>
                  </a:lnTo>
                  <a:lnTo>
                    <a:pt x="9877" y="25800"/>
                  </a:lnTo>
                  <a:lnTo>
                    <a:pt x="9877" y="25737"/>
                  </a:lnTo>
                  <a:lnTo>
                    <a:pt x="9898" y="25737"/>
                  </a:lnTo>
                  <a:lnTo>
                    <a:pt x="9918" y="25800"/>
                  </a:lnTo>
                  <a:lnTo>
                    <a:pt x="9939" y="25883"/>
                  </a:lnTo>
                  <a:lnTo>
                    <a:pt x="9981" y="25925"/>
                  </a:lnTo>
                  <a:lnTo>
                    <a:pt x="10044" y="25862"/>
                  </a:lnTo>
                  <a:lnTo>
                    <a:pt x="10107" y="25821"/>
                  </a:lnTo>
                  <a:lnTo>
                    <a:pt x="10149" y="25800"/>
                  </a:lnTo>
                  <a:lnTo>
                    <a:pt x="10211" y="25841"/>
                  </a:lnTo>
                  <a:lnTo>
                    <a:pt x="10295" y="25841"/>
                  </a:lnTo>
                  <a:lnTo>
                    <a:pt x="10358" y="25800"/>
                  </a:lnTo>
                  <a:lnTo>
                    <a:pt x="10400" y="25716"/>
                  </a:lnTo>
                  <a:lnTo>
                    <a:pt x="10421" y="25674"/>
                  </a:lnTo>
                  <a:lnTo>
                    <a:pt x="10421" y="25632"/>
                  </a:lnTo>
                  <a:lnTo>
                    <a:pt x="10358" y="25549"/>
                  </a:lnTo>
                  <a:lnTo>
                    <a:pt x="10316" y="25423"/>
                  </a:lnTo>
                  <a:lnTo>
                    <a:pt x="10295" y="25339"/>
                  </a:lnTo>
                  <a:lnTo>
                    <a:pt x="10337" y="25297"/>
                  </a:lnTo>
                  <a:lnTo>
                    <a:pt x="10358" y="25318"/>
                  </a:lnTo>
                  <a:lnTo>
                    <a:pt x="10400" y="25423"/>
                  </a:lnTo>
                  <a:lnTo>
                    <a:pt x="10442" y="25423"/>
                  </a:lnTo>
                  <a:lnTo>
                    <a:pt x="10525" y="25339"/>
                  </a:lnTo>
                  <a:lnTo>
                    <a:pt x="10546" y="25256"/>
                  </a:lnTo>
                  <a:lnTo>
                    <a:pt x="10609" y="25193"/>
                  </a:lnTo>
                  <a:lnTo>
                    <a:pt x="10630" y="25130"/>
                  </a:lnTo>
                  <a:lnTo>
                    <a:pt x="10546" y="25046"/>
                  </a:lnTo>
                  <a:lnTo>
                    <a:pt x="10546" y="25005"/>
                  </a:lnTo>
                  <a:lnTo>
                    <a:pt x="10609" y="24942"/>
                  </a:lnTo>
                  <a:lnTo>
                    <a:pt x="10651" y="24921"/>
                  </a:lnTo>
                  <a:lnTo>
                    <a:pt x="10672" y="24942"/>
                  </a:lnTo>
                  <a:lnTo>
                    <a:pt x="10672" y="24984"/>
                  </a:lnTo>
                  <a:lnTo>
                    <a:pt x="10735" y="25046"/>
                  </a:lnTo>
                  <a:lnTo>
                    <a:pt x="10839" y="25088"/>
                  </a:lnTo>
                  <a:lnTo>
                    <a:pt x="10881" y="25109"/>
                  </a:lnTo>
                  <a:lnTo>
                    <a:pt x="10839" y="25172"/>
                  </a:lnTo>
                  <a:lnTo>
                    <a:pt x="10755" y="25214"/>
                  </a:lnTo>
                  <a:lnTo>
                    <a:pt x="10714" y="25318"/>
                  </a:lnTo>
                  <a:lnTo>
                    <a:pt x="10714" y="25402"/>
                  </a:lnTo>
                  <a:lnTo>
                    <a:pt x="10839" y="25549"/>
                  </a:lnTo>
                  <a:lnTo>
                    <a:pt x="10881" y="25590"/>
                  </a:lnTo>
                  <a:lnTo>
                    <a:pt x="10923" y="25507"/>
                  </a:lnTo>
                  <a:lnTo>
                    <a:pt x="10923" y="25444"/>
                  </a:lnTo>
                  <a:lnTo>
                    <a:pt x="10944" y="25381"/>
                  </a:lnTo>
                  <a:lnTo>
                    <a:pt x="10965" y="25277"/>
                  </a:lnTo>
                  <a:lnTo>
                    <a:pt x="10986" y="25277"/>
                  </a:lnTo>
                  <a:lnTo>
                    <a:pt x="11027" y="25318"/>
                  </a:lnTo>
                  <a:lnTo>
                    <a:pt x="10986" y="25402"/>
                  </a:lnTo>
                  <a:lnTo>
                    <a:pt x="10986" y="25444"/>
                  </a:lnTo>
                  <a:lnTo>
                    <a:pt x="11048" y="25549"/>
                  </a:lnTo>
                  <a:lnTo>
                    <a:pt x="11132" y="25590"/>
                  </a:lnTo>
                  <a:lnTo>
                    <a:pt x="11195" y="25528"/>
                  </a:lnTo>
                  <a:lnTo>
                    <a:pt x="11279" y="25528"/>
                  </a:lnTo>
                  <a:lnTo>
                    <a:pt x="11299" y="25486"/>
                  </a:lnTo>
                  <a:lnTo>
                    <a:pt x="11299" y="25423"/>
                  </a:lnTo>
                  <a:lnTo>
                    <a:pt x="11341" y="25381"/>
                  </a:lnTo>
                  <a:lnTo>
                    <a:pt x="11362" y="25381"/>
                  </a:lnTo>
                  <a:lnTo>
                    <a:pt x="11383" y="25402"/>
                  </a:lnTo>
                  <a:lnTo>
                    <a:pt x="11362" y="25444"/>
                  </a:lnTo>
                  <a:lnTo>
                    <a:pt x="11362" y="25507"/>
                  </a:lnTo>
                  <a:lnTo>
                    <a:pt x="11404" y="25549"/>
                  </a:lnTo>
                  <a:lnTo>
                    <a:pt x="11488" y="25549"/>
                  </a:lnTo>
                  <a:lnTo>
                    <a:pt x="11571" y="25444"/>
                  </a:lnTo>
                  <a:lnTo>
                    <a:pt x="11718" y="25339"/>
                  </a:lnTo>
                  <a:lnTo>
                    <a:pt x="11781" y="25339"/>
                  </a:lnTo>
                  <a:lnTo>
                    <a:pt x="11823" y="25318"/>
                  </a:lnTo>
                  <a:lnTo>
                    <a:pt x="11823" y="25235"/>
                  </a:lnTo>
                  <a:lnTo>
                    <a:pt x="11781" y="25172"/>
                  </a:lnTo>
                  <a:lnTo>
                    <a:pt x="11718" y="25130"/>
                  </a:lnTo>
                  <a:lnTo>
                    <a:pt x="11676" y="25088"/>
                  </a:lnTo>
                  <a:lnTo>
                    <a:pt x="11697" y="25067"/>
                  </a:lnTo>
                  <a:lnTo>
                    <a:pt x="11760" y="25067"/>
                  </a:lnTo>
                  <a:lnTo>
                    <a:pt x="11781" y="25109"/>
                  </a:lnTo>
                  <a:lnTo>
                    <a:pt x="11885" y="25172"/>
                  </a:lnTo>
                  <a:lnTo>
                    <a:pt x="11927" y="25172"/>
                  </a:lnTo>
                  <a:lnTo>
                    <a:pt x="11927" y="25088"/>
                  </a:lnTo>
                  <a:lnTo>
                    <a:pt x="11990" y="25088"/>
                  </a:lnTo>
                  <a:lnTo>
                    <a:pt x="12011" y="25130"/>
                  </a:lnTo>
                  <a:lnTo>
                    <a:pt x="12011" y="25193"/>
                  </a:lnTo>
                  <a:lnTo>
                    <a:pt x="12032" y="25214"/>
                  </a:lnTo>
                  <a:lnTo>
                    <a:pt x="12095" y="25193"/>
                  </a:lnTo>
                  <a:lnTo>
                    <a:pt x="12220" y="25046"/>
                  </a:lnTo>
                  <a:lnTo>
                    <a:pt x="12241" y="25025"/>
                  </a:lnTo>
                  <a:lnTo>
                    <a:pt x="12241" y="25005"/>
                  </a:lnTo>
                  <a:lnTo>
                    <a:pt x="12283" y="24921"/>
                  </a:lnTo>
                  <a:lnTo>
                    <a:pt x="12304" y="24879"/>
                  </a:lnTo>
                  <a:lnTo>
                    <a:pt x="12346" y="24837"/>
                  </a:lnTo>
                  <a:lnTo>
                    <a:pt x="12346" y="24837"/>
                  </a:lnTo>
                  <a:lnTo>
                    <a:pt x="12325" y="24900"/>
                  </a:lnTo>
                  <a:lnTo>
                    <a:pt x="12346" y="24942"/>
                  </a:lnTo>
                  <a:lnTo>
                    <a:pt x="12387" y="24984"/>
                  </a:lnTo>
                  <a:lnTo>
                    <a:pt x="12429" y="24942"/>
                  </a:lnTo>
                  <a:lnTo>
                    <a:pt x="12513" y="24837"/>
                  </a:lnTo>
                  <a:lnTo>
                    <a:pt x="12534" y="24774"/>
                  </a:lnTo>
                  <a:lnTo>
                    <a:pt x="12513" y="24691"/>
                  </a:lnTo>
                  <a:lnTo>
                    <a:pt x="12513" y="24607"/>
                  </a:lnTo>
                  <a:lnTo>
                    <a:pt x="12639" y="24481"/>
                  </a:lnTo>
                  <a:lnTo>
                    <a:pt x="12722" y="24460"/>
                  </a:lnTo>
                  <a:lnTo>
                    <a:pt x="12764" y="24398"/>
                  </a:lnTo>
                  <a:lnTo>
                    <a:pt x="12743" y="24356"/>
                  </a:lnTo>
                  <a:lnTo>
                    <a:pt x="12722" y="24293"/>
                  </a:lnTo>
                  <a:lnTo>
                    <a:pt x="12722" y="24272"/>
                  </a:lnTo>
                  <a:lnTo>
                    <a:pt x="12764" y="24293"/>
                  </a:lnTo>
                  <a:lnTo>
                    <a:pt x="12827" y="24314"/>
                  </a:lnTo>
                  <a:lnTo>
                    <a:pt x="12869" y="24314"/>
                  </a:lnTo>
                  <a:lnTo>
                    <a:pt x="12911" y="24251"/>
                  </a:lnTo>
                  <a:lnTo>
                    <a:pt x="12869" y="24188"/>
                  </a:lnTo>
                  <a:lnTo>
                    <a:pt x="12827" y="24147"/>
                  </a:lnTo>
                  <a:lnTo>
                    <a:pt x="12869" y="24168"/>
                  </a:lnTo>
                  <a:lnTo>
                    <a:pt x="12931" y="24209"/>
                  </a:lnTo>
                  <a:lnTo>
                    <a:pt x="12931" y="24168"/>
                  </a:lnTo>
                  <a:lnTo>
                    <a:pt x="12952" y="24084"/>
                  </a:lnTo>
                  <a:lnTo>
                    <a:pt x="13036" y="24084"/>
                  </a:lnTo>
                  <a:lnTo>
                    <a:pt x="13120" y="24042"/>
                  </a:lnTo>
                  <a:lnTo>
                    <a:pt x="13120" y="23958"/>
                  </a:lnTo>
                  <a:lnTo>
                    <a:pt x="13120" y="23937"/>
                  </a:lnTo>
                  <a:lnTo>
                    <a:pt x="13141" y="23875"/>
                  </a:lnTo>
                  <a:lnTo>
                    <a:pt x="13224" y="23875"/>
                  </a:lnTo>
                  <a:lnTo>
                    <a:pt x="13266" y="23854"/>
                  </a:lnTo>
                  <a:lnTo>
                    <a:pt x="13350" y="23749"/>
                  </a:lnTo>
                  <a:lnTo>
                    <a:pt x="13434" y="23707"/>
                  </a:lnTo>
                  <a:lnTo>
                    <a:pt x="13476" y="23707"/>
                  </a:lnTo>
                  <a:lnTo>
                    <a:pt x="13496" y="23728"/>
                  </a:lnTo>
                  <a:lnTo>
                    <a:pt x="13580" y="23707"/>
                  </a:lnTo>
                  <a:lnTo>
                    <a:pt x="13643" y="23624"/>
                  </a:lnTo>
                  <a:lnTo>
                    <a:pt x="13664" y="23477"/>
                  </a:lnTo>
                  <a:lnTo>
                    <a:pt x="13643" y="23352"/>
                  </a:lnTo>
                  <a:lnTo>
                    <a:pt x="13580" y="23352"/>
                  </a:lnTo>
                  <a:lnTo>
                    <a:pt x="13559" y="23331"/>
                  </a:lnTo>
                  <a:lnTo>
                    <a:pt x="13580" y="23247"/>
                  </a:lnTo>
                  <a:lnTo>
                    <a:pt x="13580" y="23142"/>
                  </a:lnTo>
                  <a:lnTo>
                    <a:pt x="13559" y="23059"/>
                  </a:lnTo>
                  <a:lnTo>
                    <a:pt x="13496" y="23017"/>
                  </a:lnTo>
                  <a:lnTo>
                    <a:pt x="13476" y="22912"/>
                  </a:lnTo>
                  <a:lnTo>
                    <a:pt x="13455" y="22870"/>
                  </a:lnTo>
                  <a:lnTo>
                    <a:pt x="13455" y="22787"/>
                  </a:lnTo>
                  <a:lnTo>
                    <a:pt x="13496" y="22787"/>
                  </a:lnTo>
                  <a:lnTo>
                    <a:pt x="13559" y="22808"/>
                  </a:lnTo>
                  <a:lnTo>
                    <a:pt x="13580" y="22912"/>
                  </a:lnTo>
                  <a:lnTo>
                    <a:pt x="13643" y="22996"/>
                  </a:lnTo>
                  <a:lnTo>
                    <a:pt x="13643" y="23080"/>
                  </a:lnTo>
                  <a:lnTo>
                    <a:pt x="13685" y="23184"/>
                  </a:lnTo>
                  <a:lnTo>
                    <a:pt x="13748" y="23205"/>
                  </a:lnTo>
                  <a:lnTo>
                    <a:pt x="13789" y="23247"/>
                  </a:lnTo>
                  <a:lnTo>
                    <a:pt x="13768" y="23331"/>
                  </a:lnTo>
                  <a:lnTo>
                    <a:pt x="13789" y="23414"/>
                  </a:lnTo>
                  <a:lnTo>
                    <a:pt x="13873" y="23456"/>
                  </a:lnTo>
                  <a:lnTo>
                    <a:pt x="13915" y="23456"/>
                  </a:lnTo>
                  <a:lnTo>
                    <a:pt x="13915" y="23414"/>
                  </a:lnTo>
                  <a:lnTo>
                    <a:pt x="13957" y="23352"/>
                  </a:lnTo>
                  <a:lnTo>
                    <a:pt x="13999" y="23352"/>
                  </a:lnTo>
                  <a:lnTo>
                    <a:pt x="14061" y="23435"/>
                  </a:lnTo>
                  <a:lnTo>
                    <a:pt x="14229" y="23435"/>
                  </a:lnTo>
                  <a:lnTo>
                    <a:pt x="14292" y="23393"/>
                  </a:lnTo>
                  <a:lnTo>
                    <a:pt x="14312" y="23414"/>
                  </a:lnTo>
                  <a:lnTo>
                    <a:pt x="14375" y="23414"/>
                  </a:lnTo>
                  <a:lnTo>
                    <a:pt x="14438" y="23352"/>
                  </a:lnTo>
                  <a:lnTo>
                    <a:pt x="14480" y="23289"/>
                  </a:lnTo>
                  <a:lnTo>
                    <a:pt x="14522" y="23289"/>
                  </a:lnTo>
                  <a:lnTo>
                    <a:pt x="14522" y="23226"/>
                  </a:lnTo>
                  <a:lnTo>
                    <a:pt x="14584" y="23205"/>
                  </a:lnTo>
                  <a:lnTo>
                    <a:pt x="14626" y="23226"/>
                  </a:lnTo>
                  <a:lnTo>
                    <a:pt x="14731" y="23352"/>
                  </a:lnTo>
                  <a:lnTo>
                    <a:pt x="14752" y="23414"/>
                  </a:lnTo>
                  <a:lnTo>
                    <a:pt x="14815" y="23414"/>
                  </a:lnTo>
                  <a:lnTo>
                    <a:pt x="14856" y="23352"/>
                  </a:lnTo>
                  <a:lnTo>
                    <a:pt x="14919" y="23331"/>
                  </a:lnTo>
                  <a:lnTo>
                    <a:pt x="14919" y="23226"/>
                  </a:lnTo>
                  <a:lnTo>
                    <a:pt x="14940" y="23226"/>
                  </a:lnTo>
                  <a:lnTo>
                    <a:pt x="14961" y="23247"/>
                  </a:lnTo>
                  <a:lnTo>
                    <a:pt x="15024" y="23247"/>
                  </a:lnTo>
                  <a:lnTo>
                    <a:pt x="15024" y="23205"/>
                  </a:lnTo>
                  <a:lnTo>
                    <a:pt x="15066" y="23205"/>
                  </a:lnTo>
                  <a:lnTo>
                    <a:pt x="15108" y="23226"/>
                  </a:lnTo>
                  <a:lnTo>
                    <a:pt x="15170" y="23226"/>
                  </a:lnTo>
                  <a:lnTo>
                    <a:pt x="15212" y="23184"/>
                  </a:lnTo>
                  <a:lnTo>
                    <a:pt x="15212" y="23121"/>
                  </a:lnTo>
                  <a:lnTo>
                    <a:pt x="15254" y="23100"/>
                  </a:lnTo>
                  <a:lnTo>
                    <a:pt x="15338" y="23100"/>
                  </a:lnTo>
                  <a:lnTo>
                    <a:pt x="15359" y="23080"/>
                  </a:lnTo>
                  <a:lnTo>
                    <a:pt x="15359" y="23017"/>
                  </a:lnTo>
                  <a:lnTo>
                    <a:pt x="15380" y="23017"/>
                  </a:lnTo>
                  <a:lnTo>
                    <a:pt x="15380" y="23080"/>
                  </a:lnTo>
                  <a:lnTo>
                    <a:pt x="15442" y="23100"/>
                  </a:lnTo>
                  <a:lnTo>
                    <a:pt x="15484" y="23038"/>
                  </a:lnTo>
                  <a:lnTo>
                    <a:pt x="15526" y="22975"/>
                  </a:lnTo>
                  <a:lnTo>
                    <a:pt x="15547" y="22975"/>
                  </a:lnTo>
                  <a:lnTo>
                    <a:pt x="15589" y="23038"/>
                  </a:lnTo>
                  <a:lnTo>
                    <a:pt x="15652" y="23080"/>
                  </a:lnTo>
                  <a:lnTo>
                    <a:pt x="15693" y="22975"/>
                  </a:lnTo>
                  <a:lnTo>
                    <a:pt x="15735" y="22975"/>
                  </a:lnTo>
                  <a:lnTo>
                    <a:pt x="15756" y="23017"/>
                  </a:lnTo>
                  <a:lnTo>
                    <a:pt x="15798" y="23038"/>
                  </a:lnTo>
                  <a:lnTo>
                    <a:pt x="15861" y="23038"/>
                  </a:lnTo>
                  <a:lnTo>
                    <a:pt x="15882" y="22975"/>
                  </a:lnTo>
                  <a:lnTo>
                    <a:pt x="15944" y="22933"/>
                  </a:lnTo>
                  <a:lnTo>
                    <a:pt x="16007" y="22933"/>
                  </a:lnTo>
                  <a:lnTo>
                    <a:pt x="16112" y="22891"/>
                  </a:lnTo>
                  <a:lnTo>
                    <a:pt x="16175" y="22891"/>
                  </a:lnTo>
                  <a:lnTo>
                    <a:pt x="16196" y="22933"/>
                  </a:lnTo>
                  <a:lnTo>
                    <a:pt x="16258" y="22933"/>
                  </a:lnTo>
                  <a:lnTo>
                    <a:pt x="16279" y="22870"/>
                  </a:lnTo>
                  <a:lnTo>
                    <a:pt x="16321" y="22808"/>
                  </a:lnTo>
                  <a:lnTo>
                    <a:pt x="16426" y="22808"/>
                  </a:lnTo>
                  <a:lnTo>
                    <a:pt x="16468" y="22766"/>
                  </a:lnTo>
                  <a:lnTo>
                    <a:pt x="16572" y="22724"/>
                  </a:lnTo>
                  <a:lnTo>
                    <a:pt x="16614" y="22703"/>
                  </a:lnTo>
                  <a:lnTo>
                    <a:pt x="16614" y="22661"/>
                  </a:lnTo>
                  <a:lnTo>
                    <a:pt x="16572" y="22577"/>
                  </a:lnTo>
                  <a:lnTo>
                    <a:pt x="16572" y="22515"/>
                  </a:lnTo>
                  <a:lnTo>
                    <a:pt x="16719" y="22577"/>
                  </a:lnTo>
                  <a:lnTo>
                    <a:pt x="16802" y="22619"/>
                  </a:lnTo>
                  <a:lnTo>
                    <a:pt x="16823" y="22682"/>
                  </a:lnTo>
                  <a:lnTo>
                    <a:pt x="16886" y="22703"/>
                  </a:lnTo>
                  <a:lnTo>
                    <a:pt x="16991" y="22619"/>
                  </a:lnTo>
                  <a:lnTo>
                    <a:pt x="16991" y="22536"/>
                  </a:lnTo>
                  <a:lnTo>
                    <a:pt x="16928" y="22515"/>
                  </a:lnTo>
                  <a:lnTo>
                    <a:pt x="16928" y="22473"/>
                  </a:lnTo>
                  <a:lnTo>
                    <a:pt x="17012" y="22431"/>
                  </a:lnTo>
                  <a:lnTo>
                    <a:pt x="17033" y="22494"/>
                  </a:lnTo>
                  <a:lnTo>
                    <a:pt x="17116" y="22515"/>
                  </a:lnTo>
                  <a:lnTo>
                    <a:pt x="17158" y="22410"/>
                  </a:lnTo>
                  <a:lnTo>
                    <a:pt x="17137" y="22326"/>
                  </a:lnTo>
                  <a:lnTo>
                    <a:pt x="17137" y="22264"/>
                  </a:lnTo>
                  <a:lnTo>
                    <a:pt x="17200" y="22264"/>
                  </a:lnTo>
                  <a:lnTo>
                    <a:pt x="17221" y="22305"/>
                  </a:lnTo>
                  <a:lnTo>
                    <a:pt x="17305" y="22326"/>
                  </a:lnTo>
                  <a:lnTo>
                    <a:pt x="17346" y="22284"/>
                  </a:lnTo>
                  <a:lnTo>
                    <a:pt x="17409" y="22264"/>
                  </a:lnTo>
                  <a:lnTo>
                    <a:pt x="17451" y="22264"/>
                  </a:lnTo>
                  <a:lnTo>
                    <a:pt x="17451" y="22180"/>
                  </a:lnTo>
                  <a:lnTo>
                    <a:pt x="17430" y="22117"/>
                  </a:lnTo>
                  <a:lnTo>
                    <a:pt x="17451" y="22096"/>
                  </a:lnTo>
                  <a:lnTo>
                    <a:pt x="17514" y="22117"/>
                  </a:lnTo>
                  <a:lnTo>
                    <a:pt x="17556" y="22180"/>
                  </a:lnTo>
                  <a:lnTo>
                    <a:pt x="17639" y="22159"/>
                  </a:lnTo>
                  <a:lnTo>
                    <a:pt x="17681" y="22096"/>
                  </a:lnTo>
                  <a:lnTo>
                    <a:pt x="17681" y="22012"/>
                  </a:lnTo>
                  <a:lnTo>
                    <a:pt x="17660" y="21992"/>
                  </a:lnTo>
                  <a:lnTo>
                    <a:pt x="17660" y="21950"/>
                  </a:lnTo>
                  <a:lnTo>
                    <a:pt x="17681" y="21908"/>
                  </a:lnTo>
                  <a:lnTo>
                    <a:pt x="17786" y="21908"/>
                  </a:lnTo>
                  <a:lnTo>
                    <a:pt x="17849" y="21950"/>
                  </a:lnTo>
                  <a:lnTo>
                    <a:pt x="17869" y="21887"/>
                  </a:lnTo>
                  <a:lnTo>
                    <a:pt x="17890" y="21845"/>
                  </a:lnTo>
                  <a:lnTo>
                    <a:pt x="17953" y="21866"/>
                  </a:lnTo>
                  <a:lnTo>
                    <a:pt x="17995" y="21908"/>
                  </a:lnTo>
                  <a:lnTo>
                    <a:pt x="18058" y="21950"/>
                  </a:lnTo>
                  <a:lnTo>
                    <a:pt x="18079" y="21908"/>
                  </a:lnTo>
                  <a:lnTo>
                    <a:pt x="18079" y="21866"/>
                  </a:lnTo>
                  <a:lnTo>
                    <a:pt x="18037" y="21803"/>
                  </a:lnTo>
                  <a:lnTo>
                    <a:pt x="18037" y="21761"/>
                  </a:lnTo>
                  <a:lnTo>
                    <a:pt x="18100" y="21699"/>
                  </a:lnTo>
                  <a:lnTo>
                    <a:pt x="18162" y="21740"/>
                  </a:lnTo>
                  <a:lnTo>
                    <a:pt x="18288" y="21699"/>
                  </a:lnTo>
                  <a:lnTo>
                    <a:pt x="18393" y="21636"/>
                  </a:lnTo>
                  <a:lnTo>
                    <a:pt x="18455" y="21531"/>
                  </a:lnTo>
                  <a:lnTo>
                    <a:pt x="18455" y="21489"/>
                  </a:lnTo>
                  <a:lnTo>
                    <a:pt x="18309" y="21552"/>
                  </a:lnTo>
                  <a:lnTo>
                    <a:pt x="18183" y="21552"/>
                  </a:lnTo>
                  <a:lnTo>
                    <a:pt x="18141" y="21531"/>
                  </a:lnTo>
                  <a:lnTo>
                    <a:pt x="17890" y="21531"/>
                  </a:lnTo>
                  <a:lnTo>
                    <a:pt x="17765" y="21489"/>
                  </a:lnTo>
                  <a:lnTo>
                    <a:pt x="17639" y="21447"/>
                  </a:lnTo>
                  <a:lnTo>
                    <a:pt x="17472" y="21427"/>
                  </a:lnTo>
                  <a:lnTo>
                    <a:pt x="17325" y="21280"/>
                  </a:lnTo>
                  <a:lnTo>
                    <a:pt x="17263" y="21238"/>
                  </a:lnTo>
                  <a:lnTo>
                    <a:pt x="17221" y="21238"/>
                  </a:lnTo>
                  <a:lnTo>
                    <a:pt x="17095" y="21301"/>
                  </a:lnTo>
                  <a:lnTo>
                    <a:pt x="17053" y="21259"/>
                  </a:lnTo>
                  <a:lnTo>
                    <a:pt x="17095" y="21217"/>
                  </a:lnTo>
                  <a:lnTo>
                    <a:pt x="17095" y="21175"/>
                  </a:lnTo>
                  <a:lnTo>
                    <a:pt x="17033" y="21238"/>
                  </a:lnTo>
                  <a:lnTo>
                    <a:pt x="16886" y="21343"/>
                  </a:lnTo>
                  <a:lnTo>
                    <a:pt x="16802" y="21385"/>
                  </a:lnTo>
                  <a:lnTo>
                    <a:pt x="16635" y="21385"/>
                  </a:lnTo>
                  <a:lnTo>
                    <a:pt x="16593" y="21427"/>
                  </a:lnTo>
                  <a:lnTo>
                    <a:pt x="16530" y="21385"/>
                  </a:lnTo>
                  <a:lnTo>
                    <a:pt x="16489" y="21364"/>
                  </a:lnTo>
                  <a:cubicBezTo>
                    <a:pt x="16489" y="21364"/>
                    <a:pt x="16426" y="21385"/>
                    <a:pt x="16405" y="21385"/>
                  </a:cubicBezTo>
                  <a:lnTo>
                    <a:pt x="16321" y="21385"/>
                  </a:lnTo>
                  <a:lnTo>
                    <a:pt x="16196" y="21531"/>
                  </a:lnTo>
                  <a:lnTo>
                    <a:pt x="16154" y="21594"/>
                  </a:lnTo>
                  <a:lnTo>
                    <a:pt x="16091" y="21531"/>
                  </a:lnTo>
                  <a:lnTo>
                    <a:pt x="16049" y="21489"/>
                  </a:lnTo>
                  <a:lnTo>
                    <a:pt x="15861" y="21489"/>
                  </a:lnTo>
                  <a:lnTo>
                    <a:pt x="15777" y="21468"/>
                  </a:lnTo>
                  <a:lnTo>
                    <a:pt x="15735" y="21489"/>
                  </a:lnTo>
                  <a:lnTo>
                    <a:pt x="15672" y="21447"/>
                  </a:lnTo>
                  <a:lnTo>
                    <a:pt x="15735" y="21364"/>
                  </a:lnTo>
                  <a:lnTo>
                    <a:pt x="15840" y="21364"/>
                  </a:lnTo>
                  <a:lnTo>
                    <a:pt x="15882" y="21427"/>
                  </a:lnTo>
                  <a:lnTo>
                    <a:pt x="15965" y="21447"/>
                  </a:lnTo>
                  <a:lnTo>
                    <a:pt x="16049" y="21385"/>
                  </a:lnTo>
                  <a:lnTo>
                    <a:pt x="16175" y="21364"/>
                  </a:lnTo>
                  <a:lnTo>
                    <a:pt x="16258" y="21280"/>
                  </a:lnTo>
                  <a:lnTo>
                    <a:pt x="16321" y="21280"/>
                  </a:lnTo>
                  <a:lnTo>
                    <a:pt x="16426" y="21322"/>
                  </a:lnTo>
                  <a:lnTo>
                    <a:pt x="16530" y="21280"/>
                  </a:lnTo>
                  <a:lnTo>
                    <a:pt x="16572" y="21238"/>
                  </a:lnTo>
                  <a:lnTo>
                    <a:pt x="16530" y="21175"/>
                  </a:lnTo>
                  <a:lnTo>
                    <a:pt x="16489" y="21175"/>
                  </a:lnTo>
                  <a:lnTo>
                    <a:pt x="16468" y="21134"/>
                  </a:lnTo>
                  <a:lnTo>
                    <a:pt x="16405" y="21134"/>
                  </a:lnTo>
                  <a:lnTo>
                    <a:pt x="16300" y="21155"/>
                  </a:lnTo>
                  <a:lnTo>
                    <a:pt x="16216" y="21134"/>
                  </a:lnTo>
                  <a:lnTo>
                    <a:pt x="16049" y="21134"/>
                  </a:lnTo>
                  <a:lnTo>
                    <a:pt x="15944" y="21155"/>
                  </a:lnTo>
                  <a:lnTo>
                    <a:pt x="15840" y="21155"/>
                  </a:lnTo>
                  <a:lnTo>
                    <a:pt x="15693" y="21134"/>
                  </a:lnTo>
                  <a:lnTo>
                    <a:pt x="15672" y="21071"/>
                  </a:lnTo>
                  <a:lnTo>
                    <a:pt x="15631" y="21050"/>
                  </a:lnTo>
                  <a:lnTo>
                    <a:pt x="15526" y="21071"/>
                  </a:lnTo>
                  <a:lnTo>
                    <a:pt x="15380" y="21071"/>
                  </a:lnTo>
                  <a:lnTo>
                    <a:pt x="15212" y="21175"/>
                  </a:lnTo>
                  <a:lnTo>
                    <a:pt x="15170" y="21155"/>
                  </a:lnTo>
                  <a:lnTo>
                    <a:pt x="15212" y="21071"/>
                  </a:lnTo>
                  <a:lnTo>
                    <a:pt x="15275" y="21008"/>
                  </a:lnTo>
                  <a:lnTo>
                    <a:pt x="15463" y="21008"/>
                  </a:lnTo>
                  <a:lnTo>
                    <a:pt x="15672" y="20903"/>
                  </a:lnTo>
                  <a:lnTo>
                    <a:pt x="15756" y="20841"/>
                  </a:lnTo>
                  <a:lnTo>
                    <a:pt x="15756" y="20757"/>
                  </a:lnTo>
                  <a:lnTo>
                    <a:pt x="15777" y="20715"/>
                  </a:lnTo>
                  <a:lnTo>
                    <a:pt x="15861" y="20715"/>
                  </a:lnTo>
                  <a:lnTo>
                    <a:pt x="15903" y="20694"/>
                  </a:lnTo>
                  <a:lnTo>
                    <a:pt x="15965" y="20611"/>
                  </a:lnTo>
                  <a:lnTo>
                    <a:pt x="15944" y="20548"/>
                  </a:lnTo>
                  <a:lnTo>
                    <a:pt x="15882" y="20506"/>
                  </a:lnTo>
                  <a:lnTo>
                    <a:pt x="15798" y="20485"/>
                  </a:lnTo>
                  <a:lnTo>
                    <a:pt x="15777" y="20443"/>
                  </a:lnTo>
                  <a:lnTo>
                    <a:pt x="15861" y="20401"/>
                  </a:lnTo>
                  <a:lnTo>
                    <a:pt x="15903" y="20401"/>
                  </a:lnTo>
                  <a:lnTo>
                    <a:pt x="15903" y="20422"/>
                  </a:lnTo>
                  <a:lnTo>
                    <a:pt x="15986" y="20443"/>
                  </a:lnTo>
                  <a:lnTo>
                    <a:pt x="16007" y="20422"/>
                  </a:lnTo>
                  <a:lnTo>
                    <a:pt x="15986" y="20380"/>
                  </a:lnTo>
                  <a:lnTo>
                    <a:pt x="15965" y="20339"/>
                  </a:lnTo>
                  <a:lnTo>
                    <a:pt x="15965" y="20234"/>
                  </a:lnTo>
                  <a:lnTo>
                    <a:pt x="16007" y="20276"/>
                  </a:lnTo>
                  <a:lnTo>
                    <a:pt x="16049" y="20318"/>
                  </a:lnTo>
                  <a:lnTo>
                    <a:pt x="16049" y="20401"/>
                  </a:lnTo>
                  <a:lnTo>
                    <a:pt x="16091" y="20506"/>
                  </a:lnTo>
                  <a:lnTo>
                    <a:pt x="16175" y="20548"/>
                  </a:lnTo>
                  <a:lnTo>
                    <a:pt x="16279" y="20527"/>
                  </a:lnTo>
                  <a:lnTo>
                    <a:pt x="16405" y="20527"/>
                  </a:lnTo>
                  <a:lnTo>
                    <a:pt x="16698" y="20401"/>
                  </a:lnTo>
                  <a:lnTo>
                    <a:pt x="16781" y="20401"/>
                  </a:lnTo>
                  <a:lnTo>
                    <a:pt x="16844" y="20380"/>
                  </a:lnTo>
                  <a:lnTo>
                    <a:pt x="16907" y="20297"/>
                  </a:lnTo>
                  <a:lnTo>
                    <a:pt x="16991" y="20276"/>
                  </a:lnTo>
                  <a:lnTo>
                    <a:pt x="17033" y="20171"/>
                  </a:lnTo>
                  <a:lnTo>
                    <a:pt x="16991" y="20067"/>
                  </a:lnTo>
                  <a:lnTo>
                    <a:pt x="16949" y="19983"/>
                  </a:lnTo>
                  <a:lnTo>
                    <a:pt x="16907" y="19983"/>
                  </a:lnTo>
                  <a:lnTo>
                    <a:pt x="16802" y="19920"/>
                  </a:lnTo>
                  <a:lnTo>
                    <a:pt x="16530" y="19857"/>
                  </a:lnTo>
                  <a:lnTo>
                    <a:pt x="16489" y="19857"/>
                  </a:lnTo>
                  <a:lnTo>
                    <a:pt x="16384" y="19899"/>
                  </a:lnTo>
                  <a:lnTo>
                    <a:pt x="16321" y="19857"/>
                  </a:lnTo>
                  <a:lnTo>
                    <a:pt x="16321" y="19732"/>
                  </a:lnTo>
                  <a:lnTo>
                    <a:pt x="16300" y="19690"/>
                  </a:lnTo>
                  <a:lnTo>
                    <a:pt x="16196" y="19753"/>
                  </a:lnTo>
                  <a:lnTo>
                    <a:pt x="16112" y="19753"/>
                  </a:lnTo>
                  <a:lnTo>
                    <a:pt x="16007" y="19815"/>
                  </a:lnTo>
                  <a:lnTo>
                    <a:pt x="15944" y="19815"/>
                  </a:lnTo>
                  <a:lnTo>
                    <a:pt x="15861" y="19774"/>
                  </a:lnTo>
                  <a:lnTo>
                    <a:pt x="15861" y="19690"/>
                  </a:lnTo>
                  <a:lnTo>
                    <a:pt x="15944" y="19753"/>
                  </a:lnTo>
                  <a:lnTo>
                    <a:pt x="16007" y="19690"/>
                  </a:lnTo>
                  <a:lnTo>
                    <a:pt x="16070" y="19648"/>
                  </a:lnTo>
                  <a:lnTo>
                    <a:pt x="16196" y="19648"/>
                  </a:lnTo>
                  <a:lnTo>
                    <a:pt x="16216" y="19585"/>
                  </a:lnTo>
                  <a:lnTo>
                    <a:pt x="16175" y="19523"/>
                  </a:lnTo>
                  <a:lnTo>
                    <a:pt x="16091" y="19418"/>
                  </a:lnTo>
                  <a:lnTo>
                    <a:pt x="16049" y="19376"/>
                  </a:lnTo>
                  <a:lnTo>
                    <a:pt x="15944" y="19376"/>
                  </a:lnTo>
                  <a:lnTo>
                    <a:pt x="15965" y="19355"/>
                  </a:lnTo>
                  <a:lnTo>
                    <a:pt x="16070" y="19292"/>
                  </a:lnTo>
                  <a:lnTo>
                    <a:pt x="16070" y="19251"/>
                  </a:lnTo>
                  <a:lnTo>
                    <a:pt x="16070" y="19146"/>
                  </a:lnTo>
                  <a:lnTo>
                    <a:pt x="16091" y="19104"/>
                  </a:lnTo>
                  <a:lnTo>
                    <a:pt x="16154" y="19167"/>
                  </a:lnTo>
                  <a:lnTo>
                    <a:pt x="16175" y="19313"/>
                  </a:lnTo>
                  <a:lnTo>
                    <a:pt x="16216" y="19355"/>
                  </a:lnTo>
                  <a:lnTo>
                    <a:pt x="16216" y="19418"/>
                  </a:lnTo>
                  <a:lnTo>
                    <a:pt x="16363" y="19543"/>
                  </a:lnTo>
                  <a:lnTo>
                    <a:pt x="16363" y="19585"/>
                  </a:lnTo>
                  <a:lnTo>
                    <a:pt x="16426" y="19669"/>
                  </a:lnTo>
                  <a:lnTo>
                    <a:pt x="16489" y="19690"/>
                  </a:lnTo>
                  <a:lnTo>
                    <a:pt x="16572" y="19669"/>
                  </a:lnTo>
                  <a:lnTo>
                    <a:pt x="16614" y="19648"/>
                  </a:lnTo>
                  <a:lnTo>
                    <a:pt x="16698" y="19690"/>
                  </a:lnTo>
                  <a:lnTo>
                    <a:pt x="16802" y="19669"/>
                  </a:lnTo>
                  <a:lnTo>
                    <a:pt x="16886" y="19648"/>
                  </a:lnTo>
                  <a:lnTo>
                    <a:pt x="16928" y="19690"/>
                  </a:lnTo>
                  <a:lnTo>
                    <a:pt x="16928" y="19774"/>
                  </a:lnTo>
                  <a:lnTo>
                    <a:pt x="17116" y="20004"/>
                  </a:lnTo>
                  <a:lnTo>
                    <a:pt x="17200" y="20067"/>
                  </a:lnTo>
                  <a:lnTo>
                    <a:pt x="17221" y="20004"/>
                  </a:lnTo>
                  <a:lnTo>
                    <a:pt x="17325" y="19983"/>
                  </a:lnTo>
                  <a:lnTo>
                    <a:pt x="17346" y="19983"/>
                  </a:lnTo>
                  <a:lnTo>
                    <a:pt x="17367" y="20025"/>
                  </a:lnTo>
                  <a:lnTo>
                    <a:pt x="17346" y="20108"/>
                  </a:lnTo>
                  <a:lnTo>
                    <a:pt x="17325" y="20213"/>
                  </a:lnTo>
                  <a:lnTo>
                    <a:pt x="17346" y="20339"/>
                  </a:lnTo>
                  <a:lnTo>
                    <a:pt x="17409" y="20422"/>
                  </a:lnTo>
                  <a:lnTo>
                    <a:pt x="17451" y="20527"/>
                  </a:lnTo>
                  <a:lnTo>
                    <a:pt x="17472" y="20715"/>
                  </a:lnTo>
                  <a:lnTo>
                    <a:pt x="17535" y="20757"/>
                  </a:lnTo>
                  <a:lnTo>
                    <a:pt x="17618" y="20841"/>
                  </a:lnTo>
                  <a:lnTo>
                    <a:pt x="17681" y="21029"/>
                  </a:lnTo>
                  <a:lnTo>
                    <a:pt x="17828" y="21134"/>
                  </a:lnTo>
                  <a:lnTo>
                    <a:pt x="17869" y="21175"/>
                  </a:lnTo>
                  <a:lnTo>
                    <a:pt x="17953" y="21155"/>
                  </a:lnTo>
                  <a:lnTo>
                    <a:pt x="18037" y="21134"/>
                  </a:lnTo>
                  <a:lnTo>
                    <a:pt x="18100" y="21134"/>
                  </a:lnTo>
                  <a:lnTo>
                    <a:pt x="18141" y="21113"/>
                  </a:lnTo>
                  <a:lnTo>
                    <a:pt x="18141" y="21029"/>
                  </a:lnTo>
                  <a:lnTo>
                    <a:pt x="18141" y="20903"/>
                  </a:lnTo>
                  <a:lnTo>
                    <a:pt x="18141" y="20757"/>
                  </a:lnTo>
                  <a:lnTo>
                    <a:pt x="18162" y="20652"/>
                  </a:lnTo>
                  <a:lnTo>
                    <a:pt x="18183" y="20611"/>
                  </a:lnTo>
                  <a:lnTo>
                    <a:pt x="18204" y="20611"/>
                  </a:lnTo>
                  <a:lnTo>
                    <a:pt x="18246" y="20652"/>
                  </a:lnTo>
                  <a:lnTo>
                    <a:pt x="18204" y="20736"/>
                  </a:lnTo>
                  <a:lnTo>
                    <a:pt x="18204" y="20820"/>
                  </a:lnTo>
                  <a:lnTo>
                    <a:pt x="18267" y="20924"/>
                  </a:lnTo>
                  <a:lnTo>
                    <a:pt x="18204" y="21008"/>
                  </a:lnTo>
                  <a:lnTo>
                    <a:pt x="18204" y="21071"/>
                  </a:lnTo>
                  <a:lnTo>
                    <a:pt x="18267" y="21113"/>
                  </a:lnTo>
                  <a:lnTo>
                    <a:pt x="18309" y="21071"/>
                  </a:lnTo>
                  <a:lnTo>
                    <a:pt x="18393" y="21050"/>
                  </a:lnTo>
                  <a:lnTo>
                    <a:pt x="18455" y="21071"/>
                  </a:lnTo>
                  <a:lnTo>
                    <a:pt x="18476" y="21134"/>
                  </a:lnTo>
                  <a:lnTo>
                    <a:pt x="18455" y="21175"/>
                  </a:lnTo>
                  <a:lnTo>
                    <a:pt x="18476" y="21217"/>
                  </a:lnTo>
                  <a:lnTo>
                    <a:pt x="18581" y="21217"/>
                  </a:lnTo>
                  <a:lnTo>
                    <a:pt x="18623" y="21155"/>
                  </a:lnTo>
                  <a:lnTo>
                    <a:pt x="18623" y="21071"/>
                  </a:lnTo>
                  <a:lnTo>
                    <a:pt x="18602" y="21008"/>
                  </a:lnTo>
                  <a:lnTo>
                    <a:pt x="18602" y="20820"/>
                  </a:lnTo>
                  <a:lnTo>
                    <a:pt x="18623" y="20736"/>
                  </a:lnTo>
                  <a:lnTo>
                    <a:pt x="18623" y="20631"/>
                  </a:lnTo>
                  <a:lnTo>
                    <a:pt x="18665" y="20590"/>
                  </a:lnTo>
                  <a:lnTo>
                    <a:pt x="18623" y="20527"/>
                  </a:lnTo>
                  <a:lnTo>
                    <a:pt x="18581" y="20527"/>
                  </a:lnTo>
                  <a:lnTo>
                    <a:pt x="18602" y="20485"/>
                  </a:lnTo>
                  <a:lnTo>
                    <a:pt x="18623" y="20422"/>
                  </a:lnTo>
                  <a:lnTo>
                    <a:pt x="18602" y="20401"/>
                  </a:lnTo>
                  <a:lnTo>
                    <a:pt x="18497" y="20443"/>
                  </a:lnTo>
                  <a:lnTo>
                    <a:pt x="18497" y="20401"/>
                  </a:lnTo>
                  <a:lnTo>
                    <a:pt x="18518" y="20339"/>
                  </a:lnTo>
                  <a:lnTo>
                    <a:pt x="18623" y="20318"/>
                  </a:lnTo>
                  <a:lnTo>
                    <a:pt x="18685" y="20276"/>
                  </a:lnTo>
                  <a:lnTo>
                    <a:pt x="18685" y="20171"/>
                  </a:lnTo>
                  <a:lnTo>
                    <a:pt x="18665" y="20108"/>
                  </a:lnTo>
                  <a:lnTo>
                    <a:pt x="18602" y="20129"/>
                  </a:lnTo>
                  <a:lnTo>
                    <a:pt x="18581" y="20087"/>
                  </a:lnTo>
                  <a:lnTo>
                    <a:pt x="18623" y="20004"/>
                  </a:lnTo>
                  <a:lnTo>
                    <a:pt x="18685" y="19899"/>
                  </a:lnTo>
                  <a:lnTo>
                    <a:pt x="18685" y="19857"/>
                  </a:lnTo>
                  <a:lnTo>
                    <a:pt x="18623" y="19857"/>
                  </a:lnTo>
                  <a:lnTo>
                    <a:pt x="18560" y="19899"/>
                  </a:lnTo>
                  <a:lnTo>
                    <a:pt x="18476" y="20025"/>
                  </a:lnTo>
                  <a:lnTo>
                    <a:pt x="18455" y="20171"/>
                  </a:lnTo>
                  <a:lnTo>
                    <a:pt x="18393" y="20192"/>
                  </a:lnTo>
                  <a:lnTo>
                    <a:pt x="18393" y="20129"/>
                  </a:lnTo>
                  <a:lnTo>
                    <a:pt x="18413" y="20004"/>
                  </a:lnTo>
                  <a:lnTo>
                    <a:pt x="18413" y="19962"/>
                  </a:lnTo>
                  <a:lnTo>
                    <a:pt x="18393" y="19899"/>
                  </a:lnTo>
                  <a:lnTo>
                    <a:pt x="18393" y="19857"/>
                  </a:lnTo>
                  <a:lnTo>
                    <a:pt x="18413" y="19774"/>
                  </a:lnTo>
                  <a:lnTo>
                    <a:pt x="18497" y="19690"/>
                  </a:lnTo>
                  <a:lnTo>
                    <a:pt x="18581" y="19648"/>
                  </a:lnTo>
                  <a:lnTo>
                    <a:pt x="18602" y="19564"/>
                  </a:lnTo>
                  <a:lnTo>
                    <a:pt x="18560" y="19502"/>
                  </a:lnTo>
                  <a:lnTo>
                    <a:pt x="18476" y="19502"/>
                  </a:lnTo>
                  <a:lnTo>
                    <a:pt x="18413" y="19564"/>
                  </a:lnTo>
                  <a:lnTo>
                    <a:pt x="18393" y="19606"/>
                  </a:lnTo>
                  <a:lnTo>
                    <a:pt x="18372" y="19648"/>
                  </a:lnTo>
                  <a:lnTo>
                    <a:pt x="18393" y="19543"/>
                  </a:lnTo>
                  <a:lnTo>
                    <a:pt x="18413" y="19481"/>
                  </a:lnTo>
                  <a:lnTo>
                    <a:pt x="18393" y="19460"/>
                  </a:lnTo>
                  <a:lnTo>
                    <a:pt x="18351" y="19481"/>
                  </a:lnTo>
                  <a:lnTo>
                    <a:pt x="18246" y="19564"/>
                  </a:lnTo>
                  <a:lnTo>
                    <a:pt x="18162" y="19648"/>
                  </a:lnTo>
                  <a:lnTo>
                    <a:pt x="18162" y="19606"/>
                  </a:lnTo>
                  <a:lnTo>
                    <a:pt x="18183" y="19543"/>
                  </a:lnTo>
                  <a:lnTo>
                    <a:pt x="18246" y="19460"/>
                  </a:lnTo>
                  <a:lnTo>
                    <a:pt x="18288" y="19397"/>
                  </a:lnTo>
                  <a:lnTo>
                    <a:pt x="18351" y="19292"/>
                  </a:lnTo>
                  <a:lnTo>
                    <a:pt x="18351" y="19271"/>
                  </a:lnTo>
                  <a:lnTo>
                    <a:pt x="18288" y="19230"/>
                  </a:lnTo>
                  <a:lnTo>
                    <a:pt x="18267" y="19167"/>
                  </a:lnTo>
                  <a:lnTo>
                    <a:pt x="18204" y="19167"/>
                  </a:lnTo>
                  <a:lnTo>
                    <a:pt x="18162" y="19125"/>
                  </a:lnTo>
                  <a:lnTo>
                    <a:pt x="18141" y="19041"/>
                  </a:lnTo>
                  <a:lnTo>
                    <a:pt x="18079" y="19020"/>
                  </a:lnTo>
                  <a:lnTo>
                    <a:pt x="17995" y="18937"/>
                  </a:lnTo>
                  <a:lnTo>
                    <a:pt x="17953" y="18937"/>
                  </a:lnTo>
                  <a:lnTo>
                    <a:pt x="17932" y="18916"/>
                  </a:lnTo>
                  <a:lnTo>
                    <a:pt x="17869" y="18916"/>
                  </a:lnTo>
                  <a:lnTo>
                    <a:pt x="17869" y="18853"/>
                  </a:lnTo>
                  <a:lnTo>
                    <a:pt x="17849" y="18811"/>
                  </a:lnTo>
                  <a:lnTo>
                    <a:pt x="17660" y="18665"/>
                  </a:lnTo>
                  <a:lnTo>
                    <a:pt x="17639" y="18623"/>
                  </a:lnTo>
                  <a:lnTo>
                    <a:pt x="17535" y="18560"/>
                  </a:lnTo>
                  <a:lnTo>
                    <a:pt x="17430" y="18560"/>
                  </a:lnTo>
                  <a:lnTo>
                    <a:pt x="17325" y="18602"/>
                  </a:lnTo>
                  <a:lnTo>
                    <a:pt x="17242" y="18707"/>
                  </a:lnTo>
                  <a:lnTo>
                    <a:pt x="17242" y="18644"/>
                  </a:lnTo>
                  <a:lnTo>
                    <a:pt x="17221" y="18560"/>
                  </a:lnTo>
                  <a:lnTo>
                    <a:pt x="17053" y="18518"/>
                  </a:lnTo>
                  <a:lnTo>
                    <a:pt x="16949" y="18518"/>
                  </a:lnTo>
                  <a:lnTo>
                    <a:pt x="16844" y="18539"/>
                  </a:lnTo>
                  <a:lnTo>
                    <a:pt x="16823" y="18518"/>
                  </a:lnTo>
                  <a:lnTo>
                    <a:pt x="16907" y="18434"/>
                  </a:lnTo>
                  <a:lnTo>
                    <a:pt x="16949" y="18476"/>
                  </a:lnTo>
                  <a:lnTo>
                    <a:pt x="17137" y="18476"/>
                  </a:lnTo>
                  <a:lnTo>
                    <a:pt x="17221" y="18497"/>
                  </a:lnTo>
                  <a:lnTo>
                    <a:pt x="17325" y="18497"/>
                  </a:lnTo>
                  <a:lnTo>
                    <a:pt x="17430" y="18476"/>
                  </a:lnTo>
                  <a:lnTo>
                    <a:pt x="17472" y="18393"/>
                  </a:lnTo>
                  <a:lnTo>
                    <a:pt x="17514" y="18204"/>
                  </a:lnTo>
                  <a:lnTo>
                    <a:pt x="17472" y="18121"/>
                  </a:lnTo>
                  <a:lnTo>
                    <a:pt x="17451" y="18100"/>
                  </a:lnTo>
                  <a:lnTo>
                    <a:pt x="17409" y="18100"/>
                  </a:lnTo>
                  <a:lnTo>
                    <a:pt x="17263" y="17995"/>
                  </a:lnTo>
                  <a:lnTo>
                    <a:pt x="17221" y="17974"/>
                  </a:lnTo>
                  <a:lnTo>
                    <a:pt x="17158" y="17974"/>
                  </a:lnTo>
                  <a:lnTo>
                    <a:pt x="17053" y="18058"/>
                  </a:lnTo>
                  <a:lnTo>
                    <a:pt x="17012" y="18058"/>
                  </a:lnTo>
                  <a:lnTo>
                    <a:pt x="16928" y="18079"/>
                  </a:lnTo>
                  <a:lnTo>
                    <a:pt x="16886" y="18162"/>
                  </a:lnTo>
                  <a:lnTo>
                    <a:pt x="16844" y="18162"/>
                  </a:lnTo>
                  <a:lnTo>
                    <a:pt x="16844" y="18079"/>
                  </a:lnTo>
                  <a:lnTo>
                    <a:pt x="16823" y="18016"/>
                  </a:lnTo>
                  <a:lnTo>
                    <a:pt x="16781" y="18016"/>
                  </a:lnTo>
                  <a:lnTo>
                    <a:pt x="16635" y="18058"/>
                  </a:lnTo>
                  <a:lnTo>
                    <a:pt x="16593" y="18079"/>
                  </a:lnTo>
                  <a:lnTo>
                    <a:pt x="16530" y="18079"/>
                  </a:lnTo>
                  <a:lnTo>
                    <a:pt x="16572" y="18058"/>
                  </a:lnTo>
                  <a:lnTo>
                    <a:pt x="16677" y="17995"/>
                  </a:lnTo>
                  <a:lnTo>
                    <a:pt x="16781" y="17974"/>
                  </a:lnTo>
                  <a:lnTo>
                    <a:pt x="16802" y="17911"/>
                  </a:lnTo>
                  <a:lnTo>
                    <a:pt x="16781" y="17870"/>
                  </a:lnTo>
                  <a:lnTo>
                    <a:pt x="16719" y="17849"/>
                  </a:lnTo>
                  <a:lnTo>
                    <a:pt x="16677" y="17870"/>
                  </a:lnTo>
                  <a:lnTo>
                    <a:pt x="16719" y="17807"/>
                  </a:lnTo>
                  <a:lnTo>
                    <a:pt x="16781" y="17807"/>
                  </a:lnTo>
                  <a:lnTo>
                    <a:pt x="16823" y="17849"/>
                  </a:lnTo>
                  <a:lnTo>
                    <a:pt x="16928" y="17953"/>
                  </a:lnTo>
                  <a:lnTo>
                    <a:pt x="17012" y="17974"/>
                  </a:lnTo>
                  <a:lnTo>
                    <a:pt x="17095" y="17953"/>
                  </a:lnTo>
                  <a:lnTo>
                    <a:pt x="17200" y="17870"/>
                  </a:lnTo>
                  <a:lnTo>
                    <a:pt x="17367" y="17870"/>
                  </a:lnTo>
                  <a:lnTo>
                    <a:pt x="17430" y="17786"/>
                  </a:lnTo>
                  <a:lnTo>
                    <a:pt x="17472" y="17765"/>
                  </a:lnTo>
                  <a:lnTo>
                    <a:pt x="17514" y="17702"/>
                  </a:lnTo>
                  <a:lnTo>
                    <a:pt x="17472" y="17639"/>
                  </a:lnTo>
                  <a:lnTo>
                    <a:pt x="17409" y="17577"/>
                  </a:lnTo>
                  <a:lnTo>
                    <a:pt x="17263" y="17556"/>
                  </a:lnTo>
                  <a:lnTo>
                    <a:pt x="17200" y="17493"/>
                  </a:lnTo>
                  <a:lnTo>
                    <a:pt x="17137" y="17451"/>
                  </a:lnTo>
                  <a:lnTo>
                    <a:pt x="17033" y="17451"/>
                  </a:lnTo>
                  <a:lnTo>
                    <a:pt x="16928" y="17430"/>
                  </a:lnTo>
                  <a:lnTo>
                    <a:pt x="16844" y="17451"/>
                  </a:lnTo>
                  <a:lnTo>
                    <a:pt x="16823" y="17493"/>
                  </a:lnTo>
                  <a:lnTo>
                    <a:pt x="16740" y="17556"/>
                  </a:lnTo>
                  <a:lnTo>
                    <a:pt x="16677" y="17535"/>
                  </a:lnTo>
                  <a:lnTo>
                    <a:pt x="16593" y="17493"/>
                  </a:lnTo>
                  <a:lnTo>
                    <a:pt x="16489" y="17493"/>
                  </a:lnTo>
                  <a:lnTo>
                    <a:pt x="16468" y="17556"/>
                  </a:lnTo>
                  <a:lnTo>
                    <a:pt x="16426" y="17598"/>
                  </a:lnTo>
                  <a:lnTo>
                    <a:pt x="16384" y="17577"/>
                  </a:lnTo>
                  <a:lnTo>
                    <a:pt x="16321" y="17535"/>
                  </a:lnTo>
                  <a:lnTo>
                    <a:pt x="16300" y="17535"/>
                  </a:lnTo>
                  <a:lnTo>
                    <a:pt x="16279" y="17472"/>
                  </a:lnTo>
                  <a:lnTo>
                    <a:pt x="16321" y="17430"/>
                  </a:lnTo>
                  <a:lnTo>
                    <a:pt x="16426" y="17388"/>
                  </a:lnTo>
                  <a:lnTo>
                    <a:pt x="16572" y="17430"/>
                  </a:lnTo>
                  <a:lnTo>
                    <a:pt x="16740" y="17430"/>
                  </a:lnTo>
                  <a:lnTo>
                    <a:pt x="16802" y="17367"/>
                  </a:lnTo>
                  <a:lnTo>
                    <a:pt x="16802" y="17326"/>
                  </a:lnTo>
                  <a:lnTo>
                    <a:pt x="16740" y="17221"/>
                  </a:lnTo>
                  <a:lnTo>
                    <a:pt x="16635" y="17137"/>
                  </a:lnTo>
                  <a:lnTo>
                    <a:pt x="16530" y="17074"/>
                  </a:lnTo>
                  <a:lnTo>
                    <a:pt x="16489" y="17012"/>
                  </a:lnTo>
                  <a:lnTo>
                    <a:pt x="16489" y="16907"/>
                  </a:lnTo>
                  <a:lnTo>
                    <a:pt x="16509" y="16865"/>
                  </a:lnTo>
                  <a:lnTo>
                    <a:pt x="16572" y="16907"/>
                  </a:lnTo>
                  <a:lnTo>
                    <a:pt x="16593" y="16949"/>
                  </a:lnTo>
                  <a:lnTo>
                    <a:pt x="16593" y="17012"/>
                  </a:lnTo>
                  <a:lnTo>
                    <a:pt x="16677" y="17054"/>
                  </a:lnTo>
                  <a:lnTo>
                    <a:pt x="16802" y="17158"/>
                  </a:lnTo>
                  <a:lnTo>
                    <a:pt x="16823" y="17221"/>
                  </a:lnTo>
                  <a:lnTo>
                    <a:pt x="16886" y="17242"/>
                  </a:lnTo>
                  <a:lnTo>
                    <a:pt x="16928" y="17242"/>
                  </a:lnTo>
                  <a:lnTo>
                    <a:pt x="17012" y="17326"/>
                  </a:lnTo>
                  <a:lnTo>
                    <a:pt x="17095" y="17326"/>
                  </a:lnTo>
                  <a:lnTo>
                    <a:pt x="17200" y="17284"/>
                  </a:lnTo>
                  <a:lnTo>
                    <a:pt x="17263" y="17242"/>
                  </a:lnTo>
                  <a:lnTo>
                    <a:pt x="17346" y="17221"/>
                  </a:lnTo>
                  <a:lnTo>
                    <a:pt x="17409" y="17158"/>
                  </a:lnTo>
                  <a:lnTo>
                    <a:pt x="17472" y="17116"/>
                  </a:lnTo>
                  <a:lnTo>
                    <a:pt x="17556" y="17074"/>
                  </a:lnTo>
                  <a:lnTo>
                    <a:pt x="17606" y="17074"/>
                  </a:lnTo>
                  <a:lnTo>
                    <a:pt x="17618" y="17116"/>
                  </a:lnTo>
                  <a:lnTo>
                    <a:pt x="17618" y="17074"/>
                  </a:lnTo>
                  <a:lnTo>
                    <a:pt x="17618" y="17033"/>
                  </a:lnTo>
                  <a:lnTo>
                    <a:pt x="17577" y="16970"/>
                  </a:lnTo>
                  <a:lnTo>
                    <a:pt x="17588" y="17010"/>
                  </a:lnTo>
                  <a:lnTo>
                    <a:pt x="17472" y="16844"/>
                  </a:lnTo>
                  <a:lnTo>
                    <a:pt x="17409" y="16802"/>
                  </a:lnTo>
                  <a:lnTo>
                    <a:pt x="17409" y="16740"/>
                  </a:lnTo>
                  <a:lnTo>
                    <a:pt x="17430" y="16719"/>
                  </a:lnTo>
                  <a:lnTo>
                    <a:pt x="17472" y="16719"/>
                  </a:lnTo>
                  <a:lnTo>
                    <a:pt x="17535" y="16761"/>
                  </a:lnTo>
                  <a:lnTo>
                    <a:pt x="17535" y="16823"/>
                  </a:lnTo>
                  <a:lnTo>
                    <a:pt x="17577" y="16865"/>
                  </a:lnTo>
                  <a:lnTo>
                    <a:pt x="17681" y="17074"/>
                  </a:lnTo>
                  <a:lnTo>
                    <a:pt x="17869" y="17284"/>
                  </a:lnTo>
                  <a:lnTo>
                    <a:pt x="17890" y="17326"/>
                  </a:lnTo>
                  <a:lnTo>
                    <a:pt x="17932" y="17263"/>
                  </a:lnTo>
                  <a:lnTo>
                    <a:pt x="17932" y="17179"/>
                  </a:lnTo>
                  <a:lnTo>
                    <a:pt x="17953" y="17012"/>
                  </a:lnTo>
                  <a:lnTo>
                    <a:pt x="17953" y="16907"/>
                  </a:lnTo>
                  <a:lnTo>
                    <a:pt x="17995" y="16844"/>
                  </a:lnTo>
                  <a:lnTo>
                    <a:pt x="18058" y="16844"/>
                  </a:lnTo>
                  <a:lnTo>
                    <a:pt x="18100" y="16865"/>
                  </a:lnTo>
                  <a:lnTo>
                    <a:pt x="18100" y="16949"/>
                  </a:lnTo>
                  <a:lnTo>
                    <a:pt x="18141" y="17012"/>
                  </a:lnTo>
                  <a:lnTo>
                    <a:pt x="18183" y="17012"/>
                  </a:lnTo>
                  <a:lnTo>
                    <a:pt x="18372" y="17074"/>
                  </a:lnTo>
                  <a:lnTo>
                    <a:pt x="18518" y="17179"/>
                  </a:lnTo>
                  <a:lnTo>
                    <a:pt x="18602" y="17221"/>
                  </a:lnTo>
                  <a:lnTo>
                    <a:pt x="18665" y="17179"/>
                  </a:lnTo>
                  <a:lnTo>
                    <a:pt x="18706" y="17179"/>
                  </a:lnTo>
                  <a:lnTo>
                    <a:pt x="18769" y="17221"/>
                  </a:lnTo>
                  <a:lnTo>
                    <a:pt x="18769" y="17263"/>
                  </a:lnTo>
                  <a:lnTo>
                    <a:pt x="18602" y="17284"/>
                  </a:lnTo>
                  <a:lnTo>
                    <a:pt x="18581" y="17326"/>
                  </a:lnTo>
                  <a:lnTo>
                    <a:pt x="18476" y="17221"/>
                  </a:lnTo>
                  <a:lnTo>
                    <a:pt x="18288" y="17116"/>
                  </a:lnTo>
                  <a:lnTo>
                    <a:pt x="18246" y="17074"/>
                  </a:lnTo>
                  <a:lnTo>
                    <a:pt x="18204" y="17054"/>
                  </a:lnTo>
                  <a:lnTo>
                    <a:pt x="18162" y="17054"/>
                  </a:lnTo>
                  <a:lnTo>
                    <a:pt x="18121" y="17074"/>
                  </a:lnTo>
                  <a:lnTo>
                    <a:pt x="18121" y="17137"/>
                  </a:lnTo>
                  <a:lnTo>
                    <a:pt x="18183" y="17221"/>
                  </a:lnTo>
                  <a:lnTo>
                    <a:pt x="18413" y="17430"/>
                  </a:lnTo>
                  <a:lnTo>
                    <a:pt x="18518" y="17535"/>
                  </a:lnTo>
                  <a:lnTo>
                    <a:pt x="18685" y="17598"/>
                  </a:lnTo>
                  <a:lnTo>
                    <a:pt x="18790" y="17681"/>
                  </a:lnTo>
                  <a:lnTo>
                    <a:pt x="18832" y="17702"/>
                  </a:lnTo>
                  <a:lnTo>
                    <a:pt x="18916" y="17681"/>
                  </a:lnTo>
                  <a:lnTo>
                    <a:pt x="18937" y="17639"/>
                  </a:lnTo>
                  <a:lnTo>
                    <a:pt x="18999" y="17556"/>
                  </a:lnTo>
                  <a:lnTo>
                    <a:pt x="19125" y="17556"/>
                  </a:lnTo>
                  <a:lnTo>
                    <a:pt x="19167" y="17493"/>
                  </a:lnTo>
                  <a:lnTo>
                    <a:pt x="19167" y="17430"/>
                  </a:lnTo>
                  <a:lnTo>
                    <a:pt x="19250" y="17367"/>
                  </a:lnTo>
                  <a:lnTo>
                    <a:pt x="19313" y="17367"/>
                  </a:lnTo>
                  <a:lnTo>
                    <a:pt x="19376" y="17388"/>
                  </a:lnTo>
                  <a:lnTo>
                    <a:pt x="19460" y="17430"/>
                  </a:lnTo>
                  <a:lnTo>
                    <a:pt x="19564" y="17388"/>
                  </a:lnTo>
                  <a:lnTo>
                    <a:pt x="19669" y="17388"/>
                  </a:lnTo>
                  <a:lnTo>
                    <a:pt x="19690" y="17346"/>
                  </a:lnTo>
                  <a:lnTo>
                    <a:pt x="19732" y="17221"/>
                  </a:lnTo>
                  <a:lnTo>
                    <a:pt x="19732" y="17116"/>
                  </a:lnTo>
                  <a:lnTo>
                    <a:pt x="19774" y="17033"/>
                  </a:lnTo>
                  <a:lnTo>
                    <a:pt x="19857" y="16907"/>
                  </a:lnTo>
                  <a:lnTo>
                    <a:pt x="19857" y="16823"/>
                  </a:lnTo>
                  <a:lnTo>
                    <a:pt x="19836" y="16761"/>
                  </a:lnTo>
                  <a:lnTo>
                    <a:pt x="19753" y="16740"/>
                  </a:lnTo>
                  <a:lnTo>
                    <a:pt x="19648" y="16761"/>
                  </a:lnTo>
                  <a:lnTo>
                    <a:pt x="19627" y="16802"/>
                  </a:lnTo>
                  <a:lnTo>
                    <a:pt x="19585" y="16761"/>
                  </a:lnTo>
                  <a:lnTo>
                    <a:pt x="19543" y="16761"/>
                  </a:lnTo>
                  <a:lnTo>
                    <a:pt x="19522" y="16802"/>
                  </a:lnTo>
                  <a:lnTo>
                    <a:pt x="19439" y="16740"/>
                  </a:lnTo>
                  <a:lnTo>
                    <a:pt x="19376" y="16656"/>
                  </a:lnTo>
                  <a:lnTo>
                    <a:pt x="19334" y="16614"/>
                  </a:lnTo>
                  <a:lnTo>
                    <a:pt x="19313" y="16530"/>
                  </a:lnTo>
                  <a:lnTo>
                    <a:pt x="19271" y="16530"/>
                  </a:lnTo>
                  <a:lnTo>
                    <a:pt x="19250" y="16614"/>
                  </a:lnTo>
                  <a:lnTo>
                    <a:pt x="19250" y="16719"/>
                  </a:lnTo>
                  <a:lnTo>
                    <a:pt x="19313" y="16740"/>
                  </a:lnTo>
                  <a:lnTo>
                    <a:pt x="19313" y="16823"/>
                  </a:lnTo>
                  <a:lnTo>
                    <a:pt x="19250" y="16907"/>
                  </a:lnTo>
                  <a:lnTo>
                    <a:pt x="19229" y="17012"/>
                  </a:lnTo>
                  <a:lnTo>
                    <a:pt x="19209" y="16949"/>
                  </a:lnTo>
                  <a:lnTo>
                    <a:pt x="19229" y="16823"/>
                  </a:lnTo>
                  <a:lnTo>
                    <a:pt x="19209" y="16719"/>
                  </a:lnTo>
                  <a:lnTo>
                    <a:pt x="19146" y="16698"/>
                  </a:lnTo>
                  <a:lnTo>
                    <a:pt x="19125" y="16551"/>
                  </a:lnTo>
                  <a:lnTo>
                    <a:pt x="19062" y="16530"/>
                  </a:lnTo>
                  <a:lnTo>
                    <a:pt x="19041" y="16489"/>
                  </a:lnTo>
                  <a:lnTo>
                    <a:pt x="19041" y="16447"/>
                  </a:lnTo>
                  <a:lnTo>
                    <a:pt x="19104" y="16426"/>
                  </a:lnTo>
                  <a:lnTo>
                    <a:pt x="19161" y="16311"/>
                  </a:lnTo>
                  <a:lnTo>
                    <a:pt x="19146" y="16279"/>
                  </a:lnTo>
                  <a:lnTo>
                    <a:pt x="19104" y="16238"/>
                  </a:lnTo>
                  <a:lnTo>
                    <a:pt x="19146" y="16217"/>
                  </a:lnTo>
                  <a:lnTo>
                    <a:pt x="19229" y="16217"/>
                  </a:lnTo>
                  <a:lnTo>
                    <a:pt x="19271" y="16175"/>
                  </a:lnTo>
                  <a:lnTo>
                    <a:pt x="19313" y="16091"/>
                  </a:lnTo>
                  <a:lnTo>
                    <a:pt x="19313" y="15966"/>
                  </a:lnTo>
                  <a:lnTo>
                    <a:pt x="19271" y="15903"/>
                  </a:lnTo>
                  <a:lnTo>
                    <a:pt x="19271" y="15861"/>
                  </a:lnTo>
                  <a:lnTo>
                    <a:pt x="19334" y="15861"/>
                  </a:lnTo>
                  <a:lnTo>
                    <a:pt x="19376" y="15903"/>
                  </a:lnTo>
                  <a:lnTo>
                    <a:pt x="19439" y="15986"/>
                  </a:lnTo>
                  <a:lnTo>
                    <a:pt x="19481" y="16007"/>
                  </a:lnTo>
                  <a:lnTo>
                    <a:pt x="19564" y="16007"/>
                  </a:lnTo>
                  <a:lnTo>
                    <a:pt x="19648" y="15966"/>
                  </a:lnTo>
                  <a:lnTo>
                    <a:pt x="19732" y="15986"/>
                  </a:lnTo>
                  <a:lnTo>
                    <a:pt x="19794" y="16028"/>
                  </a:lnTo>
                  <a:lnTo>
                    <a:pt x="19899" y="16070"/>
                  </a:lnTo>
                  <a:lnTo>
                    <a:pt x="20046" y="16175"/>
                  </a:lnTo>
                  <a:lnTo>
                    <a:pt x="20046" y="16238"/>
                  </a:lnTo>
                  <a:lnTo>
                    <a:pt x="20066" y="16321"/>
                  </a:lnTo>
                  <a:lnTo>
                    <a:pt x="20108" y="16384"/>
                  </a:lnTo>
                  <a:lnTo>
                    <a:pt x="20150" y="16447"/>
                  </a:lnTo>
                  <a:lnTo>
                    <a:pt x="20192" y="16489"/>
                  </a:lnTo>
                  <a:lnTo>
                    <a:pt x="20318" y="16405"/>
                  </a:lnTo>
                  <a:lnTo>
                    <a:pt x="20422" y="16238"/>
                  </a:lnTo>
                  <a:lnTo>
                    <a:pt x="20485" y="16133"/>
                  </a:lnTo>
                  <a:lnTo>
                    <a:pt x="20422" y="16091"/>
                  </a:lnTo>
                  <a:lnTo>
                    <a:pt x="20401" y="15986"/>
                  </a:lnTo>
                  <a:lnTo>
                    <a:pt x="20464" y="15924"/>
                  </a:lnTo>
                  <a:lnTo>
                    <a:pt x="20464" y="15882"/>
                  </a:lnTo>
                  <a:lnTo>
                    <a:pt x="20359" y="15861"/>
                  </a:lnTo>
                  <a:lnTo>
                    <a:pt x="20276" y="15903"/>
                  </a:lnTo>
                  <a:lnTo>
                    <a:pt x="20255" y="15966"/>
                  </a:lnTo>
                  <a:lnTo>
                    <a:pt x="20108" y="15882"/>
                  </a:lnTo>
                  <a:lnTo>
                    <a:pt x="20046" y="15777"/>
                  </a:lnTo>
                  <a:lnTo>
                    <a:pt x="19899" y="15756"/>
                  </a:lnTo>
                  <a:lnTo>
                    <a:pt x="19857" y="15777"/>
                  </a:lnTo>
                  <a:lnTo>
                    <a:pt x="19794" y="15714"/>
                  </a:lnTo>
                  <a:lnTo>
                    <a:pt x="19794" y="15673"/>
                  </a:lnTo>
                  <a:lnTo>
                    <a:pt x="19857" y="15673"/>
                  </a:lnTo>
                  <a:lnTo>
                    <a:pt x="19899" y="15589"/>
                  </a:lnTo>
                  <a:lnTo>
                    <a:pt x="19941" y="15401"/>
                  </a:lnTo>
                  <a:lnTo>
                    <a:pt x="19962" y="15380"/>
                  </a:lnTo>
                  <a:lnTo>
                    <a:pt x="19962" y="15296"/>
                  </a:lnTo>
                  <a:lnTo>
                    <a:pt x="19836" y="15254"/>
                  </a:lnTo>
                  <a:lnTo>
                    <a:pt x="19774" y="15254"/>
                  </a:lnTo>
                  <a:lnTo>
                    <a:pt x="19669" y="15359"/>
                  </a:lnTo>
                  <a:lnTo>
                    <a:pt x="19564" y="15380"/>
                  </a:lnTo>
                  <a:lnTo>
                    <a:pt x="19460" y="15359"/>
                  </a:lnTo>
                  <a:lnTo>
                    <a:pt x="19439" y="15296"/>
                  </a:lnTo>
                  <a:lnTo>
                    <a:pt x="19418" y="15191"/>
                  </a:lnTo>
                  <a:lnTo>
                    <a:pt x="19376" y="15149"/>
                  </a:lnTo>
                  <a:lnTo>
                    <a:pt x="19376" y="15066"/>
                  </a:lnTo>
                  <a:lnTo>
                    <a:pt x="19460" y="15129"/>
                  </a:lnTo>
                  <a:lnTo>
                    <a:pt x="19481" y="15170"/>
                  </a:lnTo>
                  <a:lnTo>
                    <a:pt x="19460" y="15233"/>
                  </a:lnTo>
                  <a:lnTo>
                    <a:pt x="19481" y="15296"/>
                  </a:lnTo>
                  <a:lnTo>
                    <a:pt x="19564" y="15359"/>
                  </a:lnTo>
                  <a:lnTo>
                    <a:pt x="19648" y="15359"/>
                  </a:lnTo>
                  <a:lnTo>
                    <a:pt x="19753" y="15254"/>
                  </a:lnTo>
                  <a:lnTo>
                    <a:pt x="19836" y="15233"/>
                  </a:lnTo>
                  <a:lnTo>
                    <a:pt x="19941" y="15233"/>
                  </a:lnTo>
                  <a:lnTo>
                    <a:pt x="19983" y="15275"/>
                  </a:lnTo>
                  <a:lnTo>
                    <a:pt x="20046" y="15275"/>
                  </a:lnTo>
                  <a:lnTo>
                    <a:pt x="20066" y="15233"/>
                  </a:lnTo>
                  <a:lnTo>
                    <a:pt x="20046" y="15170"/>
                  </a:lnTo>
                  <a:lnTo>
                    <a:pt x="19836" y="14961"/>
                  </a:lnTo>
                  <a:lnTo>
                    <a:pt x="19669" y="14836"/>
                  </a:lnTo>
                  <a:lnTo>
                    <a:pt x="19522" y="14836"/>
                  </a:lnTo>
                  <a:lnTo>
                    <a:pt x="19355" y="14752"/>
                  </a:lnTo>
                  <a:lnTo>
                    <a:pt x="19271" y="14647"/>
                  </a:lnTo>
                  <a:lnTo>
                    <a:pt x="19271" y="14564"/>
                  </a:lnTo>
                  <a:lnTo>
                    <a:pt x="19271" y="14522"/>
                  </a:lnTo>
                  <a:lnTo>
                    <a:pt x="19334" y="14564"/>
                  </a:lnTo>
                  <a:lnTo>
                    <a:pt x="19376" y="14668"/>
                  </a:lnTo>
                  <a:lnTo>
                    <a:pt x="19460" y="14731"/>
                  </a:lnTo>
                  <a:lnTo>
                    <a:pt x="19585" y="14731"/>
                  </a:lnTo>
                  <a:lnTo>
                    <a:pt x="19627" y="14668"/>
                  </a:lnTo>
                  <a:lnTo>
                    <a:pt x="19627" y="14626"/>
                  </a:lnTo>
                  <a:lnTo>
                    <a:pt x="19522" y="14522"/>
                  </a:lnTo>
                  <a:lnTo>
                    <a:pt x="19481" y="14459"/>
                  </a:lnTo>
                  <a:lnTo>
                    <a:pt x="19481" y="14438"/>
                  </a:lnTo>
                  <a:lnTo>
                    <a:pt x="19522" y="14438"/>
                  </a:lnTo>
                  <a:lnTo>
                    <a:pt x="19564" y="14459"/>
                  </a:lnTo>
                  <a:lnTo>
                    <a:pt x="19690" y="14626"/>
                  </a:lnTo>
                  <a:lnTo>
                    <a:pt x="19753" y="14731"/>
                  </a:lnTo>
                  <a:lnTo>
                    <a:pt x="19753" y="14773"/>
                  </a:lnTo>
                  <a:lnTo>
                    <a:pt x="19857" y="14857"/>
                  </a:lnTo>
                  <a:lnTo>
                    <a:pt x="19962" y="14940"/>
                  </a:lnTo>
                  <a:lnTo>
                    <a:pt x="20087" y="15087"/>
                  </a:lnTo>
                  <a:lnTo>
                    <a:pt x="20171" y="15129"/>
                  </a:lnTo>
                  <a:lnTo>
                    <a:pt x="20213" y="15087"/>
                  </a:lnTo>
                  <a:lnTo>
                    <a:pt x="20276" y="15129"/>
                  </a:lnTo>
                  <a:lnTo>
                    <a:pt x="20297" y="15170"/>
                  </a:lnTo>
                  <a:lnTo>
                    <a:pt x="20213" y="15233"/>
                  </a:lnTo>
                  <a:lnTo>
                    <a:pt x="20276" y="15296"/>
                  </a:lnTo>
                  <a:lnTo>
                    <a:pt x="20318" y="15359"/>
                  </a:lnTo>
                  <a:lnTo>
                    <a:pt x="20380" y="15359"/>
                  </a:lnTo>
                  <a:lnTo>
                    <a:pt x="20422" y="15275"/>
                  </a:lnTo>
                  <a:lnTo>
                    <a:pt x="20485" y="15087"/>
                  </a:lnTo>
                  <a:lnTo>
                    <a:pt x="20506" y="15045"/>
                  </a:lnTo>
                  <a:lnTo>
                    <a:pt x="20527" y="14982"/>
                  </a:lnTo>
                  <a:lnTo>
                    <a:pt x="20506" y="14877"/>
                  </a:lnTo>
                  <a:lnTo>
                    <a:pt x="20506" y="14836"/>
                  </a:lnTo>
                  <a:lnTo>
                    <a:pt x="20506" y="14710"/>
                  </a:lnTo>
                  <a:lnTo>
                    <a:pt x="20464" y="14626"/>
                  </a:lnTo>
                  <a:lnTo>
                    <a:pt x="20464" y="14564"/>
                  </a:lnTo>
                  <a:lnTo>
                    <a:pt x="20464" y="14543"/>
                  </a:lnTo>
                  <a:lnTo>
                    <a:pt x="20506" y="14564"/>
                  </a:lnTo>
                  <a:lnTo>
                    <a:pt x="20590" y="14605"/>
                  </a:lnTo>
                  <a:lnTo>
                    <a:pt x="20610" y="14605"/>
                  </a:lnTo>
                  <a:lnTo>
                    <a:pt x="20590" y="14543"/>
                  </a:lnTo>
                  <a:lnTo>
                    <a:pt x="20506" y="14459"/>
                  </a:lnTo>
                  <a:lnTo>
                    <a:pt x="20464" y="14354"/>
                  </a:lnTo>
                  <a:lnTo>
                    <a:pt x="20401" y="14313"/>
                  </a:lnTo>
                  <a:lnTo>
                    <a:pt x="20318" y="14292"/>
                  </a:lnTo>
                  <a:lnTo>
                    <a:pt x="19962" y="14292"/>
                  </a:lnTo>
                  <a:lnTo>
                    <a:pt x="19920" y="14208"/>
                  </a:lnTo>
                  <a:lnTo>
                    <a:pt x="19836" y="14145"/>
                  </a:lnTo>
                  <a:lnTo>
                    <a:pt x="19648" y="14145"/>
                  </a:lnTo>
                  <a:lnTo>
                    <a:pt x="19564" y="14187"/>
                  </a:lnTo>
                  <a:lnTo>
                    <a:pt x="19502" y="14187"/>
                  </a:lnTo>
                  <a:lnTo>
                    <a:pt x="19460" y="14124"/>
                  </a:lnTo>
                  <a:lnTo>
                    <a:pt x="19439" y="14103"/>
                  </a:lnTo>
                  <a:lnTo>
                    <a:pt x="19460" y="14041"/>
                  </a:lnTo>
                  <a:lnTo>
                    <a:pt x="19502" y="14103"/>
                  </a:lnTo>
                  <a:lnTo>
                    <a:pt x="19543" y="14124"/>
                  </a:lnTo>
                  <a:lnTo>
                    <a:pt x="19669" y="14103"/>
                  </a:lnTo>
                  <a:lnTo>
                    <a:pt x="19836" y="14082"/>
                  </a:lnTo>
                  <a:lnTo>
                    <a:pt x="19878" y="14124"/>
                  </a:lnTo>
                  <a:lnTo>
                    <a:pt x="19941" y="14103"/>
                  </a:lnTo>
                  <a:lnTo>
                    <a:pt x="20025" y="14082"/>
                  </a:lnTo>
                  <a:lnTo>
                    <a:pt x="20087" y="14103"/>
                  </a:lnTo>
                  <a:lnTo>
                    <a:pt x="20150" y="14124"/>
                  </a:lnTo>
                  <a:lnTo>
                    <a:pt x="20192" y="14103"/>
                  </a:lnTo>
                  <a:lnTo>
                    <a:pt x="20234" y="14082"/>
                  </a:lnTo>
                  <a:lnTo>
                    <a:pt x="20234" y="14020"/>
                  </a:lnTo>
                  <a:lnTo>
                    <a:pt x="20234" y="13915"/>
                  </a:lnTo>
                  <a:lnTo>
                    <a:pt x="20234" y="13873"/>
                  </a:lnTo>
                  <a:lnTo>
                    <a:pt x="20171" y="13831"/>
                  </a:lnTo>
                  <a:lnTo>
                    <a:pt x="20129" y="13873"/>
                  </a:lnTo>
                  <a:lnTo>
                    <a:pt x="20066" y="13894"/>
                  </a:lnTo>
                  <a:lnTo>
                    <a:pt x="19983" y="13873"/>
                  </a:lnTo>
                  <a:lnTo>
                    <a:pt x="19857" y="13873"/>
                  </a:lnTo>
                  <a:lnTo>
                    <a:pt x="19815" y="13810"/>
                  </a:lnTo>
                  <a:lnTo>
                    <a:pt x="19711" y="13706"/>
                  </a:lnTo>
                  <a:lnTo>
                    <a:pt x="19606" y="13727"/>
                  </a:lnTo>
                  <a:lnTo>
                    <a:pt x="19564" y="13789"/>
                  </a:lnTo>
                  <a:lnTo>
                    <a:pt x="19543" y="13789"/>
                  </a:lnTo>
                  <a:lnTo>
                    <a:pt x="19543" y="13685"/>
                  </a:lnTo>
                  <a:lnTo>
                    <a:pt x="19543" y="13601"/>
                  </a:lnTo>
                  <a:lnTo>
                    <a:pt x="19522" y="13538"/>
                  </a:lnTo>
                  <a:lnTo>
                    <a:pt x="19313" y="13538"/>
                  </a:lnTo>
                  <a:lnTo>
                    <a:pt x="19229" y="13497"/>
                  </a:lnTo>
                  <a:lnTo>
                    <a:pt x="19250" y="13455"/>
                  </a:lnTo>
                  <a:lnTo>
                    <a:pt x="19313" y="13455"/>
                  </a:lnTo>
                  <a:lnTo>
                    <a:pt x="19418" y="13476"/>
                  </a:lnTo>
                  <a:lnTo>
                    <a:pt x="19460" y="13455"/>
                  </a:lnTo>
                  <a:lnTo>
                    <a:pt x="19460" y="13392"/>
                  </a:lnTo>
                  <a:lnTo>
                    <a:pt x="19439" y="13371"/>
                  </a:lnTo>
                  <a:lnTo>
                    <a:pt x="19481" y="13308"/>
                  </a:lnTo>
                  <a:lnTo>
                    <a:pt x="19460" y="13266"/>
                  </a:lnTo>
                  <a:lnTo>
                    <a:pt x="19439" y="13204"/>
                  </a:lnTo>
                  <a:lnTo>
                    <a:pt x="19481" y="13162"/>
                  </a:lnTo>
                  <a:lnTo>
                    <a:pt x="19460" y="13078"/>
                  </a:lnTo>
                  <a:lnTo>
                    <a:pt x="19460" y="12994"/>
                  </a:lnTo>
                  <a:lnTo>
                    <a:pt x="19522" y="12973"/>
                  </a:lnTo>
                  <a:lnTo>
                    <a:pt x="19543" y="12994"/>
                  </a:lnTo>
                  <a:lnTo>
                    <a:pt x="19543" y="13078"/>
                  </a:lnTo>
                  <a:lnTo>
                    <a:pt x="19585" y="13141"/>
                  </a:lnTo>
                  <a:lnTo>
                    <a:pt x="19648" y="13162"/>
                  </a:lnTo>
                  <a:lnTo>
                    <a:pt x="19732" y="13078"/>
                  </a:lnTo>
                  <a:lnTo>
                    <a:pt x="19857" y="12953"/>
                  </a:lnTo>
                  <a:lnTo>
                    <a:pt x="19941" y="12932"/>
                  </a:lnTo>
                  <a:lnTo>
                    <a:pt x="19941" y="12890"/>
                  </a:lnTo>
                  <a:lnTo>
                    <a:pt x="19899" y="12869"/>
                  </a:lnTo>
                  <a:lnTo>
                    <a:pt x="19794" y="12848"/>
                  </a:lnTo>
                  <a:lnTo>
                    <a:pt x="19732" y="12848"/>
                  </a:lnTo>
                  <a:lnTo>
                    <a:pt x="19690" y="12827"/>
                  </a:lnTo>
                  <a:lnTo>
                    <a:pt x="19774" y="12785"/>
                  </a:lnTo>
                  <a:lnTo>
                    <a:pt x="19878" y="12785"/>
                  </a:lnTo>
                  <a:lnTo>
                    <a:pt x="19941" y="12827"/>
                  </a:lnTo>
                  <a:lnTo>
                    <a:pt x="19983" y="12827"/>
                  </a:lnTo>
                  <a:lnTo>
                    <a:pt x="19983" y="12764"/>
                  </a:lnTo>
                  <a:lnTo>
                    <a:pt x="19962" y="12743"/>
                  </a:lnTo>
                  <a:lnTo>
                    <a:pt x="20046" y="12722"/>
                  </a:lnTo>
                  <a:lnTo>
                    <a:pt x="20150" y="12722"/>
                  </a:lnTo>
                  <a:lnTo>
                    <a:pt x="20213" y="12785"/>
                  </a:lnTo>
                  <a:lnTo>
                    <a:pt x="20276" y="12827"/>
                  </a:lnTo>
                  <a:lnTo>
                    <a:pt x="20318" y="12785"/>
                  </a:lnTo>
                  <a:lnTo>
                    <a:pt x="20380" y="12827"/>
                  </a:lnTo>
                  <a:lnTo>
                    <a:pt x="20422" y="12890"/>
                  </a:lnTo>
                  <a:lnTo>
                    <a:pt x="20401" y="12973"/>
                  </a:lnTo>
                  <a:lnTo>
                    <a:pt x="20422" y="13036"/>
                  </a:lnTo>
                  <a:lnTo>
                    <a:pt x="20506" y="13057"/>
                  </a:lnTo>
                  <a:lnTo>
                    <a:pt x="20527" y="13036"/>
                  </a:lnTo>
                  <a:lnTo>
                    <a:pt x="20590" y="13057"/>
                  </a:lnTo>
                  <a:lnTo>
                    <a:pt x="20631" y="13141"/>
                  </a:lnTo>
                  <a:lnTo>
                    <a:pt x="20778" y="13183"/>
                  </a:lnTo>
                  <a:lnTo>
                    <a:pt x="20820" y="13266"/>
                  </a:lnTo>
                  <a:lnTo>
                    <a:pt x="20841" y="13287"/>
                  </a:lnTo>
                  <a:lnTo>
                    <a:pt x="20882" y="13245"/>
                  </a:lnTo>
                  <a:lnTo>
                    <a:pt x="20903" y="13141"/>
                  </a:lnTo>
                  <a:lnTo>
                    <a:pt x="20945" y="13057"/>
                  </a:lnTo>
                  <a:lnTo>
                    <a:pt x="21008" y="12890"/>
                  </a:lnTo>
                  <a:lnTo>
                    <a:pt x="21008" y="12848"/>
                  </a:lnTo>
                  <a:lnTo>
                    <a:pt x="21029" y="12722"/>
                  </a:lnTo>
                  <a:lnTo>
                    <a:pt x="21050" y="12555"/>
                  </a:lnTo>
                  <a:lnTo>
                    <a:pt x="21092" y="12513"/>
                  </a:lnTo>
                  <a:lnTo>
                    <a:pt x="21092" y="12429"/>
                  </a:lnTo>
                  <a:lnTo>
                    <a:pt x="21050" y="12346"/>
                  </a:lnTo>
                  <a:lnTo>
                    <a:pt x="20987" y="12304"/>
                  </a:lnTo>
                  <a:lnTo>
                    <a:pt x="20924" y="12241"/>
                  </a:lnTo>
                  <a:lnTo>
                    <a:pt x="20882" y="12241"/>
                  </a:lnTo>
                  <a:lnTo>
                    <a:pt x="20841" y="12199"/>
                  </a:lnTo>
                  <a:lnTo>
                    <a:pt x="20841" y="12136"/>
                  </a:lnTo>
                  <a:lnTo>
                    <a:pt x="20757" y="12136"/>
                  </a:lnTo>
                  <a:lnTo>
                    <a:pt x="20694" y="12220"/>
                  </a:lnTo>
                  <a:lnTo>
                    <a:pt x="20590" y="12325"/>
                  </a:lnTo>
                  <a:lnTo>
                    <a:pt x="20506" y="12346"/>
                  </a:lnTo>
                  <a:lnTo>
                    <a:pt x="20464" y="12304"/>
                  </a:lnTo>
                  <a:lnTo>
                    <a:pt x="20485" y="12241"/>
                  </a:lnTo>
                  <a:lnTo>
                    <a:pt x="20485" y="12157"/>
                  </a:lnTo>
                  <a:lnTo>
                    <a:pt x="20485" y="12136"/>
                  </a:lnTo>
                  <a:lnTo>
                    <a:pt x="20380" y="12116"/>
                  </a:lnTo>
                  <a:lnTo>
                    <a:pt x="20297" y="12116"/>
                  </a:lnTo>
                  <a:lnTo>
                    <a:pt x="20276" y="12053"/>
                  </a:lnTo>
                  <a:lnTo>
                    <a:pt x="20338" y="12032"/>
                  </a:lnTo>
                  <a:lnTo>
                    <a:pt x="20338" y="12011"/>
                  </a:lnTo>
                  <a:lnTo>
                    <a:pt x="20255" y="11948"/>
                  </a:lnTo>
                  <a:lnTo>
                    <a:pt x="20213" y="11906"/>
                  </a:lnTo>
                  <a:lnTo>
                    <a:pt x="20255" y="11885"/>
                  </a:lnTo>
                  <a:lnTo>
                    <a:pt x="20276" y="11906"/>
                  </a:lnTo>
                  <a:lnTo>
                    <a:pt x="20359" y="11927"/>
                  </a:lnTo>
                  <a:lnTo>
                    <a:pt x="20359" y="11885"/>
                  </a:lnTo>
                  <a:lnTo>
                    <a:pt x="20297" y="11802"/>
                  </a:lnTo>
                  <a:lnTo>
                    <a:pt x="20276" y="11718"/>
                  </a:lnTo>
                  <a:lnTo>
                    <a:pt x="20297" y="11676"/>
                  </a:lnTo>
                  <a:lnTo>
                    <a:pt x="20359" y="11634"/>
                  </a:lnTo>
                  <a:lnTo>
                    <a:pt x="20380" y="11676"/>
                  </a:lnTo>
                  <a:lnTo>
                    <a:pt x="20443" y="11697"/>
                  </a:lnTo>
                  <a:lnTo>
                    <a:pt x="20464" y="11739"/>
                  </a:lnTo>
                  <a:lnTo>
                    <a:pt x="20590" y="11885"/>
                  </a:lnTo>
                  <a:lnTo>
                    <a:pt x="20673" y="11927"/>
                  </a:lnTo>
                  <a:lnTo>
                    <a:pt x="20757" y="11906"/>
                  </a:lnTo>
                  <a:lnTo>
                    <a:pt x="20799" y="11844"/>
                  </a:lnTo>
                  <a:lnTo>
                    <a:pt x="20757" y="11718"/>
                  </a:lnTo>
                  <a:lnTo>
                    <a:pt x="20652" y="11613"/>
                  </a:lnTo>
                  <a:lnTo>
                    <a:pt x="20569" y="11572"/>
                  </a:lnTo>
                  <a:lnTo>
                    <a:pt x="20464" y="11530"/>
                  </a:lnTo>
                  <a:lnTo>
                    <a:pt x="20443" y="11404"/>
                  </a:lnTo>
                  <a:lnTo>
                    <a:pt x="20380" y="11320"/>
                  </a:lnTo>
                  <a:lnTo>
                    <a:pt x="20338" y="11258"/>
                  </a:lnTo>
                  <a:lnTo>
                    <a:pt x="20255" y="11216"/>
                  </a:lnTo>
                  <a:lnTo>
                    <a:pt x="20171" y="11174"/>
                  </a:lnTo>
                  <a:lnTo>
                    <a:pt x="20171" y="11111"/>
                  </a:lnTo>
                  <a:lnTo>
                    <a:pt x="20234" y="11069"/>
                  </a:lnTo>
                  <a:lnTo>
                    <a:pt x="20234" y="11007"/>
                  </a:lnTo>
                  <a:lnTo>
                    <a:pt x="20192" y="10986"/>
                  </a:lnTo>
                  <a:lnTo>
                    <a:pt x="20192" y="10944"/>
                  </a:lnTo>
                  <a:lnTo>
                    <a:pt x="20255" y="10881"/>
                  </a:lnTo>
                  <a:lnTo>
                    <a:pt x="20297" y="10881"/>
                  </a:lnTo>
                  <a:lnTo>
                    <a:pt x="20359" y="10860"/>
                  </a:lnTo>
                  <a:lnTo>
                    <a:pt x="20443" y="10881"/>
                  </a:lnTo>
                  <a:lnTo>
                    <a:pt x="20485" y="10944"/>
                  </a:lnTo>
                  <a:lnTo>
                    <a:pt x="20401" y="10986"/>
                  </a:lnTo>
                  <a:lnTo>
                    <a:pt x="20464" y="10986"/>
                  </a:lnTo>
                  <a:lnTo>
                    <a:pt x="20548" y="11048"/>
                  </a:lnTo>
                  <a:lnTo>
                    <a:pt x="20548" y="11090"/>
                  </a:lnTo>
                  <a:lnTo>
                    <a:pt x="20569" y="11174"/>
                  </a:lnTo>
                  <a:lnTo>
                    <a:pt x="20652" y="11195"/>
                  </a:lnTo>
                  <a:lnTo>
                    <a:pt x="20757" y="11111"/>
                  </a:lnTo>
                  <a:lnTo>
                    <a:pt x="20799" y="10986"/>
                  </a:lnTo>
                  <a:lnTo>
                    <a:pt x="20820" y="10860"/>
                  </a:lnTo>
                  <a:lnTo>
                    <a:pt x="20882" y="10776"/>
                  </a:lnTo>
                  <a:lnTo>
                    <a:pt x="20903" y="10735"/>
                  </a:lnTo>
                  <a:lnTo>
                    <a:pt x="20882" y="10588"/>
                  </a:lnTo>
                  <a:lnTo>
                    <a:pt x="20966" y="10525"/>
                  </a:lnTo>
                  <a:lnTo>
                    <a:pt x="21029" y="10463"/>
                  </a:lnTo>
                  <a:lnTo>
                    <a:pt x="21071" y="10316"/>
                  </a:lnTo>
                  <a:lnTo>
                    <a:pt x="21029" y="10212"/>
                  </a:lnTo>
                  <a:lnTo>
                    <a:pt x="20987" y="10128"/>
                  </a:lnTo>
                  <a:lnTo>
                    <a:pt x="21029" y="9919"/>
                  </a:lnTo>
                  <a:lnTo>
                    <a:pt x="21092" y="9751"/>
                  </a:lnTo>
                  <a:lnTo>
                    <a:pt x="21092" y="9605"/>
                  </a:lnTo>
                  <a:lnTo>
                    <a:pt x="21175" y="9521"/>
                  </a:lnTo>
                  <a:lnTo>
                    <a:pt x="21175" y="9437"/>
                  </a:lnTo>
                  <a:lnTo>
                    <a:pt x="21196" y="9312"/>
                  </a:lnTo>
                  <a:lnTo>
                    <a:pt x="21196" y="9165"/>
                  </a:lnTo>
                  <a:lnTo>
                    <a:pt x="21280" y="9082"/>
                  </a:lnTo>
                  <a:lnTo>
                    <a:pt x="21343" y="8956"/>
                  </a:lnTo>
                  <a:lnTo>
                    <a:pt x="21531" y="8684"/>
                  </a:lnTo>
                  <a:lnTo>
                    <a:pt x="21615" y="8538"/>
                  </a:lnTo>
                  <a:lnTo>
                    <a:pt x="21761" y="8391"/>
                  </a:lnTo>
                  <a:lnTo>
                    <a:pt x="21824" y="8287"/>
                  </a:lnTo>
                  <a:lnTo>
                    <a:pt x="21908" y="8224"/>
                  </a:lnTo>
                  <a:lnTo>
                    <a:pt x="21950" y="8077"/>
                  </a:lnTo>
                  <a:lnTo>
                    <a:pt x="22075" y="7973"/>
                  </a:lnTo>
                  <a:lnTo>
                    <a:pt x="22117" y="7952"/>
                  </a:lnTo>
                  <a:lnTo>
                    <a:pt x="22075" y="7910"/>
                  </a:lnTo>
                  <a:lnTo>
                    <a:pt x="22012" y="7847"/>
                  </a:lnTo>
                  <a:lnTo>
                    <a:pt x="21908" y="7826"/>
                  </a:lnTo>
                  <a:lnTo>
                    <a:pt x="21845" y="7763"/>
                  </a:lnTo>
                  <a:lnTo>
                    <a:pt x="21803" y="7722"/>
                  </a:lnTo>
                  <a:lnTo>
                    <a:pt x="21719" y="7743"/>
                  </a:lnTo>
                  <a:lnTo>
                    <a:pt x="21552" y="7805"/>
                  </a:lnTo>
                  <a:lnTo>
                    <a:pt x="21406" y="7847"/>
                  </a:lnTo>
                  <a:lnTo>
                    <a:pt x="21280" y="7910"/>
                  </a:lnTo>
                  <a:lnTo>
                    <a:pt x="21196" y="8015"/>
                  </a:lnTo>
                  <a:lnTo>
                    <a:pt x="21092" y="8056"/>
                  </a:lnTo>
                  <a:lnTo>
                    <a:pt x="21071" y="8119"/>
                  </a:lnTo>
                  <a:lnTo>
                    <a:pt x="21008" y="8140"/>
                  </a:lnTo>
                  <a:lnTo>
                    <a:pt x="20903" y="8077"/>
                  </a:lnTo>
                  <a:lnTo>
                    <a:pt x="20862" y="8035"/>
                  </a:lnTo>
                  <a:lnTo>
                    <a:pt x="20862" y="7973"/>
                  </a:lnTo>
                  <a:lnTo>
                    <a:pt x="20924" y="7973"/>
                  </a:lnTo>
                  <a:lnTo>
                    <a:pt x="20987" y="7952"/>
                  </a:lnTo>
                  <a:lnTo>
                    <a:pt x="20987" y="7847"/>
                  </a:lnTo>
                  <a:lnTo>
                    <a:pt x="20966" y="7805"/>
                  </a:lnTo>
                  <a:lnTo>
                    <a:pt x="20882" y="7805"/>
                  </a:lnTo>
                  <a:lnTo>
                    <a:pt x="20820" y="7763"/>
                  </a:lnTo>
                  <a:lnTo>
                    <a:pt x="20903" y="7743"/>
                  </a:lnTo>
                  <a:lnTo>
                    <a:pt x="20966" y="7701"/>
                  </a:lnTo>
                  <a:lnTo>
                    <a:pt x="21071" y="7617"/>
                  </a:lnTo>
                  <a:lnTo>
                    <a:pt x="21134" y="7491"/>
                  </a:lnTo>
                  <a:lnTo>
                    <a:pt x="21238" y="7408"/>
                  </a:lnTo>
                  <a:lnTo>
                    <a:pt x="21322" y="7408"/>
                  </a:lnTo>
                  <a:lnTo>
                    <a:pt x="21447" y="7429"/>
                  </a:lnTo>
                  <a:lnTo>
                    <a:pt x="21698" y="7617"/>
                  </a:lnTo>
                  <a:lnTo>
                    <a:pt x="21761" y="7659"/>
                  </a:lnTo>
                  <a:lnTo>
                    <a:pt x="21970" y="7659"/>
                  </a:lnTo>
                  <a:lnTo>
                    <a:pt x="22075" y="7638"/>
                  </a:lnTo>
                  <a:lnTo>
                    <a:pt x="22180" y="7659"/>
                  </a:lnTo>
                  <a:lnTo>
                    <a:pt x="22389" y="7617"/>
                  </a:lnTo>
                  <a:lnTo>
                    <a:pt x="22494" y="7554"/>
                  </a:lnTo>
                  <a:lnTo>
                    <a:pt x="22494" y="7491"/>
                  </a:lnTo>
                  <a:lnTo>
                    <a:pt x="22473" y="7429"/>
                  </a:lnTo>
                  <a:lnTo>
                    <a:pt x="22515" y="7429"/>
                  </a:lnTo>
                  <a:lnTo>
                    <a:pt x="22598" y="7408"/>
                  </a:lnTo>
                  <a:lnTo>
                    <a:pt x="22682" y="7324"/>
                  </a:lnTo>
                  <a:lnTo>
                    <a:pt x="22682" y="7240"/>
                  </a:lnTo>
                  <a:lnTo>
                    <a:pt x="22640" y="7178"/>
                  </a:lnTo>
                  <a:lnTo>
                    <a:pt x="22535" y="7136"/>
                  </a:lnTo>
                  <a:lnTo>
                    <a:pt x="22473" y="7094"/>
                  </a:lnTo>
                  <a:lnTo>
                    <a:pt x="22431" y="7073"/>
                  </a:lnTo>
                  <a:lnTo>
                    <a:pt x="22347" y="7073"/>
                  </a:lnTo>
                  <a:lnTo>
                    <a:pt x="22263" y="7136"/>
                  </a:lnTo>
                  <a:lnTo>
                    <a:pt x="22222" y="7136"/>
                  </a:lnTo>
                  <a:lnTo>
                    <a:pt x="22138" y="7073"/>
                  </a:lnTo>
                  <a:lnTo>
                    <a:pt x="21908" y="7073"/>
                  </a:lnTo>
                  <a:lnTo>
                    <a:pt x="21761" y="7031"/>
                  </a:lnTo>
                  <a:lnTo>
                    <a:pt x="21657" y="6989"/>
                  </a:lnTo>
                  <a:lnTo>
                    <a:pt x="21594" y="6989"/>
                  </a:lnTo>
                  <a:lnTo>
                    <a:pt x="21510" y="7010"/>
                  </a:lnTo>
                  <a:lnTo>
                    <a:pt x="21196" y="7010"/>
                  </a:lnTo>
                  <a:lnTo>
                    <a:pt x="21092" y="6968"/>
                  </a:lnTo>
                  <a:lnTo>
                    <a:pt x="21196" y="6968"/>
                  </a:lnTo>
                  <a:lnTo>
                    <a:pt x="21301" y="6989"/>
                  </a:lnTo>
                  <a:lnTo>
                    <a:pt x="21406" y="6927"/>
                  </a:lnTo>
                  <a:lnTo>
                    <a:pt x="21531" y="6906"/>
                  </a:lnTo>
                  <a:lnTo>
                    <a:pt x="21636" y="6927"/>
                  </a:lnTo>
                  <a:lnTo>
                    <a:pt x="21740" y="6968"/>
                  </a:lnTo>
                  <a:lnTo>
                    <a:pt x="21782" y="6927"/>
                  </a:lnTo>
                  <a:lnTo>
                    <a:pt x="21845" y="6885"/>
                  </a:lnTo>
                  <a:lnTo>
                    <a:pt x="21950" y="6885"/>
                  </a:lnTo>
                  <a:lnTo>
                    <a:pt x="21991" y="6822"/>
                  </a:lnTo>
                  <a:lnTo>
                    <a:pt x="22054" y="6801"/>
                  </a:lnTo>
                  <a:lnTo>
                    <a:pt x="22138" y="6822"/>
                  </a:lnTo>
                  <a:lnTo>
                    <a:pt x="22180" y="6822"/>
                  </a:lnTo>
                  <a:lnTo>
                    <a:pt x="22201" y="6780"/>
                  </a:lnTo>
                  <a:lnTo>
                    <a:pt x="22242" y="6759"/>
                  </a:lnTo>
                  <a:lnTo>
                    <a:pt x="22284" y="6759"/>
                  </a:lnTo>
                  <a:lnTo>
                    <a:pt x="22305" y="6780"/>
                  </a:lnTo>
                  <a:lnTo>
                    <a:pt x="22368" y="6801"/>
                  </a:lnTo>
                  <a:lnTo>
                    <a:pt x="22410" y="6822"/>
                  </a:lnTo>
                  <a:lnTo>
                    <a:pt x="22515" y="6822"/>
                  </a:lnTo>
                  <a:lnTo>
                    <a:pt x="22619" y="6864"/>
                  </a:lnTo>
                  <a:lnTo>
                    <a:pt x="22703" y="6906"/>
                  </a:lnTo>
                  <a:lnTo>
                    <a:pt x="22891" y="6906"/>
                  </a:lnTo>
                  <a:lnTo>
                    <a:pt x="22996" y="6822"/>
                  </a:lnTo>
                  <a:lnTo>
                    <a:pt x="23184" y="6759"/>
                  </a:lnTo>
                  <a:lnTo>
                    <a:pt x="23331" y="6759"/>
                  </a:lnTo>
                  <a:lnTo>
                    <a:pt x="23351" y="6675"/>
                  </a:lnTo>
                  <a:lnTo>
                    <a:pt x="23351" y="6592"/>
                  </a:lnTo>
                  <a:lnTo>
                    <a:pt x="23310" y="6571"/>
                  </a:lnTo>
                  <a:lnTo>
                    <a:pt x="23247" y="6487"/>
                  </a:lnTo>
                  <a:lnTo>
                    <a:pt x="23247" y="6445"/>
                  </a:lnTo>
                  <a:lnTo>
                    <a:pt x="23226" y="6403"/>
                  </a:lnTo>
                  <a:lnTo>
                    <a:pt x="23226" y="6362"/>
                  </a:lnTo>
                  <a:lnTo>
                    <a:pt x="23289" y="6257"/>
                  </a:lnTo>
                  <a:lnTo>
                    <a:pt x="23351" y="6194"/>
                  </a:lnTo>
                  <a:lnTo>
                    <a:pt x="23414" y="6194"/>
                  </a:lnTo>
                  <a:lnTo>
                    <a:pt x="23561" y="6299"/>
                  </a:lnTo>
                  <a:lnTo>
                    <a:pt x="23644" y="6341"/>
                  </a:lnTo>
                  <a:lnTo>
                    <a:pt x="23707" y="6299"/>
                  </a:lnTo>
                  <a:lnTo>
                    <a:pt x="23749" y="6236"/>
                  </a:lnTo>
                  <a:lnTo>
                    <a:pt x="23854" y="6069"/>
                  </a:lnTo>
                  <a:lnTo>
                    <a:pt x="23958" y="5985"/>
                  </a:lnTo>
                  <a:lnTo>
                    <a:pt x="24042" y="5964"/>
                  </a:lnTo>
                  <a:lnTo>
                    <a:pt x="24063" y="5922"/>
                  </a:lnTo>
                  <a:lnTo>
                    <a:pt x="24167" y="5838"/>
                  </a:lnTo>
                  <a:lnTo>
                    <a:pt x="24272" y="5776"/>
                  </a:lnTo>
                  <a:lnTo>
                    <a:pt x="24335" y="5713"/>
                  </a:lnTo>
                  <a:lnTo>
                    <a:pt x="24335" y="5566"/>
                  </a:lnTo>
                  <a:lnTo>
                    <a:pt x="24272" y="5420"/>
                  </a:lnTo>
                  <a:lnTo>
                    <a:pt x="24188" y="5336"/>
                  </a:lnTo>
                  <a:lnTo>
                    <a:pt x="24167" y="5253"/>
                  </a:lnTo>
                  <a:lnTo>
                    <a:pt x="24021" y="5127"/>
                  </a:lnTo>
                  <a:lnTo>
                    <a:pt x="24021" y="5085"/>
                  </a:lnTo>
                  <a:lnTo>
                    <a:pt x="23958" y="5002"/>
                  </a:lnTo>
                  <a:lnTo>
                    <a:pt x="23854" y="4939"/>
                  </a:lnTo>
                  <a:lnTo>
                    <a:pt x="23812" y="4939"/>
                  </a:lnTo>
                  <a:lnTo>
                    <a:pt x="23728" y="4876"/>
                  </a:lnTo>
                  <a:lnTo>
                    <a:pt x="23623" y="4813"/>
                  </a:lnTo>
                  <a:lnTo>
                    <a:pt x="23498" y="4813"/>
                  </a:lnTo>
                  <a:lnTo>
                    <a:pt x="23331" y="4771"/>
                  </a:lnTo>
                  <a:lnTo>
                    <a:pt x="23184" y="4688"/>
                  </a:lnTo>
                  <a:lnTo>
                    <a:pt x="23038" y="4667"/>
                  </a:lnTo>
                  <a:lnTo>
                    <a:pt x="22975" y="4688"/>
                  </a:lnTo>
                  <a:lnTo>
                    <a:pt x="22828" y="4688"/>
                  </a:lnTo>
                  <a:lnTo>
                    <a:pt x="22682" y="4730"/>
                  </a:lnTo>
                  <a:lnTo>
                    <a:pt x="22619" y="4792"/>
                  </a:lnTo>
                  <a:lnTo>
                    <a:pt x="22515" y="4834"/>
                  </a:lnTo>
                  <a:lnTo>
                    <a:pt x="22410" y="4792"/>
                  </a:lnTo>
                  <a:lnTo>
                    <a:pt x="22389" y="4730"/>
                  </a:lnTo>
                  <a:lnTo>
                    <a:pt x="22347" y="4771"/>
                  </a:lnTo>
                  <a:lnTo>
                    <a:pt x="22305" y="4834"/>
                  </a:lnTo>
                  <a:lnTo>
                    <a:pt x="22347" y="4918"/>
                  </a:lnTo>
                  <a:lnTo>
                    <a:pt x="22347" y="5022"/>
                  </a:lnTo>
                  <a:lnTo>
                    <a:pt x="22284" y="5106"/>
                  </a:lnTo>
                  <a:lnTo>
                    <a:pt x="22242" y="5106"/>
                  </a:lnTo>
                  <a:lnTo>
                    <a:pt x="22242" y="5148"/>
                  </a:lnTo>
                  <a:lnTo>
                    <a:pt x="22263" y="5211"/>
                  </a:lnTo>
                  <a:lnTo>
                    <a:pt x="22242" y="5294"/>
                  </a:lnTo>
                  <a:lnTo>
                    <a:pt x="22138" y="5336"/>
                  </a:lnTo>
                  <a:lnTo>
                    <a:pt x="22033" y="5336"/>
                  </a:lnTo>
                  <a:lnTo>
                    <a:pt x="21970" y="5253"/>
                  </a:lnTo>
                  <a:lnTo>
                    <a:pt x="21970" y="5190"/>
                  </a:lnTo>
                  <a:lnTo>
                    <a:pt x="21929" y="5148"/>
                  </a:lnTo>
                  <a:lnTo>
                    <a:pt x="21866" y="5211"/>
                  </a:lnTo>
                  <a:lnTo>
                    <a:pt x="21866" y="5315"/>
                  </a:lnTo>
                  <a:lnTo>
                    <a:pt x="21887" y="5336"/>
                  </a:lnTo>
                  <a:lnTo>
                    <a:pt x="21845" y="5420"/>
                  </a:lnTo>
                  <a:lnTo>
                    <a:pt x="21824" y="5525"/>
                  </a:lnTo>
                  <a:lnTo>
                    <a:pt x="21782" y="5566"/>
                  </a:lnTo>
                  <a:lnTo>
                    <a:pt x="21782" y="5504"/>
                  </a:lnTo>
                  <a:lnTo>
                    <a:pt x="21824" y="5441"/>
                  </a:lnTo>
                  <a:lnTo>
                    <a:pt x="21782" y="5315"/>
                  </a:lnTo>
                  <a:lnTo>
                    <a:pt x="21740" y="5232"/>
                  </a:lnTo>
                  <a:lnTo>
                    <a:pt x="21761" y="5148"/>
                  </a:lnTo>
                  <a:lnTo>
                    <a:pt x="21761" y="5064"/>
                  </a:lnTo>
                  <a:lnTo>
                    <a:pt x="21719" y="5002"/>
                  </a:lnTo>
                  <a:lnTo>
                    <a:pt x="21719" y="4918"/>
                  </a:lnTo>
                  <a:lnTo>
                    <a:pt x="21657" y="4939"/>
                  </a:lnTo>
                  <a:lnTo>
                    <a:pt x="21636" y="5002"/>
                  </a:lnTo>
                  <a:lnTo>
                    <a:pt x="21552" y="5064"/>
                  </a:lnTo>
                  <a:lnTo>
                    <a:pt x="21552" y="5148"/>
                  </a:lnTo>
                  <a:lnTo>
                    <a:pt x="21531" y="5253"/>
                  </a:lnTo>
                  <a:lnTo>
                    <a:pt x="21364" y="5420"/>
                  </a:lnTo>
                  <a:lnTo>
                    <a:pt x="21301" y="5483"/>
                  </a:lnTo>
                  <a:lnTo>
                    <a:pt x="21217" y="5483"/>
                  </a:lnTo>
                  <a:lnTo>
                    <a:pt x="21154" y="5546"/>
                  </a:lnTo>
                  <a:lnTo>
                    <a:pt x="21050" y="5629"/>
                  </a:lnTo>
                  <a:lnTo>
                    <a:pt x="20945" y="5629"/>
                  </a:lnTo>
                  <a:lnTo>
                    <a:pt x="20841" y="5734"/>
                  </a:lnTo>
                  <a:lnTo>
                    <a:pt x="20694" y="5818"/>
                  </a:lnTo>
                  <a:lnTo>
                    <a:pt x="20422" y="5818"/>
                  </a:lnTo>
                  <a:lnTo>
                    <a:pt x="20422" y="5859"/>
                  </a:lnTo>
                  <a:lnTo>
                    <a:pt x="20359" y="5901"/>
                  </a:lnTo>
                  <a:lnTo>
                    <a:pt x="20255" y="5901"/>
                  </a:lnTo>
                  <a:lnTo>
                    <a:pt x="20171" y="5880"/>
                  </a:lnTo>
                  <a:lnTo>
                    <a:pt x="20087" y="5943"/>
                  </a:lnTo>
                  <a:lnTo>
                    <a:pt x="19711" y="6131"/>
                  </a:lnTo>
                  <a:lnTo>
                    <a:pt x="19522" y="6278"/>
                  </a:lnTo>
                  <a:lnTo>
                    <a:pt x="19502" y="6382"/>
                  </a:lnTo>
                  <a:lnTo>
                    <a:pt x="19439" y="6403"/>
                  </a:lnTo>
                  <a:lnTo>
                    <a:pt x="19229" y="6571"/>
                  </a:lnTo>
                  <a:lnTo>
                    <a:pt x="19125" y="6675"/>
                  </a:lnTo>
                  <a:lnTo>
                    <a:pt x="19104" y="6613"/>
                  </a:lnTo>
                  <a:lnTo>
                    <a:pt x="19083" y="6613"/>
                  </a:lnTo>
                  <a:lnTo>
                    <a:pt x="18978" y="6696"/>
                  </a:lnTo>
                  <a:lnTo>
                    <a:pt x="18895" y="6822"/>
                  </a:lnTo>
                  <a:lnTo>
                    <a:pt x="18790" y="6968"/>
                  </a:lnTo>
                  <a:lnTo>
                    <a:pt x="18769" y="7031"/>
                  </a:lnTo>
                  <a:lnTo>
                    <a:pt x="18727" y="7094"/>
                  </a:lnTo>
                  <a:lnTo>
                    <a:pt x="18706" y="7031"/>
                  </a:lnTo>
                  <a:lnTo>
                    <a:pt x="18748" y="6906"/>
                  </a:lnTo>
                  <a:lnTo>
                    <a:pt x="18748" y="6801"/>
                  </a:lnTo>
                  <a:lnTo>
                    <a:pt x="18748" y="6696"/>
                  </a:lnTo>
                  <a:lnTo>
                    <a:pt x="18853" y="6696"/>
                  </a:lnTo>
                  <a:lnTo>
                    <a:pt x="18895" y="6654"/>
                  </a:lnTo>
                  <a:lnTo>
                    <a:pt x="19020" y="6550"/>
                  </a:lnTo>
                  <a:lnTo>
                    <a:pt x="19104" y="6508"/>
                  </a:lnTo>
                  <a:lnTo>
                    <a:pt x="19209" y="6403"/>
                  </a:lnTo>
                  <a:lnTo>
                    <a:pt x="19355" y="6278"/>
                  </a:lnTo>
                  <a:lnTo>
                    <a:pt x="19418" y="6194"/>
                  </a:lnTo>
                  <a:lnTo>
                    <a:pt x="19522" y="6152"/>
                  </a:lnTo>
                  <a:lnTo>
                    <a:pt x="19627" y="5985"/>
                  </a:lnTo>
                  <a:lnTo>
                    <a:pt x="19669" y="5922"/>
                  </a:lnTo>
                  <a:lnTo>
                    <a:pt x="19648" y="5838"/>
                  </a:lnTo>
                  <a:lnTo>
                    <a:pt x="19669" y="5776"/>
                  </a:lnTo>
                  <a:lnTo>
                    <a:pt x="19690" y="5818"/>
                  </a:lnTo>
                  <a:lnTo>
                    <a:pt x="19753" y="5838"/>
                  </a:lnTo>
                  <a:lnTo>
                    <a:pt x="19836" y="5755"/>
                  </a:lnTo>
                  <a:lnTo>
                    <a:pt x="19941" y="5713"/>
                  </a:lnTo>
                  <a:lnTo>
                    <a:pt x="19941" y="5629"/>
                  </a:lnTo>
                  <a:lnTo>
                    <a:pt x="20004" y="5504"/>
                  </a:lnTo>
                  <a:lnTo>
                    <a:pt x="20066" y="5462"/>
                  </a:lnTo>
                  <a:lnTo>
                    <a:pt x="20150" y="5504"/>
                  </a:lnTo>
                  <a:lnTo>
                    <a:pt x="20213" y="5420"/>
                  </a:lnTo>
                  <a:lnTo>
                    <a:pt x="20297" y="5399"/>
                  </a:lnTo>
                  <a:lnTo>
                    <a:pt x="20318" y="5420"/>
                  </a:lnTo>
                  <a:lnTo>
                    <a:pt x="20401" y="5420"/>
                  </a:lnTo>
                  <a:lnTo>
                    <a:pt x="20715" y="5127"/>
                  </a:lnTo>
                  <a:lnTo>
                    <a:pt x="20778" y="5022"/>
                  </a:lnTo>
                  <a:lnTo>
                    <a:pt x="20799" y="4897"/>
                  </a:lnTo>
                  <a:lnTo>
                    <a:pt x="20882" y="4709"/>
                  </a:lnTo>
                  <a:lnTo>
                    <a:pt x="20987" y="4583"/>
                  </a:lnTo>
                  <a:lnTo>
                    <a:pt x="20987" y="4458"/>
                  </a:lnTo>
                  <a:lnTo>
                    <a:pt x="20987" y="4269"/>
                  </a:lnTo>
                  <a:lnTo>
                    <a:pt x="20945" y="4165"/>
                  </a:lnTo>
                  <a:lnTo>
                    <a:pt x="20882" y="4144"/>
                  </a:lnTo>
                  <a:lnTo>
                    <a:pt x="20736" y="4165"/>
                  </a:lnTo>
                  <a:lnTo>
                    <a:pt x="20590" y="4165"/>
                  </a:lnTo>
                  <a:lnTo>
                    <a:pt x="20464" y="4102"/>
                  </a:lnTo>
                  <a:lnTo>
                    <a:pt x="20318" y="4102"/>
                  </a:lnTo>
                  <a:lnTo>
                    <a:pt x="20255" y="4165"/>
                  </a:lnTo>
                  <a:lnTo>
                    <a:pt x="20213" y="4248"/>
                  </a:lnTo>
                  <a:lnTo>
                    <a:pt x="20255" y="4290"/>
                  </a:lnTo>
                  <a:lnTo>
                    <a:pt x="20213" y="4353"/>
                  </a:lnTo>
                  <a:lnTo>
                    <a:pt x="20213" y="4499"/>
                  </a:lnTo>
                  <a:lnTo>
                    <a:pt x="20171" y="4646"/>
                  </a:lnTo>
                  <a:lnTo>
                    <a:pt x="20066" y="4792"/>
                  </a:lnTo>
                  <a:lnTo>
                    <a:pt x="20004" y="4730"/>
                  </a:lnTo>
                  <a:lnTo>
                    <a:pt x="19941" y="4709"/>
                  </a:lnTo>
                  <a:lnTo>
                    <a:pt x="19899" y="4709"/>
                  </a:lnTo>
                  <a:lnTo>
                    <a:pt x="19857" y="4771"/>
                  </a:lnTo>
                  <a:lnTo>
                    <a:pt x="19794" y="4792"/>
                  </a:lnTo>
                  <a:lnTo>
                    <a:pt x="19732" y="4730"/>
                  </a:lnTo>
                  <a:lnTo>
                    <a:pt x="19669" y="4730"/>
                  </a:lnTo>
                  <a:cubicBezTo>
                    <a:pt x="19669" y="4730"/>
                    <a:pt x="19481" y="4688"/>
                    <a:pt x="19481" y="4646"/>
                  </a:cubicBezTo>
                  <a:lnTo>
                    <a:pt x="19271" y="4646"/>
                  </a:lnTo>
                  <a:lnTo>
                    <a:pt x="19167" y="4709"/>
                  </a:lnTo>
                  <a:lnTo>
                    <a:pt x="19020" y="4730"/>
                  </a:lnTo>
                  <a:lnTo>
                    <a:pt x="18895" y="4792"/>
                  </a:lnTo>
                  <a:lnTo>
                    <a:pt x="18832" y="4750"/>
                  </a:lnTo>
                  <a:lnTo>
                    <a:pt x="18832" y="4709"/>
                  </a:lnTo>
                  <a:lnTo>
                    <a:pt x="18853" y="4625"/>
                  </a:lnTo>
                  <a:lnTo>
                    <a:pt x="18853" y="4541"/>
                  </a:lnTo>
                  <a:lnTo>
                    <a:pt x="18895" y="4478"/>
                  </a:lnTo>
                  <a:lnTo>
                    <a:pt x="18916" y="4478"/>
                  </a:lnTo>
                  <a:lnTo>
                    <a:pt x="18957" y="4499"/>
                  </a:lnTo>
                  <a:lnTo>
                    <a:pt x="19020" y="4499"/>
                  </a:lnTo>
                  <a:lnTo>
                    <a:pt x="19146" y="4437"/>
                  </a:lnTo>
                  <a:lnTo>
                    <a:pt x="19439" y="4416"/>
                  </a:lnTo>
                  <a:lnTo>
                    <a:pt x="19481" y="4395"/>
                  </a:lnTo>
                  <a:lnTo>
                    <a:pt x="19543" y="4290"/>
                  </a:lnTo>
                  <a:lnTo>
                    <a:pt x="19564" y="4206"/>
                  </a:lnTo>
                  <a:lnTo>
                    <a:pt x="19648" y="4165"/>
                  </a:lnTo>
                  <a:lnTo>
                    <a:pt x="19669" y="4102"/>
                  </a:lnTo>
                  <a:lnTo>
                    <a:pt x="19627" y="4060"/>
                  </a:lnTo>
                  <a:lnTo>
                    <a:pt x="19627" y="3997"/>
                  </a:lnTo>
                  <a:lnTo>
                    <a:pt x="19313" y="3997"/>
                  </a:lnTo>
                  <a:lnTo>
                    <a:pt x="19125" y="3955"/>
                  </a:lnTo>
                  <a:lnTo>
                    <a:pt x="19020" y="3893"/>
                  </a:lnTo>
                  <a:lnTo>
                    <a:pt x="18937" y="3872"/>
                  </a:lnTo>
                  <a:lnTo>
                    <a:pt x="18685" y="3893"/>
                  </a:lnTo>
                  <a:lnTo>
                    <a:pt x="18560" y="3872"/>
                  </a:lnTo>
                  <a:lnTo>
                    <a:pt x="18455" y="3830"/>
                  </a:lnTo>
                  <a:lnTo>
                    <a:pt x="18288" y="3830"/>
                  </a:lnTo>
                  <a:lnTo>
                    <a:pt x="18162" y="3851"/>
                  </a:lnTo>
                  <a:lnTo>
                    <a:pt x="18100" y="3830"/>
                  </a:lnTo>
                  <a:lnTo>
                    <a:pt x="17995" y="3788"/>
                  </a:lnTo>
                  <a:lnTo>
                    <a:pt x="17932" y="3788"/>
                  </a:lnTo>
                  <a:lnTo>
                    <a:pt x="17849" y="3893"/>
                  </a:lnTo>
                  <a:lnTo>
                    <a:pt x="17849" y="3976"/>
                  </a:lnTo>
                  <a:lnTo>
                    <a:pt x="17765" y="4039"/>
                  </a:lnTo>
                  <a:lnTo>
                    <a:pt x="17744" y="4039"/>
                  </a:lnTo>
                  <a:lnTo>
                    <a:pt x="17765" y="3955"/>
                  </a:lnTo>
                  <a:lnTo>
                    <a:pt x="17765" y="3934"/>
                  </a:lnTo>
                  <a:lnTo>
                    <a:pt x="17681" y="3934"/>
                  </a:lnTo>
                  <a:lnTo>
                    <a:pt x="17451" y="3997"/>
                  </a:lnTo>
                  <a:lnTo>
                    <a:pt x="17305" y="4060"/>
                  </a:lnTo>
                  <a:lnTo>
                    <a:pt x="17221" y="4144"/>
                  </a:lnTo>
                  <a:lnTo>
                    <a:pt x="17158" y="4186"/>
                  </a:lnTo>
                  <a:lnTo>
                    <a:pt x="17053" y="4186"/>
                  </a:lnTo>
                  <a:lnTo>
                    <a:pt x="16949" y="4206"/>
                  </a:lnTo>
                  <a:lnTo>
                    <a:pt x="16886" y="4269"/>
                  </a:lnTo>
                  <a:lnTo>
                    <a:pt x="16781" y="4290"/>
                  </a:lnTo>
                  <a:lnTo>
                    <a:pt x="16698" y="4374"/>
                  </a:lnTo>
                  <a:lnTo>
                    <a:pt x="16698" y="4458"/>
                  </a:lnTo>
                  <a:lnTo>
                    <a:pt x="16635" y="4520"/>
                  </a:lnTo>
                  <a:lnTo>
                    <a:pt x="16593" y="4520"/>
                  </a:lnTo>
                  <a:lnTo>
                    <a:pt x="16530" y="4458"/>
                  </a:lnTo>
                  <a:lnTo>
                    <a:pt x="16530" y="4374"/>
                  </a:lnTo>
                  <a:lnTo>
                    <a:pt x="16509" y="4290"/>
                  </a:lnTo>
                  <a:lnTo>
                    <a:pt x="16468" y="4248"/>
                  </a:lnTo>
                  <a:lnTo>
                    <a:pt x="16468" y="4165"/>
                  </a:lnTo>
                  <a:lnTo>
                    <a:pt x="16509" y="4081"/>
                  </a:lnTo>
                  <a:lnTo>
                    <a:pt x="16593" y="4081"/>
                  </a:lnTo>
                  <a:lnTo>
                    <a:pt x="16698" y="4039"/>
                  </a:lnTo>
                  <a:lnTo>
                    <a:pt x="16802" y="4039"/>
                  </a:lnTo>
                  <a:lnTo>
                    <a:pt x="16886" y="3997"/>
                  </a:lnTo>
                  <a:lnTo>
                    <a:pt x="16928" y="3955"/>
                  </a:lnTo>
                  <a:lnTo>
                    <a:pt x="17012" y="3934"/>
                  </a:lnTo>
                  <a:lnTo>
                    <a:pt x="17158" y="3893"/>
                  </a:lnTo>
                  <a:lnTo>
                    <a:pt x="17263" y="3851"/>
                  </a:lnTo>
                  <a:lnTo>
                    <a:pt x="17346" y="3788"/>
                  </a:lnTo>
                  <a:lnTo>
                    <a:pt x="17472" y="3788"/>
                  </a:lnTo>
                  <a:lnTo>
                    <a:pt x="17556" y="3746"/>
                  </a:lnTo>
                  <a:lnTo>
                    <a:pt x="17577" y="3662"/>
                  </a:lnTo>
                  <a:lnTo>
                    <a:pt x="17556" y="3621"/>
                  </a:lnTo>
                  <a:lnTo>
                    <a:pt x="17514" y="3558"/>
                  </a:lnTo>
                  <a:lnTo>
                    <a:pt x="17346" y="3558"/>
                  </a:lnTo>
                  <a:lnTo>
                    <a:pt x="17346" y="3516"/>
                  </a:lnTo>
                  <a:lnTo>
                    <a:pt x="17430" y="3516"/>
                  </a:lnTo>
                  <a:lnTo>
                    <a:pt x="17451" y="3537"/>
                  </a:lnTo>
                  <a:lnTo>
                    <a:pt x="17535" y="3537"/>
                  </a:lnTo>
                  <a:lnTo>
                    <a:pt x="17577" y="3558"/>
                  </a:lnTo>
                  <a:lnTo>
                    <a:pt x="17618" y="3662"/>
                  </a:lnTo>
                  <a:lnTo>
                    <a:pt x="17639" y="3662"/>
                  </a:lnTo>
                  <a:lnTo>
                    <a:pt x="17660" y="3641"/>
                  </a:lnTo>
                  <a:lnTo>
                    <a:pt x="17765" y="3579"/>
                  </a:lnTo>
                  <a:lnTo>
                    <a:pt x="17890" y="3621"/>
                  </a:lnTo>
                  <a:lnTo>
                    <a:pt x="17974" y="3579"/>
                  </a:lnTo>
                  <a:lnTo>
                    <a:pt x="18058" y="3537"/>
                  </a:lnTo>
                  <a:lnTo>
                    <a:pt x="18141" y="3516"/>
                  </a:lnTo>
                  <a:lnTo>
                    <a:pt x="18246" y="3537"/>
                  </a:lnTo>
                  <a:lnTo>
                    <a:pt x="18351" y="3537"/>
                  </a:lnTo>
                  <a:lnTo>
                    <a:pt x="18455" y="3516"/>
                  </a:lnTo>
                  <a:lnTo>
                    <a:pt x="18518" y="3537"/>
                  </a:lnTo>
                  <a:lnTo>
                    <a:pt x="18602" y="3579"/>
                  </a:lnTo>
                  <a:lnTo>
                    <a:pt x="18769" y="3579"/>
                  </a:lnTo>
                  <a:lnTo>
                    <a:pt x="18790" y="3621"/>
                  </a:lnTo>
                  <a:lnTo>
                    <a:pt x="18832" y="3621"/>
                  </a:lnTo>
                  <a:lnTo>
                    <a:pt x="18978" y="3725"/>
                  </a:lnTo>
                  <a:lnTo>
                    <a:pt x="19041" y="3746"/>
                  </a:lnTo>
                  <a:lnTo>
                    <a:pt x="19146" y="3725"/>
                  </a:lnTo>
                  <a:lnTo>
                    <a:pt x="19209" y="3662"/>
                  </a:lnTo>
                  <a:lnTo>
                    <a:pt x="19292" y="3662"/>
                  </a:lnTo>
                  <a:lnTo>
                    <a:pt x="19355" y="3683"/>
                  </a:lnTo>
                  <a:lnTo>
                    <a:pt x="19439" y="3683"/>
                  </a:lnTo>
                  <a:lnTo>
                    <a:pt x="19502" y="3725"/>
                  </a:lnTo>
                  <a:lnTo>
                    <a:pt x="19564" y="3725"/>
                  </a:lnTo>
                  <a:lnTo>
                    <a:pt x="19732" y="3662"/>
                  </a:lnTo>
                  <a:lnTo>
                    <a:pt x="19815" y="3621"/>
                  </a:lnTo>
                  <a:lnTo>
                    <a:pt x="19920" y="3621"/>
                  </a:lnTo>
                  <a:lnTo>
                    <a:pt x="19983" y="3662"/>
                  </a:lnTo>
                  <a:lnTo>
                    <a:pt x="20046" y="3662"/>
                  </a:lnTo>
                  <a:lnTo>
                    <a:pt x="20129" y="3621"/>
                  </a:lnTo>
                  <a:lnTo>
                    <a:pt x="20234" y="3641"/>
                  </a:lnTo>
                  <a:lnTo>
                    <a:pt x="20338" y="3641"/>
                  </a:lnTo>
                  <a:lnTo>
                    <a:pt x="20338" y="3579"/>
                  </a:lnTo>
                  <a:lnTo>
                    <a:pt x="20276" y="3558"/>
                  </a:lnTo>
                  <a:lnTo>
                    <a:pt x="20276" y="3516"/>
                  </a:lnTo>
                  <a:lnTo>
                    <a:pt x="20297" y="3474"/>
                  </a:lnTo>
                  <a:lnTo>
                    <a:pt x="20359" y="3537"/>
                  </a:lnTo>
                  <a:lnTo>
                    <a:pt x="20401" y="3579"/>
                  </a:lnTo>
                  <a:lnTo>
                    <a:pt x="20485" y="3579"/>
                  </a:lnTo>
                  <a:lnTo>
                    <a:pt x="20548" y="3558"/>
                  </a:lnTo>
                  <a:lnTo>
                    <a:pt x="20694" y="3558"/>
                  </a:lnTo>
                  <a:lnTo>
                    <a:pt x="20903" y="3474"/>
                  </a:lnTo>
                  <a:lnTo>
                    <a:pt x="21008" y="3432"/>
                  </a:lnTo>
                  <a:lnTo>
                    <a:pt x="21029" y="3369"/>
                  </a:lnTo>
                  <a:lnTo>
                    <a:pt x="21029" y="3328"/>
                  </a:lnTo>
                  <a:lnTo>
                    <a:pt x="21092" y="3307"/>
                  </a:lnTo>
                  <a:lnTo>
                    <a:pt x="21134" y="3328"/>
                  </a:lnTo>
                  <a:lnTo>
                    <a:pt x="21217" y="3307"/>
                  </a:lnTo>
                  <a:lnTo>
                    <a:pt x="21322" y="3223"/>
                  </a:lnTo>
                  <a:lnTo>
                    <a:pt x="21406" y="3202"/>
                  </a:lnTo>
                  <a:lnTo>
                    <a:pt x="21406" y="3118"/>
                  </a:lnTo>
                  <a:lnTo>
                    <a:pt x="21426" y="3056"/>
                  </a:lnTo>
                  <a:lnTo>
                    <a:pt x="21489" y="3035"/>
                  </a:lnTo>
                  <a:lnTo>
                    <a:pt x="21489" y="2930"/>
                  </a:lnTo>
                  <a:lnTo>
                    <a:pt x="21447" y="2888"/>
                  </a:lnTo>
                  <a:lnTo>
                    <a:pt x="21343" y="2805"/>
                  </a:lnTo>
                  <a:lnTo>
                    <a:pt x="21217" y="2742"/>
                  </a:lnTo>
                  <a:lnTo>
                    <a:pt x="21113" y="2637"/>
                  </a:lnTo>
                  <a:lnTo>
                    <a:pt x="21092" y="2574"/>
                  </a:lnTo>
                  <a:lnTo>
                    <a:pt x="21029" y="2512"/>
                  </a:lnTo>
                  <a:lnTo>
                    <a:pt x="20882" y="2491"/>
                  </a:lnTo>
                  <a:lnTo>
                    <a:pt x="20799" y="2407"/>
                  </a:lnTo>
                  <a:lnTo>
                    <a:pt x="20778" y="2323"/>
                  </a:lnTo>
                  <a:lnTo>
                    <a:pt x="20715" y="2302"/>
                  </a:lnTo>
                  <a:lnTo>
                    <a:pt x="20694" y="2323"/>
                  </a:lnTo>
                  <a:lnTo>
                    <a:pt x="20610" y="2365"/>
                  </a:lnTo>
                  <a:lnTo>
                    <a:pt x="20569" y="2323"/>
                  </a:lnTo>
                  <a:lnTo>
                    <a:pt x="20548" y="2261"/>
                  </a:lnTo>
                  <a:lnTo>
                    <a:pt x="20485" y="2198"/>
                  </a:lnTo>
                  <a:lnTo>
                    <a:pt x="20255" y="2198"/>
                  </a:lnTo>
                  <a:lnTo>
                    <a:pt x="20171" y="2219"/>
                  </a:lnTo>
                  <a:lnTo>
                    <a:pt x="20171" y="2302"/>
                  </a:lnTo>
                  <a:lnTo>
                    <a:pt x="20171" y="2365"/>
                  </a:lnTo>
                  <a:lnTo>
                    <a:pt x="20129" y="2302"/>
                  </a:lnTo>
                  <a:lnTo>
                    <a:pt x="20066" y="2302"/>
                  </a:lnTo>
                  <a:lnTo>
                    <a:pt x="19920" y="2386"/>
                  </a:lnTo>
                  <a:lnTo>
                    <a:pt x="19836" y="2407"/>
                  </a:lnTo>
                  <a:lnTo>
                    <a:pt x="19711" y="2365"/>
                  </a:lnTo>
                  <a:lnTo>
                    <a:pt x="19606" y="2365"/>
                  </a:lnTo>
                  <a:lnTo>
                    <a:pt x="19522" y="2323"/>
                  </a:lnTo>
                  <a:lnTo>
                    <a:pt x="19460" y="2261"/>
                  </a:lnTo>
                  <a:lnTo>
                    <a:pt x="19460" y="2177"/>
                  </a:lnTo>
                  <a:lnTo>
                    <a:pt x="19522" y="2177"/>
                  </a:lnTo>
                  <a:lnTo>
                    <a:pt x="19564" y="2219"/>
                  </a:lnTo>
                  <a:lnTo>
                    <a:pt x="19669" y="2261"/>
                  </a:lnTo>
                  <a:lnTo>
                    <a:pt x="19711" y="2219"/>
                  </a:lnTo>
                  <a:lnTo>
                    <a:pt x="19711" y="2177"/>
                  </a:lnTo>
                  <a:lnTo>
                    <a:pt x="19606" y="2093"/>
                  </a:lnTo>
                  <a:lnTo>
                    <a:pt x="19606" y="2009"/>
                  </a:lnTo>
                  <a:lnTo>
                    <a:pt x="19627" y="1989"/>
                  </a:lnTo>
                  <a:lnTo>
                    <a:pt x="19669" y="2072"/>
                  </a:lnTo>
                  <a:lnTo>
                    <a:pt x="19774" y="2114"/>
                  </a:lnTo>
                  <a:lnTo>
                    <a:pt x="19857" y="2156"/>
                  </a:lnTo>
                  <a:lnTo>
                    <a:pt x="20025" y="2093"/>
                  </a:lnTo>
                  <a:lnTo>
                    <a:pt x="20171" y="1968"/>
                  </a:lnTo>
                  <a:lnTo>
                    <a:pt x="20171" y="1884"/>
                  </a:lnTo>
                  <a:lnTo>
                    <a:pt x="20150" y="1842"/>
                  </a:lnTo>
                  <a:lnTo>
                    <a:pt x="20087" y="1800"/>
                  </a:lnTo>
                  <a:lnTo>
                    <a:pt x="20087" y="1758"/>
                  </a:lnTo>
                  <a:lnTo>
                    <a:pt x="20150" y="1696"/>
                  </a:lnTo>
                  <a:lnTo>
                    <a:pt x="20150" y="1675"/>
                  </a:lnTo>
                  <a:lnTo>
                    <a:pt x="20046" y="1591"/>
                  </a:lnTo>
                  <a:lnTo>
                    <a:pt x="19962" y="1486"/>
                  </a:lnTo>
                  <a:lnTo>
                    <a:pt x="19920" y="1465"/>
                  </a:lnTo>
                  <a:lnTo>
                    <a:pt x="19857" y="1486"/>
                  </a:lnTo>
                  <a:lnTo>
                    <a:pt x="19774" y="1570"/>
                  </a:lnTo>
                  <a:lnTo>
                    <a:pt x="19627" y="1654"/>
                  </a:lnTo>
                  <a:lnTo>
                    <a:pt x="19439" y="1654"/>
                  </a:lnTo>
                  <a:lnTo>
                    <a:pt x="19334" y="1737"/>
                  </a:lnTo>
                  <a:lnTo>
                    <a:pt x="19292" y="1737"/>
                  </a:lnTo>
                  <a:lnTo>
                    <a:pt x="19229" y="1675"/>
                  </a:lnTo>
                  <a:lnTo>
                    <a:pt x="19188" y="1654"/>
                  </a:lnTo>
                  <a:lnTo>
                    <a:pt x="19104" y="1675"/>
                  </a:lnTo>
                  <a:lnTo>
                    <a:pt x="19020" y="1696"/>
                  </a:lnTo>
                  <a:lnTo>
                    <a:pt x="18937" y="1675"/>
                  </a:lnTo>
                  <a:lnTo>
                    <a:pt x="18874" y="1633"/>
                  </a:lnTo>
                  <a:lnTo>
                    <a:pt x="18769" y="1591"/>
                  </a:lnTo>
                  <a:lnTo>
                    <a:pt x="18685" y="1549"/>
                  </a:lnTo>
                  <a:lnTo>
                    <a:pt x="18581" y="1528"/>
                  </a:lnTo>
                  <a:lnTo>
                    <a:pt x="18476" y="1445"/>
                  </a:lnTo>
                  <a:lnTo>
                    <a:pt x="18309" y="1424"/>
                  </a:lnTo>
                  <a:lnTo>
                    <a:pt x="18100" y="1445"/>
                  </a:lnTo>
                  <a:lnTo>
                    <a:pt x="17995" y="1465"/>
                  </a:lnTo>
                  <a:lnTo>
                    <a:pt x="17849" y="1528"/>
                  </a:lnTo>
                  <a:lnTo>
                    <a:pt x="17723" y="1549"/>
                  </a:lnTo>
                  <a:lnTo>
                    <a:pt x="17577" y="1570"/>
                  </a:lnTo>
                  <a:lnTo>
                    <a:pt x="17472" y="1549"/>
                  </a:lnTo>
                  <a:lnTo>
                    <a:pt x="17346" y="1570"/>
                  </a:lnTo>
                  <a:lnTo>
                    <a:pt x="17325" y="1591"/>
                  </a:lnTo>
                  <a:lnTo>
                    <a:pt x="17346" y="1737"/>
                  </a:lnTo>
                  <a:lnTo>
                    <a:pt x="17346" y="1800"/>
                  </a:lnTo>
                  <a:lnTo>
                    <a:pt x="17305" y="1800"/>
                  </a:lnTo>
                  <a:lnTo>
                    <a:pt x="17242" y="1779"/>
                  </a:lnTo>
                  <a:lnTo>
                    <a:pt x="17158" y="1654"/>
                  </a:lnTo>
                  <a:lnTo>
                    <a:pt x="17137" y="1570"/>
                  </a:lnTo>
                  <a:lnTo>
                    <a:pt x="17095" y="1549"/>
                  </a:lnTo>
                  <a:lnTo>
                    <a:pt x="17012" y="1570"/>
                  </a:lnTo>
                  <a:lnTo>
                    <a:pt x="16698" y="1570"/>
                  </a:lnTo>
                  <a:cubicBezTo>
                    <a:pt x="16698" y="1570"/>
                    <a:pt x="16593" y="1633"/>
                    <a:pt x="16572" y="1633"/>
                  </a:cubicBezTo>
                  <a:lnTo>
                    <a:pt x="16489" y="1737"/>
                  </a:lnTo>
                  <a:lnTo>
                    <a:pt x="16426" y="1884"/>
                  </a:lnTo>
                  <a:lnTo>
                    <a:pt x="16384" y="1968"/>
                  </a:lnTo>
                  <a:lnTo>
                    <a:pt x="16363" y="1968"/>
                  </a:lnTo>
                  <a:lnTo>
                    <a:pt x="16363" y="1905"/>
                  </a:lnTo>
                  <a:lnTo>
                    <a:pt x="16405" y="1800"/>
                  </a:lnTo>
                  <a:lnTo>
                    <a:pt x="16426" y="1737"/>
                  </a:lnTo>
                  <a:lnTo>
                    <a:pt x="16405" y="1696"/>
                  </a:lnTo>
                  <a:lnTo>
                    <a:pt x="16321" y="1737"/>
                  </a:lnTo>
                  <a:lnTo>
                    <a:pt x="16196" y="1737"/>
                  </a:lnTo>
                  <a:lnTo>
                    <a:pt x="16154" y="1779"/>
                  </a:lnTo>
                  <a:lnTo>
                    <a:pt x="16154" y="1842"/>
                  </a:lnTo>
                  <a:lnTo>
                    <a:pt x="16112" y="1884"/>
                  </a:lnTo>
                  <a:lnTo>
                    <a:pt x="16112" y="1989"/>
                  </a:lnTo>
                  <a:lnTo>
                    <a:pt x="16049" y="2009"/>
                  </a:lnTo>
                  <a:lnTo>
                    <a:pt x="16007" y="1968"/>
                  </a:lnTo>
                  <a:lnTo>
                    <a:pt x="16007" y="1905"/>
                  </a:lnTo>
                  <a:lnTo>
                    <a:pt x="16070" y="1842"/>
                  </a:lnTo>
                  <a:lnTo>
                    <a:pt x="16070" y="1675"/>
                  </a:lnTo>
                  <a:lnTo>
                    <a:pt x="16091" y="1591"/>
                  </a:lnTo>
                  <a:lnTo>
                    <a:pt x="16300" y="1465"/>
                  </a:lnTo>
                  <a:lnTo>
                    <a:pt x="16426" y="1382"/>
                  </a:lnTo>
                  <a:lnTo>
                    <a:pt x="16593" y="1382"/>
                  </a:lnTo>
                  <a:lnTo>
                    <a:pt x="16719" y="1424"/>
                  </a:lnTo>
                  <a:lnTo>
                    <a:pt x="16823" y="1424"/>
                  </a:lnTo>
                  <a:lnTo>
                    <a:pt x="16844" y="1382"/>
                  </a:lnTo>
                  <a:lnTo>
                    <a:pt x="17116" y="1382"/>
                  </a:lnTo>
                  <a:lnTo>
                    <a:pt x="17200" y="1340"/>
                  </a:lnTo>
                  <a:lnTo>
                    <a:pt x="17221" y="1256"/>
                  </a:lnTo>
                  <a:lnTo>
                    <a:pt x="17158" y="1256"/>
                  </a:lnTo>
                  <a:lnTo>
                    <a:pt x="17095" y="1173"/>
                  </a:lnTo>
                  <a:lnTo>
                    <a:pt x="17095" y="1068"/>
                  </a:lnTo>
                  <a:lnTo>
                    <a:pt x="17200" y="1005"/>
                  </a:lnTo>
                  <a:lnTo>
                    <a:pt x="17263" y="963"/>
                  </a:lnTo>
                  <a:lnTo>
                    <a:pt x="17346" y="963"/>
                  </a:lnTo>
                  <a:lnTo>
                    <a:pt x="17367" y="1026"/>
                  </a:lnTo>
                  <a:lnTo>
                    <a:pt x="17346" y="1068"/>
                  </a:lnTo>
                  <a:lnTo>
                    <a:pt x="17305" y="1068"/>
                  </a:lnTo>
                  <a:lnTo>
                    <a:pt x="17346" y="1152"/>
                  </a:lnTo>
                  <a:lnTo>
                    <a:pt x="17346" y="1256"/>
                  </a:lnTo>
                  <a:lnTo>
                    <a:pt x="17409" y="1340"/>
                  </a:lnTo>
                  <a:lnTo>
                    <a:pt x="17556" y="1340"/>
                  </a:lnTo>
                  <a:lnTo>
                    <a:pt x="17681" y="1277"/>
                  </a:lnTo>
                  <a:lnTo>
                    <a:pt x="17765" y="1277"/>
                  </a:lnTo>
                  <a:lnTo>
                    <a:pt x="17869" y="1319"/>
                  </a:lnTo>
                  <a:lnTo>
                    <a:pt x="17953" y="1277"/>
                  </a:lnTo>
                  <a:lnTo>
                    <a:pt x="18141" y="1214"/>
                  </a:lnTo>
                  <a:lnTo>
                    <a:pt x="18267" y="1214"/>
                  </a:lnTo>
                  <a:lnTo>
                    <a:pt x="18309" y="1256"/>
                  </a:lnTo>
                  <a:lnTo>
                    <a:pt x="18393" y="1256"/>
                  </a:lnTo>
                  <a:lnTo>
                    <a:pt x="18455" y="1214"/>
                  </a:lnTo>
                  <a:lnTo>
                    <a:pt x="18581" y="1214"/>
                  </a:lnTo>
                  <a:lnTo>
                    <a:pt x="18685" y="1256"/>
                  </a:lnTo>
                  <a:lnTo>
                    <a:pt x="18769" y="1256"/>
                  </a:lnTo>
                  <a:lnTo>
                    <a:pt x="18853" y="1277"/>
                  </a:lnTo>
                  <a:lnTo>
                    <a:pt x="19083" y="1382"/>
                  </a:lnTo>
                  <a:lnTo>
                    <a:pt x="19209" y="1382"/>
                  </a:lnTo>
                  <a:lnTo>
                    <a:pt x="19313" y="1361"/>
                  </a:lnTo>
                  <a:lnTo>
                    <a:pt x="19439" y="1361"/>
                  </a:lnTo>
                  <a:lnTo>
                    <a:pt x="19481" y="1277"/>
                  </a:lnTo>
                  <a:lnTo>
                    <a:pt x="19564" y="1235"/>
                  </a:lnTo>
                  <a:lnTo>
                    <a:pt x="19669" y="1256"/>
                  </a:lnTo>
                  <a:lnTo>
                    <a:pt x="19774" y="1256"/>
                  </a:lnTo>
                  <a:lnTo>
                    <a:pt x="19836" y="1173"/>
                  </a:lnTo>
                  <a:lnTo>
                    <a:pt x="19836" y="1131"/>
                  </a:lnTo>
                  <a:lnTo>
                    <a:pt x="19669" y="1026"/>
                  </a:lnTo>
                  <a:lnTo>
                    <a:pt x="19585" y="963"/>
                  </a:lnTo>
                  <a:lnTo>
                    <a:pt x="19543" y="859"/>
                  </a:lnTo>
                  <a:lnTo>
                    <a:pt x="19439" y="796"/>
                  </a:lnTo>
                  <a:lnTo>
                    <a:pt x="19250" y="733"/>
                  </a:lnTo>
                  <a:lnTo>
                    <a:pt x="19167" y="649"/>
                  </a:lnTo>
                  <a:lnTo>
                    <a:pt x="19062" y="628"/>
                  </a:lnTo>
                  <a:lnTo>
                    <a:pt x="18957" y="649"/>
                  </a:lnTo>
                  <a:lnTo>
                    <a:pt x="18916" y="608"/>
                  </a:lnTo>
                  <a:lnTo>
                    <a:pt x="18853" y="545"/>
                  </a:lnTo>
                  <a:lnTo>
                    <a:pt x="18727" y="587"/>
                  </a:lnTo>
                  <a:lnTo>
                    <a:pt x="18685" y="524"/>
                  </a:lnTo>
                  <a:lnTo>
                    <a:pt x="18455" y="503"/>
                  </a:lnTo>
                  <a:lnTo>
                    <a:pt x="18309" y="398"/>
                  </a:lnTo>
                  <a:lnTo>
                    <a:pt x="18246" y="398"/>
                  </a:lnTo>
                  <a:lnTo>
                    <a:pt x="18058" y="294"/>
                  </a:lnTo>
                  <a:lnTo>
                    <a:pt x="17995" y="294"/>
                  </a:lnTo>
                  <a:lnTo>
                    <a:pt x="17995" y="315"/>
                  </a:lnTo>
                  <a:lnTo>
                    <a:pt x="17932" y="336"/>
                  </a:lnTo>
                  <a:lnTo>
                    <a:pt x="17765" y="231"/>
                  </a:lnTo>
                  <a:lnTo>
                    <a:pt x="17744" y="168"/>
                  </a:lnTo>
                  <a:lnTo>
                    <a:pt x="17681" y="105"/>
                  </a:lnTo>
                  <a:lnTo>
                    <a:pt x="17597" y="126"/>
                  </a:lnTo>
                  <a:lnTo>
                    <a:pt x="17535" y="126"/>
                  </a:lnTo>
                  <a:lnTo>
                    <a:pt x="17472" y="84"/>
                  </a:lnTo>
                  <a:lnTo>
                    <a:pt x="17263" y="84"/>
                  </a:lnTo>
                  <a:lnTo>
                    <a:pt x="17158" y="22"/>
                  </a:lnTo>
                  <a:lnTo>
                    <a:pt x="17074" y="84"/>
                  </a:lnTo>
                  <a:lnTo>
                    <a:pt x="17033" y="84"/>
                  </a:lnTo>
                  <a:lnTo>
                    <a:pt x="17012" y="64"/>
                  </a:lnTo>
                  <a:lnTo>
                    <a:pt x="16928" y="1"/>
                  </a:lnTo>
                  <a:lnTo>
                    <a:pt x="16740" y="22"/>
                  </a:lnTo>
                  <a:lnTo>
                    <a:pt x="1661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grpSp>
          <p:nvGrpSpPr>
            <p:cNvPr id="1120" name="Google Shape;5867;p93">
              <a:extLst>
                <a:ext uri="{FF2B5EF4-FFF2-40B4-BE49-F238E27FC236}">
                  <a16:creationId xmlns:a16="http://schemas.microsoft.com/office/drawing/2014/main" id="{F7C46140-98E0-4DD0-817E-949D0B97D6EA}"/>
                </a:ext>
              </a:extLst>
            </p:cNvPr>
            <p:cNvGrpSpPr/>
            <p:nvPr/>
          </p:nvGrpSpPr>
          <p:grpSpPr>
            <a:xfrm>
              <a:off x="2905224" y="2311071"/>
              <a:ext cx="596721" cy="528992"/>
              <a:chOff x="1922950" y="1410350"/>
              <a:chExt cx="1252825" cy="1162875"/>
            </a:xfrm>
          </p:grpSpPr>
          <p:sp>
            <p:nvSpPr>
              <p:cNvPr id="1309" name="Google Shape;5868;p93">
                <a:extLst>
                  <a:ext uri="{FF2B5EF4-FFF2-40B4-BE49-F238E27FC236}">
                    <a16:creationId xmlns:a16="http://schemas.microsoft.com/office/drawing/2014/main" id="{65E59606-8C8C-417C-A404-AC4BD4960918}"/>
                  </a:ext>
                </a:extLst>
              </p:cNvPr>
              <p:cNvSpPr/>
              <p:nvPr/>
            </p:nvSpPr>
            <p:spPr>
              <a:xfrm>
                <a:off x="1988325" y="2333100"/>
                <a:ext cx="52325" cy="65925"/>
              </a:xfrm>
              <a:custGeom>
                <a:avLst/>
                <a:gdLst/>
                <a:ahLst/>
                <a:cxnLst/>
                <a:rect l="l" t="t" r="r" b="b"/>
                <a:pathLst>
                  <a:path w="2093" h="2637" extrusionOk="0">
                    <a:moveTo>
                      <a:pt x="210" y="0"/>
                    </a:moveTo>
                    <a:lnTo>
                      <a:pt x="189" y="63"/>
                    </a:lnTo>
                    <a:lnTo>
                      <a:pt x="1" y="21"/>
                    </a:lnTo>
                    <a:lnTo>
                      <a:pt x="63" y="188"/>
                    </a:lnTo>
                    <a:lnTo>
                      <a:pt x="105" y="209"/>
                    </a:lnTo>
                    <a:lnTo>
                      <a:pt x="168" y="335"/>
                    </a:lnTo>
                    <a:lnTo>
                      <a:pt x="440" y="377"/>
                    </a:lnTo>
                    <a:lnTo>
                      <a:pt x="314" y="439"/>
                    </a:lnTo>
                    <a:lnTo>
                      <a:pt x="189" y="439"/>
                    </a:lnTo>
                    <a:lnTo>
                      <a:pt x="105" y="544"/>
                    </a:lnTo>
                    <a:lnTo>
                      <a:pt x="168" y="607"/>
                    </a:lnTo>
                    <a:lnTo>
                      <a:pt x="105" y="732"/>
                    </a:lnTo>
                    <a:lnTo>
                      <a:pt x="126" y="774"/>
                    </a:lnTo>
                    <a:lnTo>
                      <a:pt x="273" y="732"/>
                    </a:lnTo>
                    <a:lnTo>
                      <a:pt x="293" y="837"/>
                    </a:lnTo>
                    <a:lnTo>
                      <a:pt x="419" y="837"/>
                    </a:lnTo>
                    <a:lnTo>
                      <a:pt x="419" y="942"/>
                    </a:lnTo>
                    <a:lnTo>
                      <a:pt x="524" y="1025"/>
                    </a:lnTo>
                    <a:lnTo>
                      <a:pt x="649" y="963"/>
                    </a:lnTo>
                    <a:lnTo>
                      <a:pt x="503" y="1130"/>
                    </a:lnTo>
                    <a:lnTo>
                      <a:pt x="545" y="1276"/>
                    </a:lnTo>
                    <a:lnTo>
                      <a:pt x="649" y="1255"/>
                    </a:lnTo>
                    <a:lnTo>
                      <a:pt x="649" y="1151"/>
                    </a:lnTo>
                    <a:lnTo>
                      <a:pt x="817" y="1109"/>
                    </a:lnTo>
                    <a:lnTo>
                      <a:pt x="817" y="1109"/>
                    </a:lnTo>
                    <a:lnTo>
                      <a:pt x="754" y="1235"/>
                    </a:lnTo>
                    <a:lnTo>
                      <a:pt x="691" y="1339"/>
                    </a:lnTo>
                    <a:lnTo>
                      <a:pt x="691" y="1423"/>
                    </a:lnTo>
                    <a:lnTo>
                      <a:pt x="733" y="1423"/>
                    </a:lnTo>
                    <a:lnTo>
                      <a:pt x="796" y="1548"/>
                    </a:lnTo>
                    <a:lnTo>
                      <a:pt x="963" y="1528"/>
                    </a:lnTo>
                    <a:lnTo>
                      <a:pt x="963" y="1632"/>
                    </a:lnTo>
                    <a:lnTo>
                      <a:pt x="1047" y="1632"/>
                    </a:lnTo>
                    <a:lnTo>
                      <a:pt x="1068" y="1737"/>
                    </a:lnTo>
                    <a:lnTo>
                      <a:pt x="1047" y="1820"/>
                    </a:lnTo>
                    <a:lnTo>
                      <a:pt x="1172" y="1967"/>
                    </a:lnTo>
                    <a:lnTo>
                      <a:pt x="1256" y="1883"/>
                    </a:lnTo>
                    <a:lnTo>
                      <a:pt x="1319" y="1946"/>
                    </a:lnTo>
                    <a:lnTo>
                      <a:pt x="1423" y="1946"/>
                    </a:lnTo>
                    <a:lnTo>
                      <a:pt x="1256" y="2113"/>
                    </a:lnTo>
                    <a:lnTo>
                      <a:pt x="1465" y="2323"/>
                    </a:lnTo>
                    <a:lnTo>
                      <a:pt x="1549" y="2364"/>
                    </a:lnTo>
                    <a:lnTo>
                      <a:pt x="1591" y="2427"/>
                    </a:lnTo>
                    <a:lnTo>
                      <a:pt x="1946" y="2636"/>
                    </a:lnTo>
                    <a:lnTo>
                      <a:pt x="1988" y="2595"/>
                    </a:lnTo>
                    <a:lnTo>
                      <a:pt x="2093" y="2616"/>
                    </a:lnTo>
                    <a:lnTo>
                      <a:pt x="2009" y="2302"/>
                    </a:lnTo>
                    <a:lnTo>
                      <a:pt x="2051" y="2176"/>
                    </a:lnTo>
                    <a:lnTo>
                      <a:pt x="2009" y="2072"/>
                    </a:lnTo>
                    <a:lnTo>
                      <a:pt x="2009" y="1820"/>
                    </a:lnTo>
                    <a:lnTo>
                      <a:pt x="1946" y="1695"/>
                    </a:lnTo>
                    <a:lnTo>
                      <a:pt x="1674" y="1548"/>
                    </a:lnTo>
                    <a:lnTo>
                      <a:pt x="1653" y="1214"/>
                    </a:lnTo>
                    <a:lnTo>
                      <a:pt x="1528" y="1004"/>
                    </a:lnTo>
                    <a:lnTo>
                      <a:pt x="1486" y="774"/>
                    </a:lnTo>
                    <a:lnTo>
                      <a:pt x="1444" y="732"/>
                    </a:lnTo>
                    <a:lnTo>
                      <a:pt x="1319" y="711"/>
                    </a:lnTo>
                    <a:lnTo>
                      <a:pt x="1130" y="607"/>
                    </a:lnTo>
                    <a:lnTo>
                      <a:pt x="1005" y="607"/>
                    </a:lnTo>
                    <a:lnTo>
                      <a:pt x="858" y="544"/>
                    </a:lnTo>
                    <a:lnTo>
                      <a:pt x="817" y="439"/>
                    </a:lnTo>
                    <a:lnTo>
                      <a:pt x="628" y="377"/>
                    </a:lnTo>
                    <a:lnTo>
                      <a:pt x="545" y="251"/>
                    </a:lnTo>
                    <a:lnTo>
                      <a:pt x="524" y="167"/>
                    </a:lnTo>
                    <a:lnTo>
                      <a:pt x="398" y="167"/>
                    </a:lnTo>
                    <a:lnTo>
                      <a:pt x="314" y="21"/>
                    </a:lnTo>
                    <a:lnTo>
                      <a:pt x="21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 name="Google Shape;5869;p93">
                <a:extLst>
                  <a:ext uri="{FF2B5EF4-FFF2-40B4-BE49-F238E27FC236}">
                    <a16:creationId xmlns:a16="http://schemas.microsoft.com/office/drawing/2014/main" id="{194C9645-D6EB-4697-A136-377C1546E210}"/>
                  </a:ext>
                </a:extLst>
              </p:cNvPr>
              <p:cNvSpPr/>
              <p:nvPr/>
            </p:nvSpPr>
            <p:spPr>
              <a:xfrm>
                <a:off x="1953800" y="2242075"/>
                <a:ext cx="23050" cy="54425"/>
              </a:xfrm>
              <a:custGeom>
                <a:avLst/>
                <a:gdLst/>
                <a:ahLst/>
                <a:cxnLst/>
                <a:rect l="l" t="t" r="r" b="b"/>
                <a:pathLst>
                  <a:path w="922" h="2177" extrusionOk="0">
                    <a:moveTo>
                      <a:pt x="210" y="0"/>
                    </a:moveTo>
                    <a:lnTo>
                      <a:pt x="21" y="314"/>
                    </a:lnTo>
                    <a:lnTo>
                      <a:pt x="42" y="523"/>
                    </a:lnTo>
                    <a:lnTo>
                      <a:pt x="1" y="628"/>
                    </a:lnTo>
                    <a:lnTo>
                      <a:pt x="1" y="733"/>
                    </a:lnTo>
                    <a:lnTo>
                      <a:pt x="105" y="754"/>
                    </a:lnTo>
                    <a:lnTo>
                      <a:pt x="189" y="837"/>
                    </a:lnTo>
                    <a:lnTo>
                      <a:pt x="189" y="942"/>
                    </a:lnTo>
                    <a:lnTo>
                      <a:pt x="126" y="921"/>
                    </a:lnTo>
                    <a:lnTo>
                      <a:pt x="21" y="900"/>
                    </a:lnTo>
                    <a:lnTo>
                      <a:pt x="21" y="984"/>
                    </a:lnTo>
                    <a:lnTo>
                      <a:pt x="105" y="1047"/>
                    </a:lnTo>
                    <a:lnTo>
                      <a:pt x="21" y="1193"/>
                    </a:lnTo>
                    <a:lnTo>
                      <a:pt x="105" y="1214"/>
                    </a:lnTo>
                    <a:lnTo>
                      <a:pt x="210" y="1339"/>
                    </a:lnTo>
                    <a:lnTo>
                      <a:pt x="84" y="1319"/>
                    </a:lnTo>
                    <a:lnTo>
                      <a:pt x="21" y="1402"/>
                    </a:lnTo>
                    <a:lnTo>
                      <a:pt x="42" y="1507"/>
                    </a:lnTo>
                    <a:lnTo>
                      <a:pt x="210" y="1528"/>
                    </a:lnTo>
                    <a:lnTo>
                      <a:pt x="147" y="1611"/>
                    </a:lnTo>
                    <a:lnTo>
                      <a:pt x="189" y="1758"/>
                    </a:lnTo>
                    <a:lnTo>
                      <a:pt x="356" y="2135"/>
                    </a:lnTo>
                    <a:lnTo>
                      <a:pt x="503" y="2176"/>
                    </a:lnTo>
                    <a:lnTo>
                      <a:pt x="565" y="2072"/>
                    </a:lnTo>
                    <a:lnTo>
                      <a:pt x="524" y="1988"/>
                    </a:lnTo>
                    <a:lnTo>
                      <a:pt x="440" y="1988"/>
                    </a:lnTo>
                    <a:lnTo>
                      <a:pt x="398" y="1863"/>
                    </a:lnTo>
                    <a:lnTo>
                      <a:pt x="335" y="1653"/>
                    </a:lnTo>
                    <a:lnTo>
                      <a:pt x="356" y="1507"/>
                    </a:lnTo>
                    <a:lnTo>
                      <a:pt x="314" y="1402"/>
                    </a:lnTo>
                    <a:lnTo>
                      <a:pt x="398" y="1235"/>
                    </a:lnTo>
                    <a:lnTo>
                      <a:pt x="545" y="1235"/>
                    </a:lnTo>
                    <a:lnTo>
                      <a:pt x="524" y="1109"/>
                    </a:lnTo>
                    <a:lnTo>
                      <a:pt x="419" y="1109"/>
                    </a:lnTo>
                    <a:lnTo>
                      <a:pt x="335" y="1130"/>
                    </a:lnTo>
                    <a:lnTo>
                      <a:pt x="231" y="1130"/>
                    </a:lnTo>
                    <a:lnTo>
                      <a:pt x="314" y="1026"/>
                    </a:lnTo>
                    <a:lnTo>
                      <a:pt x="419" y="1026"/>
                    </a:lnTo>
                    <a:lnTo>
                      <a:pt x="545" y="921"/>
                    </a:lnTo>
                    <a:lnTo>
                      <a:pt x="565" y="733"/>
                    </a:lnTo>
                    <a:lnTo>
                      <a:pt x="670" y="607"/>
                    </a:lnTo>
                    <a:lnTo>
                      <a:pt x="712" y="419"/>
                    </a:lnTo>
                    <a:lnTo>
                      <a:pt x="921" y="210"/>
                    </a:lnTo>
                    <a:lnTo>
                      <a:pt x="858" y="189"/>
                    </a:lnTo>
                    <a:lnTo>
                      <a:pt x="670" y="272"/>
                    </a:lnTo>
                    <a:lnTo>
                      <a:pt x="545" y="461"/>
                    </a:lnTo>
                    <a:lnTo>
                      <a:pt x="461" y="628"/>
                    </a:lnTo>
                    <a:lnTo>
                      <a:pt x="335" y="670"/>
                    </a:lnTo>
                    <a:lnTo>
                      <a:pt x="335" y="586"/>
                    </a:lnTo>
                    <a:lnTo>
                      <a:pt x="252" y="523"/>
                    </a:lnTo>
                    <a:lnTo>
                      <a:pt x="461" y="461"/>
                    </a:lnTo>
                    <a:lnTo>
                      <a:pt x="565" y="377"/>
                    </a:lnTo>
                    <a:lnTo>
                      <a:pt x="607" y="231"/>
                    </a:lnTo>
                    <a:lnTo>
                      <a:pt x="607" y="168"/>
                    </a:lnTo>
                    <a:lnTo>
                      <a:pt x="503" y="105"/>
                    </a:lnTo>
                    <a:lnTo>
                      <a:pt x="440" y="189"/>
                    </a:lnTo>
                    <a:lnTo>
                      <a:pt x="356" y="210"/>
                    </a:lnTo>
                    <a:lnTo>
                      <a:pt x="398" y="63"/>
                    </a:lnTo>
                    <a:lnTo>
                      <a:pt x="21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 name="Google Shape;5870;p93">
                <a:extLst>
                  <a:ext uri="{FF2B5EF4-FFF2-40B4-BE49-F238E27FC236}">
                    <a16:creationId xmlns:a16="http://schemas.microsoft.com/office/drawing/2014/main" id="{D3A2D8EF-B0CB-487C-9E02-61A55077DF27}"/>
                  </a:ext>
                </a:extLst>
              </p:cNvPr>
              <p:cNvSpPr/>
              <p:nvPr/>
            </p:nvSpPr>
            <p:spPr>
              <a:xfrm>
                <a:off x="2552225" y="1885325"/>
                <a:ext cx="48150" cy="48675"/>
              </a:xfrm>
              <a:custGeom>
                <a:avLst/>
                <a:gdLst/>
                <a:ahLst/>
                <a:cxnLst/>
                <a:rect l="l" t="t" r="r" b="b"/>
                <a:pathLst>
                  <a:path w="1926" h="1947" extrusionOk="0">
                    <a:moveTo>
                      <a:pt x="1402" y="0"/>
                    </a:moveTo>
                    <a:lnTo>
                      <a:pt x="1256" y="21"/>
                    </a:lnTo>
                    <a:lnTo>
                      <a:pt x="1067" y="189"/>
                    </a:lnTo>
                    <a:lnTo>
                      <a:pt x="984" y="356"/>
                    </a:lnTo>
                    <a:lnTo>
                      <a:pt x="1046" y="544"/>
                    </a:lnTo>
                    <a:lnTo>
                      <a:pt x="942" y="524"/>
                    </a:lnTo>
                    <a:lnTo>
                      <a:pt x="900" y="356"/>
                    </a:lnTo>
                    <a:lnTo>
                      <a:pt x="858" y="356"/>
                    </a:lnTo>
                    <a:lnTo>
                      <a:pt x="837" y="503"/>
                    </a:lnTo>
                    <a:lnTo>
                      <a:pt x="753" y="503"/>
                    </a:lnTo>
                    <a:lnTo>
                      <a:pt x="795" y="607"/>
                    </a:lnTo>
                    <a:lnTo>
                      <a:pt x="753" y="712"/>
                    </a:lnTo>
                    <a:lnTo>
                      <a:pt x="649" y="712"/>
                    </a:lnTo>
                    <a:lnTo>
                      <a:pt x="586" y="816"/>
                    </a:lnTo>
                    <a:lnTo>
                      <a:pt x="419" y="775"/>
                    </a:lnTo>
                    <a:lnTo>
                      <a:pt x="335" y="837"/>
                    </a:lnTo>
                    <a:lnTo>
                      <a:pt x="251" y="816"/>
                    </a:lnTo>
                    <a:lnTo>
                      <a:pt x="0" y="963"/>
                    </a:lnTo>
                    <a:lnTo>
                      <a:pt x="21" y="1088"/>
                    </a:lnTo>
                    <a:lnTo>
                      <a:pt x="147" y="1235"/>
                    </a:lnTo>
                    <a:lnTo>
                      <a:pt x="230" y="1172"/>
                    </a:lnTo>
                    <a:lnTo>
                      <a:pt x="209" y="1088"/>
                    </a:lnTo>
                    <a:lnTo>
                      <a:pt x="251" y="1026"/>
                    </a:lnTo>
                    <a:lnTo>
                      <a:pt x="356" y="1130"/>
                    </a:lnTo>
                    <a:lnTo>
                      <a:pt x="314" y="1277"/>
                    </a:lnTo>
                    <a:lnTo>
                      <a:pt x="440" y="1381"/>
                    </a:lnTo>
                    <a:lnTo>
                      <a:pt x="523" y="1256"/>
                    </a:lnTo>
                    <a:lnTo>
                      <a:pt x="544" y="1340"/>
                    </a:lnTo>
                    <a:lnTo>
                      <a:pt x="523" y="1423"/>
                    </a:lnTo>
                    <a:lnTo>
                      <a:pt x="649" y="1591"/>
                    </a:lnTo>
                    <a:lnTo>
                      <a:pt x="753" y="1612"/>
                    </a:lnTo>
                    <a:lnTo>
                      <a:pt x="795" y="1779"/>
                    </a:lnTo>
                    <a:lnTo>
                      <a:pt x="879" y="1863"/>
                    </a:lnTo>
                    <a:lnTo>
                      <a:pt x="963" y="1716"/>
                    </a:lnTo>
                    <a:lnTo>
                      <a:pt x="984" y="1821"/>
                    </a:lnTo>
                    <a:lnTo>
                      <a:pt x="1109" y="1946"/>
                    </a:lnTo>
                    <a:lnTo>
                      <a:pt x="1214" y="1925"/>
                    </a:lnTo>
                    <a:lnTo>
                      <a:pt x="1318" y="1925"/>
                    </a:lnTo>
                    <a:lnTo>
                      <a:pt x="1423" y="1821"/>
                    </a:lnTo>
                    <a:lnTo>
                      <a:pt x="1507" y="1800"/>
                    </a:lnTo>
                    <a:lnTo>
                      <a:pt x="1632" y="1695"/>
                    </a:lnTo>
                    <a:lnTo>
                      <a:pt x="1695" y="1800"/>
                    </a:lnTo>
                    <a:lnTo>
                      <a:pt x="1737" y="1758"/>
                    </a:lnTo>
                    <a:lnTo>
                      <a:pt x="1925" y="1653"/>
                    </a:lnTo>
                    <a:lnTo>
                      <a:pt x="1925" y="1549"/>
                    </a:lnTo>
                    <a:lnTo>
                      <a:pt x="1800" y="1591"/>
                    </a:lnTo>
                    <a:lnTo>
                      <a:pt x="1716" y="1507"/>
                    </a:lnTo>
                    <a:lnTo>
                      <a:pt x="1841" y="1277"/>
                    </a:lnTo>
                    <a:lnTo>
                      <a:pt x="1883" y="1151"/>
                    </a:lnTo>
                    <a:lnTo>
                      <a:pt x="1737" y="1235"/>
                    </a:lnTo>
                    <a:lnTo>
                      <a:pt x="1674" y="1402"/>
                    </a:lnTo>
                    <a:lnTo>
                      <a:pt x="1674" y="1277"/>
                    </a:lnTo>
                    <a:lnTo>
                      <a:pt x="1737" y="1026"/>
                    </a:lnTo>
                    <a:lnTo>
                      <a:pt x="1695" y="649"/>
                    </a:lnTo>
                    <a:lnTo>
                      <a:pt x="1528" y="544"/>
                    </a:lnTo>
                    <a:lnTo>
                      <a:pt x="1528" y="419"/>
                    </a:lnTo>
                    <a:lnTo>
                      <a:pt x="1423" y="419"/>
                    </a:lnTo>
                    <a:lnTo>
                      <a:pt x="1360" y="524"/>
                    </a:lnTo>
                    <a:lnTo>
                      <a:pt x="1360" y="398"/>
                    </a:lnTo>
                    <a:lnTo>
                      <a:pt x="1423" y="314"/>
                    </a:lnTo>
                    <a:lnTo>
                      <a:pt x="1381" y="210"/>
                    </a:lnTo>
                    <a:lnTo>
                      <a:pt x="1402" y="105"/>
                    </a:lnTo>
                    <a:lnTo>
                      <a:pt x="140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 name="Google Shape;5871;p93">
                <a:extLst>
                  <a:ext uri="{FF2B5EF4-FFF2-40B4-BE49-F238E27FC236}">
                    <a16:creationId xmlns:a16="http://schemas.microsoft.com/office/drawing/2014/main" id="{5F983E81-7B14-41D6-9627-AA6AAB6602BE}"/>
                  </a:ext>
                </a:extLst>
              </p:cNvPr>
              <p:cNvSpPr/>
              <p:nvPr/>
            </p:nvSpPr>
            <p:spPr>
              <a:xfrm>
                <a:off x="2722750" y="1634775"/>
                <a:ext cx="145950" cy="133925"/>
              </a:xfrm>
              <a:custGeom>
                <a:avLst/>
                <a:gdLst/>
                <a:ahLst/>
                <a:cxnLst/>
                <a:rect l="l" t="t" r="r" b="b"/>
                <a:pathLst>
                  <a:path w="5838" h="5357" extrusionOk="0">
                    <a:moveTo>
                      <a:pt x="502" y="0"/>
                    </a:moveTo>
                    <a:lnTo>
                      <a:pt x="440" y="84"/>
                    </a:lnTo>
                    <a:lnTo>
                      <a:pt x="230" y="105"/>
                    </a:lnTo>
                    <a:lnTo>
                      <a:pt x="210" y="126"/>
                    </a:lnTo>
                    <a:lnTo>
                      <a:pt x="147" y="126"/>
                    </a:lnTo>
                    <a:lnTo>
                      <a:pt x="105" y="230"/>
                    </a:lnTo>
                    <a:lnTo>
                      <a:pt x="189" y="335"/>
                    </a:lnTo>
                    <a:lnTo>
                      <a:pt x="230" y="439"/>
                    </a:lnTo>
                    <a:lnTo>
                      <a:pt x="147" y="439"/>
                    </a:lnTo>
                    <a:lnTo>
                      <a:pt x="21" y="272"/>
                    </a:lnTo>
                    <a:lnTo>
                      <a:pt x="0" y="398"/>
                    </a:lnTo>
                    <a:lnTo>
                      <a:pt x="21" y="502"/>
                    </a:lnTo>
                    <a:lnTo>
                      <a:pt x="147" y="544"/>
                    </a:lnTo>
                    <a:lnTo>
                      <a:pt x="251" y="732"/>
                    </a:lnTo>
                    <a:lnTo>
                      <a:pt x="356" y="732"/>
                    </a:lnTo>
                    <a:lnTo>
                      <a:pt x="293" y="816"/>
                    </a:lnTo>
                    <a:lnTo>
                      <a:pt x="210" y="816"/>
                    </a:lnTo>
                    <a:lnTo>
                      <a:pt x="189" y="921"/>
                    </a:lnTo>
                    <a:lnTo>
                      <a:pt x="314" y="1109"/>
                    </a:lnTo>
                    <a:lnTo>
                      <a:pt x="440" y="1151"/>
                    </a:lnTo>
                    <a:lnTo>
                      <a:pt x="419" y="1235"/>
                    </a:lnTo>
                    <a:lnTo>
                      <a:pt x="398" y="1172"/>
                    </a:lnTo>
                    <a:lnTo>
                      <a:pt x="210" y="1151"/>
                    </a:lnTo>
                    <a:lnTo>
                      <a:pt x="210" y="1235"/>
                    </a:lnTo>
                    <a:lnTo>
                      <a:pt x="147" y="1255"/>
                    </a:lnTo>
                    <a:lnTo>
                      <a:pt x="105" y="1360"/>
                    </a:lnTo>
                    <a:lnTo>
                      <a:pt x="251" y="1276"/>
                    </a:lnTo>
                    <a:lnTo>
                      <a:pt x="335" y="1360"/>
                    </a:lnTo>
                    <a:lnTo>
                      <a:pt x="523" y="1276"/>
                    </a:lnTo>
                    <a:lnTo>
                      <a:pt x="544" y="1360"/>
                    </a:lnTo>
                    <a:lnTo>
                      <a:pt x="649" y="1381"/>
                    </a:lnTo>
                    <a:lnTo>
                      <a:pt x="670" y="1465"/>
                    </a:lnTo>
                    <a:lnTo>
                      <a:pt x="837" y="1590"/>
                    </a:lnTo>
                    <a:lnTo>
                      <a:pt x="879" y="1590"/>
                    </a:lnTo>
                    <a:lnTo>
                      <a:pt x="879" y="1527"/>
                    </a:lnTo>
                    <a:lnTo>
                      <a:pt x="942" y="1548"/>
                    </a:lnTo>
                    <a:lnTo>
                      <a:pt x="1046" y="1486"/>
                    </a:lnTo>
                    <a:lnTo>
                      <a:pt x="1130" y="1527"/>
                    </a:lnTo>
                    <a:lnTo>
                      <a:pt x="1151" y="1590"/>
                    </a:lnTo>
                    <a:lnTo>
                      <a:pt x="1130" y="1674"/>
                    </a:lnTo>
                    <a:lnTo>
                      <a:pt x="1130" y="1883"/>
                    </a:lnTo>
                    <a:lnTo>
                      <a:pt x="1067" y="2051"/>
                    </a:lnTo>
                    <a:lnTo>
                      <a:pt x="1067" y="2113"/>
                    </a:lnTo>
                    <a:lnTo>
                      <a:pt x="1151" y="2260"/>
                    </a:lnTo>
                    <a:lnTo>
                      <a:pt x="1088" y="2385"/>
                    </a:lnTo>
                    <a:lnTo>
                      <a:pt x="1088" y="2469"/>
                    </a:lnTo>
                    <a:lnTo>
                      <a:pt x="1067" y="2595"/>
                    </a:lnTo>
                    <a:lnTo>
                      <a:pt x="879" y="2699"/>
                    </a:lnTo>
                    <a:lnTo>
                      <a:pt x="754" y="2741"/>
                    </a:lnTo>
                    <a:lnTo>
                      <a:pt x="733" y="2825"/>
                    </a:lnTo>
                    <a:lnTo>
                      <a:pt x="628" y="2992"/>
                    </a:lnTo>
                    <a:lnTo>
                      <a:pt x="628" y="3055"/>
                    </a:lnTo>
                    <a:lnTo>
                      <a:pt x="523" y="3118"/>
                    </a:lnTo>
                    <a:lnTo>
                      <a:pt x="461" y="3222"/>
                    </a:lnTo>
                    <a:lnTo>
                      <a:pt x="461" y="3348"/>
                    </a:lnTo>
                    <a:lnTo>
                      <a:pt x="544" y="3369"/>
                    </a:lnTo>
                    <a:lnTo>
                      <a:pt x="544" y="3452"/>
                    </a:lnTo>
                    <a:lnTo>
                      <a:pt x="440" y="3473"/>
                    </a:lnTo>
                    <a:lnTo>
                      <a:pt x="419" y="3578"/>
                    </a:lnTo>
                    <a:lnTo>
                      <a:pt x="461" y="3641"/>
                    </a:lnTo>
                    <a:lnTo>
                      <a:pt x="398" y="3745"/>
                    </a:lnTo>
                    <a:lnTo>
                      <a:pt x="356" y="3850"/>
                    </a:lnTo>
                    <a:lnTo>
                      <a:pt x="419" y="3955"/>
                    </a:lnTo>
                    <a:lnTo>
                      <a:pt x="502" y="3976"/>
                    </a:lnTo>
                    <a:lnTo>
                      <a:pt x="502" y="4059"/>
                    </a:lnTo>
                    <a:lnTo>
                      <a:pt x="565" y="4143"/>
                    </a:lnTo>
                    <a:lnTo>
                      <a:pt x="628" y="4143"/>
                    </a:lnTo>
                    <a:lnTo>
                      <a:pt x="649" y="4038"/>
                    </a:lnTo>
                    <a:lnTo>
                      <a:pt x="670" y="3955"/>
                    </a:lnTo>
                    <a:lnTo>
                      <a:pt x="733" y="3996"/>
                    </a:lnTo>
                    <a:lnTo>
                      <a:pt x="774" y="3996"/>
                    </a:lnTo>
                    <a:lnTo>
                      <a:pt x="879" y="3871"/>
                    </a:lnTo>
                    <a:lnTo>
                      <a:pt x="942" y="3892"/>
                    </a:lnTo>
                    <a:lnTo>
                      <a:pt x="879" y="4059"/>
                    </a:lnTo>
                    <a:lnTo>
                      <a:pt x="774" y="4080"/>
                    </a:lnTo>
                    <a:lnTo>
                      <a:pt x="754" y="4143"/>
                    </a:lnTo>
                    <a:lnTo>
                      <a:pt x="816" y="4185"/>
                    </a:lnTo>
                    <a:lnTo>
                      <a:pt x="816" y="4268"/>
                    </a:lnTo>
                    <a:lnTo>
                      <a:pt x="921" y="4394"/>
                    </a:lnTo>
                    <a:lnTo>
                      <a:pt x="1026" y="4352"/>
                    </a:lnTo>
                    <a:lnTo>
                      <a:pt x="1067" y="4394"/>
                    </a:lnTo>
                    <a:lnTo>
                      <a:pt x="1193" y="4415"/>
                    </a:lnTo>
                    <a:lnTo>
                      <a:pt x="1256" y="4352"/>
                    </a:lnTo>
                    <a:lnTo>
                      <a:pt x="1402" y="4310"/>
                    </a:lnTo>
                    <a:lnTo>
                      <a:pt x="1381" y="4164"/>
                    </a:lnTo>
                    <a:lnTo>
                      <a:pt x="1465" y="4164"/>
                    </a:lnTo>
                    <a:lnTo>
                      <a:pt x="1507" y="4101"/>
                    </a:lnTo>
                    <a:lnTo>
                      <a:pt x="1507" y="4185"/>
                    </a:lnTo>
                    <a:lnTo>
                      <a:pt x="1486" y="4206"/>
                    </a:lnTo>
                    <a:lnTo>
                      <a:pt x="1507" y="4310"/>
                    </a:lnTo>
                    <a:lnTo>
                      <a:pt x="1570" y="4289"/>
                    </a:lnTo>
                    <a:lnTo>
                      <a:pt x="1653" y="4143"/>
                    </a:lnTo>
                    <a:lnTo>
                      <a:pt x="1695" y="4080"/>
                    </a:lnTo>
                    <a:lnTo>
                      <a:pt x="1716" y="4143"/>
                    </a:lnTo>
                    <a:lnTo>
                      <a:pt x="1695" y="4268"/>
                    </a:lnTo>
                    <a:lnTo>
                      <a:pt x="1570" y="4478"/>
                    </a:lnTo>
                    <a:lnTo>
                      <a:pt x="1486" y="4520"/>
                    </a:lnTo>
                    <a:lnTo>
                      <a:pt x="1486" y="4624"/>
                    </a:lnTo>
                    <a:lnTo>
                      <a:pt x="1611" y="4666"/>
                    </a:lnTo>
                    <a:lnTo>
                      <a:pt x="1695" y="4729"/>
                    </a:lnTo>
                    <a:lnTo>
                      <a:pt x="1800" y="4729"/>
                    </a:lnTo>
                    <a:lnTo>
                      <a:pt x="1821" y="4771"/>
                    </a:lnTo>
                    <a:lnTo>
                      <a:pt x="1967" y="4792"/>
                    </a:lnTo>
                    <a:lnTo>
                      <a:pt x="1988" y="4708"/>
                    </a:lnTo>
                    <a:lnTo>
                      <a:pt x="2114" y="4708"/>
                    </a:lnTo>
                    <a:lnTo>
                      <a:pt x="2072" y="4771"/>
                    </a:lnTo>
                    <a:lnTo>
                      <a:pt x="2093" y="4833"/>
                    </a:lnTo>
                    <a:lnTo>
                      <a:pt x="2176" y="4833"/>
                    </a:lnTo>
                    <a:lnTo>
                      <a:pt x="2239" y="4917"/>
                    </a:lnTo>
                    <a:lnTo>
                      <a:pt x="2323" y="4875"/>
                    </a:lnTo>
                    <a:lnTo>
                      <a:pt x="2302" y="4792"/>
                    </a:lnTo>
                    <a:lnTo>
                      <a:pt x="2281" y="4708"/>
                    </a:lnTo>
                    <a:lnTo>
                      <a:pt x="2344" y="4603"/>
                    </a:lnTo>
                    <a:lnTo>
                      <a:pt x="2386" y="4687"/>
                    </a:lnTo>
                    <a:lnTo>
                      <a:pt x="2344" y="4792"/>
                    </a:lnTo>
                    <a:lnTo>
                      <a:pt x="2386" y="4917"/>
                    </a:lnTo>
                    <a:lnTo>
                      <a:pt x="2448" y="4917"/>
                    </a:lnTo>
                    <a:lnTo>
                      <a:pt x="2490" y="4792"/>
                    </a:lnTo>
                    <a:lnTo>
                      <a:pt x="2532" y="4729"/>
                    </a:lnTo>
                    <a:lnTo>
                      <a:pt x="2616" y="4708"/>
                    </a:lnTo>
                    <a:lnTo>
                      <a:pt x="2616" y="4792"/>
                    </a:lnTo>
                    <a:lnTo>
                      <a:pt x="2553" y="4833"/>
                    </a:lnTo>
                    <a:lnTo>
                      <a:pt x="2553" y="4917"/>
                    </a:lnTo>
                    <a:lnTo>
                      <a:pt x="2720" y="4917"/>
                    </a:lnTo>
                    <a:lnTo>
                      <a:pt x="2804" y="4875"/>
                    </a:lnTo>
                    <a:lnTo>
                      <a:pt x="2867" y="4687"/>
                    </a:lnTo>
                    <a:lnTo>
                      <a:pt x="2909" y="4792"/>
                    </a:lnTo>
                    <a:lnTo>
                      <a:pt x="2846" y="4833"/>
                    </a:lnTo>
                    <a:lnTo>
                      <a:pt x="2846" y="4938"/>
                    </a:lnTo>
                    <a:lnTo>
                      <a:pt x="2971" y="4917"/>
                    </a:lnTo>
                    <a:lnTo>
                      <a:pt x="3013" y="4771"/>
                    </a:lnTo>
                    <a:lnTo>
                      <a:pt x="3055" y="4687"/>
                    </a:lnTo>
                    <a:lnTo>
                      <a:pt x="3055" y="4687"/>
                    </a:lnTo>
                    <a:lnTo>
                      <a:pt x="3034" y="4917"/>
                    </a:lnTo>
                    <a:lnTo>
                      <a:pt x="3055" y="5001"/>
                    </a:lnTo>
                    <a:lnTo>
                      <a:pt x="3160" y="5001"/>
                    </a:lnTo>
                    <a:lnTo>
                      <a:pt x="3327" y="5105"/>
                    </a:lnTo>
                    <a:lnTo>
                      <a:pt x="3432" y="5043"/>
                    </a:lnTo>
                    <a:lnTo>
                      <a:pt x="3495" y="5022"/>
                    </a:lnTo>
                    <a:lnTo>
                      <a:pt x="3536" y="5105"/>
                    </a:lnTo>
                    <a:lnTo>
                      <a:pt x="3662" y="5084"/>
                    </a:lnTo>
                    <a:lnTo>
                      <a:pt x="3746" y="5022"/>
                    </a:lnTo>
                    <a:lnTo>
                      <a:pt x="3746" y="4896"/>
                    </a:lnTo>
                    <a:lnTo>
                      <a:pt x="3850" y="4792"/>
                    </a:lnTo>
                    <a:lnTo>
                      <a:pt x="3892" y="4729"/>
                    </a:lnTo>
                    <a:lnTo>
                      <a:pt x="3850" y="4603"/>
                    </a:lnTo>
                    <a:lnTo>
                      <a:pt x="3871" y="4520"/>
                    </a:lnTo>
                    <a:lnTo>
                      <a:pt x="3913" y="4520"/>
                    </a:lnTo>
                    <a:lnTo>
                      <a:pt x="3955" y="4666"/>
                    </a:lnTo>
                    <a:lnTo>
                      <a:pt x="3997" y="4687"/>
                    </a:lnTo>
                    <a:lnTo>
                      <a:pt x="3997" y="4729"/>
                    </a:lnTo>
                    <a:lnTo>
                      <a:pt x="3913" y="4812"/>
                    </a:lnTo>
                    <a:lnTo>
                      <a:pt x="3871" y="4980"/>
                    </a:lnTo>
                    <a:lnTo>
                      <a:pt x="3892" y="5210"/>
                    </a:lnTo>
                    <a:lnTo>
                      <a:pt x="3997" y="5252"/>
                    </a:lnTo>
                    <a:lnTo>
                      <a:pt x="4101" y="5210"/>
                    </a:lnTo>
                    <a:lnTo>
                      <a:pt x="4122" y="5315"/>
                    </a:lnTo>
                    <a:lnTo>
                      <a:pt x="4227" y="5315"/>
                    </a:lnTo>
                    <a:lnTo>
                      <a:pt x="4269" y="5357"/>
                    </a:lnTo>
                    <a:lnTo>
                      <a:pt x="4373" y="5357"/>
                    </a:lnTo>
                    <a:lnTo>
                      <a:pt x="4583" y="5231"/>
                    </a:lnTo>
                    <a:lnTo>
                      <a:pt x="4687" y="5210"/>
                    </a:lnTo>
                    <a:lnTo>
                      <a:pt x="4855" y="5315"/>
                    </a:lnTo>
                    <a:lnTo>
                      <a:pt x="4938" y="5294"/>
                    </a:lnTo>
                    <a:lnTo>
                      <a:pt x="5022" y="5336"/>
                    </a:lnTo>
                    <a:lnTo>
                      <a:pt x="5064" y="5252"/>
                    </a:lnTo>
                    <a:lnTo>
                      <a:pt x="5064" y="5210"/>
                    </a:lnTo>
                    <a:lnTo>
                      <a:pt x="5147" y="5084"/>
                    </a:lnTo>
                    <a:lnTo>
                      <a:pt x="5231" y="5043"/>
                    </a:lnTo>
                    <a:lnTo>
                      <a:pt x="5231" y="5001"/>
                    </a:lnTo>
                    <a:lnTo>
                      <a:pt x="5168" y="4875"/>
                    </a:lnTo>
                    <a:lnTo>
                      <a:pt x="5168" y="4729"/>
                    </a:lnTo>
                    <a:lnTo>
                      <a:pt x="5231" y="4812"/>
                    </a:lnTo>
                    <a:lnTo>
                      <a:pt x="5231" y="4896"/>
                    </a:lnTo>
                    <a:lnTo>
                      <a:pt x="5336" y="5022"/>
                    </a:lnTo>
                    <a:lnTo>
                      <a:pt x="5378" y="4938"/>
                    </a:lnTo>
                    <a:lnTo>
                      <a:pt x="5524" y="4938"/>
                    </a:lnTo>
                    <a:lnTo>
                      <a:pt x="5566" y="4980"/>
                    </a:lnTo>
                    <a:lnTo>
                      <a:pt x="5587" y="4896"/>
                    </a:lnTo>
                    <a:lnTo>
                      <a:pt x="5566" y="4792"/>
                    </a:lnTo>
                    <a:lnTo>
                      <a:pt x="5566" y="4708"/>
                    </a:lnTo>
                    <a:lnTo>
                      <a:pt x="5524" y="4666"/>
                    </a:lnTo>
                    <a:lnTo>
                      <a:pt x="5378" y="4687"/>
                    </a:lnTo>
                    <a:lnTo>
                      <a:pt x="5252" y="4708"/>
                    </a:lnTo>
                    <a:lnTo>
                      <a:pt x="5231" y="4603"/>
                    </a:lnTo>
                    <a:lnTo>
                      <a:pt x="5273" y="4582"/>
                    </a:lnTo>
                    <a:lnTo>
                      <a:pt x="5336" y="4603"/>
                    </a:lnTo>
                    <a:lnTo>
                      <a:pt x="5461" y="4561"/>
                    </a:lnTo>
                    <a:lnTo>
                      <a:pt x="5545" y="4457"/>
                    </a:lnTo>
                    <a:lnTo>
                      <a:pt x="5587" y="4520"/>
                    </a:lnTo>
                    <a:lnTo>
                      <a:pt x="5671" y="4499"/>
                    </a:lnTo>
                    <a:lnTo>
                      <a:pt x="5733" y="4394"/>
                    </a:lnTo>
                    <a:lnTo>
                      <a:pt x="5691" y="4310"/>
                    </a:lnTo>
                    <a:lnTo>
                      <a:pt x="5775" y="4206"/>
                    </a:lnTo>
                    <a:lnTo>
                      <a:pt x="5754" y="4143"/>
                    </a:lnTo>
                    <a:lnTo>
                      <a:pt x="5796" y="4143"/>
                    </a:lnTo>
                    <a:lnTo>
                      <a:pt x="5838" y="4080"/>
                    </a:lnTo>
                    <a:lnTo>
                      <a:pt x="5691" y="4038"/>
                    </a:lnTo>
                    <a:lnTo>
                      <a:pt x="5566" y="4059"/>
                    </a:lnTo>
                    <a:lnTo>
                      <a:pt x="5629" y="3976"/>
                    </a:lnTo>
                    <a:lnTo>
                      <a:pt x="5691" y="3955"/>
                    </a:lnTo>
                    <a:lnTo>
                      <a:pt x="5691" y="3850"/>
                    </a:lnTo>
                    <a:lnTo>
                      <a:pt x="5587" y="3766"/>
                    </a:lnTo>
                    <a:lnTo>
                      <a:pt x="5357" y="3766"/>
                    </a:lnTo>
                    <a:lnTo>
                      <a:pt x="5336" y="3724"/>
                    </a:lnTo>
                    <a:lnTo>
                      <a:pt x="5336" y="3641"/>
                    </a:lnTo>
                    <a:lnTo>
                      <a:pt x="5378" y="3620"/>
                    </a:lnTo>
                    <a:lnTo>
                      <a:pt x="5357" y="3515"/>
                    </a:lnTo>
                    <a:lnTo>
                      <a:pt x="5168" y="3348"/>
                    </a:lnTo>
                    <a:lnTo>
                      <a:pt x="5106" y="3348"/>
                    </a:lnTo>
                    <a:lnTo>
                      <a:pt x="5001" y="3432"/>
                    </a:lnTo>
                    <a:lnTo>
                      <a:pt x="4834" y="3432"/>
                    </a:lnTo>
                    <a:lnTo>
                      <a:pt x="4687" y="3452"/>
                    </a:lnTo>
                    <a:lnTo>
                      <a:pt x="4478" y="3327"/>
                    </a:lnTo>
                    <a:lnTo>
                      <a:pt x="4436" y="3243"/>
                    </a:lnTo>
                    <a:lnTo>
                      <a:pt x="4394" y="3222"/>
                    </a:lnTo>
                    <a:lnTo>
                      <a:pt x="4290" y="3264"/>
                    </a:lnTo>
                    <a:lnTo>
                      <a:pt x="4206" y="3264"/>
                    </a:lnTo>
                    <a:lnTo>
                      <a:pt x="4122" y="3306"/>
                    </a:lnTo>
                    <a:lnTo>
                      <a:pt x="4018" y="3306"/>
                    </a:lnTo>
                    <a:lnTo>
                      <a:pt x="3976" y="3411"/>
                    </a:lnTo>
                    <a:lnTo>
                      <a:pt x="3913" y="3348"/>
                    </a:lnTo>
                    <a:lnTo>
                      <a:pt x="3808" y="3264"/>
                    </a:lnTo>
                    <a:lnTo>
                      <a:pt x="3704" y="3327"/>
                    </a:lnTo>
                    <a:lnTo>
                      <a:pt x="3578" y="3348"/>
                    </a:lnTo>
                    <a:lnTo>
                      <a:pt x="3578" y="3411"/>
                    </a:lnTo>
                    <a:lnTo>
                      <a:pt x="3536" y="3452"/>
                    </a:lnTo>
                    <a:lnTo>
                      <a:pt x="3536" y="3369"/>
                    </a:lnTo>
                    <a:lnTo>
                      <a:pt x="3474" y="3327"/>
                    </a:lnTo>
                    <a:lnTo>
                      <a:pt x="3369" y="3348"/>
                    </a:lnTo>
                    <a:lnTo>
                      <a:pt x="3139" y="3327"/>
                    </a:lnTo>
                    <a:lnTo>
                      <a:pt x="3076" y="3348"/>
                    </a:lnTo>
                    <a:lnTo>
                      <a:pt x="3160" y="3432"/>
                    </a:lnTo>
                    <a:lnTo>
                      <a:pt x="3160" y="3536"/>
                    </a:lnTo>
                    <a:lnTo>
                      <a:pt x="3264" y="3620"/>
                    </a:lnTo>
                    <a:lnTo>
                      <a:pt x="3139" y="3578"/>
                    </a:lnTo>
                    <a:lnTo>
                      <a:pt x="3076" y="3515"/>
                    </a:lnTo>
                    <a:lnTo>
                      <a:pt x="3013" y="3473"/>
                    </a:lnTo>
                    <a:lnTo>
                      <a:pt x="2867" y="3536"/>
                    </a:lnTo>
                    <a:lnTo>
                      <a:pt x="2804" y="3473"/>
                    </a:lnTo>
                    <a:lnTo>
                      <a:pt x="2930" y="3432"/>
                    </a:lnTo>
                    <a:lnTo>
                      <a:pt x="2930" y="3348"/>
                    </a:lnTo>
                    <a:lnTo>
                      <a:pt x="2804" y="3222"/>
                    </a:lnTo>
                    <a:lnTo>
                      <a:pt x="2825" y="3139"/>
                    </a:lnTo>
                    <a:lnTo>
                      <a:pt x="2762" y="3097"/>
                    </a:lnTo>
                    <a:lnTo>
                      <a:pt x="2637" y="3160"/>
                    </a:lnTo>
                    <a:lnTo>
                      <a:pt x="2658" y="3243"/>
                    </a:lnTo>
                    <a:lnTo>
                      <a:pt x="2637" y="3306"/>
                    </a:lnTo>
                    <a:lnTo>
                      <a:pt x="2532" y="3264"/>
                    </a:lnTo>
                    <a:lnTo>
                      <a:pt x="2595" y="3201"/>
                    </a:lnTo>
                    <a:lnTo>
                      <a:pt x="2553" y="3139"/>
                    </a:lnTo>
                    <a:lnTo>
                      <a:pt x="2448" y="3097"/>
                    </a:lnTo>
                    <a:lnTo>
                      <a:pt x="2406" y="3139"/>
                    </a:lnTo>
                    <a:lnTo>
                      <a:pt x="2323" y="3139"/>
                    </a:lnTo>
                    <a:lnTo>
                      <a:pt x="2344" y="3034"/>
                    </a:lnTo>
                    <a:lnTo>
                      <a:pt x="2344" y="2992"/>
                    </a:lnTo>
                    <a:lnTo>
                      <a:pt x="2323" y="2888"/>
                    </a:lnTo>
                    <a:lnTo>
                      <a:pt x="2218" y="2908"/>
                    </a:lnTo>
                    <a:lnTo>
                      <a:pt x="2093" y="3034"/>
                    </a:lnTo>
                    <a:lnTo>
                      <a:pt x="2114" y="3160"/>
                    </a:lnTo>
                    <a:lnTo>
                      <a:pt x="2030" y="3160"/>
                    </a:lnTo>
                    <a:lnTo>
                      <a:pt x="1988" y="3055"/>
                    </a:lnTo>
                    <a:lnTo>
                      <a:pt x="2030" y="2992"/>
                    </a:lnTo>
                    <a:lnTo>
                      <a:pt x="2030" y="2908"/>
                    </a:lnTo>
                    <a:lnTo>
                      <a:pt x="2093" y="2720"/>
                    </a:lnTo>
                    <a:lnTo>
                      <a:pt x="2009" y="2636"/>
                    </a:lnTo>
                    <a:lnTo>
                      <a:pt x="1883" y="2699"/>
                    </a:lnTo>
                    <a:lnTo>
                      <a:pt x="1883" y="2636"/>
                    </a:lnTo>
                    <a:lnTo>
                      <a:pt x="1988" y="2616"/>
                    </a:lnTo>
                    <a:lnTo>
                      <a:pt x="2030" y="2490"/>
                    </a:lnTo>
                    <a:lnTo>
                      <a:pt x="2009" y="2385"/>
                    </a:lnTo>
                    <a:lnTo>
                      <a:pt x="1925" y="2427"/>
                    </a:lnTo>
                    <a:lnTo>
                      <a:pt x="1862" y="2385"/>
                    </a:lnTo>
                    <a:lnTo>
                      <a:pt x="1800" y="2427"/>
                    </a:lnTo>
                    <a:lnTo>
                      <a:pt x="1695" y="2427"/>
                    </a:lnTo>
                    <a:lnTo>
                      <a:pt x="1758" y="2385"/>
                    </a:lnTo>
                    <a:lnTo>
                      <a:pt x="1758" y="2323"/>
                    </a:lnTo>
                    <a:lnTo>
                      <a:pt x="1653" y="2323"/>
                    </a:lnTo>
                    <a:lnTo>
                      <a:pt x="1590" y="2406"/>
                    </a:lnTo>
                    <a:lnTo>
                      <a:pt x="1444" y="2427"/>
                    </a:lnTo>
                    <a:lnTo>
                      <a:pt x="1444" y="2364"/>
                    </a:lnTo>
                    <a:lnTo>
                      <a:pt x="1507" y="2323"/>
                    </a:lnTo>
                    <a:lnTo>
                      <a:pt x="1570" y="2218"/>
                    </a:lnTo>
                    <a:lnTo>
                      <a:pt x="1590" y="2155"/>
                    </a:lnTo>
                    <a:lnTo>
                      <a:pt x="1674" y="2155"/>
                    </a:lnTo>
                    <a:lnTo>
                      <a:pt x="1779" y="2260"/>
                    </a:lnTo>
                    <a:lnTo>
                      <a:pt x="1925" y="2260"/>
                    </a:lnTo>
                    <a:lnTo>
                      <a:pt x="1904" y="2197"/>
                    </a:lnTo>
                    <a:lnTo>
                      <a:pt x="1800" y="2071"/>
                    </a:lnTo>
                    <a:lnTo>
                      <a:pt x="1695" y="2071"/>
                    </a:lnTo>
                    <a:lnTo>
                      <a:pt x="1758" y="2009"/>
                    </a:lnTo>
                    <a:lnTo>
                      <a:pt x="1611" y="1883"/>
                    </a:lnTo>
                    <a:lnTo>
                      <a:pt x="1507" y="1841"/>
                    </a:lnTo>
                    <a:lnTo>
                      <a:pt x="1570" y="1799"/>
                    </a:lnTo>
                    <a:lnTo>
                      <a:pt x="1590" y="1737"/>
                    </a:lnTo>
                    <a:lnTo>
                      <a:pt x="1653" y="1737"/>
                    </a:lnTo>
                    <a:lnTo>
                      <a:pt x="1695" y="1841"/>
                    </a:lnTo>
                    <a:lnTo>
                      <a:pt x="1800" y="1967"/>
                    </a:lnTo>
                    <a:lnTo>
                      <a:pt x="1967" y="1988"/>
                    </a:lnTo>
                    <a:lnTo>
                      <a:pt x="2030" y="2092"/>
                    </a:lnTo>
                    <a:lnTo>
                      <a:pt x="2114" y="2009"/>
                    </a:lnTo>
                    <a:lnTo>
                      <a:pt x="2176" y="2092"/>
                    </a:lnTo>
                    <a:lnTo>
                      <a:pt x="2344" y="2155"/>
                    </a:lnTo>
                    <a:lnTo>
                      <a:pt x="2448" y="2155"/>
                    </a:lnTo>
                    <a:lnTo>
                      <a:pt x="2511" y="2051"/>
                    </a:lnTo>
                    <a:lnTo>
                      <a:pt x="2490" y="1904"/>
                    </a:lnTo>
                    <a:lnTo>
                      <a:pt x="2239" y="1758"/>
                    </a:lnTo>
                    <a:lnTo>
                      <a:pt x="2134" y="1653"/>
                    </a:lnTo>
                    <a:lnTo>
                      <a:pt x="2072" y="1653"/>
                    </a:lnTo>
                    <a:lnTo>
                      <a:pt x="2030" y="1548"/>
                    </a:lnTo>
                    <a:lnTo>
                      <a:pt x="1925" y="1444"/>
                    </a:lnTo>
                    <a:lnTo>
                      <a:pt x="1883" y="1444"/>
                    </a:lnTo>
                    <a:lnTo>
                      <a:pt x="1821" y="1381"/>
                    </a:lnTo>
                    <a:lnTo>
                      <a:pt x="1883" y="1318"/>
                    </a:lnTo>
                    <a:lnTo>
                      <a:pt x="1967" y="1339"/>
                    </a:lnTo>
                    <a:lnTo>
                      <a:pt x="2030" y="1444"/>
                    </a:lnTo>
                    <a:lnTo>
                      <a:pt x="2114" y="1444"/>
                    </a:lnTo>
                    <a:lnTo>
                      <a:pt x="2134" y="1548"/>
                    </a:lnTo>
                    <a:lnTo>
                      <a:pt x="2197" y="1548"/>
                    </a:lnTo>
                    <a:lnTo>
                      <a:pt x="2239" y="1465"/>
                    </a:lnTo>
                    <a:lnTo>
                      <a:pt x="2197" y="1276"/>
                    </a:lnTo>
                    <a:lnTo>
                      <a:pt x="2072" y="1130"/>
                    </a:lnTo>
                    <a:lnTo>
                      <a:pt x="1988" y="1130"/>
                    </a:lnTo>
                    <a:lnTo>
                      <a:pt x="1967" y="1109"/>
                    </a:lnTo>
                    <a:lnTo>
                      <a:pt x="1821" y="1109"/>
                    </a:lnTo>
                    <a:lnTo>
                      <a:pt x="1695" y="1172"/>
                    </a:lnTo>
                    <a:lnTo>
                      <a:pt x="1590" y="1172"/>
                    </a:lnTo>
                    <a:lnTo>
                      <a:pt x="1486" y="1109"/>
                    </a:lnTo>
                    <a:lnTo>
                      <a:pt x="1402" y="1130"/>
                    </a:lnTo>
                    <a:lnTo>
                      <a:pt x="1360" y="1025"/>
                    </a:lnTo>
                    <a:lnTo>
                      <a:pt x="1235" y="1214"/>
                    </a:lnTo>
                    <a:lnTo>
                      <a:pt x="1067" y="1276"/>
                    </a:lnTo>
                    <a:lnTo>
                      <a:pt x="1046" y="1381"/>
                    </a:lnTo>
                    <a:lnTo>
                      <a:pt x="963" y="1423"/>
                    </a:lnTo>
                    <a:lnTo>
                      <a:pt x="963" y="1339"/>
                    </a:lnTo>
                    <a:lnTo>
                      <a:pt x="1046" y="1235"/>
                    </a:lnTo>
                    <a:lnTo>
                      <a:pt x="1088" y="1235"/>
                    </a:lnTo>
                    <a:lnTo>
                      <a:pt x="1339" y="1004"/>
                    </a:lnTo>
                    <a:lnTo>
                      <a:pt x="1360" y="921"/>
                    </a:lnTo>
                    <a:lnTo>
                      <a:pt x="1298" y="816"/>
                    </a:lnTo>
                    <a:lnTo>
                      <a:pt x="1298" y="544"/>
                    </a:lnTo>
                    <a:lnTo>
                      <a:pt x="1339" y="523"/>
                    </a:lnTo>
                    <a:lnTo>
                      <a:pt x="1256" y="419"/>
                    </a:lnTo>
                    <a:lnTo>
                      <a:pt x="1193" y="481"/>
                    </a:lnTo>
                    <a:lnTo>
                      <a:pt x="1088" y="481"/>
                    </a:lnTo>
                    <a:lnTo>
                      <a:pt x="1026" y="419"/>
                    </a:lnTo>
                    <a:lnTo>
                      <a:pt x="1026" y="314"/>
                    </a:lnTo>
                    <a:lnTo>
                      <a:pt x="1026" y="230"/>
                    </a:lnTo>
                    <a:lnTo>
                      <a:pt x="816" y="188"/>
                    </a:lnTo>
                    <a:lnTo>
                      <a:pt x="733" y="84"/>
                    </a:lnTo>
                    <a:lnTo>
                      <a:pt x="628" y="84"/>
                    </a:lnTo>
                    <a:lnTo>
                      <a:pt x="50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3" name="Google Shape;5872;p93">
                <a:extLst>
                  <a:ext uri="{FF2B5EF4-FFF2-40B4-BE49-F238E27FC236}">
                    <a16:creationId xmlns:a16="http://schemas.microsoft.com/office/drawing/2014/main" id="{7372E712-45BB-4AF0-9391-75F3C8724A35}"/>
                  </a:ext>
                </a:extLst>
              </p:cNvPr>
              <p:cNvSpPr/>
              <p:nvPr/>
            </p:nvSpPr>
            <p:spPr>
              <a:xfrm>
                <a:off x="2687175" y="1694400"/>
                <a:ext cx="33500" cy="37675"/>
              </a:xfrm>
              <a:custGeom>
                <a:avLst/>
                <a:gdLst/>
                <a:ahLst/>
                <a:cxnLst/>
                <a:rect l="l" t="t" r="r" b="b"/>
                <a:pathLst>
                  <a:path w="1340" h="1507" extrusionOk="0">
                    <a:moveTo>
                      <a:pt x="796" y="0"/>
                    </a:moveTo>
                    <a:lnTo>
                      <a:pt x="670" y="21"/>
                    </a:lnTo>
                    <a:lnTo>
                      <a:pt x="607" y="84"/>
                    </a:lnTo>
                    <a:lnTo>
                      <a:pt x="691" y="147"/>
                    </a:lnTo>
                    <a:lnTo>
                      <a:pt x="691" y="231"/>
                    </a:lnTo>
                    <a:lnTo>
                      <a:pt x="628" y="210"/>
                    </a:lnTo>
                    <a:lnTo>
                      <a:pt x="565" y="147"/>
                    </a:lnTo>
                    <a:lnTo>
                      <a:pt x="461" y="126"/>
                    </a:lnTo>
                    <a:lnTo>
                      <a:pt x="419" y="210"/>
                    </a:lnTo>
                    <a:lnTo>
                      <a:pt x="524" y="210"/>
                    </a:lnTo>
                    <a:lnTo>
                      <a:pt x="565" y="251"/>
                    </a:lnTo>
                    <a:lnTo>
                      <a:pt x="524" y="293"/>
                    </a:lnTo>
                    <a:lnTo>
                      <a:pt x="398" y="314"/>
                    </a:lnTo>
                    <a:lnTo>
                      <a:pt x="356" y="335"/>
                    </a:lnTo>
                    <a:lnTo>
                      <a:pt x="398" y="440"/>
                    </a:lnTo>
                    <a:lnTo>
                      <a:pt x="419" y="461"/>
                    </a:lnTo>
                    <a:lnTo>
                      <a:pt x="419" y="523"/>
                    </a:lnTo>
                    <a:lnTo>
                      <a:pt x="293" y="461"/>
                    </a:lnTo>
                    <a:lnTo>
                      <a:pt x="168" y="503"/>
                    </a:lnTo>
                    <a:lnTo>
                      <a:pt x="84" y="565"/>
                    </a:lnTo>
                    <a:lnTo>
                      <a:pt x="42" y="712"/>
                    </a:lnTo>
                    <a:lnTo>
                      <a:pt x="0" y="733"/>
                    </a:lnTo>
                    <a:lnTo>
                      <a:pt x="0" y="754"/>
                    </a:lnTo>
                    <a:lnTo>
                      <a:pt x="63" y="754"/>
                    </a:lnTo>
                    <a:lnTo>
                      <a:pt x="42" y="837"/>
                    </a:lnTo>
                    <a:lnTo>
                      <a:pt x="42" y="879"/>
                    </a:lnTo>
                    <a:lnTo>
                      <a:pt x="63" y="921"/>
                    </a:lnTo>
                    <a:lnTo>
                      <a:pt x="147" y="816"/>
                    </a:lnTo>
                    <a:lnTo>
                      <a:pt x="168" y="837"/>
                    </a:lnTo>
                    <a:lnTo>
                      <a:pt x="105" y="963"/>
                    </a:lnTo>
                    <a:lnTo>
                      <a:pt x="147" y="1026"/>
                    </a:lnTo>
                    <a:lnTo>
                      <a:pt x="210" y="1067"/>
                    </a:lnTo>
                    <a:lnTo>
                      <a:pt x="272" y="1047"/>
                    </a:lnTo>
                    <a:lnTo>
                      <a:pt x="293" y="1067"/>
                    </a:lnTo>
                    <a:lnTo>
                      <a:pt x="314" y="1151"/>
                    </a:lnTo>
                    <a:lnTo>
                      <a:pt x="356" y="1151"/>
                    </a:lnTo>
                    <a:lnTo>
                      <a:pt x="398" y="1088"/>
                    </a:lnTo>
                    <a:lnTo>
                      <a:pt x="461" y="1130"/>
                    </a:lnTo>
                    <a:lnTo>
                      <a:pt x="461" y="1256"/>
                    </a:lnTo>
                    <a:lnTo>
                      <a:pt x="482" y="1298"/>
                    </a:lnTo>
                    <a:lnTo>
                      <a:pt x="586" y="1277"/>
                    </a:lnTo>
                    <a:lnTo>
                      <a:pt x="607" y="1402"/>
                    </a:lnTo>
                    <a:lnTo>
                      <a:pt x="712" y="1402"/>
                    </a:lnTo>
                    <a:lnTo>
                      <a:pt x="837" y="1486"/>
                    </a:lnTo>
                    <a:lnTo>
                      <a:pt x="942" y="1486"/>
                    </a:lnTo>
                    <a:lnTo>
                      <a:pt x="1005" y="1507"/>
                    </a:lnTo>
                    <a:lnTo>
                      <a:pt x="1026" y="1486"/>
                    </a:lnTo>
                    <a:lnTo>
                      <a:pt x="1005" y="1402"/>
                    </a:lnTo>
                    <a:lnTo>
                      <a:pt x="1088" y="1381"/>
                    </a:lnTo>
                    <a:lnTo>
                      <a:pt x="1151" y="1235"/>
                    </a:lnTo>
                    <a:lnTo>
                      <a:pt x="1130" y="1088"/>
                    </a:lnTo>
                    <a:lnTo>
                      <a:pt x="1214" y="942"/>
                    </a:lnTo>
                    <a:lnTo>
                      <a:pt x="1235" y="921"/>
                    </a:lnTo>
                    <a:lnTo>
                      <a:pt x="1319" y="712"/>
                    </a:lnTo>
                    <a:lnTo>
                      <a:pt x="1319" y="565"/>
                    </a:lnTo>
                    <a:lnTo>
                      <a:pt x="1340" y="523"/>
                    </a:lnTo>
                    <a:lnTo>
                      <a:pt x="1319" y="419"/>
                    </a:lnTo>
                    <a:lnTo>
                      <a:pt x="1235" y="335"/>
                    </a:lnTo>
                    <a:lnTo>
                      <a:pt x="1235" y="210"/>
                    </a:lnTo>
                    <a:lnTo>
                      <a:pt x="1193" y="147"/>
                    </a:lnTo>
                    <a:lnTo>
                      <a:pt x="1151" y="42"/>
                    </a:lnTo>
                    <a:lnTo>
                      <a:pt x="1005" y="0"/>
                    </a:lnTo>
                    <a:lnTo>
                      <a:pt x="900" y="42"/>
                    </a:lnTo>
                    <a:lnTo>
                      <a:pt x="79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 name="Google Shape;5873;p93">
                <a:extLst>
                  <a:ext uri="{FF2B5EF4-FFF2-40B4-BE49-F238E27FC236}">
                    <a16:creationId xmlns:a16="http://schemas.microsoft.com/office/drawing/2014/main" id="{62D0532B-F7CD-483F-875B-3052AE9C53CE}"/>
                  </a:ext>
                </a:extLst>
              </p:cNvPr>
              <p:cNvSpPr/>
              <p:nvPr/>
            </p:nvSpPr>
            <p:spPr>
              <a:xfrm>
                <a:off x="2605050" y="1520200"/>
                <a:ext cx="42400" cy="26175"/>
              </a:xfrm>
              <a:custGeom>
                <a:avLst/>
                <a:gdLst/>
                <a:ahLst/>
                <a:cxnLst/>
                <a:rect l="l" t="t" r="r" b="b"/>
                <a:pathLst>
                  <a:path w="1696" h="1047" extrusionOk="0">
                    <a:moveTo>
                      <a:pt x="1570" y="1"/>
                    </a:moveTo>
                    <a:lnTo>
                      <a:pt x="1486" y="64"/>
                    </a:lnTo>
                    <a:lnTo>
                      <a:pt x="1256" y="64"/>
                    </a:lnTo>
                    <a:lnTo>
                      <a:pt x="1130" y="168"/>
                    </a:lnTo>
                    <a:lnTo>
                      <a:pt x="963" y="168"/>
                    </a:lnTo>
                    <a:lnTo>
                      <a:pt x="921" y="189"/>
                    </a:lnTo>
                    <a:lnTo>
                      <a:pt x="816" y="105"/>
                    </a:lnTo>
                    <a:lnTo>
                      <a:pt x="712" y="84"/>
                    </a:lnTo>
                    <a:lnTo>
                      <a:pt x="356" y="189"/>
                    </a:lnTo>
                    <a:lnTo>
                      <a:pt x="126" y="189"/>
                    </a:lnTo>
                    <a:lnTo>
                      <a:pt x="105" y="273"/>
                    </a:lnTo>
                    <a:lnTo>
                      <a:pt x="0" y="377"/>
                    </a:lnTo>
                    <a:lnTo>
                      <a:pt x="0" y="482"/>
                    </a:lnTo>
                    <a:lnTo>
                      <a:pt x="105" y="461"/>
                    </a:lnTo>
                    <a:lnTo>
                      <a:pt x="231" y="461"/>
                    </a:lnTo>
                    <a:lnTo>
                      <a:pt x="314" y="419"/>
                    </a:lnTo>
                    <a:lnTo>
                      <a:pt x="398" y="461"/>
                    </a:lnTo>
                    <a:lnTo>
                      <a:pt x="503" y="461"/>
                    </a:lnTo>
                    <a:lnTo>
                      <a:pt x="565" y="503"/>
                    </a:lnTo>
                    <a:lnTo>
                      <a:pt x="503" y="587"/>
                    </a:lnTo>
                    <a:lnTo>
                      <a:pt x="544" y="712"/>
                    </a:lnTo>
                    <a:lnTo>
                      <a:pt x="628" y="817"/>
                    </a:lnTo>
                    <a:lnTo>
                      <a:pt x="712" y="712"/>
                    </a:lnTo>
                    <a:lnTo>
                      <a:pt x="712" y="628"/>
                    </a:lnTo>
                    <a:lnTo>
                      <a:pt x="754" y="587"/>
                    </a:lnTo>
                    <a:lnTo>
                      <a:pt x="858" y="712"/>
                    </a:lnTo>
                    <a:lnTo>
                      <a:pt x="837" y="838"/>
                    </a:lnTo>
                    <a:lnTo>
                      <a:pt x="984" y="1005"/>
                    </a:lnTo>
                    <a:lnTo>
                      <a:pt x="1088" y="984"/>
                    </a:lnTo>
                    <a:lnTo>
                      <a:pt x="1151" y="1047"/>
                    </a:lnTo>
                    <a:lnTo>
                      <a:pt x="1360" y="1047"/>
                    </a:lnTo>
                    <a:lnTo>
                      <a:pt x="1465" y="942"/>
                    </a:lnTo>
                    <a:lnTo>
                      <a:pt x="1591" y="900"/>
                    </a:lnTo>
                    <a:lnTo>
                      <a:pt x="1674" y="670"/>
                    </a:lnTo>
                    <a:lnTo>
                      <a:pt x="1591" y="503"/>
                    </a:lnTo>
                    <a:lnTo>
                      <a:pt x="1695" y="356"/>
                    </a:lnTo>
                    <a:lnTo>
                      <a:pt x="1695" y="273"/>
                    </a:lnTo>
                    <a:lnTo>
                      <a:pt x="1612" y="147"/>
                    </a:lnTo>
                    <a:lnTo>
                      <a:pt x="1653" y="64"/>
                    </a:lnTo>
                    <a:lnTo>
                      <a:pt x="157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5" name="Google Shape;5874;p93">
                <a:extLst>
                  <a:ext uri="{FF2B5EF4-FFF2-40B4-BE49-F238E27FC236}">
                    <a16:creationId xmlns:a16="http://schemas.microsoft.com/office/drawing/2014/main" id="{9984C972-7915-4DD1-B35F-77464D2BE470}"/>
                  </a:ext>
                </a:extLst>
              </p:cNvPr>
              <p:cNvSpPr/>
              <p:nvPr/>
            </p:nvSpPr>
            <p:spPr>
              <a:xfrm>
                <a:off x="2443425" y="1547400"/>
                <a:ext cx="109875" cy="60700"/>
              </a:xfrm>
              <a:custGeom>
                <a:avLst/>
                <a:gdLst/>
                <a:ahLst/>
                <a:cxnLst/>
                <a:rect l="l" t="t" r="r" b="b"/>
                <a:pathLst>
                  <a:path w="4395" h="2428" extrusionOk="0">
                    <a:moveTo>
                      <a:pt x="4268" y="1"/>
                    </a:moveTo>
                    <a:lnTo>
                      <a:pt x="4185" y="43"/>
                    </a:lnTo>
                    <a:lnTo>
                      <a:pt x="4059" y="105"/>
                    </a:lnTo>
                    <a:lnTo>
                      <a:pt x="4059" y="252"/>
                    </a:lnTo>
                    <a:lnTo>
                      <a:pt x="4038" y="336"/>
                    </a:lnTo>
                    <a:lnTo>
                      <a:pt x="4059" y="377"/>
                    </a:lnTo>
                    <a:lnTo>
                      <a:pt x="3955" y="419"/>
                    </a:lnTo>
                    <a:lnTo>
                      <a:pt x="3934" y="315"/>
                    </a:lnTo>
                    <a:lnTo>
                      <a:pt x="3892" y="315"/>
                    </a:lnTo>
                    <a:lnTo>
                      <a:pt x="3871" y="377"/>
                    </a:lnTo>
                    <a:lnTo>
                      <a:pt x="3829" y="440"/>
                    </a:lnTo>
                    <a:lnTo>
                      <a:pt x="3766" y="357"/>
                    </a:lnTo>
                    <a:lnTo>
                      <a:pt x="3745" y="168"/>
                    </a:lnTo>
                    <a:lnTo>
                      <a:pt x="3641" y="64"/>
                    </a:lnTo>
                    <a:lnTo>
                      <a:pt x="3578" y="64"/>
                    </a:lnTo>
                    <a:lnTo>
                      <a:pt x="3557" y="126"/>
                    </a:lnTo>
                    <a:lnTo>
                      <a:pt x="3432" y="126"/>
                    </a:lnTo>
                    <a:lnTo>
                      <a:pt x="3306" y="64"/>
                    </a:lnTo>
                    <a:lnTo>
                      <a:pt x="3222" y="64"/>
                    </a:lnTo>
                    <a:lnTo>
                      <a:pt x="2992" y="43"/>
                    </a:lnTo>
                    <a:lnTo>
                      <a:pt x="2846" y="126"/>
                    </a:lnTo>
                    <a:lnTo>
                      <a:pt x="2804" y="231"/>
                    </a:lnTo>
                    <a:lnTo>
                      <a:pt x="2741" y="315"/>
                    </a:lnTo>
                    <a:lnTo>
                      <a:pt x="2699" y="273"/>
                    </a:lnTo>
                    <a:lnTo>
                      <a:pt x="2636" y="273"/>
                    </a:lnTo>
                    <a:lnTo>
                      <a:pt x="2364" y="482"/>
                    </a:lnTo>
                    <a:lnTo>
                      <a:pt x="2281" y="566"/>
                    </a:lnTo>
                    <a:lnTo>
                      <a:pt x="2197" y="566"/>
                    </a:lnTo>
                    <a:lnTo>
                      <a:pt x="2051" y="670"/>
                    </a:lnTo>
                    <a:lnTo>
                      <a:pt x="1946" y="691"/>
                    </a:lnTo>
                    <a:lnTo>
                      <a:pt x="1862" y="775"/>
                    </a:lnTo>
                    <a:lnTo>
                      <a:pt x="1841" y="859"/>
                    </a:lnTo>
                    <a:lnTo>
                      <a:pt x="1653" y="859"/>
                    </a:lnTo>
                    <a:lnTo>
                      <a:pt x="1590" y="880"/>
                    </a:lnTo>
                    <a:lnTo>
                      <a:pt x="1465" y="859"/>
                    </a:lnTo>
                    <a:lnTo>
                      <a:pt x="1423" y="901"/>
                    </a:lnTo>
                    <a:lnTo>
                      <a:pt x="1339" y="901"/>
                    </a:lnTo>
                    <a:lnTo>
                      <a:pt x="1151" y="1068"/>
                    </a:lnTo>
                    <a:lnTo>
                      <a:pt x="1025" y="1152"/>
                    </a:lnTo>
                    <a:lnTo>
                      <a:pt x="900" y="1089"/>
                    </a:lnTo>
                    <a:lnTo>
                      <a:pt x="795" y="1152"/>
                    </a:lnTo>
                    <a:lnTo>
                      <a:pt x="523" y="1193"/>
                    </a:lnTo>
                    <a:lnTo>
                      <a:pt x="398" y="1382"/>
                    </a:lnTo>
                    <a:lnTo>
                      <a:pt x="314" y="1382"/>
                    </a:lnTo>
                    <a:lnTo>
                      <a:pt x="167" y="1403"/>
                    </a:lnTo>
                    <a:lnTo>
                      <a:pt x="105" y="1528"/>
                    </a:lnTo>
                    <a:lnTo>
                      <a:pt x="209" y="1528"/>
                    </a:lnTo>
                    <a:lnTo>
                      <a:pt x="272" y="1591"/>
                    </a:lnTo>
                    <a:lnTo>
                      <a:pt x="167" y="1591"/>
                    </a:lnTo>
                    <a:lnTo>
                      <a:pt x="126" y="1633"/>
                    </a:lnTo>
                    <a:lnTo>
                      <a:pt x="209" y="1717"/>
                    </a:lnTo>
                    <a:lnTo>
                      <a:pt x="188" y="1779"/>
                    </a:lnTo>
                    <a:lnTo>
                      <a:pt x="0" y="1842"/>
                    </a:lnTo>
                    <a:lnTo>
                      <a:pt x="0" y="1905"/>
                    </a:lnTo>
                    <a:lnTo>
                      <a:pt x="126" y="1926"/>
                    </a:lnTo>
                    <a:lnTo>
                      <a:pt x="230" y="1905"/>
                    </a:lnTo>
                    <a:lnTo>
                      <a:pt x="293" y="1821"/>
                    </a:lnTo>
                    <a:lnTo>
                      <a:pt x="377" y="1800"/>
                    </a:lnTo>
                    <a:lnTo>
                      <a:pt x="481" y="1842"/>
                    </a:lnTo>
                    <a:lnTo>
                      <a:pt x="586" y="1989"/>
                    </a:lnTo>
                    <a:lnTo>
                      <a:pt x="586" y="2114"/>
                    </a:lnTo>
                    <a:lnTo>
                      <a:pt x="691" y="2156"/>
                    </a:lnTo>
                    <a:lnTo>
                      <a:pt x="732" y="2114"/>
                    </a:lnTo>
                    <a:lnTo>
                      <a:pt x="732" y="2009"/>
                    </a:lnTo>
                    <a:lnTo>
                      <a:pt x="753" y="1989"/>
                    </a:lnTo>
                    <a:lnTo>
                      <a:pt x="816" y="1821"/>
                    </a:lnTo>
                    <a:lnTo>
                      <a:pt x="858" y="1821"/>
                    </a:lnTo>
                    <a:lnTo>
                      <a:pt x="1004" y="1779"/>
                    </a:lnTo>
                    <a:lnTo>
                      <a:pt x="1067" y="1800"/>
                    </a:lnTo>
                    <a:lnTo>
                      <a:pt x="1046" y="1884"/>
                    </a:lnTo>
                    <a:lnTo>
                      <a:pt x="942" y="1926"/>
                    </a:lnTo>
                    <a:lnTo>
                      <a:pt x="900" y="2093"/>
                    </a:lnTo>
                    <a:lnTo>
                      <a:pt x="942" y="2156"/>
                    </a:lnTo>
                    <a:lnTo>
                      <a:pt x="858" y="2240"/>
                    </a:lnTo>
                    <a:lnTo>
                      <a:pt x="816" y="2323"/>
                    </a:lnTo>
                    <a:lnTo>
                      <a:pt x="858" y="2407"/>
                    </a:lnTo>
                    <a:lnTo>
                      <a:pt x="921" y="2323"/>
                    </a:lnTo>
                    <a:lnTo>
                      <a:pt x="1004" y="2344"/>
                    </a:lnTo>
                    <a:lnTo>
                      <a:pt x="1004" y="2428"/>
                    </a:lnTo>
                    <a:lnTo>
                      <a:pt x="1046" y="2428"/>
                    </a:lnTo>
                    <a:lnTo>
                      <a:pt x="1235" y="2323"/>
                    </a:lnTo>
                    <a:lnTo>
                      <a:pt x="1318" y="2219"/>
                    </a:lnTo>
                    <a:lnTo>
                      <a:pt x="1381" y="2240"/>
                    </a:lnTo>
                    <a:lnTo>
                      <a:pt x="1444" y="2135"/>
                    </a:lnTo>
                    <a:lnTo>
                      <a:pt x="1444" y="2009"/>
                    </a:lnTo>
                    <a:lnTo>
                      <a:pt x="1527" y="2009"/>
                    </a:lnTo>
                    <a:lnTo>
                      <a:pt x="1590" y="1905"/>
                    </a:lnTo>
                    <a:lnTo>
                      <a:pt x="1590" y="1779"/>
                    </a:lnTo>
                    <a:lnTo>
                      <a:pt x="1653" y="1717"/>
                    </a:lnTo>
                    <a:lnTo>
                      <a:pt x="1674" y="1779"/>
                    </a:lnTo>
                    <a:lnTo>
                      <a:pt x="1653" y="1842"/>
                    </a:lnTo>
                    <a:lnTo>
                      <a:pt x="1674" y="1926"/>
                    </a:lnTo>
                    <a:lnTo>
                      <a:pt x="1653" y="2051"/>
                    </a:lnTo>
                    <a:lnTo>
                      <a:pt x="1674" y="2198"/>
                    </a:lnTo>
                    <a:lnTo>
                      <a:pt x="1737" y="2198"/>
                    </a:lnTo>
                    <a:lnTo>
                      <a:pt x="1841" y="2051"/>
                    </a:lnTo>
                    <a:lnTo>
                      <a:pt x="1862" y="1926"/>
                    </a:lnTo>
                    <a:lnTo>
                      <a:pt x="1883" y="1884"/>
                    </a:lnTo>
                    <a:lnTo>
                      <a:pt x="1967" y="1842"/>
                    </a:lnTo>
                    <a:lnTo>
                      <a:pt x="2092" y="1696"/>
                    </a:lnTo>
                    <a:lnTo>
                      <a:pt x="2113" y="1570"/>
                    </a:lnTo>
                    <a:lnTo>
                      <a:pt x="2092" y="1465"/>
                    </a:lnTo>
                    <a:lnTo>
                      <a:pt x="2155" y="1361"/>
                    </a:lnTo>
                    <a:lnTo>
                      <a:pt x="2197" y="1486"/>
                    </a:lnTo>
                    <a:lnTo>
                      <a:pt x="2406" y="1361"/>
                    </a:lnTo>
                    <a:lnTo>
                      <a:pt x="2469" y="1193"/>
                    </a:lnTo>
                    <a:lnTo>
                      <a:pt x="2490" y="1089"/>
                    </a:lnTo>
                    <a:lnTo>
                      <a:pt x="2595" y="1068"/>
                    </a:lnTo>
                    <a:lnTo>
                      <a:pt x="2636" y="1047"/>
                    </a:lnTo>
                    <a:lnTo>
                      <a:pt x="2720" y="1089"/>
                    </a:lnTo>
                    <a:lnTo>
                      <a:pt x="2825" y="984"/>
                    </a:lnTo>
                    <a:lnTo>
                      <a:pt x="2888" y="1047"/>
                    </a:lnTo>
                    <a:lnTo>
                      <a:pt x="2825" y="1256"/>
                    </a:lnTo>
                    <a:lnTo>
                      <a:pt x="2678" y="1403"/>
                    </a:lnTo>
                    <a:lnTo>
                      <a:pt x="2636" y="1507"/>
                    </a:lnTo>
                    <a:lnTo>
                      <a:pt x="2574" y="1591"/>
                    </a:lnTo>
                    <a:lnTo>
                      <a:pt x="2574" y="1633"/>
                    </a:lnTo>
                    <a:lnTo>
                      <a:pt x="2469" y="1696"/>
                    </a:lnTo>
                    <a:lnTo>
                      <a:pt x="2323" y="1926"/>
                    </a:lnTo>
                    <a:lnTo>
                      <a:pt x="2323" y="1989"/>
                    </a:lnTo>
                    <a:lnTo>
                      <a:pt x="2385" y="2093"/>
                    </a:lnTo>
                    <a:lnTo>
                      <a:pt x="2364" y="2198"/>
                    </a:lnTo>
                    <a:lnTo>
                      <a:pt x="2427" y="2219"/>
                    </a:lnTo>
                    <a:lnTo>
                      <a:pt x="2532" y="2261"/>
                    </a:lnTo>
                    <a:lnTo>
                      <a:pt x="2616" y="2198"/>
                    </a:lnTo>
                    <a:lnTo>
                      <a:pt x="2720" y="2135"/>
                    </a:lnTo>
                    <a:lnTo>
                      <a:pt x="2741" y="2030"/>
                    </a:lnTo>
                    <a:lnTo>
                      <a:pt x="2741" y="1926"/>
                    </a:lnTo>
                    <a:lnTo>
                      <a:pt x="2825" y="1842"/>
                    </a:lnTo>
                    <a:lnTo>
                      <a:pt x="2888" y="1737"/>
                    </a:lnTo>
                    <a:lnTo>
                      <a:pt x="2950" y="1737"/>
                    </a:lnTo>
                    <a:lnTo>
                      <a:pt x="3013" y="1717"/>
                    </a:lnTo>
                    <a:lnTo>
                      <a:pt x="3097" y="1779"/>
                    </a:lnTo>
                    <a:lnTo>
                      <a:pt x="3201" y="1779"/>
                    </a:lnTo>
                    <a:lnTo>
                      <a:pt x="3243" y="1717"/>
                    </a:lnTo>
                    <a:lnTo>
                      <a:pt x="3432" y="1717"/>
                    </a:lnTo>
                    <a:lnTo>
                      <a:pt x="3515" y="1612"/>
                    </a:lnTo>
                    <a:lnTo>
                      <a:pt x="3557" y="1403"/>
                    </a:lnTo>
                    <a:lnTo>
                      <a:pt x="3662" y="1256"/>
                    </a:lnTo>
                    <a:lnTo>
                      <a:pt x="3662" y="1152"/>
                    </a:lnTo>
                    <a:lnTo>
                      <a:pt x="3683" y="1089"/>
                    </a:lnTo>
                    <a:lnTo>
                      <a:pt x="3766" y="1214"/>
                    </a:lnTo>
                    <a:lnTo>
                      <a:pt x="3871" y="1256"/>
                    </a:lnTo>
                    <a:lnTo>
                      <a:pt x="3892" y="1193"/>
                    </a:lnTo>
                    <a:lnTo>
                      <a:pt x="3892" y="1110"/>
                    </a:lnTo>
                    <a:lnTo>
                      <a:pt x="3787" y="963"/>
                    </a:lnTo>
                    <a:lnTo>
                      <a:pt x="3787" y="880"/>
                    </a:lnTo>
                    <a:lnTo>
                      <a:pt x="3934" y="775"/>
                    </a:lnTo>
                    <a:lnTo>
                      <a:pt x="4038" y="754"/>
                    </a:lnTo>
                    <a:lnTo>
                      <a:pt x="4143" y="691"/>
                    </a:lnTo>
                    <a:lnTo>
                      <a:pt x="4206" y="733"/>
                    </a:lnTo>
                    <a:lnTo>
                      <a:pt x="4289" y="733"/>
                    </a:lnTo>
                    <a:lnTo>
                      <a:pt x="4394" y="587"/>
                    </a:lnTo>
                    <a:lnTo>
                      <a:pt x="4373" y="524"/>
                    </a:lnTo>
                    <a:lnTo>
                      <a:pt x="4352" y="273"/>
                    </a:lnTo>
                    <a:lnTo>
                      <a:pt x="4373" y="231"/>
                    </a:lnTo>
                    <a:lnTo>
                      <a:pt x="4352" y="168"/>
                    </a:lnTo>
                    <a:lnTo>
                      <a:pt x="4352" y="22"/>
                    </a:lnTo>
                    <a:lnTo>
                      <a:pt x="426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 name="Google Shape;5875;p93">
                <a:extLst>
                  <a:ext uri="{FF2B5EF4-FFF2-40B4-BE49-F238E27FC236}">
                    <a16:creationId xmlns:a16="http://schemas.microsoft.com/office/drawing/2014/main" id="{B97C5855-ABEB-4EBA-972C-8E17BC7BF492}"/>
                  </a:ext>
                </a:extLst>
              </p:cNvPr>
              <p:cNvSpPr/>
              <p:nvPr/>
            </p:nvSpPr>
            <p:spPr>
              <a:xfrm>
                <a:off x="2580975" y="1547400"/>
                <a:ext cx="48150" cy="32475"/>
              </a:xfrm>
              <a:custGeom>
                <a:avLst/>
                <a:gdLst/>
                <a:ahLst/>
                <a:cxnLst/>
                <a:rect l="l" t="t" r="r" b="b"/>
                <a:pathLst>
                  <a:path w="1926" h="1299" extrusionOk="0">
                    <a:moveTo>
                      <a:pt x="796" y="1"/>
                    </a:moveTo>
                    <a:lnTo>
                      <a:pt x="524" y="43"/>
                    </a:lnTo>
                    <a:lnTo>
                      <a:pt x="440" y="43"/>
                    </a:lnTo>
                    <a:lnTo>
                      <a:pt x="336" y="126"/>
                    </a:lnTo>
                    <a:lnTo>
                      <a:pt x="231" y="168"/>
                    </a:lnTo>
                    <a:lnTo>
                      <a:pt x="210" y="315"/>
                    </a:lnTo>
                    <a:lnTo>
                      <a:pt x="64" y="419"/>
                    </a:lnTo>
                    <a:lnTo>
                      <a:pt x="64" y="524"/>
                    </a:lnTo>
                    <a:lnTo>
                      <a:pt x="1" y="629"/>
                    </a:lnTo>
                    <a:lnTo>
                      <a:pt x="22" y="754"/>
                    </a:lnTo>
                    <a:lnTo>
                      <a:pt x="22" y="880"/>
                    </a:lnTo>
                    <a:lnTo>
                      <a:pt x="106" y="880"/>
                    </a:lnTo>
                    <a:lnTo>
                      <a:pt x="231" y="963"/>
                    </a:lnTo>
                    <a:lnTo>
                      <a:pt x="315" y="1110"/>
                    </a:lnTo>
                    <a:lnTo>
                      <a:pt x="231" y="1193"/>
                    </a:lnTo>
                    <a:lnTo>
                      <a:pt x="252" y="1214"/>
                    </a:lnTo>
                    <a:lnTo>
                      <a:pt x="378" y="1214"/>
                    </a:lnTo>
                    <a:lnTo>
                      <a:pt x="524" y="1256"/>
                    </a:lnTo>
                    <a:lnTo>
                      <a:pt x="566" y="1214"/>
                    </a:lnTo>
                    <a:lnTo>
                      <a:pt x="691" y="1298"/>
                    </a:lnTo>
                    <a:lnTo>
                      <a:pt x="838" y="1298"/>
                    </a:lnTo>
                    <a:lnTo>
                      <a:pt x="943" y="1256"/>
                    </a:lnTo>
                    <a:lnTo>
                      <a:pt x="1068" y="1256"/>
                    </a:lnTo>
                    <a:lnTo>
                      <a:pt x="1110" y="1152"/>
                    </a:lnTo>
                    <a:lnTo>
                      <a:pt x="1110" y="1089"/>
                    </a:lnTo>
                    <a:lnTo>
                      <a:pt x="1215" y="1068"/>
                    </a:lnTo>
                    <a:lnTo>
                      <a:pt x="1256" y="984"/>
                    </a:lnTo>
                    <a:lnTo>
                      <a:pt x="1403" y="796"/>
                    </a:lnTo>
                    <a:lnTo>
                      <a:pt x="1382" y="733"/>
                    </a:lnTo>
                    <a:lnTo>
                      <a:pt x="1319" y="754"/>
                    </a:lnTo>
                    <a:lnTo>
                      <a:pt x="1215" y="733"/>
                    </a:lnTo>
                    <a:lnTo>
                      <a:pt x="1215" y="670"/>
                    </a:lnTo>
                    <a:lnTo>
                      <a:pt x="1361" y="545"/>
                    </a:lnTo>
                    <a:lnTo>
                      <a:pt x="1466" y="545"/>
                    </a:lnTo>
                    <a:lnTo>
                      <a:pt x="1738" y="440"/>
                    </a:lnTo>
                    <a:lnTo>
                      <a:pt x="1821" y="461"/>
                    </a:lnTo>
                    <a:lnTo>
                      <a:pt x="1926" y="273"/>
                    </a:lnTo>
                    <a:lnTo>
                      <a:pt x="1905" y="231"/>
                    </a:lnTo>
                    <a:lnTo>
                      <a:pt x="1779" y="210"/>
                    </a:lnTo>
                    <a:lnTo>
                      <a:pt x="1717" y="147"/>
                    </a:lnTo>
                    <a:lnTo>
                      <a:pt x="1591" y="126"/>
                    </a:lnTo>
                    <a:lnTo>
                      <a:pt x="1424" y="126"/>
                    </a:lnTo>
                    <a:lnTo>
                      <a:pt x="1403" y="105"/>
                    </a:lnTo>
                    <a:lnTo>
                      <a:pt x="1256" y="43"/>
                    </a:lnTo>
                    <a:lnTo>
                      <a:pt x="1173" y="64"/>
                    </a:lnTo>
                    <a:lnTo>
                      <a:pt x="1047" y="64"/>
                    </a:lnTo>
                    <a:lnTo>
                      <a:pt x="963" y="43"/>
                    </a:lnTo>
                    <a:lnTo>
                      <a:pt x="859" y="43"/>
                    </a:lnTo>
                    <a:lnTo>
                      <a:pt x="79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 name="Google Shape;5876;p93">
                <a:extLst>
                  <a:ext uri="{FF2B5EF4-FFF2-40B4-BE49-F238E27FC236}">
                    <a16:creationId xmlns:a16="http://schemas.microsoft.com/office/drawing/2014/main" id="{A4DC71EF-FB10-437C-BC48-47DBB0F92DF0}"/>
                  </a:ext>
                </a:extLst>
              </p:cNvPr>
              <p:cNvSpPr/>
              <p:nvPr/>
            </p:nvSpPr>
            <p:spPr>
              <a:xfrm>
                <a:off x="2474800" y="1600250"/>
                <a:ext cx="142825" cy="88425"/>
              </a:xfrm>
              <a:custGeom>
                <a:avLst/>
                <a:gdLst/>
                <a:ahLst/>
                <a:cxnLst/>
                <a:rect l="l" t="t" r="r" b="b"/>
                <a:pathLst>
                  <a:path w="5713" h="3537" extrusionOk="0">
                    <a:moveTo>
                      <a:pt x="2177" y="0"/>
                    </a:moveTo>
                    <a:lnTo>
                      <a:pt x="1863" y="84"/>
                    </a:lnTo>
                    <a:lnTo>
                      <a:pt x="1800" y="126"/>
                    </a:lnTo>
                    <a:lnTo>
                      <a:pt x="1863" y="188"/>
                    </a:lnTo>
                    <a:lnTo>
                      <a:pt x="1863" y="293"/>
                    </a:lnTo>
                    <a:lnTo>
                      <a:pt x="1988" y="356"/>
                    </a:lnTo>
                    <a:lnTo>
                      <a:pt x="2051" y="460"/>
                    </a:lnTo>
                    <a:lnTo>
                      <a:pt x="1967" y="439"/>
                    </a:lnTo>
                    <a:lnTo>
                      <a:pt x="1842" y="335"/>
                    </a:lnTo>
                    <a:lnTo>
                      <a:pt x="1758" y="335"/>
                    </a:lnTo>
                    <a:lnTo>
                      <a:pt x="1695" y="293"/>
                    </a:lnTo>
                    <a:lnTo>
                      <a:pt x="1591" y="293"/>
                    </a:lnTo>
                    <a:lnTo>
                      <a:pt x="1465" y="335"/>
                    </a:lnTo>
                    <a:lnTo>
                      <a:pt x="1381" y="335"/>
                    </a:lnTo>
                    <a:lnTo>
                      <a:pt x="1319" y="398"/>
                    </a:lnTo>
                    <a:lnTo>
                      <a:pt x="1256" y="502"/>
                    </a:lnTo>
                    <a:lnTo>
                      <a:pt x="1130" y="607"/>
                    </a:lnTo>
                    <a:lnTo>
                      <a:pt x="1214" y="711"/>
                    </a:lnTo>
                    <a:lnTo>
                      <a:pt x="1444" y="753"/>
                    </a:lnTo>
                    <a:lnTo>
                      <a:pt x="1549" y="753"/>
                    </a:lnTo>
                    <a:lnTo>
                      <a:pt x="1653" y="837"/>
                    </a:lnTo>
                    <a:lnTo>
                      <a:pt x="1737" y="837"/>
                    </a:lnTo>
                    <a:lnTo>
                      <a:pt x="1758" y="879"/>
                    </a:lnTo>
                    <a:lnTo>
                      <a:pt x="1695" y="921"/>
                    </a:lnTo>
                    <a:lnTo>
                      <a:pt x="1570" y="879"/>
                    </a:lnTo>
                    <a:lnTo>
                      <a:pt x="1319" y="858"/>
                    </a:lnTo>
                    <a:lnTo>
                      <a:pt x="1109" y="879"/>
                    </a:lnTo>
                    <a:lnTo>
                      <a:pt x="1026" y="858"/>
                    </a:lnTo>
                    <a:lnTo>
                      <a:pt x="921" y="879"/>
                    </a:lnTo>
                    <a:lnTo>
                      <a:pt x="754" y="1046"/>
                    </a:lnTo>
                    <a:lnTo>
                      <a:pt x="607" y="1193"/>
                    </a:lnTo>
                    <a:lnTo>
                      <a:pt x="628" y="1256"/>
                    </a:lnTo>
                    <a:lnTo>
                      <a:pt x="754" y="1256"/>
                    </a:lnTo>
                    <a:lnTo>
                      <a:pt x="942" y="1297"/>
                    </a:lnTo>
                    <a:lnTo>
                      <a:pt x="1068" y="1276"/>
                    </a:lnTo>
                    <a:lnTo>
                      <a:pt x="1214" y="1276"/>
                    </a:lnTo>
                    <a:lnTo>
                      <a:pt x="1256" y="1339"/>
                    </a:lnTo>
                    <a:lnTo>
                      <a:pt x="1340" y="1381"/>
                    </a:lnTo>
                    <a:lnTo>
                      <a:pt x="1214" y="1486"/>
                    </a:lnTo>
                    <a:lnTo>
                      <a:pt x="1068" y="1486"/>
                    </a:lnTo>
                    <a:lnTo>
                      <a:pt x="963" y="1569"/>
                    </a:lnTo>
                    <a:lnTo>
                      <a:pt x="837" y="1548"/>
                    </a:lnTo>
                    <a:lnTo>
                      <a:pt x="712" y="1465"/>
                    </a:lnTo>
                    <a:lnTo>
                      <a:pt x="503" y="1465"/>
                    </a:lnTo>
                    <a:lnTo>
                      <a:pt x="419" y="1444"/>
                    </a:lnTo>
                    <a:lnTo>
                      <a:pt x="314" y="1465"/>
                    </a:lnTo>
                    <a:lnTo>
                      <a:pt x="84" y="1611"/>
                    </a:lnTo>
                    <a:lnTo>
                      <a:pt x="126" y="1674"/>
                    </a:lnTo>
                    <a:lnTo>
                      <a:pt x="126" y="1800"/>
                    </a:lnTo>
                    <a:lnTo>
                      <a:pt x="0" y="1800"/>
                    </a:lnTo>
                    <a:lnTo>
                      <a:pt x="0" y="1862"/>
                    </a:lnTo>
                    <a:lnTo>
                      <a:pt x="189" y="1988"/>
                    </a:lnTo>
                    <a:lnTo>
                      <a:pt x="314" y="2134"/>
                    </a:lnTo>
                    <a:lnTo>
                      <a:pt x="377" y="2134"/>
                    </a:lnTo>
                    <a:lnTo>
                      <a:pt x="398" y="2030"/>
                    </a:lnTo>
                    <a:lnTo>
                      <a:pt x="482" y="2072"/>
                    </a:lnTo>
                    <a:lnTo>
                      <a:pt x="419" y="2134"/>
                    </a:lnTo>
                    <a:lnTo>
                      <a:pt x="544" y="2239"/>
                    </a:lnTo>
                    <a:lnTo>
                      <a:pt x="544" y="2385"/>
                    </a:lnTo>
                    <a:lnTo>
                      <a:pt x="649" y="2427"/>
                    </a:lnTo>
                    <a:lnTo>
                      <a:pt x="733" y="2344"/>
                    </a:lnTo>
                    <a:lnTo>
                      <a:pt x="733" y="2218"/>
                    </a:lnTo>
                    <a:lnTo>
                      <a:pt x="796" y="2239"/>
                    </a:lnTo>
                    <a:lnTo>
                      <a:pt x="900" y="2239"/>
                    </a:lnTo>
                    <a:lnTo>
                      <a:pt x="837" y="2323"/>
                    </a:lnTo>
                    <a:lnTo>
                      <a:pt x="837" y="2427"/>
                    </a:lnTo>
                    <a:lnTo>
                      <a:pt x="963" y="2511"/>
                    </a:lnTo>
                    <a:lnTo>
                      <a:pt x="1068" y="2490"/>
                    </a:lnTo>
                    <a:lnTo>
                      <a:pt x="1109" y="2406"/>
                    </a:lnTo>
                    <a:lnTo>
                      <a:pt x="1277" y="2323"/>
                    </a:lnTo>
                    <a:lnTo>
                      <a:pt x="1319" y="2197"/>
                    </a:lnTo>
                    <a:lnTo>
                      <a:pt x="1340" y="2176"/>
                    </a:lnTo>
                    <a:lnTo>
                      <a:pt x="1423" y="2281"/>
                    </a:lnTo>
                    <a:lnTo>
                      <a:pt x="1465" y="2197"/>
                    </a:lnTo>
                    <a:lnTo>
                      <a:pt x="1591" y="2176"/>
                    </a:lnTo>
                    <a:lnTo>
                      <a:pt x="1674" y="2176"/>
                    </a:lnTo>
                    <a:lnTo>
                      <a:pt x="1549" y="2281"/>
                    </a:lnTo>
                    <a:lnTo>
                      <a:pt x="1423" y="2344"/>
                    </a:lnTo>
                    <a:lnTo>
                      <a:pt x="1423" y="2448"/>
                    </a:lnTo>
                    <a:lnTo>
                      <a:pt x="1570" y="2511"/>
                    </a:lnTo>
                    <a:lnTo>
                      <a:pt x="1674" y="2490"/>
                    </a:lnTo>
                    <a:lnTo>
                      <a:pt x="1737" y="2532"/>
                    </a:lnTo>
                    <a:lnTo>
                      <a:pt x="1842" y="2511"/>
                    </a:lnTo>
                    <a:lnTo>
                      <a:pt x="1946" y="2490"/>
                    </a:lnTo>
                    <a:lnTo>
                      <a:pt x="2009" y="2406"/>
                    </a:lnTo>
                    <a:lnTo>
                      <a:pt x="2093" y="2490"/>
                    </a:lnTo>
                    <a:lnTo>
                      <a:pt x="2093" y="2553"/>
                    </a:lnTo>
                    <a:lnTo>
                      <a:pt x="2260" y="2553"/>
                    </a:lnTo>
                    <a:lnTo>
                      <a:pt x="2407" y="2490"/>
                    </a:lnTo>
                    <a:lnTo>
                      <a:pt x="2407" y="2553"/>
                    </a:lnTo>
                    <a:lnTo>
                      <a:pt x="2574" y="2553"/>
                    </a:lnTo>
                    <a:lnTo>
                      <a:pt x="2637" y="2490"/>
                    </a:lnTo>
                    <a:lnTo>
                      <a:pt x="2700" y="2532"/>
                    </a:lnTo>
                    <a:lnTo>
                      <a:pt x="2616" y="2595"/>
                    </a:lnTo>
                    <a:lnTo>
                      <a:pt x="2595" y="2657"/>
                    </a:lnTo>
                    <a:lnTo>
                      <a:pt x="2323" y="2657"/>
                    </a:lnTo>
                    <a:lnTo>
                      <a:pt x="2218" y="2741"/>
                    </a:lnTo>
                    <a:lnTo>
                      <a:pt x="2156" y="2720"/>
                    </a:lnTo>
                    <a:lnTo>
                      <a:pt x="2009" y="2720"/>
                    </a:lnTo>
                    <a:lnTo>
                      <a:pt x="1842" y="2657"/>
                    </a:lnTo>
                    <a:lnTo>
                      <a:pt x="1653" y="2657"/>
                    </a:lnTo>
                    <a:lnTo>
                      <a:pt x="1486" y="2741"/>
                    </a:lnTo>
                    <a:lnTo>
                      <a:pt x="1381" y="2741"/>
                    </a:lnTo>
                    <a:lnTo>
                      <a:pt x="1256" y="2720"/>
                    </a:lnTo>
                    <a:lnTo>
                      <a:pt x="1172" y="2762"/>
                    </a:lnTo>
                    <a:lnTo>
                      <a:pt x="1005" y="2720"/>
                    </a:lnTo>
                    <a:lnTo>
                      <a:pt x="837" y="2762"/>
                    </a:lnTo>
                    <a:lnTo>
                      <a:pt x="816" y="2950"/>
                    </a:lnTo>
                    <a:lnTo>
                      <a:pt x="837" y="3034"/>
                    </a:lnTo>
                    <a:lnTo>
                      <a:pt x="796" y="3160"/>
                    </a:lnTo>
                    <a:lnTo>
                      <a:pt x="921" y="3285"/>
                    </a:lnTo>
                    <a:lnTo>
                      <a:pt x="963" y="3390"/>
                    </a:lnTo>
                    <a:lnTo>
                      <a:pt x="1130" y="3432"/>
                    </a:lnTo>
                    <a:lnTo>
                      <a:pt x="1319" y="3494"/>
                    </a:lnTo>
                    <a:lnTo>
                      <a:pt x="1465" y="3494"/>
                    </a:lnTo>
                    <a:lnTo>
                      <a:pt x="1633" y="3452"/>
                    </a:lnTo>
                    <a:lnTo>
                      <a:pt x="1779" y="3452"/>
                    </a:lnTo>
                    <a:lnTo>
                      <a:pt x="1800" y="3536"/>
                    </a:lnTo>
                    <a:lnTo>
                      <a:pt x="1946" y="3536"/>
                    </a:lnTo>
                    <a:lnTo>
                      <a:pt x="2072" y="3473"/>
                    </a:lnTo>
                    <a:lnTo>
                      <a:pt x="2093" y="3473"/>
                    </a:lnTo>
                    <a:lnTo>
                      <a:pt x="2218" y="3452"/>
                    </a:lnTo>
                    <a:lnTo>
                      <a:pt x="2260" y="3369"/>
                    </a:lnTo>
                    <a:lnTo>
                      <a:pt x="2386" y="3369"/>
                    </a:lnTo>
                    <a:lnTo>
                      <a:pt x="2428" y="3348"/>
                    </a:lnTo>
                    <a:lnTo>
                      <a:pt x="2469" y="3243"/>
                    </a:lnTo>
                    <a:lnTo>
                      <a:pt x="2532" y="3222"/>
                    </a:lnTo>
                    <a:lnTo>
                      <a:pt x="2616" y="3222"/>
                    </a:lnTo>
                    <a:lnTo>
                      <a:pt x="2679" y="3139"/>
                    </a:lnTo>
                    <a:lnTo>
                      <a:pt x="2741" y="3180"/>
                    </a:lnTo>
                    <a:lnTo>
                      <a:pt x="2909" y="3180"/>
                    </a:lnTo>
                    <a:lnTo>
                      <a:pt x="2930" y="3222"/>
                    </a:lnTo>
                    <a:lnTo>
                      <a:pt x="3055" y="3222"/>
                    </a:lnTo>
                    <a:lnTo>
                      <a:pt x="3118" y="3160"/>
                    </a:lnTo>
                    <a:lnTo>
                      <a:pt x="3306" y="3076"/>
                    </a:lnTo>
                    <a:lnTo>
                      <a:pt x="3369" y="3076"/>
                    </a:lnTo>
                    <a:lnTo>
                      <a:pt x="3453" y="3055"/>
                    </a:lnTo>
                    <a:lnTo>
                      <a:pt x="3453" y="2971"/>
                    </a:lnTo>
                    <a:lnTo>
                      <a:pt x="3537" y="3013"/>
                    </a:lnTo>
                    <a:lnTo>
                      <a:pt x="3557" y="3076"/>
                    </a:lnTo>
                    <a:lnTo>
                      <a:pt x="3516" y="3160"/>
                    </a:lnTo>
                    <a:lnTo>
                      <a:pt x="3516" y="3222"/>
                    </a:lnTo>
                    <a:lnTo>
                      <a:pt x="3662" y="3264"/>
                    </a:lnTo>
                    <a:lnTo>
                      <a:pt x="3746" y="3243"/>
                    </a:lnTo>
                    <a:lnTo>
                      <a:pt x="3767" y="3160"/>
                    </a:lnTo>
                    <a:lnTo>
                      <a:pt x="3892" y="3118"/>
                    </a:lnTo>
                    <a:lnTo>
                      <a:pt x="3934" y="3118"/>
                    </a:lnTo>
                    <a:lnTo>
                      <a:pt x="3955" y="3180"/>
                    </a:lnTo>
                    <a:lnTo>
                      <a:pt x="3871" y="3264"/>
                    </a:lnTo>
                    <a:lnTo>
                      <a:pt x="3892" y="3348"/>
                    </a:lnTo>
                    <a:lnTo>
                      <a:pt x="4039" y="3390"/>
                    </a:lnTo>
                    <a:lnTo>
                      <a:pt x="4206" y="3369"/>
                    </a:lnTo>
                    <a:lnTo>
                      <a:pt x="4394" y="3285"/>
                    </a:lnTo>
                    <a:lnTo>
                      <a:pt x="4478" y="3285"/>
                    </a:lnTo>
                    <a:lnTo>
                      <a:pt x="4583" y="3264"/>
                    </a:lnTo>
                    <a:lnTo>
                      <a:pt x="4666" y="3327"/>
                    </a:lnTo>
                    <a:lnTo>
                      <a:pt x="4708" y="3285"/>
                    </a:lnTo>
                    <a:lnTo>
                      <a:pt x="4708" y="3243"/>
                    </a:lnTo>
                    <a:lnTo>
                      <a:pt x="4771" y="3222"/>
                    </a:lnTo>
                    <a:lnTo>
                      <a:pt x="4834" y="3222"/>
                    </a:lnTo>
                    <a:lnTo>
                      <a:pt x="4876" y="3139"/>
                    </a:lnTo>
                    <a:lnTo>
                      <a:pt x="4876" y="3055"/>
                    </a:lnTo>
                    <a:lnTo>
                      <a:pt x="4980" y="2971"/>
                    </a:lnTo>
                    <a:lnTo>
                      <a:pt x="5085" y="2971"/>
                    </a:lnTo>
                    <a:lnTo>
                      <a:pt x="5190" y="2804"/>
                    </a:lnTo>
                    <a:lnTo>
                      <a:pt x="5190" y="2720"/>
                    </a:lnTo>
                    <a:lnTo>
                      <a:pt x="5210" y="2657"/>
                    </a:lnTo>
                    <a:lnTo>
                      <a:pt x="5294" y="2657"/>
                    </a:lnTo>
                    <a:lnTo>
                      <a:pt x="5399" y="2616"/>
                    </a:lnTo>
                    <a:lnTo>
                      <a:pt x="5524" y="2490"/>
                    </a:lnTo>
                    <a:lnTo>
                      <a:pt x="5650" y="2218"/>
                    </a:lnTo>
                    <a:lnTo>
                      <a:pt x="5713" y="2072"/>
                    </a:lnTo>
                    <a:lnTo>
                      <a:pt x="5650" y="1967"/>
                    </a:lnTo>
                    <a:lnTo>
                      <a:pt x="5566" y="1779"/>
                    </a:lnTo>
                    <a:lnTo>
                      <a:pt x="5441" y="1695"/>
                    </a:lnTo>
                    <a:lnTo>
                      <a:pt x="5357" y="1695"/>
                    </a:lnTo>
                    <a:lnTo>
                      <a:pt x="5190" y="1820"/>
                    </a:lnTo>
                    <a:lnTo>
                      <a:pt x="5190" y="1925"/>
                    </a:lnTo>
                    <a:lnTo>
                      <a:pt x="5106" y="2072"/>
                    </a:lnTo>
                    <a:lnTo>
                      <a:pt x="5127" y="2092"/>
                    </a:lnTo>
                    <a:lnTo>
                      <a:pt x="5106" y="2134"/>
                    </a:lnTo>
                    <a:lnTo>
                      <a:pt x="5022" y="2134"/>
                    </a:lnTo>
                    <a:lnTo>
                      <a:pt x="4918" y="2239"/>
                    </a:lnTo>
                    <a:lnTo>
                      <a:pt x="4897" y="2197"/>
                    </a:lnTo>
                    <a:lnTo>
                      <a:pt x="4980" y="2009"/>
                    </a:lnTo>
                    <a:lnTo>
                      <a:pt x="5001" y="1883"/>
                    </a:lnTo>
                    <a:lnTo>
                      <a:pt x="4834" y="1800"/>
                    </a:lnTo>
                    <a:lnTo>
                      <a:pt x="4771" y="1820"/>
                    </a:lnTo>
                    <a:lnTo>
                      <a:pt x="4687" y="1904"/>
                    </a:lnTo>
                    <a:lnTo>
                      <a:pt x="4499" y="2009"/>
                    </a:lnTo>
                    <a:lnTo>
                      <a:pt x="4457" y="2113"/>
                    </a:lnTo>
                    <a:lnTo>
                      <a:pt x="4394" y="2030"/>
                    </a:lnTo>
                    <a:lnTo>
                      <a:pt x="4415" y="1925"/>
                    </a:lnTo>
                    <a:lnTo>
                      <a:pt x="4583" y="1800"/>
                    </a:lnTo>
                    <a:lnTo>
                      <a:pt x="4771" y="1695"/>
                    </a:lnTo>
                    <a:lnTo>
                      <a:pt x="4834" y="1569"/>
                    </a:lnTo>
                    <a:lnTo>
                      <a:pt x="4813" y="1507"/>
                    </a:lnTo>
                    <a:lnTo>
                      <a:pt x="4666" y="1507"/>
                    </a:lnTo>
                    <a:lnTo>
                      <a:pt x="4562" y="1548"/>
                    </a:lnTo>
                    <a:lnTo>
                      <a:pt x="4499" y="1548"/>
                    </a:lnTo>
                    <a:lnTo>
                      <a:pt x="4499" y="1486"/>
                    </a:lnTo>
                    <a:lnTo>
                      <a:pt x="4583" y="1402"/>
                    </a:lnTo>
                    <a:lnTo>
                      <a:pt x="4771" y="1276"/>
                    </a:lnTo>
                    <a:lnTo>
                      <a:pt x="4813" y="1276"/>
                    </a:lnTo>
                    <a:lnTo>
                      <a:pt x="4876" y="1235"/>
                    </a:lnTo>
                    <a:lnTo>
                      <a:pt x="4876" y="942"/>
                    </a:lnTo>
                    <a:lnTo>
                      <a:pt x="4834" y="921"/>
                    </a:lnTo>
                    <a:lnTo>
                      <a:pt x="4834" y="753"/>
                    </a:lnTo>
                    <a:lnTo>
                      <a:pt x="4876" y="649"/>
                    </a:lnTo>
                    <a:lnTo>
                      <a:pt x="4876" y="565"/>
                    </a:lnTo>
                    <a:lnTo>
                      <a:pt x="4938" y="502"/>
                    </a:lnTo>
                    <a:lnTo>
                      <a:pt x="5022" y="502"/>
                    </a:lnTo>
                    <a:lnTo>
                      <a:pt x="5085" y="419"/>
                    </a:lnTo>
                    <a:lnTo>
                      <a:pt x="5022" y="335"/>
                    </a:lnTo>
                    <a:lnTo>
                      <a:pt x="5043" y="251"/>
                    </a:lnTo>
                    <a:lnTo>
                      <a:pt x="4897" y="188"/>
                    </a:lnTo>
                    <a:lnTo>
                      <a:pt x="4813" y="188"/>
                    </a:lnTo>
                    <a:lnTo>
                      <a:pt x="4562" y="419"/>
                    </a:lnTo>
                    <a:lnTo>
                      <a:pt x="4415" y="460"/>
                    </a:lnTo>
                    <a:lnTo>
                      <a:pt x="4374" y="565"/>
                    </a:lnTo>
                    <a:lnTo>
                      <a:pt x="4394" y="628"/>
                    </a:lnTo>
                    <a:lnTo>
                      <a:pt x="4290" y="628"/>
                    </a:lnTo>
                    <a:lnTo>
                      <a:pt x="4248" y="607"/>
                    </a:lnTo>
                    <a:lnTo>
                      <a:pt x="4143" y="649"/>
                    </a:lnTo>
                    <a:lnTo>
                      <a:pt x="4039" y="816"/>
                    </a:lnTo>
                    <a:lnTo>
                      <a:pt x="4081" y="942"/>
                    </a:lnTo>
                    <a:lnTo>
                      <a:pt x="4081" y="1067"/>
                    </a:lnTo>
                    <a:lnTo>
                      <a:pt x="4143" y="1130"/>
                    </a:lnTo>
                    <a:lnTo>
                      <a:pt x="4206" y="1297"/>
                    </a:lnTo>
                    <a:lnTo>
                      <a:pt x="4143" y="1465"/>
                    </a:lnTo>
                    <a:lnTo>
                      <a:pt x="4039" y="1465"/>
                    </a:lnTo>
                    <a:lnTo>
                      <a:pt x="3871" y="1507"/>
                    </a:lnTo>
                    <a:lnTo>
                      <a:pt x="3788" y="1507"/>
                    </a:lnTo>
                    <a:lnTo>
                      <a:pt x="3746" y="1569"/>
                    </a:lnTo>
                    <a:lnTo>
                      <a:pt x="3788" y="1674"/>
                    </a:lnTo>
                    <a:lnTo>
                      <a:pt x="3788" y="1758"/>
                    </a:lnTo>
                    <a:lnTo>
                      <a:pt x="3892" y="1883"/>
                    </a:lnTo>
                    <a:lnTo>
                      <a:pt x="3955" y="2072"/>
                    </a:lnTo>
                    <a:lnTo>
                      <a:pt x="3767" y="2134"/>
                    </a:lnTo>
                    <a:lnTo>
                      <a:pt x="3788" y="2197"/>
                    </a:lnTo>
                    <a:lnTo>
                      <a:pt x="3829" y="2239"/>
                    </a:lnTo>
                    <a:lnTo>
                      <a:pt x="3746" y="2281"/>
                    </a:lnTo>
                    <a:lnTo>
                      <a:pt x="3662" y="2134"/>
                    </a:lnTo>
                    <a:lnTo>
                      <a:pt x="3453" y="2092"/>
                    </a:lnTo>
                    <a:lnTo>
                      <a:pt x="3411" y="2113"/>
                    </a:lnTo>
                    <a:lnTo>
                      <a:pt x="3265" y="2092"/>
                    </a:lnTo>
                    <a:lnTo>
                      <a:pt x="3244" y="2009"/>
                    </a:lnTo>
                    <a:lnTo>
                      <a:pt x="3202" y="1967"/>
                    </a:lnTo>
                    <a:lnTo>
                      <a:pt x="3118" y="2030"/>
                    </a:lnTo>
                    <a:lnTo>
                      <a:pt x="2993" y="2092"/>
                    </a:lnTo>
                    <a:lnTo>
                      <a:pt x="2930" y="2030"/>
                    </a:lnTo>
                    <a:lnTo>
                      <a:pt x="2930" y="1820"/>
                    </a:lnTo>
                    <a:lnTo>
                      <a:pt x="3034" y="1758"/>
                    </a:lnTo>
                    <a:lnTo>
                      <a:pt x="3118" y="1507"/>
                    </a:lnTo>
                    <a:lnTo>
                      <a:pt x="3034" y="1507"/>
                    </a:lnTo>
                    <a:lnTo>
                      <a:pt x="2909" y="1465"/>
                    </a:lnTo>
                    <a:lnTo>
                      <a:pt x="2804" y="1486"/>
                    </a:lnTo>
                    <a:lnTo>
                      <a:pt x="2783" y="1402"/>
                    </a:lnTo>
                    <a:lnTo>
                      <a:pt x="2888" y="1381"/>
                    </a:lnTo>
                    <a:lnTo>
                      <a:pt x="2993" y="1402"/>
                    </a:lnTo>
                    <a:lnTo>
                      <a:pt x="3034" y="1339"/>
                    </a:lnTo>
                    <a:lnTo>
                      <a:pt x="3013" y="1088"/>
                    </a:lnTo>
                    <a:lnTo>
                      <a:pt x="2909" y="963"/>
                    </a:lnTo>
                    <a:lnTo>
                      <a:pt x="2951" y="879"/>
                    </a:lnTo>
                    <a:lnTo>
                      <a:pt x="3013" y="858"/>
                    </a:lnTo>
                    <a:lnTo>
                      <a:pt x="3034" y="774"/>
                    </a:lnTo>
                    <a:lnTo>
                      <a:pt x="2951" y="711"/>
                    </a:lnTo>
                    <a:lnTo>
                      <a:pt x="2951" y="649"/>
                    </a:lnTo>
                    <a:lnTo>
                      <a:pt x="2909" y="565"/>
                    </a:lnTo>
                    <a:lnTo>
                      <a:pt x="2825" y="565"/>
                    </a:lnTo>
                    <a:lnTo>
                      <a:pt x="2783" y="523"/>
                    </a:lnTo>
                    <a:lnTo>
                      <a:pt x="2700" y="565"/>
                    </a:lnTo>
                    <a:lnTo>
                      <a:pt x="2490" y="565"/>
                    </a:lnTo>
                    <a:lnTo>
                      <a:pt x="2428" y="502"/>
                    </a:lnTo>
                    <a:lnTo>
                      <a:pt x="2532" y="335"/>
                    </a:lnTo>
                    <a:lnTo>
                      <a:pt x="2616" y="293"/>
                    </a:lnTo>
                    <a:lnTo>
                      <a:pt x="2574" y="126"/>
                    </a:lnTo>
                    <a:lnTo>
                      <a:pt x="2469" y="21"/>
                    </a:lnTo>
                    <a:lnTo>
                      <a:pt x="2281" y="21"/>
                    </a:lnTo>
                    <a:lnTo>
                      <a:pt x="217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 name="Google Shape;5877;p93">
                <a:extLst>
                  <a:ext uri="{FF2B5EF4-FFF2-40B4-BE49-F238E27FC236}">
                    <a16:creationId xmlns:a16="http://schemas.microsoft.com/office/drawing/2014/main" id="{BFD7940F-2FAD-4D6F-A2CB-08CB16992537}"/>
                  </a:ext>
                </a:extLst>
              </p:cNvPr>
              <p:cNvSpPr/>
              <p:nvPr/>
            </p:nvSpPr>
            <p:spPr>
              <a:xfrm>
                <a:off x="2638000" y="1637900"/>
                <a:ext cx="69075" cy="67500"/>
              </a:xfrm>
              <a:custGeom>
                <a:avLst/>
                <a:gdLst/>
                <a:ahLst/>
                <a:cxnLst/>
                <a:rect l="l" t="t" r="r" b="b"/>
                <a:pathLst>
                  <a:path w="2763" h="2700" extrusionOk="0">
                    <a:moveTo>
                      <a:pt x="1884" y="1"/>
                    </a:moveTo>
                    <a:lnTo>
                      <a:pt x="1758" y="84"/>
                    </a:lnTo>
                    <a:lnTo>
                      <a:pt x="1654" y="84"/>
                    </a:lnTo>
                    <a:lnTo>
                      <a:pt x="1612" y="126"/>
                    </a:lnTo>
                    <a:lnTo>
                      <a:pt x="1507" y="126"/>
                    </a:lnTo>
                    <a:lnTo>
                      <a:pt x="1423" y="189"/>
                    </a:lnTo>
                    <a:lnTo>
                      <a:pt x="1423" y="335"/>
                    </a:lnTo>
                    <a:lnTo>
                      <a:pt x="1403" y="398"/>
                    </a:lnTo>
                    <a:lnTo>
                      <a:pt x="1423" y="545"/>
                    </a:lnTo>
                    <a:lnTo>
                      <a:pt x="1528" y="649"/>
                    </a:lnTo>
                    <a:lnTo>
                      <a:pt x="1549" y="733"/>
                    </a:lnTo>
                    <a:lnTo>
                      <a:pt x="1549" y="733"/>
                    </a:lnTo>
                    <a:lnTo>
                      <a:pt x="1444" y="691"/>
                    </a:lnTo>
                    <a:lnTo>
                      <a:pt x="1361" y="691"/>
                    </a:lnTo>
                    <a:lnTo>
                      <a:pt x="1340" y="733"/>
                    </a:lnTo>
                    <a:lnTo>
                      <a:pt x="1528" y="858"/>
                    </a:lnTo>
                    <a:lnTo>
                      <a:pt x="1528" y="963"/>
                    </a:lnTo>
                    <a:lnTo>
                      <a:pt x="1423" y="1005"/>
                    </a:lnTo>
                    <a:lnTo>
                      <a:pt x="1403" y="1151"/>
                    </a:lnTo>
                    <a:lnTo>
                      <a:pt x="1444" y="1235"/>
                    </a:lnTo>
                    <a:lnTo>
                      <a:pt x="1340" y="1319"/>
                    </a:lnTo>
                    <a:lnTo>
                      <a:pt x="1235" y="1256"/>
                    </a:lnTo>
                    <a:lnTo>
                      <a:pt x="1235" y="1214"/>
                    </a:lnTo>
                    <a:lnTo>
                      <a:pt x="1256" y="1110"/>
                    </a:lnTo>
                    <a:lnTo>
                      <a:pt x="1235" y="796"/>
                    </a:lnTo>
                    <a:lnTo>
                      <a:pt x="1151" y="712"/>
                    </a:lnTo>
                    <a:lnTo>
                      <a:pt x="1131" y="628"/>
                    </a:lnTo>
                    <a:lnTo>
                      <a:pt x="1151" y="586"/>
                    </a:lnTo>
                    <a:lnTo>
                      <a:pt x="1151" y="482"/>
                    </a:lnTo>
                    <a:lnTo>
                      <a:pt x="1110" y="419"/>
                    </a:lnTo>
                    <a:lnTo>
                      <a:pt x="1089" y="314"/>
                    </a:lnTo>
                    <a:lnTo>
                      <a:pt x="1026" y="273"/>
                    </a:lnTo>
                    <a:lnTo>
                      <a:pt x="900" y="314"/>
                    </a:lnTo>
                    <a:lnTo>
                      <a:pt x="879" y="377"/>
                    </a:lnTo>
                    <a:lnTo>
                      <a:pt x="775" y="461"/>
                    </a:lnTo>
                    <a:lnTo>
                      <a:pt x="733" y="524"/>
                    </a:lnTo>
                    <a:lnTo>
                      <a:pt x="796" y="566"/>
                    </a:lnTo>
                    <a:lnTo>
                      <a:pt x="838" y="566"/>
                    </a:lnTo>
                    <a:lnTo>
                      <a:pt x="900" y="628"/>
                    </a:lnTo>
                    <a:lnTo>
                      <a:pt x="796" y="670"/>
                    </a:lnTo>
                    <a:lnTo>
                      <a:pt x="775" y="733"/>
                    </a:lnTo>
                    <a:lnTo>
                      <a:pt x="670" y="796"/>
                    </a:lnTo>
                    <a:lnTo>
                      <a:pt x="628" y="942"/>
                    </a:lnTo>
                    <a:lnTo>
                      <a:pt x="733" y="984"/>
                    </a:lnTo>
                    <a:lnTo>
                      <a:pt x="733" y="1026"/>
                    </a:lnTo>
                    <a:lnTo>
                      <a:pt x="607" y="1068"/>
                    </a:lnTo>
                    <a:lnTo>
                      <a:pt x="587" y="1172"/>
                    </a:lnTo>
                    <a:lnTo>
                      <a:pt x="628" y="1256"/>
                    </a:lnTo>
                    <a:lnTo>
                      <a:pt x="670" y="1361"/>
                    </a:lnTo>
                    <a:lnTo>
                      <a:pt x="607" y="1423"/>
                    </a:lnTo>
                    <a:lnTo>
                      <a:pt x="566" y="1382"/>
                    </a:lnTo>
                    <a:lnTo>
                      <a:pt x="566" y="1235"/>
                    </a:lnTo>
                    <a:lnTo>
                      <a:pt x="503" y="1214"/>
                    </a:lnTo>
                    <a:lnTo>
                      <a:pt x="503" y="1110"/>
                    </a:lnTo>
                    <a:lnTo>
                      <a:pt x="461" y="1130"/>
                    </a:lnTo>
                    <a:lnTo>
                      <a:pt x="294" y="1130"/>
                    </a:lnTo>
                    <a:lnTo>
                      <a:pt x="273" y="1214"/>
                    </a:lnTo>
                    <a:lnTo>
                      <a:pt x="335" y="1256"/>
                    </a:lnTo>
                    <a:lnTo>
                      <a:pt x="252" y="1298"/>
                    </a:lnTo>
                    <a:lnTo>
                      <a:pt x="168" y="1235"/>
                    </a:lnTo>
                    <a:lnTo>
                      <a:pt x="84" y="1298"/>
                    </a:lnTo>
                    <a:lnTo>
                      <a:pt x="1" y="1256"/>
                    </a:lnTo>
                    <a:lnTo>
                      <a:pt x="1" y="1402"/>
                    </a:lnTo>
                    <a:lnTo>
                      <a:pt x="63" y="1444"/>
                    </a:lnTo>
                    <a:lnTo>
                      <a:pt x="147" y="1444"/>
                    </a:lnTo>
                    <a:lnTo>
                      <a:pt x="189" y="1465"/>
                    </a:lnTo>
                    <a:lnTo>
                      <a:pt x="252" y="1444"/>
                    </a:lnTo>
                    <a:lnTo>
                      <a:pt x="356" y="1444"/>
                    </a:lnTo>
                    <a:lnTo>
                      <a:pt x="419" y="1465"/>
                    </a:lnTo>
                    <a:lnTo>
                      <a:pt x="503" y="1444"/>
                    </a:lnTo>
                    <a:lnTo>
                      <a:pt x="628" y="1507"/>
                    </a:lnTo>
                    <a:lnTo>
                      <a:pt x="796" y="1465"/>
                    </a:lnTo>
                    <a:lnTo>
                      <a:pt x="879" y="1528"/>
                    </a:lnTo>
                    <a:lnTo>
                      <a:pt x="984" y="1528"/>
                    </a:lnTo>
                    <a:lnTo>
                      <a:pt x="1444" y="1612"/>
                    </a:lnTo>
                    <a:lnTo>
                      <a:pt x="1507" y="1654"/>
                    </a:lnTo>
                    <a:lnTo>
                      <a:pt x="1423" y="1695"/>
                    </a:lnTo>
                    <a:lnTo>
                      <a:pt x="1298" y="1674"/>
                    </a:lnTo>
                    <a:lnTo>
                      <a:pt x="1151" y="1674"/>
                    </a:lnTo>
                    <a:lnTo>
                      <a:pt x="1047" y="1737"/>
                    </a:lnTo>
                    <a:lnTo>
                      <a:pt x="879" y="1758"/>
                    </a:lnTo>
                    <a:lnTo>
                      <a:pt x="921" y="1758"/>
                    </a:lnTo>
                    <a:lnTo>
                      <a:pt x="984" y="1800"/>
                    </a:lnTo>
                    <a:lnTo>
                      <a:pt x="921" y="1842"/>
                    </a:lnTo>
                    <a:lnTo>
                      <a:pt x="754" y="1779"/>
                    </a:lnTo>
                    <a:lnTo>
                      <a:pt x="670" y="1758"/>
                    </a:lnTo>
                    <a:lnTo>
                      <a:pt x="587" y="1800"/>
                    </a:lnTo>
                    <a:lnTo>
                      <a:pt x="607" y="1863"/>
                    </a:lnTo>
                    <a:lnTo>
                      <a:pt x="587" y="1905"/>
                    </a:lnTo>
                    <a:lnTo>
                      <a:pt x="524" y="1863"/>
                    </a:lnTo>
                    <a:lnTo>
                      <a:pt x="482" y="1863"/>
                    </a:lnTo>
                    <a:lnTo>
                      <a:pt x="503" y="1905"/>
                    </a:lnTo>
                    <a:lnTo>
                      <a:pt x="503" y="1967"/>
                    </a:lnTo>
                    <a:lnTo>
                      <a:pt x="566" y="2009"/>
                    </a:lnTo>
                    <a:lnTo>
                      <a:pt x="649" y="2051"/>
                    </a:lnTo>
                    <a:lnTo>
                      <a:pt x="607" y="2114"/>
                    </a:lnTo>
                    <a:lnTo>
                      <a:pt x="670" y="2198"/>
                    </a:lnTo>
                    <a:lnTo>
                      <a:pt x="607" y="2198"/>
                    </a:lnTo>
                    <a:lnTo>
                      <a:pt x="566" y="2114"/>
                    </a:lnTo>
                    <a:lnTo>
                      <a:pt x="503" y="2114"/>
                    </a:lnTo>
                    <a:lnTo>
                      <a:pt x="461" y="2218"/>
                    </a:lnTo>
                    <a:lnTo>
                      <a:pt x="461" y="2281"/>
                    </a:lnTo>
                    <a:lnTo>
                      <a:pt x="440" y="2323"/>
                    </a:lnTo>
                    <a:lnTo>
                      <a:pt x="440" y="2428"/>
                    </a:lnTo>
                    <a:lnTo>
                      <a:pt x="503" y="2491"/>
                    </a:lnTo>
                    <a:lnTo>
                      <a:pt x="607" y="2491"/>
                    </a:lnTo>
                    <a:lnTo>
                      <a:pt x="670" y="2532"/>
                    </a:lnTo>
                    <a:lnTo>
                      <a:pt x="712" y="2532"/>
                    </a:lnTo>
                    <a:lnTo>
                      <a:pt x="775" y="2470"/>
                    </a:lnTo>
                    <a:lnTo>
                      <a:pt x="900" y="2407"/>
                    </a:lnTo>
                    <a:lnTo>
                      <a:pt x="817" y="2511"/>
                    </a:lnTo>
                    <a:lnTo>
                      <a:pt x="859" y="2595"/>
                    </a:lnTo>
                    <a:lnTo>
                      <a:pt x="921" y="2595"/>
                    </a:lnTo>
                    <a:lnTo>
                      <a:pt x="1005" y="2511"/>
                    </a:lnTo>
                    <a:lnTo>
                      <a:pt x="1026" y="2574"/>
                    </a:lnTo>
                    <a:lnTo>
                      <a:pt x="1068" y="2679"/>
                    </a:lnTo>
                    <a:lnTo>
                      <a:pt x="1382" y="2700"/>
                    </a:lnTo>
                    <a:lnTo>
                      <a:pt x="1444" y="2595"/>
                    </a:lnTo>
                    <a:lnTo>
                      <a:pt x="1423" y="2511"/>
                    </a:lnTo>
                    <a:lnTo>
                      <a:pt x="1444" y="2407"/>
                    </a:lnTo>
                    <a:lnTo>
                      <a:pt x="1507" y="2365"/>
                    </a:lnTo>
                    <a:lnTo>
                      <a:pt x="1528" y="2407"/>
                    </a:lnTo>
                    <a:lnTo>
                      <a:pt x="1528" y="2511"/>
                    </a:lnTo>
                    <a:lnTo>
                      <a:pt x="1570" y="2616"/>
                    </a:lnTo>
                    <a:lnTo>
                      <a:pt x="1612" y="2574"/>
                    </a:lnTo>
                    <a:lnTo>
                      <a:pt x="1612" y="2470"/>
                    </a:lnTo>
                    <a:lnTo>
                      <a:pt x="1612" y="2407"/>
                    </a:lnTo>
                    <a:lnTo>
                      <a:pt x="1654" y="2323"/>
                    </a:lnTo>
                    <a:lnTo>
                      <a:pt x="1675" y="2281"/>
                    </a:lnTo>
                    <a:lnTo>
                      <a:pt x="1570" y="2302"/>
                    </a:lnTo>
                    <a:lnTo>
                      <a:pt x="1486" y="2344"/>
                    </a:lnTo>
                    <a:lnTo>
                      <a:pt x="1528" y="2239"/>
                    </a:lnTo>
                    <a:lnTo>
                      <a:pt x="1633" y="2198"/>
                    </a:lnTo>
                    <a:lnTo>
                      <a:pt x="1695" y="2135"/>
                    </a:lnTo>
                    <a:lnTo>
                      <a:pt x="1758" y="2072"/>
                    </a:lnTo>
                    <a:lnTo>
                      <a:pt x="1758" y="1988"/>
                    </a:lnTo>
                    <a:lnTo>
                      <a:pt x="1821" y="1967"/>
                    </a:lnTo>
                    <a:lnTo>
                      <a:pt x="1905" y="1988"/>
                    </a:lnTo>
                    <a:lnTo>
                      <a:pt x="1905" y="2072"/>
                    </a:lnTo>
                    <a:lnTo>
                      <a:pt x="1905" y="2156"/>
                    </a:lnTo>
                    <a:lnTo>
                      <a:pt x="1947" y="2093"/>
                    </a:lnTo>
                    <a:lnTo>
                      <a:pt x="2072" y="1926"/>
                    </a:lnTo>
                    <a:lnTo>
                      <a:pt x="2072" y="1863"/>
                    </a:lnTo>
                    <a:lnTo>
                      <a:pt x="1947" y="1779"/>
                    </a:lnTo>
                    <a:lnTo>
                      <a:pt x="1947" y="1737"/>
                    </a:lnTo>
                    <a:lnTo>
                      <a:pt x="1988" y="1674"/>
                    </a:lnTo>
                    <a:lnTo>
                      <a:pt x="2051" y="1716"/>
                    </a:lnTo>
                    <a:lnTo>
                      <a:pt x="2135" y="1716"/>
                    </a:lnTo>
                    <a:lnTo>
                      <a:pt x="2156" y="1612"/>
                    </a:lnTo>
                    <a:lnTo>
                      <a:pt x="2156" y="1549"/>
                    </a:lnTo>
                    <a:lnTo>
                      <a:pt x="2260" y="1423"/>
                    </a:lnTo>
                    <a:lnTo>
                      <a:pt x="2281" y="1340"/>
                    </a:lnTo>
                    <a:lnTo>
                      <a:pt x="2407" y="1214"/>
                    </a:lnTo>
                    <a:lnTo>
                      <a:pt x="2511" y="1151"/>
                    </a:lnTo>
                    <a:lnTo>
                      <a:pt x="2553" y="1089"/>
                    </a:lnTo>
                    <a:lnTo>
                      <a:pt x="2511" y="942"/>
                    </a:lnTo>
                    <a:lnTo>
                      <a:pt x="2616" y="775"/>
                    </a:lnTo>
                    <a:lnTo>
                      <a:pt x="2742" y="691"/>
                    </a:lnTo>
                    <a:lnTo>
                      <a:pt x="2763" y="586"/>
                    </a:lnTo>
                    <a:lnTo>
                      <a:pt x="2700" y="482"/>
                    </a:lnTo>
                    <a:lnTo>
                      <a:pt x="2595" y="461"/>
                    </a:lnTo>
                    <a:lnTo>
                      <a:pt x="2553" y="356"/>
                    </a:lnTo>
                    <a:lnTo>
                      <a:pt x="2595" y="356"/>
                    </a:lnTo>
                    <a:lnTo>
                      <a:pt x="2616" y="294"/>
                    </a:lnTo>
                    <a:lnTo>
                      <a:pt x="2595" y="252"/>
                    </a:lnTo>
                    <a:lnTo>
                      <a:pt x="2616" y="168"/>
                    </a:lnTo>
                    <a:lnTo>
                      <a:pt x="2595" y="84"/>
                    </a:lnTo>
                    <a:lnTo>
                      <a:pt x="2511" y="84"/>
                    </a:lnTo>
                    <a:lnTo>
                      <a:pt x="2553" y="147"/>
                    </a:lnTo>
                    <a:lnTo>
                      <a:pt x="2553" y="252"/>
                    </a:lnTo>
                    <a:lnTo>
                      <a:pt x="2470" y="273"/>
                    </a:lnTo>
                    <a:lnTo>
                      <a:pt x="2386" y="189"/>
                    </a:lnTo>
                    <a:lnTo>
                      <a:pt x="2302" y="273"/>
                    </a:lnTo>
                    <a:lnTo>
                      <a:pt x="2302" y="461"/>
                    </a:lnTo>
                    <a:lnTo>
                      <a:pt x="2260" y="503"/>
                    </a:lnTo>
                    <a:lnTo>
                      <a:pt x="2198" y="503"/>
                    </a:lnTo>
                    <a:lnTo>
                      <a:pt x="2156" y="566"/>
                    </a:lnTo>
                    <a:lnTo>
                      <a:pt x="2093" y="566"/>
                    </a:lnTo>
                    <a:lnTo>
                      <a:pt x="2093" y="482"/>
                    </a:lnTo>
                    <a:lnTo>
                      <a:pt x="2177" y="398"/>
                    </a:lnTo>
                    <a:lnTo>
                      <a:pt x="2219" y="168"/>
                    </a:lnTo>
                    <a:lnTo>
                      <a:pt x="2156" y="105"/>
                    </a:lnTo>
                    <a:lnTo>
                      <a:pt x="2072" y="126"/>
                    </a:lnTo>
                    <a:lnTo>
                      <a:pt x="1988" y="84"/>
                    </a:lnTo>
                    <a:lnTo>
                      <a:pt x="196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 name="Google Shape;5878;p93">
                <a:extLst>
                  <a:ext uri="{FF2B5EF4-FFF2-40B4-BE49-F238E27FC236}">
                    <a16:creationId xmlns:a16="http://schemas.microsoft.com/office/drawing/2014/main" id="{3C612C47-436C-41E1-BC0B-34D8B504359C}"/>
                  </a:ext>
                </a:extLst>
              </p:cNvPr>
              <p:cNvSpPr/>
              <p:nvPr/>
            </p:nvSpPr>
            <p:spPr>
              <a:xfrm>
                <a:off x="2686125" y="1510800"/>
                <a:ext cx="62275" cy="87900"/>
              </a:xfrm>
              <a:custGeom>
                <a:avLst/>
                <a:gdLst/>
                <a:ahLst/>
                <a:cxnLst/>
                <a:rect l="l" t="t" r="r" b="b"/>
                <a:pathLst>
                  <a:path w="2491" h="3516" extrusionOk="0">
                    <a:moveTo>
                      <a:pt x="1026" y="0"/>
                    </a:moveTo>
                    <a:lnTo>
                      <a:pt x="921" y="63"/>
                    </a:lnTo>
                    <a:lnTo>
                      <a:pt x="879" y="147"/>
                    </a:lnTo>
                    <a:lnTo>
                      <a:pt x="754" y="230"/>
                    </a:lnTo>
                    <a:lnTo>
                      <a:pt x="733" y="335"/>
                    </a:lnTo>
                    <a:lnTo>
                      <a:pt x="607" y="481"/>
                    </a:lnTo>
                    <a:lnTo>
                      <a:pt x="607" y="586"/>
                    </a:lnTo>
                    <a:lnTo>
                      <a:pt x="712" y="649"/>
                    </a:lnTo>
                    <a:lnTo>
                      <a:pt x="754" y="586"/>
                    </a:lnTo>
                    <a:lnTo>
                      <a:pt x="879" y="565"/>
                    </a:lnTo>
                    <a:lnTo>
                      <a:pt x="921" y="628"/>
                    </a:lnTo>
                    <a:lnTo>
                      <a:pt x="775" y="753"/>
                    </a:lnTo>
                    <a:lnTo>
                      <a:pt x="649" y="837"/>
                    </a:lnTo>
                    <a:lnTo>
                      <a:pt x="545" y="984"/>
                    </a:lnTo>
                    <a:lnTo>
                      <a:pt x="545" y="1046"/>
                    </a:lnTo>
                    <a:lnTo>
                      <a:pt x="712" y="963"/>
                    </a:lnTo>
                    <a:lnTo>
                      <a:pt x="858" y="837"/>
                    </a:lnTo>
                    <a:lnTo>
                      <a:pt x="942" y="837"/>
                    </a:lnTo>
                    <a:lnTo>
                      <a:pt x="1026" y="774"/>
                    </a:lnTo>
                    <a:lnTo>
                      <a:pt x="1068" y="858"/>
                    </a:lnTo>
                    <a:lnTo>
                      <a:pt x="1047" y="984"/>
                    </a:lnTo>
                    <a:lnTo>
                      <a:pt x="963" y="984"/>
                    </a:lnTo>
                    <a:lnTo>
                      <a:pt x="838" y="1109"/>
                    </a:lnTo>
                    <a:lnTo>
                      <a:pt x="775" y="1193"/>
                    </a:lnTo>
                    <a:lnTo>
                      <a:pt x="838" y="1276"/>
                    </a:lnTo>
                    <a:lnTo>
                      <a:pt x="984" y="1256"/>
                    </a:lnTo>
                    <a:lnTo>
                      <a:pt x="1089" y="1297"/>
                    </a:lnTo>
                    <a:lnTo>
                      <a:pt x="963" y="1381"/>
                    </a:lnTo>
                    <a:lnTo>
                      <a:pt x="817" y="1465"/>
                    </a:lnTo>
                    <a:lnTo>
                      <a:pt x="712" y="1402"/>
                    </a:lnTo>
                    <a:lnTo>
                      <a:pt x="712" y="1486"/>
                    </a:lnTo>
                    <a:lnTo>
                      <a:pt x="838" y="1528"/>
                    </a:lnTo>
                    <a:lnTo>
                      <a:pt x="838" y="1590"/>
                    </a:lnTo>
                    <a:lnTo>
                      <a:pt x="649" y="1779"/>
                    </a:lnTo>
                    <a:lnTo>
                      <a:pt x="607" y="1779"/>
                    </a:lnTo>
                    <a:lnTo>
                      <a:pt x="545" y="1611"/>
                    </a:lnTo>
                    <a:lnTo>
                      <a:pt x="440" y="1569"/>
                    </a:lnTo>
                    <a:lnTo>
                      <a:pt x="335" y="1423"/>
                    </a:lnTo>
                    <a:lnTo>
                      <a:pt x="126" y="1528"/>
                    </a:lnTo>
                    <a:lnTo>
                      <a:pt x="126" y="1590"/>
                    </a:lnTo>
                    <a:lnTo>
                      <a:pt x="1" y="1800"/>
                    </a:lnTo>
                    <a:lnTo>
                      <a:pt x="105" y="1925"/>
                    </a:lnTo>
                    <a:lnTo>
                      <a:pt x="105" y="2051"/>
                    </a:lnTo>
                    <a:lnTo>
                      <a:pt x="189" y="2093"/>
                    </a:lnTo>
                    <a:lnTo>
                      <a:pt x="294" y="2009"/>
                    </a:lnTo>
                    <a:lnTo>
                      <a:pt x="356" y="2009"/>
                    </a:lnTo>
                    <a:lnTo>
                      <a:pt x="545" y="2051"/>
                    </a:lnTo>
                    <a:lnTo>
                      <a:pt x="733" y="2051"/>
                    </a:lnTo>
                    <a:lnTo>
                      <a:pt x="754" y="2113"/>
                    </a:lnTo>
                    <a:lnTo>
                      <a:pt x="942" y="2051"/>
                    </a:lnTo>
                    <a:lnTo>
                      <a:pt x="942" y="2134"/>
                    </a:lnTo>
                    <a:lnTo>
                      <a:pt x="838" y="2155"/>
                    </a:lnTo>
                    <a:lnTo>
                      <a:pt x="775" y="2239"/>
                    </a:lnTo>
                    <a:lnTo>
                      <a:pt x="817" y="2344"/>
                    </a:lnTo>
                    <a:lnTo>
                      <a:pt x="963" y="2323"/>
                    </a:lnTo>
                    <a:lnTo>
                      <a:pt x="1089" y="2427"/>
                    </a:lnTo>
                    <a:lnTo>
                      <a:pt x="1172" y="2616"/>
                    </a:lnTo>
                    <a:lnTo>
                      <a:pt x="1256" y="2616"/>
                    </a:lnTo>
                    <a:lnTo>
                      <a:pt x="1298" y="2657"/>
                    </a:lnTo>
                    <a:lnTo>
                      <a:pt x="1256" y="2741"/>
                    </a:lnTo>
                    <a:lnTo>
                      <a:pt x="1256" y="2867"/>
                    </a:lnTo>
                    <a:lnTo>
                      <a:pt x="1068" y="3201"/>
                    </a:lnTo>
                    <a:lnTo>
                      <a:pt x="1130" y="3390"/>
                    </a:lnTo>
                    <a:lnTo>
                      <a:pt x="1172" y="3494"/>
                    </a:lnTo>
                    <a:lnTo>
                      <a:pt x="1256" y="3494"/>
                    </a:lnTo>
                    <a:lnTo>
                      <a:pt x="1361" y="3473"/>
                    </a:lnTo>
                    <a:lnTo>
                      <a:pt x="1403" y="3515"/>
                    </a:lnTo>
                    <a:lnTo>
                      <a:pt x="1486" y="3515"/>
                    </a:lnTo>
                    <a:lnTo>
                      <a:pt x="1654" y="3411"/>
                    </a:lnTo>
                    <a:lnTo>
                      <a:pt x="1654" y="3348"/>
                    </a:lnTo>
                    <a:lnTo>
                      <a:pt x="1758" y="3285"/>
                    </a:lnTo>
                    <a:lnTo>
                      <a:pt x="1821" y="3160"/>
                    </a:lnTo>
                    <a:lnTo>
                      <a:pt x="1863" y="3034"/>
                    </a:lnTo>
                    <a:lnTo>
                      <a:pt x="1884" y="2846"/>
                    </a:lnTo>
                    <a:lnTo>
                      <a:pt x="1988" y="2678"/>
                    </a:lnTo>
                    <a:lnTo>
                      <a:pt x="1905" y="2657"/>
                    </a:lnTo>
                    <a:lnTo>
                      <a:pt x="1905" y="2574"/>
                    </a:lnTo>
                    <a:lnTo>
                      <a:pt x="1988" y="2532"/>
                    </a:lnTo>
                    <a:lnTo>
                      <a:pt x="2072" y="2365"/>
                    </a:lnTo>
                    <a:lnTo>
                      <a:pt x="2135" y="2365"/>
                    </a:lnTo>
                    <a:lnTo>
                      <a:pt x="2219" y="2260"/>
                    </a:lnTo>
                    <a:lnTo>
                      <a:pt x="2344" y="2197"/>
                    </a:lnTo>
                    <a:lnTo>
                      <a:pt x="2386" y="2030"/>
                    </a:lnTo>
                    <a:lnTo>
                      <a:pt x="2386" y="1925"/>
                    </a:lnTo>
                    <a:lnTo>
                      <a:pt x="2491" y="1841"/>
                    </a:lnTo>
                    <a:lnTo>
                      <a:pt x="2491" y="1800"/>
                    </a:lnTo>
                    <a:lnTo>
                      <a:pt x="2428" y="1695"/>
                    </a:lnTo>
                    <a:lnTo>
                      <a:pt x="2407" y="1569"/>
                    </a:lnTo>
                    <a:lnTo>
                      <a:pt x="2344" y="1569"/>
                    </a:lnTo>
                    <a:lnTo>
                      <a:pt x="2239" y="1507"/>
                    </a:lnTo>
                    <a:lnTo>
                      <a:pt x="2114" y="1507"/>
                    </a:lnTo>
                    <a:lnTo>
                      <a:pt x="2093" y="1465"/>
                    </a:lnTo>
                    <a:lnTo>
                      <a:pt x="2135" y="1360"/>
                    </a:lnTo>
                    <a:lnTo>
                      <a:pt x="2302" y="1276"/>
                    </a:lnTo>
                    <a:lnTo>
                      <a:pt x="2302" y="1193"/>
                    </a:lnTo>
                    <a:lnTo>
                      <a:pt x="2239" y="1109"/>
                    </a:lnTo>
                    <a:lnTo>
                      <a:pt x="2239" y="984"/>
                    </a:lnTo>
                    <a:lnTo>
                      <a:pt x="2281" y="879"/>
                    </a:lnTo>
                    <a:lnTo>
                      <a:pt x="2177" y="774"/>
                    </a:lnTo>
                    <a:lnTo>
                      <a:pt x="2093" y="774"/>
                    </a:lnTo>
                    <a:lnTo>
                      <a:pt x="1967" y="858"/>
                    </a:lnTo>
                    <a:lnTo>
                      <a:pt x="1779" y="900"/>
                    </a:lnTo>
                    <a:lnTo>
                      <a:pt x="1758" y="984"/>
                    </a:lnTo>
                    <a:lnTo>
                      <a:pt x="1675" y="1088"/>
                    </a:lnTo>
                    <a:lnTo>
                      <a:pt x="1591" y="1067"/>
                    </a:lnTo>
                    <a:lnTo>
                      <a:pt x="1570" y="963"/>
                    </a:lnTo>
                    <a:lnTo>
                      <a:pt x="1695" y="900"/>
                    </a:lnTo>
                    <a:lnTo>
                      <a:pt x="1758" y="837"/>
                    </a:lnTo>
                    <a:lnTo>
                      <a:pt x="1758" y="670"/>
                    </a:lnTo>
                    <a:lnTo>
                      <a:pt x="1800" y="460"/>
                    </a:lnTo>
                    <a:lnTo>
                      <a:pt x="1758" y="356"/>
                    </a:lnTo>
                    <a:lnTo>
                      <a:pt x="1695" y="272"/>
                    </a:lnTo>
                    <a:lnTo>
                      <a:pt x="1654" y="168"/>
                    </a:lnTo>
                    <a:lnTo>
                      <a:pt x="1507" y="105"/>
                    </a:lnTo>
                    <a:lnTo>
                      <a:pt x="1403" y="147"/>
                    </a:lnTo>
                    <a:lnTo>
                      <a:pt x="1277" y="105"/>
                    </a:lnTo>
                    <a:lnTo>
                      <a:pt x="1130" y="230"/>
                    </a:lnTo>
                    <a:lnTo>
                      <a:pt x="1047" y="209"/>
                    </a:lnTo>
                    <a:lnTo>
                      <a:pt x="1047" y="21"/>
                    </a:lnTo>
                    <a:lnTo>
                      <a:pt x="102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 name="Google Shape;5879;p93">
                <a:extLst>
                  <a:ext uri="{FF2B5EF4-FFF2-40B4-BE49-F238E27FC236}">
                    <a16:creationId xmlns:a16="http://schemas.microsoft.com/office/drawing/2014/main" id="{D77C215F-7CB6-4575-B8D3-81B41BE4F870}"/>
                  </a:ext>
                </a:extLst>
              </p:cNvPr>
              <p:cNvSpPr/>
              <p:nvPr/>
            </p:nvSpPr>
            <p:spPr>
              <a:xfrm>
                <a:off x="2799125" y="1455875"/>
                <a:ext cx="96775" cy="158525"/>
              </a:xfrm>
              <a:custGeom>
                <a:avLst/>
                <a:gdLst/>
                <a:ahLst/>
                <a:cxnLst/>
                <a:rect l="l" t="t" r="r" b="b"/>
                <a:pathLst>
                  <a:path w="3871" h="6341" extrusionOk="0">
                    <a:moveTo>
                      <a:pt x="2385" y="0"/>
                    </a:moveTo>
                    <a:lnTo>
                      <a:pt x="2385" y="126"/>
                    </a:lnTo>
                    <a:lnTo>
                      <a:pt x="2302" y="272"/>
                    </a:lnTo>
                    <a:lnTo>
                      <a:pt x="2385" y="356"/>
                    </a:lnTo>
                    <a:lnTo>
                      <a:pt x="2490" y="356"/>
                    </a:lnTo>
                    <a:lnTo>
                      <a:pt x="2595" y="314"/>
                    </a:lnTo>
                    <a:lnTo>
                      <a:pt x="2741" y="377"/>
                    </a:lnTo>
                    <a:lnTo>
                      <a:pt x="2783" y="460"/>
                    </a:lnTo>
                    <a:lnTo>
                      <a:pt x="2888" y="481"/>
                    </a:lnTo>
                    <a:lnTo>
                      <a:pt x="2888" y="565"/>
                    </a:lnTo>
                    <a:lnTo>
                      <a:pt x="2699" y="733"/>
                    </a:lnTo>
                    <a:lnTo>
                      <a:pt x="2616" y="733"/>
                    </a:lnTo>
                    <a:lnTo>
                      <a:pt x="2490" y="649"/>
                    </a:lnTo>
                    <a:lnTo>
                      <a:pt x="2385" y="649"/>
                    </a:lnTo>
                    <a:lnTo>
                      <a:pt x="2281" y="628"/>
                    </a:lnTo>
                    <a:lnTo>
                      <a:pt x="2281" y="628"/>
                    </a:lnTo>
                    <a:lnTo>
                      <a:pt x="2323" y="733"/>
                    </a:lnTo>
                    <a:lnTo>
                      <a:pt x="2406" y="753"/>
                    </a:lnTo>
                    <a:lnTo>
                      <a:pt x="2323" y="837"/>
                    </a:lnTo>
                    <a:lnTo>
                      <a:pt x="2218" y="858"/>
                    </a:lnTo>
                    <a:lnTo>
                      <a:pt x="2072" y="691"/>
                    </a:lnTo>
                    <a:lnTo>
                      <a:pt x="1904" y="774"/>
                    </a:lnTo>
                    <a:lnTo>
                      <a:pt x="1862" y="942"/>
                    </a:lnTo>
                    <a:lnTo>
                      <a:pt x="1779" y="1005"/>
                    </a:lnTo>
                    <a:lnTo>
                      <a:pt x="1779" y="1088"/>
                    </a:lnTo>
                    <a:lnTo>
                      <a:pt x="1883" y="1109"/>
                    </a:lnTo>
                    <a:lnTo>
                      <a:pt x="1904" y="1256"/>
                    </a:lnTo>
                    <a:lnTo>
                      <a:pt x="2051" y="1318"/>
                    </a:lnTo>
                    <a:lnTo>
                      <a:pt x="2051" y="1381"/>
                    </a:lnTo>
                    <a:lnTo>
                      <a:pt x="1946" y="1381"/>
                    </a:lnTo>
                    <a:lnTo>
                      <a:pt x="1946" y="1465"/>
                    </a:lnTo>
                    <a:lnTo>
                      <a:pt x="1988" y="1528"/>
                    </a:lnTo>
                    <a:lnTo>
                      <a:pt x="1988" y="1611"/>
                    </a:lnTo>
                    <a:lnTo>
                      <a:pt x="1904" y="1590"/>
                    </a:lnTo>
                    <a:lnTo>
                      <a:pt x="1841" y="1528"/>
                    </a:lnTo>
                    <a:lnTo>
                      <a:pt x="1695" y="1507"/>
                    </a:lnTo>
                    <a:lnTo>
                      <a:pt x="1590" y="1423"/>
                    </a:lnTo>
                    <a:lnTo>
                      <a:pt x="1528" y="1402"/>
                    </a:lnTo>
                    <a:lnTo>
                      <a:pt x="1423" y="1486"/>
                    </a:lnTo>
                    <a:lnTo>
                      <a:pt x="1381" y="1569"/>
                    </a:lnTo>
                    <a:lnTo>
                      <a:pt x="1465" y="1674"/>
                    </a:lnTo>
                    <a:lnTo>
                      <a:pt x="1423" y="1779"/>
                    </a:lnTo>
                    <a:lnTo>
                      <a:pt x="1360" y="1737"/>
                    </a:lnTo>
                    <a:lnTo>
                      <a:pt x="1360" y="1674"/>
                    </a:lnTo>
                    <a:lnTo>
                      <a:pt x="1276" y="1611"/>
                    </a:lnTo>
                    <a:lnTo>
                      <a:pt x="1151" y="1569"/>
                    </a:lnTo>
                    <a:lnTo>
                      <a:pt x="1109" y="1569"/>
                    </a:lnTo>
                    <a:lnTo>
                      <a:pt x="1025" y="1486"/>
                    </a:lnTo>
                    <a:lnTo>
                      <a:pt x="942" y="1465"/>
                    </a:lnTo>
                    <a:lnTo>
                      <a:pt x="921" y="1528"/>
                    </a:lnTo>
                    <a:lnTo>
                      <a:pt x="963" y="1674"/>
                    </a:lnTo>
                    <a:lnTo>
                      <a:pt x="963" y="1800"/>
                    </a:lnTo>
                    <a:lnTo>
                      <a:pt x="1004" y="1946"/>
                    </a:lnTo>
                    <a:lnTo>
                      <a:pt x="1109" y="2009"/>
                    </a:lnTo>
                    <a:lnTo>
                      <a:pt x="1235" y="2030"/>
                    </a:lnTo>
                    <a:lnTo>
                      <a:pt x="1276" y="2093"/>
                    </a:lnTo>
                    <a:lnTo>
                      <a:pt x="1256" y="2113"/>
                    </a:lnTo>
                    <a:lnTo>
                      <a:pt x="1130" y="2113"/>
                    </a:lnTo>
                    <a:lnTo>
                      <a:pt x="1256" y="2197"/>
                    </a:lnTo>
                    <a:lnTo>
                      <a:pt x="1318" y="2260"/>
                    </a:lnTo>
                    <a:lnTo>
                      <a:pt x="1423" y="2344"/>
                    </a:lnTo>
                    <a:lnTo>
                      <a:pt x="1548" y="2344"/>
                    </a:lnTo>
                    <a:lnTo>
                      <a:pt x="1632" y="2260"/>
                    </a:lnTo>
                    <a:lnTo>
                      <a:pt x="1674" y="2260"/>
                    </a:lnTo>
                    <a:lnTo>
                      <a:pt x="1674" y="2344"/>
                    </a:lnTo>
                    <a:lnTo>
                      <a:pt x="1590" y="2427"/>
                    </a:lnTo>
                    <a:lnTo>
                      <a:pt x="1548" y="2616"/>
                    </a:lnTo>
                    <a:lnTo>
                      <a:pt x="1486" y="2616"/>
                    </a:lnTo>
                    <a:lnTo>
                      <a:pt x="1339" y="2469"/>
                    </a:lnTo>
                    <a:lnTo>
                      <a:pt x="1025" y="2427"/>
                    </a:lnTo>
                    <a:lnTo>
                      <a:pt x="921" y="2260"/>
                    </a:lnTo>
                    <a:lnTo>
                      <a:pt x="837" y="2239"/>
                    </a:lnTo>
                    <a:lnTo>
                      <a:pt x="795" y="2155"/>
                    </a:lnTo>
                    <a:lnTo>
                      <a:pt x="753" y="2155"/>
                    </a:lnTo>
                    <a:lnTo>
                      <a:pt x="712" y="2302"/>
                    </a:lnTo>
                    <a:lnTo>
                      <a:pt x="712" y="2344"/>
                    </a:lnTo>
                    <a:lnTo>
                      <a:pt x="649" y="2406"/>
                    </a:lnTo>
                    <a:lnTo>
                      <a:pt x="712" y="2574"/>
                    </a:lnTo>
                    <a:lnTo>
                      <a:pt x="628" y="2637"/>
                    </a:lnTo>
                    <a:lnTo>
                      <a:pt x="544" y="2616"/>
                    </a:lnTo>
                    <a:lnTo>
                      <a:pt x="544" y="2762"/>
                    </a:lnTo>
                    <a:lnTo>
                      <a:pt x="502" y="2783"/>
                    </a:lnTo>
                    <a:lnTo>
                      <a:pt x="502" y="3034"/>
                    </a:lnTo>
                    <a:lnTo>
                      <a:pt x="586" y="3097"/>
                    </a:lnTo>
                    <a:lnTo>
                      <a:pt x="732" y="3097"/>
                    </a:lnTo>
                    <a:lnTo>
                      <a:pt x="837" y="3160"/>
                    </a:lnTo>
                    <a:lnTo>
                      <a:pt x="942" y="3139"/>
                    </a:lnTo>
                    <a:lnTo>
                      <a:pt x="942" y="3181"/>
                    </a:lnTo>
                    <a:lnTo>
                      <a:pt x="858" y="3243"/>
                    </a:lnTo>
                    <a:lnTo>
                      <a:pt x="753" y="3181"/>
                    </a:lnTo>
                    <a:lnTo>
                      <a:pt x="586" y="3181"/>
                    </a:lnTo>
                    <a:lnTo>
                      <a:pt x="523" y="3160"/>
                    </a:lnTo>
                    <a:lnTo>
                      <a:pt x="419" y="3181"/>
                    </a:lnTo>
                    <a:lnTo>
                      <a:pt x="272" y="3369"/>
                    </a:lnTo>
                    <a:lnTo>
                      <a:pt x="230" y="3473"/>
                    </a:lnTo>
                    <a:lnTo>
                      <a:pt x="314" y="3557"/>
                    </a:lnTo>
                    <a:lnTo>
                      <a:pt x="293" y="3599"/>
                    </a:lnTo>
                    <a:lnTo>
                      <a:pt x="209" y="3620"/>
                    </a:lnTo>
                    <a:lnTo>
                      <a:pt x="209" y="3725"/>
                    </a:lnTo>
                    <a:lnTo>
                      <a:pt x="293" y="3787"/>
                    </a:lnTo>
                    <a:lnTo>
                      <a:pt x="335" y="3725"/>
                    </a:lnTo>
                    <a:lnTo>
                      <a:pt x="502" y="3725"/>
                    </a:lnTo>
                    <a:lnTo>
                      <a:pt x="586" y="3662"/>
                    </a:lnTo>
                    <a:lnTo>
                      <a:pt x="628" y="3704"/>
                    </a:lnTo>
                    <a:lnTo>
                      <a:pt x="628" y="3787"/>
                    </a:lnTo>
                    <a:lnTo>
                      <a:pt x="523" y="3808"/>
                    </a:lnTo>
                    <a:lnTo>
                      <a:pt x="440" y="3913"/>
                    </a:lnTo>
                    <a:lnTo>
                      <a:pt x="502" y="3976"/>
                    </a:lnTo>
                    <a:lnTo>
                      <a:pt x="586" y="3976"/>
                    </a:lnTo>
                    <a:lnTo>
                      <a:pt x="691" y="3892"/>
                    </a:lnTo>
                    <a:lnTo>
                      <a:pt x="753" y="3892"/>
                    </a:lnTo>
                    <a:lnTo>
                      <a:pt x="858" y="3808"/>
                    </a:lnTo>
                    <a:lnTo>
                      <a:pt x="858" y="3871"/>
                    </a:lnTo>
                    <a:lnTo>
                      <a:pt x="816" y="3934"/>
                    </a:lnTo>
                    <a:lnTo>
                      <a:pt x="858" y="3976"/>
                    </a:lnTo>
                    <a:lnTo>
                      <a:pt x="1046" y="3976"/>
                    </a:lnTo>
                    <a:lnTo>
                      <a:pt x="1067" y="4018"/>
                    </a:lnTo>
                    <a:lnTo>
                      <a:pt x="963" y="4038"/>
                    </a:lnTo>
                    <a:lnTo>
                      <a:pt x="963" y="4122"/>
                    </a:lnTo>
                    <a:lnTo>
                      <a:pt x="1067" y="4143"/>
                    </a:lnTo>
                    <a:lnTo>
                      <a:pt x="1172" y="4122"/>
                    </a:lnTo>
                    <a:lnTo>
                      <a:pt x="1318" y="4206"/>
                    </a:lnTo>
                    <a:lnTo>
                      <a:pt x="1590" y="4290"/>
                    </a:lnTo>
                    <a:lnTo>
                      <a:pt x="1632" y="4331"/>
                    </a:lnTo>
                    <a:lnTo>
                      <a:pt x="1381" y="4310"/>
                    </a:lnTo>
                    <a:lnTo>
                      <a:pt x="1276" y="4331"/>
                    </a:lnTo>
                    <a:lnTo>
                      <a:pt x="1130" y="4227"/>
                    </a:lnTo>
                    <a:lnTo>
                      <a:pt x="963" y="4290"/>
                    </a:lnTo>
                    <a:lnTo>
                      <a:pt x="963" y="4352"/>
                    </a:lnTo>
                    <a:lnTo>
                      <a:pt x="1130" y="4415"/>
                    </a:lnTo>
                    <a:lnTo>
                      <a:pt x="1339" y="4436"/>
                    </a:lnTo>
                    <a:lnTo>
                      <a:pt x="1569" y="4436"/>
                    </a:lnTo>
                    <a:lnTo>
                      <a:pt x="1653" y="4499"/>
                    </a:lnTo>
                    <a:lnTo>
                      <a:pt x="1423" y="4541"/>
                    </a:lnTo>
                    <a:lnTo>
                      <a:pt x="1339" y="4520"/>
                    </a:lnTo>
                    <a:lnTo>
                      <a:pt x="1109" y="4499"/>
                    </a:lnTo>
                    <a:lnTo>
                      <a:pt x="942" y="4457"/>
                    </a:lnTo>
                    <a:lnTo>
                      <a:pt x="900" y="4394"/>
                    </a:lnTo>
                    <a:lnTo>
                      <a:pt x="753" y="4352"/>
                    </a:lnTo>
                    <a:lnTo>
                      <a:pt x="607" y="4206"/>
                    </a:lnTo>
                    <a:lnTo>
                      <a:pt x="544" y="4248"/>
                    </a:lnTo>
                    <a:lnTo>
                      <a:pt x="481" y="4331"/>
                    </a:lnTo>
                    <a:lnTo>
                      <a:pt x="293" y="4352"/>
                    </a:lnTo>
                    <a:lnTo>
                      <a:pt x="209" y="4415"/>
                    </a:lnTo>
                    <a:lnTo>
                      <a:pt x="188" y="4624"/>
                    </a:lnTo>
                    <a:lnTo>
                      <a:pt x="314" y="4729"/>
                    </a:lnTo>
                    <a:lnTo>
                      <a:pt x="314" y="4854"/>
                    </a:lnTo>
                    <a:lnTo>
                      <a:pt x="272" y="4917"/>
                    </a:lnTo>
                    <a:lnTo>
                      <a:pt x="188" y="4729"/>
                    </a:lnTo>
                    <a:lnTo>
                      <a:pt x="126" y="4729"/>
                    </a:lnTo>
                    <a:lnTo>
                      <a:pt x="63" y="4980"/>
                    </a:lnTo>
                    <a:lnTo>
                      <a:pt x="84" y="5126"/>
                    </a:lnTo>
                    <a:lnTo>
                      <a:pt x="168" y="5147"/>
                    </a:lnTo>
                    <a:lnTo>
                      <a:pt x="188" y="5126"/>
                    </a:lnTo>
                    <a:lnTo>
                      <a:pt x="272" y="5126"/>
                    </a:lnTo>
                    <a:lnTo>
                      <a:pt x="335" y="5252"/>
                    </a:lnTo>
                    <a:lnTo>
                      <a:pt x="419" y="5273"/>
                    </a:lnTo>
                    <a:lnTo>
                      <a:pt x="335" y="5294"/>
                    </a:lnTo>
                    <a:lnTo>
                      <a:pt x="272" y="5336"/>
                    </a:lnTo>
                    <a:lnTo>
                      <a:pt x="188" y="5231"/>
                    </a:lnTo>
                    <a:lnTo>
                      <a:pt x="21" y="5252"/>
                    </a:lnTo>
                    <a:lnTo>
                      <a:pt x="0" y="5461"/>
                    </a:lnTo>
                    <a:lnTo>
                      <a:pt x="63" y="5503"/>
                    </a:lnTo>
                    <a:lnTo>
                      <a:pt x="126" y="5482"/>
                    </a:lnTo>
                    <a:lnTo>
                      <a:pt x="84" y="5566"/>
                    </a:lnTo>
                    <a:lnTo>
                      <a:pt x="84" y="5817"/>
                    </a:lnTo>
                    <a:lnTo>
                      <a:pt x="168" y="5754"/>
                    </a:lnTo>
                    <a:lnTo>
                      <a:pt x="230" y="5775"/>
                    </a:lnTo>
                    <a:lnTo>
                      <a:pt x="230" y="5963"/>
                    </a:lnTo>
                    <a:lnTo>
                      <a:pt x="398" y="6005"/>
                    </a:lnTo>
                    <a:lnTo>
                      <a:pt x="628" y="6173"/>
                    </a:lnTo>
                    <a:lnTo>
                      <a:pt x="732" y="6110"/>
                    </a:lnTo>
                    <a:lnTo>
                      <a:pt x="795" y="6005"/>
                    </a:lnTo>
                    <a:lnTo>
                      <a:pt x="753" y="5922"/>
                    </a:lnTo>
                    <a:lnTo>
                      <a:pt x="921" y="5922"/>
                    </a:lnTo>
                    <a:lnTo>
                      <a:pt x="942" y="6026"/>
                    </a:lnTo>
                    <a:lnTo>
                      <a:pt x="921" y="6131"/>
                    </a:lnTo>
                    <a:lnTo>
                      <a:pt x="942" y="6235"/>
                    </a:lnTo>
                    <a:lnTo>
                      <a:pt x="1004" y="6214"/>
                    </a:lnTo>
                    <a:lnTo>
                      <a:pt x="1067" y="5963"/>
                    </a:lnTo>
                    <a:lnTo>
                      <a:pt x="1067" y="5712"/>
                    </a:lnTo>
                    <a:lnTo>
                      <a:pt x="1130" y="5566"/>
                    </a:lnTo>
                    <a:lnTo>
                      <a:pt x="1256" y="5440"/>
                    </a:lnTo>
                    <a:lnTo>
                      <a:pt x="1318" y="5294"/>
                    </a:lnTo>
                    <a:lnTo>
                      <a:pt x="1318" y="5461"/>
                    </a:lnTo>
                    <a:lnTo>
                      <a:pt x="1172" y="5670"/>
                    </a:lnTo>
                    <a:lnTo>
                      <a:pt x="1151" y="5817"/>
                    </a:lnTo>
                    <a:lnTo>
                      <a:pt x="1172" y="5922"/>
                    </a:lnTo>
                    <a:lnTo>
                      <a:pt x="1130" y="6131"/>
                    </a:lnTo>
                    <a:lnTo>
                      <a:pt x="1172" y="6235"/>
                    </a:lnTo>
                    <a:lnTo>
                      <a:pt x="1151" y="6319"/>
                    </a:lnTo>
                    <a:lnTo>
                      <a:pt x="1214" y="6340"/>
                    </a:lnTo>
                    <a:lnTo>
                      <a:pt x="1256" y="6298"/>
                    </a:lnTo>
                    <a:lnTo>
                      <a:pt x="1339" y="6173"/>
                    </a:lnTo>
                    <a:lnTo>
                      <a:pt x="1528" y="5984"/>
                    </a:lnTo>
                    <a:lnTo>
                      <a:pt x="1590" y="5691"/>
                    </a:lnTo>
                    <a:lnTo>
                      <a:pt x="1674" y="5650"/>
                    </a:lnTo>
                    <a:lnTo>
                      <a:pt x="1674" y="5754"/>
                    </a:lnTo>
                    <a:lnTo>
                      <a:pt x="1632" y="5880"/>
                    </a:lnTo>
                    <a:lnTo>
                      <a:pt x="1632" y="5963"/>
                    </a:lnTo>
                    <a:lnTo>
                      <a:pt x="1737" y="5984"/>
                    </a:lnTo>
                    <a:lnTo>
                      <a:pt x="1862" y="5859"/>
                    </a:lnTo>
                    <a:lnTo>
                      <a:pt x="1946" y="5775"/>
                    </a:lnTo>
                    <a:lnTo>
                      <a:pt x="1946" y="5670"/>
                    </a:lnTo>
                    <a:lnTo>
                      <a:pt x="1841" y="5650"/>
                    </a:lnTo>
                    <a:lnTo>
                      <a:pt x="1841" y="5608"/>
                    </a:lnTo>
                    <a:lnTo>
                      <a:pt x="1946" y="5566"/>
                    </a:lnTo>
                    <a:lnTo>
                      <a:pt x="1946" y="5398"/>
                    </a:lnTo>
                    <a:lnTo>
                      <a:pt x="1904" y="5336"/>
                    </a:lnTo>
                    <a:lnTo>
                      <a:pt x="1904" y="5231"/>
                    </a:lnTo>
                    <a:lnTo>
                      <a:pt x="2072" y="5126"/>
                    </a:lnTo>
                    <a:lnTo>
                      <a:pt x="2113" y="4938"/>
                    </a:lnTo>
                    <a:lnTo>
                      <a:pt x="2218" y="4875"/>
                    </a:lnTo>
                    <a:lnTo>
                      <a:pt x="2281" y="4813"/>
                    </a:lnTo>
                    <a:lnTo>
                      <a:pt x="2281" y="4917"/>
                    </a:lnTo>
                    <a:lnTo>
                      <a:pt x="2281" y="4959"/>
                    </a:lnTo>
                    <a:lnTo>
                      <a:pt x="2197" y="4980"/>
                    </a:lnTo>
                    <a:lnTo>
                      <a:pt x="2113" y="5168"/>
                    </a:lnTo>
                    <a:lnTo>
                      <a:pt x="2051" y="5294"/>
                    </a:lnTo>
                    <a:lnTo>
                      <a:pt x="2009" y="5461"/>
                    </a:lnTo>
                    <a:lnTo>
                      <a:pt x="2072" y="5566"/>
                    </a:lnTo>
                    <a:lnTo>
                      <a:pt x="2092" y="5691"/>
                    </a:lnTo>
                    <a:lnTo>
                      <a:pt x="2155" y="5650"/>
                    </a:lnTo>
                    <a:lnTo>
                      <a:pt x="2260" y="5461"/>
                    </a:lnTo>
                    <a:lnTo>
                      <a:pt x="2469" y="5273"/>
                    </a:lnTo>
                    <a:lnTo>
                      <a:pt x="2532" y="5147"/>
                    </a:lnTo>
                    <a:lnTo>
                      <a:pt x="2532" y="4980"/>
                    </a:lnTo>
                    <a:lnTo>
                      <a:pt x="2616" y="4875"/>
                    </a:lnTo>
                    <a:lnTo>
                      <a:pt x="2699" y="4854"/>
                    </a:lnTo>
                    <a:lnTo>
                      <a:pt x="2699" y="4917"/>
                    </a:lnTo>
                    <a:lnTo>
                      <a:pt x="2678" y="4959"/>
                    </a:lnTo>
                    <a:lnTo>
                      <a:pt x="2678" y="5085"/>
                    </a:lnTo>
                    <a:lnTo>
                      <a:pt x="2741" y="5064"/>
                    </a:lnTo>
                    <a:lnTo>
                      <a:pt x="2888" y="4875"/>
                    </a:lnTo>
                    <a:lnTo>
                      <a:pt x="2971" y="4875"/>
                    </a:lnTo>
                    <a:lnTo>
                      <a:pt x="3139" y="4917"/>
                    </a:lnTo>
                    <a:lnTo>
                      <a:pt x="3327" y="4854"/>
                    </a:lnTo>
                    <a:lnTo>
                      <a:pt x="3432" y="4834"/>
                    </a:lnTo>
                    <a:lnTo>
                      <a:pt x="3494" y="4750"/>
                    </a:lnTo>
                    <a:lnTo>
                      <a:pt x="3620" y="4729"/>
                    </a:lnTo>
                    <a:lnTo>
                      <a:pt x="3662" y="4624"/>
                    </a:lnTo>
                    <a:lnTo>
                      <a:pt x="3662" y="4541"/>
                    </a:lnTo>
                    <a:lnTo>
                      <a:pt x="3683" y="4457"/>
                    </a:lnTo>
                    <a:lnTo>
                      <a:pt x="3620" y="4394"/>
                    </a:lnTo>
                    <a:lnTo>
                      <a:pt x="3662" y="4227"/>
                    </a:lnTo>
                    <a:lnTo>
                      <a:pt x="3662" y="3976"/>
                    </a:lnTo>
                    <a:lnTo>
                      <a:pt x="3620" y="3976"/>
                    </a:lnTo>
                    <a:lnTo>
                      <a:pt x="3536" y="4122"/>
                    </a:lnTo>
                    <a:lnTo>
                      <a:pt x="3411" y="4290"/>
                    </a:lnTo>
                    <a:lnTo>
                      <a:pt x="3348" y="4290"/>
                    </a:lnTo>
                    <a:lnTo>
                      <a:pt x="3348" y="4206"/>
                    </a:lnTo>
                    <a:lnTo>
                      <a:pt x="3432" y="4101"/>
                    </a:lnTo>
                    <a:lnTo>
                      <a:pt x="3536" y="4018"/>
                    </a:lnTo>
                    <a:lnTo>
                      <a:pt x="3557" y="3934"/>
                    </a:lnTo>
                    <a:lnTo>
                      <a:pt x="3432" y="3829"/>
                    </a:lnTo>
                    <a:lnTo>
                      <a:pt x="3411" y="3725"/>
                    </a:lnTo>
                    <a:lnTo>
                      <a:pt x="3348" y="3725"/>
                    </a:lnTo>
                    <a:lnTo>
                      <a:pt x="3306" y="3766"/>
                    </a:lnTo>
                    <a:lnTo>
                      <a:pt x="3264" y="3829"/>
                    </a:lnTo>
                    <a:lnTo>
                      <a:pt x="3201" y="3787"/>
                    </a:lnTo>
                    <a:lnTo>
                      <a:pt x="3097" y="3808"/>
                    </a:lnTo>
                    <a:lnTo>
                      <a:pt x="3013" y="3871"/>
                    </a:lnTo>
                    <a:lnTo>
                      <a:pt x="2909" y="3829"/>
                    </a:lnTo>
                    <a:lnTo>
                      <a:pt x="2950" y="3787"/>
                    </a:lnTo>
                    <a:lnTo>
                      <a:pt x="3222" y="3683"/>
                    </a:lnTo>
                    <a:lnTo>
                      <a:pt x="3327" y="3662"/>
                    </a:lnTo>
                    <a:lnTo>
                      <a:pt x="3536" y="3453"/>
                    </a:lnTo>
                    <a:lnTo>
                      <a:pt x="3578" y="3390"/>
                    </a:lnTo>
                    <a:lnTo>
                      <a:pt x="3725" y="3160"/>
                    </a:lnTo>
                    <a:lnTo>
                      <a:pt x="3766" y="2971"/>
                    </a:lnTo>
                    <a:lnTo>
                      <a:pt x="3725" y="2950"/>
                    </a:lnTo>
                    <a:lnTo>
                      <a:pt x="3641" y="2971"/>
                    </a:lnTo>
                    <a:lnTo>
                      <a:pt x="3578" y="3034"/>
                    </a:lnTo>
                    <a:lnTo>
                      <a:pt x="3536" y="2950"/>
                    </a:lnTo>
                    <a:lnTo>
                      <a:pt x="3578" y="2888"/>
                    </a:lnTo>
                    <a:lnTo>
                      <a:pt x="3641" y="2846"/>
                    </a:lnTo>
                    <a:lnTo>
                      <a:pt x="3725" y="2867"/>
                    </a:lnTo>
                    <a:lnTo>
                      <a:pt x="3766" y="2783"/>
                    </a:lnTo>
                    <a:lnTo>
                      <a:pt x="3766" y="2657"/>
                    </a:lnTo>
                    <a:lnTo>
                      <a:pt x="3871" y="2553"/>
                    </a:lnTo>
                    <a:lnTo>
                      <a:pt x="3871" y="2427"/>
                    </a:lnTo>
                    <a:lnTo>
                      <a:pt x="3850" y="2365"/>
                    </a:lnTo>
                    <a:lnTo>
                      <a:pt x="3850" y="2302"/>
                    </a:lnTo>
                    <a:lnTo>
                      <a:pt x="3745" y="2260"/>
                    </a:lnTo>
                    <a:lnTo>
                      <a:pt x="3641" y="2302"/>
                    </a:lnTo>
                    <a:lnTo>
                      <a:pt x="3494" y="2553"/>
                    </a:lnTo>
                    <a:lnTo>
                      <a:pt x="3494" y="2678"/>
                    </a:lnTo>
                    <a:lnTo>
                      <a:pt x="3557" y="2762"/>
                    </a:lnTo>
                    <a:lnTo>
                      <a:pt x="3473" y="2846"/>
                    </a:lnTo>
                    <a:lnTo>
                      <a:pt x="3432" y="2888"/>
                    </a:lnTo>
                    <a:lnTo>
                      <a:pt x="3369" y="2867"/>
                    </a:lnTo>
                    <a:lnTo>
                      <a:pt x="3411" y="2825"/>
                    </a:lnTo>
                    <a:lnTo>
                      <a:pt x="3348" y="2762"/>
                    </a:lnTo>
                    <a:lnTo>
                      <a:pt x="3348" y="2657"/>
                    </a:lnTo>
                    <a:lnTo>
                      <a:pt x="3453" y="2448"/>
                    </a:lnTo>
                    <a:lnTo>
                      <a:pt x="3432" y="2344"/>
                    </a:lnTo>
                    <a:lnTo>
                      <a:pt x="3453" y="2302"/>
                    </a:lnTo>
                    <a:lnTo>
                      <a:pt x="3473" y="2323"/>
                    </a:lnTo>
                    <a:lnTo>
                      <a:pt x="3557" y="2302"/>
                    </a:lnTo>
                    <a:lnTo>
                      <a:pt x="3536" y="2134"/>
                    </a:lnTo>
                    <a:lnTo>
                      <a:pt x="3453" y="2030"/>
                    </a:lnTo>
                    <a:lnTo>
                      <a:pt x="3348" y="2030"/>
                    </a:lnTo>
                    <a:lnTo>
                      <a:pt x="3222" y="2051"/>
                    </a:lnTo>
                    <a:lnTo>
                      <a:pt x="3160" y="2155"/>
                    </a:lnTo>
                    <a:lnTo>
                      <a:pt x="3139" y="2113"/>
                    </a:lnTo>
                    <a:lnTo>
                      <a:pt x="3118" y="2051"/>
                    </a:lnTo>
                    <a:lnTo>
                      <a:pt x="3139" y="1904"/>
                    </a:lnTo>
                    <a:lnTo>
                      <a:pt x="3055" y="1737"/>
                    </a:lnTo>
                    <a:lnTo>
                      <a:pt x="3097" y="1507"/>
                    </a:lnTo>
                    <a:lnTo>
                      <a:pt x="3097" y="1318"/>
                    </a:lnTo>
                    <a:lnTo>
                      <a:pt x="3139" y="1193"/>
                    </a:lnTo>
                    <a:lnTo>
                      <a:pt x="3160" y="1005"/>
                    </a:lnTo>
                    <a:lnTo>
                      <a:pt x="3139" y="858"/>
                    </a:lnTo>
                    <a:lnTo>
                      <a:pt x="3243" y="670"/>
                    </a:lnTo>
                    <a:lnTo>
                      <a:pt x="3243" y="523"/>
                    </a:lnTo>
                    <a:lnTo>
                      <a:pt x="3139" y="419"/>
                    </a:lnTo>
                    <a:lnTo>
                      <a:pt x="3118" y="272"/>
                    </a:lnTo>
                    <a:lnTo>
                      <a:pt x="2950" y="147"/>
                    </a:lnTo>
                    <a:lnTo>
                      <a:pt x="2909" y="63"/>
                    </a:lnTo>
                    <a:lnTo>
                      <a:pt x="2741" y="0"/>
                    </a:lnTo>
                    <a:lnTo>
                      <a:pt x="2699" y="21"/>
                    </a:lnTo>
                    <a:lnTo>
                      <a:pt x="2699" y="105"/>
                    </a:lnTo>
                    <a:lnTo>
                      <a:pt x="2678" y="126"/>
                    </a:lnTo>
                    <a:lnTo>
                      <a:pt x="251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 name="Google Shape;5880;p93">
                <a:extLst>
                  <a:ext uri="{FF2B5EF4-FFF2-40B4-BE49-F238E27FC236}">
                    <a16:creationId xmlns:a16="http://schemas.microsoft.com/office/drawing/2014/main" id="{15407533-6F0B-40A7-9479-9EB88A2B79DF}"/>
                  </a:ext>
                </a:extLst>
              </p:cNvPr>
              <p:cNvSpPr/>
              <p:nvPr/>
            </p:nvSpPr>
            <p:spPr>
              <a:xfrm>
                <a:off x="2744725" y="1557875"/>
                <a:ext cx="36625" cy="48150"/>
              </a:xfrm>
              <a:custGeom>
                <a:avLst/>
                <a:gdLst/>
                <a:ahLst/>
                <a:cxnLst/>
                <a:rect l="l" t="t" r="r" b="b"/>
                <a:pathLst>
                  <a:path w="1465" h="1926" extrusionOk="0">
                    <a:moveTo>
                      <a:pt x="711" y="0"/>
                    </a:moveTo>
                    <a:lnTo>
                      <a:pt x="586" y="105"/>
                    </a:lnTo>
                    <a:lnTo>
                      <a:pt x="502" y="168"/>
                    </a:lnTo>
                    <a:lnTo>
                      <a:pt x="502" y="356"/>
                    </a:lnTo>
                    <a:lnTo>
                      <a:pt x="419" y="419"/>
                    </a:lnTo>
                    <a:lnTo>
                      <a:pt x="356" y="377"/>
                    </a:lnTo>
                    <a:lnTo>
                      <a:pt x="272" y="544"/>
                    </a:lnTo>
                    <a:lnTo>
                      <a:pt x="272" y="733"/>
                    </a:lnTo>
                    <a:lnTo>
                      <a:pt x="188" y="837"/>
                    </a:lnTo>
                    <a:lnTo>
                      <a:pt x="272" y="963"/>
                    </a:lnTo>
                    <a:lnTo>
                      <a:pt x="147" y="963"/>
                    </a:lnTo>
                    <a:lnTo>
                      <a:pt x="167" y="1005"/>
                    </a:lnTo>
                    <a:lnTo>
                      <a:pt x="272" y="1088"/>
                    </a:lnTo>
                    <a:lnTo>
                      <a:pt x="398" y="1256"/>
                    </a:lnTo>
                    <a:lnTo>
                      <a:pt x="377" y="1360"/>
                    </a:lnTo>
                    <a:lnTo>
                      <a:pt x="356" y="1360"/>
                    </a:lnTo>
                    <a:lnTo>
                      <a:pt x="209" y="1256"/>
                    </a:lnTo>
                    <a:lnTo>
                      <a:pt x="84" y="1256"/>
                    </a:lnTo>
                    <a:lnTo>
                      <a:pt x="63" y="1318"/>
                    </a:lnTo>
                    <a:lnTo>
                      <a:pt x="0" y="1402"/>
                    </a:lnTo>
                    <a:lnTo>
                      <a:pt x="105" y="1465"/>
                    </a:lnTo>
                    <a:lnTo>
                      <a:pt x="147" y="1590"/>
                    </a:lnTo>
                    <a:lnTo>
                      <a:pt x="188" y="1632"/>
                    </a:lnTo>
                    <a:lnTo>
                      <a:pt x="105" y="1737"/>
                    </a:lnTo>
                    <a:lnTo>
                      <a:pt x="105" y="1883"/>
                    </a:lnTo>
                    <a:lnTo>
                      <a:pt x="251" y="1821"/>
                    </a:lnTo>
                    <a:lnTo>
                      <a:pt x="272" y="1737"/>
                    </a:lnTo>
                    <a:lnTo>
                      <a:pt x="356" y="1737"/>
                    </a:lnTo>
                    <a:lnTo>
                      <a:pt x="377" y="1883"/>
                    </a:lnTo>
                    <a:lnTo>
                      <a:pt x="460" y="1883"/>
                    </a:lnTo>
                    <a:lnTo>
                      <a:pt x="607" y="1842"/>
                    </a:lnTo>
                    <a:lnTo>
                      <a:pt x="711" y="1883"/>
                    </a:lnTo>
                    <a:lnTo>
                      <a:pt x="837" y="1779"/>
                    </a:lnTo>
                    <a:lnTo>
                      <a:pt x="900" y="1821"/>
                    </a:lnTo>
                    <a:lnTo>
                      <a:pt x="900" y="1925"/>
                    </a:lnTo>
                    <a:lnTo>
                      <a:pt x="983" y="1925"/>
                    </a:lnTo>
                    <a:lnTo>
                      <a:pt x="1025" y="1883"/>
                    </a:lnTo>
                    <a:lnTo>
                      <a:pt x="1235" y="1737"/>
                    </a:lnTo>
                    <a:lnTo>
                      <a:pt x="1235" y="1632"/>
                    </a:lnTo>
                    <a:lnTo>
                      <a:pt x="1214" y="1465"/>
                    </a:lnTo>
                    <a:lnTo>
                      <a:pt x="1151" y="1465"/>
                    </a:lnTo>
                    <a:lnTo>
                      <a:pt x="1109" y="1402"/>
                    </a:lnTo>
                    <a:lnTo>
                      <a:pt x="1193" y="1360"/>
                    </a:lnTo>
                    <a:lnTo>
                      <a:pt x="1297" y="1381"/>
                    </a:lnTo>
                    <a:lnTo>
                      <a:pt x="1339" y="1298"/>
                    </a:lnTo>
                    <a:lnTo>
                      <a:pt x="1465" y="1214"/>
                    </a:lnTo>
                    <a:lnTo>
                      <a:pt x="1423" y="984"/>
                    </a:lnTo>
                    <a:lnTo>
                      <a:pt x="1360" y="900"/>
                    </a:lnTo>
                    <a:lnTo>
                      <a:pt x="1360" y="837"/>
                    </a:lnTo>
                    <a:lnTo>
                      <a:pt x="1235" y="837"/>
                    </a:lnTo>
                    <a:lnTo>
                      <a:pt x="1193" y="691"/>
                    </a:lnTo>
                    <a:lnTo>
                      <a:pt x="1193" y="649"/>
                    </a:lnTo>
                    <a:lnTo>
                      <a:pt x="1130" y="586"/>
                    </a:lnTo>
                    <a:lnTo>
                      <a:pt x="1109" y="482"/>
                    </a:lnTo>
                    <a:lnTo>
                      <a:pt x="1046" y="461"/>
                    </a:lnTo>
                    <a:lnTo>
                      <a:pt x="1004" y="377"/>
                    </a:lnTo>
                    <a:lnTo>
                      <a:pt x="1025" y="272"/>
                    </a:lnTo>
                    <a:lnTo>
                      <a:pt x="983" y="168"/>
                    </a:lnTo>
                    <a:lnTo>
                      <a:pt x="83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 name="Google Shape;5881;p93">
                <a:extLst>
                  <a:ext uri="{FF2B5EF4-FFF2-40B4-BE49-F238E27FC236}">
                    <a16:creationId xmlns:a16="http://schemas.microsoft.com/office/drawing/2014/main" id="{D9CE8A54-4775-45BD-B0F7-BC0766CC8D35}"/>
                  </a:ext>
                </a:extLst>
              </p:cNvPr>
              <p:cNvSpPr/>
              <p:nvPr/>
            </p:nvSpPr>
            <p:spPr>
              <a:xfrm>
                <a:off x="2789175" y="1410350"/>
                <a:ext cx="386600" cy="302375"/>
              </a:xfrm>
              <a:custGeom>
                <a:avLst/>
                <a:gdLst/>
                <a:ahLst/>
                <a:cxnLst/>
                <a:rect l="l" t="t" r="r" b="b"/>
                <a:pathLst>
                  <a:path w="15464" h="12095" extrusionOk="0">
                    <a:moveTo>
                      <a:pt x="9625" y="1"/>
                    </a:moveTo>
                    <a:lnTo>
                      <a:pt x="9521" y="105"/>
                    </a:lnTo>
                    <a:lnTo>
                      <a:pt x="9416" y="105"/>
                    </a:lnTo>
                    <a:lnTo>
                      <a:pt x="9353" y="168"/>
                    </a:lnTo>
                    <a:lnTo>
                      <a:pt x="9416" y="252"/>
                    </a:lnTo>
                    <a:lnTo>
                      <a:pt x="9521" y="273"/>
                    </a:lnTo>
                    <a:lnTo>
                      <a:pt x="9584" y="315"/>
                    </a:lnTo>
                    <a:lnTo>
                      <a:pt x="9458" y="315"/>
                    </a:lnTo>
                    <a:lnTo>
                      <a:pt x="9395" y="377"/>
                    </a:lnTo>
                    <a:lnTo>
                      <a:pt x="9458" y="461"/>
                    </a:lnTo>
                    <a:lnTo>
                      <a:pt x="9584" y="566"/>
                    </a:lnTo>
                    <a:lnTo>
                      <a:pt x="9563" y="629"/>
                    </a:lnTo>
                    <a:lnTo>
                      <a:pt x="9521" y="691"/>
                    </a:lnTo>
                    <a:lnTo>
                      <a:pt x="9625" y="796"/>
                    </a:lnTo>
                    <a:lnTo>
                      <a:pt x="9709" y="817"/>
                    </a:lnTo>
                    <a:lnTo>
                      <a:pt x="9709" y="880"/>
                    </a:lnTo>
                    <a:lnTo>
                      <a:pt x="9605" y="901"/>
                    </a:lnTo>
                    <a:lnTo>
                      <a:pt x="9605" y="942"/>
                    </a:lnTo>
                    <a:lnTo>
                      <a:pt x="9395" y="712"/>
                    </a:lnTo>
                    <a:lnTo>
                      <a:pt x="9353" y="712"/>
                    </a:lnTo>
                    <a:lnTo>
                      <a:pt x="9312" y="796"/>
                    </a:lnTo>
                    <a:lnTo>
                      <a:pt x="9312" y="901"/>
                    </a:lnTo>
                    <a:lnTo>
                      <a:pt x="9270" y="880"/>
                    </a:lnTo>
                    <a:lnTo>
                      <a:pt x="9249" y="691"/>
                    </a:lnTo>
                    <a:lnTo>
                      <a:pt x="9270" y="566"/>
                    </a:lnTo>
                    <a:lnTo>
                      <a:pt x="9186" y="419"/>
                    </a:lnTo>
                    <a:lnTo>
                      <a:pt x="9186" y="273"/>
                    </a:lnTo>
                    <a:lnTo>
                      <a:pt x="9123" y="210"/>
                    </a:lnTo>
                    <a:lnTo>
                      <a:pt x="9081" y="252"/>
                    </a:lnTo>
                    <a:lnTo>
                      <a:pt x="8956" y="147"/>
                    </a:lnTo>
                    <a:lnTo>
                      <a:pt x="8872" y="105"/>
                    </a:lnTo>
                    <a:lnTo>
                      <a:pt x="8851" y="252"/>
                    </a:lnTo>
                    <a:lnTo>
                      <a:pt x="8872" y="461"/>
                    </a:lnTo>
                    <a:lnTo>
                      <a:pt x="8851" y="670"/>
                    </a:lnTo>
                    <a:lnTo>
                      <a:pt x="8893" y="817"/>
                    </a:lnTo>
                    <a:lnTo>
                      <a:pt x="8935" y="984"/>
                    </a:lnTo>
                    <a:lnTo>
                      <a:pt x="8935" y="1047"/>
                    </a:lnTo>
                    <a:lnTo>
                      <a:pt x="8935" y="1193"/>
                    </a:lnTo>
                    <a:lnTo>
                      <a:pt x="8872" y="1235"/>
                    </a:lnTo>
                    <a:lnTo>
                      <a:pt x="8830" y="1131"/>
                    </a:lnTo>
                    <a:lnTo>
                      <a:pt x="8788" y="984"/>
                    </a:lnTo>
                    <a:lnTo>
                      <a:pt x="8747" y="901"/>
                    </a:lnTo>
                    <a:lnTo>
                      <a:pt x="8747" y="775"/>
                    </a:lnTo>
                    <a:lnTo>
                      <a:pt x="8726" y="629"/>
                    </a:lnTo>
                    <a:lnTo>
                      <a:pt x="8684" y="482"/>
                    </a:lnTo>
                    <a:lnTo>
                      <a:pt x="8475" y="357"/>
                    </a:lnTo>
                    <a:lnTo>
                      <a:pt x="8412" y="357"/>
                    </a:lnTo>
                    <a:lnTo>
                      <a:pt x="8370" y="482"/>
                    </a:lnTo>
                    <a:lnTo>
                      <a:pt x="8349" y="524"/>
                    </a:lnTo>
                    <a:lnTo>
                      <a:pt x="8370" y="691"/>
                    </a:lnTo>
                    <a:lnTo>
                      <a:pt x="8558" y="817"/>
                    </a:lnTo>
                    <a:lnTo>
                      <a:pt x="8558" y="901"/>
                    </a:lnTo>
                    <a:lnTo>
                      <a:pt x="8370" y="880"/>
                    </a:lnTo>
                    <a:lnTo>
                      <a:pt x="8328" y="838"/>
                    </a:lnTo>
                    <a:lnTo>
                      <a:pt x="8244" y="838"/>
                    </a:lnTo>
                    <a:lnTo>
                      <a:pt x="8161" y="921"/>
                    </a:lnTo>
                    <a:lnTo>
                      <a:pt x="8244" y="1131"/>
                    </a:lnTo>
                    <a:lnTo>
                      <a:pt x="8224" y="1193"/>
                    </a:lnTo>
                    <a:lnTo>
                      <a:pt x="8077" y="1235"/>
                    </a:lnTo>
                    <a:lnTo>
                      <a:pt x="8035" y="1340"/>
                    </a:lnTo>
                    <a:lnTo>
                      <a:pt x="7952" y="1403"/>
                    </a:lnTo>
                    <a:lnTo>
                      <a:pt x="7910" y="1319"/>
                    </a:lnTo>
                    <a:lnTo>
                      <a:pt x="7910" y="1214"/>
                    </a:lnTo>
                    <a:lnTo>
                      <a:pt x="7847" y="1214"/>
                    </a:lnTo>
                    <a:lnTo>
                      <a:pt x="7784" y="1361"/>
                    </a:lnTo>
                    <a:lnTo>
                      <a:pt x="7700" y="1403"/>
                    </a:lnTo>
                    <a:lnTo>
                      <a:pt x="7680" y="1131"/>
                    </a:lnTo>
                    <a:lnTo>
                      <a:pt x="7700" y="984"/>
                    </a:lnTo>
                    <a:lnTo>
                      <a:pt x="7700" y="921"/>
                    </a:lnTo>
                    <a:lnTo>
                      <a:pt x="7491" y="838"/>
                    </a:lnTo>
                    <a:lnTo>
                      <a:pt x="7470" y="775"/>
                    </a:lnTo>
                    <a:lnTo>
                      <a:pt x="7533" y="691"/>
                    </a:lnTo>
                    <a:lnTo>
                      <a:pt x="7554" y="608"/>
                    </a:lnTo>
                    <a:lnTo>
                      <a:pt x="7470" y="566"/>
                    </a:lnTo>
                    <a:lnTo>
                      <a:pt x="7261" y="524"/>
                    </a:lnTo>
                    <a:lnTo>
                      <a:pt x="7219" y="482"/>
                    </a:lnTo>
                    <a:lnTo>
                      <a:pt x="7073" y="524"/>
                    </a:lnTo>
                    <a:lnTo>
                      <a:pt x="7031" y="629"/>
                    </a:lnTo>
                    <a:lnTo>
                      <a:pt x="7115" y="712"/>
                    </a:lnTo>
                    <a:lnTo>
                      <a:pt x="7115" y="921"/>
                    </a:lnTo>
                    <a:lnTo>
                      <a:pt x="7073" y="984"/>
                    </a:lnTo>
                    <a:lnTo>
                      <a:pt x="6968" y="942"/>
                    </a:lnTo>
                    <a:lnTo>
                      <a:pt x="6864" y="984"/>
                    </a:lnTo>
                    <a:lnTo>
                      <a:pt x="6780" y="901"/>
                    </a:lnTo>
                    <a:lnTo>
                      <a:pt x="6654" y="901"/>
                    </a:lnTo>
                    <a:lnTo>
                      <a:pt x="6633" y="1026"/>
                    </a:lnTo>
                    <a:lnTo>
                      <a:pt x="6675" y="1089"/>
                    </a:lnTo>
                    <a:lnTo>
                      <a:pt x="6738" y="1193"/>
                    </a:lnTo>
                    <a:lnTo>
                      <a:pt x="6801" y="1256"/>
                    </a:lnTo>
                    <a:lnTo>
                      <a:pt x="6801" y="1403"/>
                    </a:lnTo>
                    <a:lnTo>
                      <a:pt x="6864" y="1465"/>
                    </a:lnTo>
                    <a:lnTo>
                      <a:pt x="6905" y="1465"/>
                    </a:lnTo>
                    <a:lnTo>
                      <a:pt x="7010" y="1633"/>
                    </a:lnTo>
                    <a:lnTo>
                      <a:pt x="7010" y="1779"/>
                    </a:lnTo>
                    <a:lnTo>
                      <a:pt x="6968" y="1842"/>
                    </a:lnTo>
                    <a:lnTo>
                      <a:pt x="6989" y="1717"/>
                    </a:lnTo>
                    <a:lnTo>
                      <a:pt x="6947" y="1717"/>
                    </a:lnTo>
                    <a:lnTo>
                      <a:pt x="6843" y="1842"/>
                    </a:lnTo>
                    <a:lnTo>
                      <a:pt x="6780" y="1758"/>
                    </a:lnTo>
                    <a:lnTo>
                      <a:pt x="6780" y="1654"/>
                    </a:lnTo>
                    <a:lnTo>
                      <a:pt x="6801" y="1633"/>
                    </a:lnTo>
                    <a:lnTo>
                      <a:pt x="6780" y="1549"/>
                    </a:lnTo>
                    <a:lnTo>
                      <a:pt x="6738" y="1612"/>
                    </a:lnTo>
                    <a:lnTo>
                      <a:pt x="6654" y="1612"/>
                    </a:lnTo>
                    <a:lnTo>
                      <a:pt x="6654" y="1758"/>
                    </a:lnTo>
                    <a:lnTo>
                      <a:pt x="6592" y="1842"/>
                    </a:lnTo>
                    <a:lnTo>
                      <a:pt x="6571" y="1758"/>
                    </a:lnTo>
                    <a:lnTo>
                      <a:pt x="6508" y="1675"/>
                    </a:lnTo>
                    <a:lnTo>
                      <a:pt x="6550" y="1570"/>
                    </a:lnTo>
                    <a:lnTo>
                      <a:pt x="6550" y="1424"/>
                    </a:lnTo>
                    <a:lnTo>
                      <a:pt x="6445" y="1298"/>
                    </a:lnTo>
                    <a:lnTo>
                      <a:pt x="6382" y="1298"/>
                    </a:lnTo>
                    <a:lnTo>
                      <a:pt x="6257" y="1465"/>
                    </a:lnTo>
                    <a:lnTo>
                      <a:pt x="6215" y="1507"/>
                    </a:lnTo>
                    <a:lnTo>
                      <a:pt x="6215" y="1633"/>
                    </a:lnTo>
                    <a:lnTo>
                      <a:pt x="6257" y="1717"/>
                    </a:lnTo>
                    <a:lnTo>
                      <a:pt x="6215" y="1758"/>
                    </a:lnTo>
                    <a:lnTo>
                      <a:pt x="6131" y="1675"/>
                    </a:lnTo>
                    <a:lnTo>
                      <a:pt x="6152" y="1612"/>
                    </a:lnTo>
                    <a:lnTo>
                      <a:pt x="6110" y="1528"/>
                    </a:lnTo>
                    <a:lnTo>
                      <a:pt x="6131" y="1424"/>
                    </a:lnTo>
                    <a:lnTo>
                      <a:pt x="6110" y="1298"/>
                    </a:lnTo>
                    <a:lnTo>
                      <a:pt x="5985" y="1235"/>
                    </a:lnTo>
                    <a:lnTo>
                      <a:pt x="5985" y="1089"/>
                    </a:lnTo>
                    <a:lnTo>
                      <a:pt x="5985" y="984"/>
                    </a:lnTo>
                    <a:lnTo>
                      <a:pt x="5943" y="984"/>
                    </a:lnTo>
                    <a:lnTo>
                      <a:pt x="5796" y="1110"/>
                    </a:lnTo>
                    <a:lnTo>
                      <a:pt x="5713" y="1131"/>
                    </a:lnTo>
                    <a:lnTo>
                      <a:pt x="5692" y="1256"/>
                    </a:lnTo>
                    <a:lnTo>
                      <a:pt x="5713" y="1340"/>
                    </a:lnTo>
                    <a:lnTo>
                      <a:pt x="5692" y="1403"/>
                    </a:lnTo>
                    <a:lnTo>
                      <a:pt x="5692" y="1465"/>
                    </a:lnTo>
                    <a:lnTo>
                      <a:pt x="5608" y="1528"/>
                    </a:lnTo>
                    <a:lnTo>
                      <a:pt x="5608" y="1445"/>
                    </a:lnTo>
                    <a:lnTo>
                      <a:pt x="5629" y="1403"/>
                    </a:lnTo>
                    <a:lnTo>
                      <a:pt x="5608" y="1340"/>
                    </a:lnTo>
                    <a:lnTo>
                      <a:pt x="5524" y="1424"/>
                    </a:lnTo>
                    <a:lnTo>
                      <a:pt x="5462" y="1570"/>
                    </a:lnTo>
                    <a:lnTo>
                      <a:pt x="5399" y="1612"/>
                    </a:lnTo>
                    <a:lnTo>
                      <a:pt x="5399" y="1340"/>
                    </a:lnTo>
                    <a:lnTo>
                      <a:pt x="5420" y="1256"/>
                    </a:lnTo>
                    <a:lnTo>
                      <a:pt x="5420" y="1193"/>
                    </a:lnTo>
                    <a:lnTo>
                      <a:pt x="5336" y="1152"/>
                    </a:lnTo>
                    <a:lnTo>
                      <a:pt x="5273" y="1214"/>
                    </a:lnTo>
                    <a:lnTo>
                      <a:pt x="5022" y="1214"/>
                    </a:lnTo>
                    <a:lnTo>
                      <a:pt x="4876" y="1319"/>
                    </a:lnTo>
                    <a:lnTo>
                      <a:pt x="4771" y="1298"/>
                    </a:lnTo>
                    <a:lnTo>
                      <a:pt x="4646" y="1361"/>
                    </a:lnTo>
                    <a:lnTo>
                      <a:pt x="4583" y="1465"/>
                    </a:lnTo>
                    <a:lnTo>
                      <a:pt x="4457" y="1465"/>
                    </a:lnTo>
                    <a:lnTo>
                      <a:pt x="4353" y="1528"/>
                    </a:lnTo>
                    <a:lnTo>
                      <a:pt x="4332" y="1654"/>
                    </a:lnTo>
                    <a:lnTo>
                      <a:pt x="4248" y="1612"/>
                    </a:lnTo>
                    <a:lnTo>
                      <a:pt x="4227" y="1633"/>
                    </a:lnTo>
                    <a:lnTo>
                      <a:pt x="4248" y="1737"/>
                    </a:lnTo>
                    <a:lnTo>
                      <a:pt x="4290" y="1758"/>
                    </a:lnTo>
                    <a:lnTo>
                      <a:pt x="4269" y="1863"/>
                    </a:lnTo>
                    <a:lnTo>
                      <a:pt x="4290" y="1968"/>
                    </a:lnTo>
                    <a:lnTo>
                      <a:pt x="4415" y="1947"/>
                    </a:lnTo>
                    <a:lnTo>
                      <a:pt x="4478" y="1863"/>
                    </a:lnTo>
                    <a:lnTo>
                      <a:pt x="4478" y="1779"/>
                    </a:lnTo>
                    <a:lnTo>
                      <a:pt x="4604" y="1758"/>
                    </a:lnTo>
                    <a:lnTo>
                      <a:pt x="4667" y="1717"/>
                    </a:lnTo>
                    <a:lnTo>
                      <a:pt x="4708" y="1675"/>
                    </a:lnTo>
                    <a:lnTo>
                      <a:pt x="4750" y="1821"/>
                    </a:lnTo>
                    <a:lnTo>
                      <a:pt x="4813" y="1758"/>
                    </a:lnTo>
                    <a:lnTo>
                      <a:pt x="4855" y="1654"/>
                    </a:lnTo>
                    <a:lnTo>
                      <a:pt x="4897" y="1633"/>
                    </a:lnTo>
                    <a:lnTo>
                      <a:pt x="4876" y="1779"/>
                    </a:lnTo>
                    <a:lnTo>
                      <a:pt x="4918" y="1842"/>
                    </a:lnTo>
                    <a:lnTo>
                      <a:pt x="5064" y="1842"/>
                    </a:lnTo>
                    <a:lnTo>
                      <a:pt x="4939" y="1884"/>
                    </a:lnTo>
                    <a:lnTo>
                      <a:pt x="4771" y="1926"/>
                    </a:lnTo>
                    <a:lnTo>
                      <a:pt x="4604" y="2051"/>
                    </a:lnTo>
                    <a:lnTo>
                      <a:pt x="4478" y="2093"/>
                    </a:lnTo>
                    <a:lnTo>
                      <a:pt x="4499" y="2198"/>
                    </a:lnTo>
                    <a:lnTo>
                      <a:pt x="4499" y="2281"/>
                    </a:lnTo>
                    <a:lnTo>
                      <a:pt x="4583" y="2281"/>
                    </a:lnTo>
                    <a:lnTo>
                      <a:pt x="4667" y="2198"/>
                    </a:lnTo>
                    <a:lnTo>
                      <a:pt x="4771" y="2198"/>
                    </a:lnTo>
                    <a:lnTo>
                      <a:pt x="4918" y="2156"/>
                    </a:lnTo>
                    <a:lnTo>
                      <a:pt x="5127" y="2135"/>
                    </a:lnTo>
                    <a:lnTo>
                      <a:pt x="5378" y="2072"/>
                    </a:lnTo>
                    <a:lnTo>
                      <a:pt x="5420" y="2135"/>
                    </a:lnTo>
                    <a:lnTo>
                      <a:pt x="5420" y="2198"/>
                    </a:lnTo>
                    <a:lnTo>
                      <a:pt x="5336" y="2240"/>
                    </a:lnTo>
                    <a:lnTo>
                      <a:pt x="5273" y="2177"/>
                    </a:lnTo>
                    <a:lnTo>
                      <a:pt x="5169" y="2177"/>
                    </a:lnTo>
                    <a:lnTo>
                      <a:pt x="5064" y="2261"/>
                    </a:lnTo>
                    <a:lnTo>
                      <a:pt x="4876" y="2261"/>
                    </a:lnTo>
                    <a:lnTo>
                      <a:pt x="4708" y="2386"/>
                    </a:lnTo>
                    <a:lnTo>
                      <a:pt x="4562" y="2386"/>
                    </a:lnTo>
                    <a:lnTo>
                      <a:pt x="4541" y="2449"/>
                    </a:lnTo>
                    <a:lnTo>
                      <a:pt x="4604" y="2554"/>
                    </a:lnTo>
                    <a:lnTo>
                      <a:pt x="4708" y="2554"/>
                    </a:lnTo>
                    <a:lnTo>
                      <a:pt x="4813" y="2616"/>
                    </a:lnTo>
                    <a:lnTo>
                      <a:pt x="4750" y="2658"/>
                    </a:lnTo>
                    <a:lnTo>
                      <a:pt x="4562" y="2658"/>
                    </a:lnTo>
                    <a:lnTo>
                      <a:pt x="4478" y="2574"/>
                    </a:lnTo>
                    <a:lnTo>
                      <a:pt x="4415" y="2574"/>
                    </a:lnTo>
                    <a:lnTo>
                      <a:pt x="4353" y="2616"/>
                    </a:lnTo>
                    <a:lnTo>
                      <a:pt x="4353" y="2763"/>
                    </a:lnTo>
                    <a:lnTo>
                      <a:pt x="4290" y="2826"/>
                    </a:lnTo>
                    <a:lnTo>
                      <a:pt x="4332" y="2909"/>
                    </a:lnTo>
                    <a:lnTo>
                      <a:pt x="4415" y="2972"/>
                    </a:lnTo>
                    <a:lnTo>
                      <a:pt x="4562" y="2909"/>
                    </a:lnTo>
                    <a:lnTo>
                      <a:pt x="4750" y="3014"/>
                    </a:lnTo>
                    <a:lnTo>
                      <a:pt x="4897" y="2993"/>
                    </a:lnTo>
                    <a:lnTo>
                      <a:pt x="4918" y="3035"/>
                    </a:lnTo>
                    <a:lnTo>
                      <a:pt x="5022" y="3035"/>
                    </a:lnTo>
                    <a:lnTo>
                      <a:pt x="5169" y="3139"/>
                    </a:lnTo>
                    <a:lnTo>
                      <a:pt x="5231" y="3139"/>
                    </a:lnTo>
                    <a:lnTo>
                      <a:pt x="5315" y="3118"/>
                    </a:lnTo>
                    <a:lnTo>
                      <a:pt x="5462" y="3139"/>
                    </a:lnTo>
                    <a:lnTo>
                      <a:pt x="5545" y="3139"/>
                    </a:lnTo>
                    <a:lnTo>
                      <a:pt x="5713" y="3035"/>
                    </a:lnTo>
                    <a:lnTo>
                      <a:pt x="5943" y="3035"/>
                    </a:lnTo>
                    <a:lnTo>
                      <a:pt x="6110" y="3014"/>
                    </a:lnTo>
                    <a:lnTo>
                      <a:pt x="6173" y="2972"/>
                    </a:lnTo>
                    <a:lnTo>
                      <a:pt x="6236" y="2930"/>
                    </a:lnTo>
                    <a:lnTo>
                      <a:pt x="6320" y="2930"/>
                    </a:lnTo>
                    <a:lnTo>
                      <a:pt x="6320" y="2993"/>
                    </a:lnTo>
                    <a:lnTo>
                      <a:pt x="6278" y="3077"/>
                    </a:lnTo>
                    <a:lnTo>
                      <a:pt x="6068" y="3098"/>
                    </a:lnTo>
                    <a:lnTo>
                      <a:pt x="5838" y="3139"/>
                    </a:lnTo>
                    <a:lnTo>
                      <a:pt x="5755" y="3202"/>
                    </a:lnTo>
                    <a:lnTo>
                      <a:pt x="5650" y="3223"/>
                    </a:lnTo>
                    <a:lnTo>
                      <a:pt x="5629" y="3244"/>
                    </a:lnTo>
                    <a:lnTo>
                      <a:pt x="5462" y="3223"/>
                    </a:lnTo>
                    <a:lnTo>
                      <a:pt x="5336" y="3286"/>
                    </a:lnTo>
                    <a:lnTo>
                      <a:pt x="5231" y="3286"/>
                    </a:lnTo>
                    <a:lnTo>
                      <a:pt x="5190" y="3223"/>
                    </a:lnTo>
                    <a:lnTo>
                      <a:pt x="5085" y="3223"/>
                    </a:lnTo>
                    <a:lnTo>
                      <a:pt x="4897" y="3118"/>
                    </a:lnTo>
                    <a:lnTo>
                      <a:pt x="4562" y="3118"/>
                    </a:lnTo>
                    <a:lnTo>
                      <a:pt x="4499" y="3077"/>
                    </a:lnTo>
                    <a:lnTo>
                      <a:pt x="4374" y="3098"/>
                    </a:lnTo>
                    <a:lnTo>
                      <a:pt x="4269" y="3077"/>
                    </a:lnTo>
                    <a:lnTo>
                      <a:pt x="4227" y="3118"/>
                    </a:lnTo>
                    <a:lnTo>
                      <a:pt x="4248" y="3286"/>
                    </a:lnTo>
                    <a:lnTo>
                      <a:pt x="4290" y="3328"/>
                    </a:lnTo>
                    <a:lnTo>
                      <a:pt x="4290" y="3516"/>
                    </a:lnTo>
                    <a:lnTo>
                      <a:pt x="4353" y="3642"/>
                    </a:lnTo>
                    <a:lnTo>
                      <a:pt x="4395" y="3704"/>
                    </a:lnTo>
                    <a:lnTo>
                      <a:pt x="4478" y="3725"/>
                    </a:lnTo>
                    <a:lnTo>
                      <a:pt x="4646" y="3934"/>
                    </a:lnTo>
                    <a:lnTo>
                      <a:pt x="4708" y="3976"/>
                    </a:lnTo>
                    <a:lnTo>
                      <a:pt x="4771" y="3955"/>
                    </a:lnTo>
                    <a:lnTo>
                      <a:pt x="4897" y="3767"/>
                    </a:lnTo>
                    <a:lnTo>
                      <a:pt x="5106" y="3662"/>
                    </a:lnTo>
                    <a:lnTo>
                      <a:pt x="5315" y="3537"/>
                    </a:lnTo>
                    <a:lnTo>
                      <a:pt x="5441" y="3432"/>
                    </a:lnTo>
                    <a:lnTo>
                      <a:pt x="5503" y="3349"/>
                    </a:lnTo>
                    <a:lnTo>
                      <a:pt x="5545" y="3349"/>
                    </a:lnTo>
                    <a:lnTo>
                      <a:pt x="5817" y="3411"/>
                    </a:lnTo>
                    <a:lnTo>
                      <a:pt x="6027" y="3390"/>
                    </a:lnTo>
                    <a:lnTo>
                      <a:pt x="6173" y="3390"/>
                    </a:lnTo>
                    <a:lnTo>
                      <a:pt x="6320" y="3495"/>
                    </a:lnTo>
                    <a:lnTo>
                      <a:pt x="6571" y="3516"/>
                    </a:lnTo>
                    <a:lnTo>
                      <a:pt x="6780" y="3516"/>
                    </a:lnTo>
                    <a:lnTo>
                      <a:pt x="6864" y="3558"/>
                    </a:lnTo>
                    <a:lnTo>
                      <a:pt x="6843" y="3600"/>
                    </a:lnTo>
                    <a:lnTo>
                      <a:pt x="6654" y="3621"/>
                    </a:lnTo>
                    <a:lnTo>
                      <a:pt x="6550" y="3600"/>
                    </a:lnTo>
                    <a:lnTo>
                      <a:pt x="6361" y="3558"/>
                    </a:lnTo>
                    <a:lnTo>
                      <a:pt x="6152" y="3453"/>
                    </a:lnTo>
                    <a:lnTo>
                      <a:pt x="6047" y="3453"/>
                    </a:lnTo>
                    <a:lnTo>
                      <a:pt x="5964" y="3495"/>
                    </a:lnTo>
                    <a:lnTo>
                      <a:pt x="5734" y="3453"/>
                    </a:lnTo>
                    <a:lnTo>
                      <a:pt x="5608" y="3432"/>
                    </a:lnTo>
                    <a:lnTo>
                      <a:pt x="5545" y="3516"/>
                    </a:lnTo>
                    <a:lnTo>
                      <a:pt x="5399" y="3600"/>
                    </a:lnTo>
                    <a:lnTo>
                      <a:pt x="5294" y="3725"/>
                    </a:lnTo>
                    <a:lnTo>
                      <a:pt x="5106" y="3830"/>
                    </a:lnTo>
                    <a:lnTo>
                      <a:pt x="5022" y="3976"/>
                    </a:lnTo>
                    <a:lnTo>
                      <a:pt x="4939" y="4060"/>
                    </a:lnTo>
                    <a:lnTo>
                      <a:pt x="4918" y="4123"/>
                    </a:lnTo>
                    <a:lnTo>
                      <a:pt x="5064" y="4227"/>
                    </a:lnTo>
                    <a:lnTo>
                      <a:pt x="5190" y="4227"/>
                    </a:lnTo>
                    <a:lnTo>
                      <a:pt x="5190" y="4290"/>
                    </a:lnTo>
                    <a:lnTo>
                      <a:pt x="5294" y="4395"/>
                    </a:lnTo>
                    <a:lnTo>
                      <a:pt x="5503" y="4395"/>
                    </a:lnTo>
                    <a:lnTo>
                      <a:pt x="5755" y="4478"/>
                    </a:lnTo>
                    <a:lnTo>
                      <a:pt x="5943" y="4478"/>
                    </a:lnTo>
                    <a:lnTo>
                      <a:pt x="6110" y="4332"/>
                    </a:lnTo>
                    <a:lnTo>
                      <a:pt x="6131" y="4144"/>
                    </a:lnTo>
                    <a:lnTo>
                      <a:pt x="6278" y="4081"/>
                    </a:lnTo>
                    <a:lnTo>
                      <a:pt x="6382" y="4123"/>
                    </a:lnTo>
                    <a:lnTo>
                      <a:pt x="6257" y="4165"/>
                    </a:lnTo>
                    <a:lnTo>
                      <a:pt x="6257" y="4269"/>
                    </a:lnTo>
                    <a:lnTo>
                      <a:pt x="6361" y="4290"/>
                    </a:lnTo>
                    <a:lnTo>
                      <a:pt x="6508" y="4248"/>
                    </a:lnTo>
                    <a:lnTo>
                      <a:pt x="6654" y="4269"/>
                    </a:lnTo>
                    <a:lnTo>
                      <a:pt x="6780" y="4186"/>
                    </a:lnTo>
                    <a:lnTo>
                      <a:pt x="6884" y="4227"/>
                    </a:lnTo>
                    <a:lnTo>
                      <a:pt x="6780" y="4332"/>
                    </a:lnTo>
                    <a:lnTo>
                      <a:pt x="6571" y="4353"/>
                    </a:lnTo>
                    <a:lnTo>
                      <a:pt x="6466" y="4374"/>
                    </a:lnTo>
                    <a:lnTo>
                      <a:pt x="6320" y="4374"/>
                    </a:lnTo>
                    <a:lnTo>
                      <a:pt x="6152" y="4541"/>
                    </a:lnTo>
                    <a:lnTo>
                      <a:pt x="6173" y="4604"/>
                    </a:lnTo>
                    <a:lnTo>
                      <a:pt x="6257" y="4646"/>
                    </a:lnTo>
                    <a:lnTo>
                      <a:pt x="6445" y="4604"/>
                    </a:lnTo>
                    <a:lnTo>
                      <a:pt x="6571" y="4771"/>
                    </a:lnTo>
                    <a:lnTo>
                      <a:pt x="7010" y="4771"/>
                    </a:lnTo>
                    <a:lnTo>
                      <a:pt x="7156" y="4750"/>
                    </a:lnTo>
                    <a:lnTo>
                      <a:pt x="7554" y="4583"/>
                    </a:lnTo>
                    <a:lnTo>
                      <a:pt x="7680" y="4562"/>
                    </a:lnTo>
                    <a:lnTo>
                      <a:pt x="7889" y="4395"/>
                    </a:lnTo>
                    <a:lnTo>
                      <a:pt x="7847" y="4353"/>
                    </a:lnTo>
                    <a:lnTo>
                      <a:pt x="7805" y="4353"/>
                    </a:lnTo>
                    <a:lnTo>
                      <a:pt x="7952" y="4165"/>
                    </a:lnTo>
                    <a:lnTo>
                      <a:pt x="8056" y="4165"/>
                    </a:lnTo>
                    <a:lnTo>
                      <a:pt x="8140" y="4039"/>
                    </a:lnTo>
                    <a:lnTo>
                      <a:pt x="8161" y="4060"/>
                    </a:lnTo>
                    <a:lnTo>
                      <a:pt x="8224" y="4165"/>
                    </a:lnTo>
                    <a:lnTo>
                      <a:pt x="8265" y="4165"/>
                    </a:lnTo>
                    <a:lnTo>
                      <a:pt x="8265" y="4060"/>
                    </a:lnTo>
                    <a:lnTo>
                      <a:pt x="8579" y="3830"/>
                    </a:lnTo>
                    <a:lnTo>
                      <a:pt x="8788" y="3809"/>
                    </a:lnTo>
                    <a:lnTo>
                      <a:pt x="9123" y="3662"/>
                    </a:lnTo>
                    <a:lnTo>
                      <a:pt x="9123" y="3746"/>
                    </a:lnTo>
                    <a:lnTo>
                      <a:pt x="8851" y="3872"/>
                    </a:lnTo>
                    <a:lnTo>
                      <a:pt x="8684" y="3872"/>
                    </a:lnTo>
                    <a:lnTo>
                      <a:pt x="8370" y="4060"/>
                    </a:lnTo>
                    <a:lnTo>
                      <a:pt x="8328" y="4227"/>
                    </a:lnTo>
                    <a:lnTo>
                      <a:pt x="8203" y="4332"/>
                    </a:lnTo>
                    <a:lnTo>
                      <a:pt x="8056" y="4332"/>
                    </a:lnTo>
                    <a:lnTo>
                      <a:pt x="8014" y="4478"/>
                    </a:lnTo>
                    <a:lnTo>
                      <a:pt x="7952" y="4541"/>
                    </a:lnTo>
                    <a:lnTo>
                      <a:pt x="7952" y="4583"/>
                    </a:lnTo>
                    <a:lnTo>
                      <a:pt x="8244" y="4562"/>
                    </a:lnTo>
                    <a:lnTo>
                      <a:pt x="8328" y="4604"/>
                    </a:lnTo>
                    <a:lnTo>
                      <a:pt x="8454" y="4604"/>
                    </a:lnTo>
                    <a:lnTo>
                      <a:pt x="8579" y="4688"/>
                    </a:lnTo>
                    <a:lnTo>
                      <a:pt x="8558" y="4750"/>
                    </a:lnTo>
                    <a:lnTo>
                      <a:pt x="8663" y="4792"/>
                    </a:lnTo>
                    <a:lnTo>
                      <a:pt x="8747" y="4792"/>
                    </a:lnTo>
                    <a:lnTo>
                      <a:pt x="8788" y="4855"/>
                    </a:lnTo>
                    <a:lnTo>
                      <a:pt x="8663" y="4876"/>
                    </a:lnTo>
                    <a:lnTo>
                      <a:pt x="8558" y="4918"/>
                    </a:lnTo>
                    <a:lnTo>
                      <a:pt x="8433" y="4813"/>
                    </a:lnTo>
                    <a:lnTo>
                      <a:pt x="8224" y="4750"/>
                    </a:lnTo>
                    <a:lnTo>
                      <a:pt x="7952" y="4771"/>
                    </a:lnTo>
                    <a:lnTo>
                      <a:pt x="7554" y="4813"/>
                    </a:lnTo>
                    <a:lnTo>
                      <a:pt x="7408" y="4876"/>
                    </a:lnTo>
                    <a:lnTo>
                      <a:pt x="7303" y="4876"/>
                    </a:lnTo>
                    <a:lnTo>
                      <a:pt x="7303" y="4918"/>
                    </a:lnTo>
                    <a:lnTo>
                      <a:pt x="7324" y="4981"/>
                    </a:lnTo>
                    <a:lnTo>
                      <a:pt x="7512" y="5022"/>
                    </a:lnTo>
                    <a:lnTo>
                      <a:pt x="7680" y="5022"/>
                    </a:lnTo>
                    <a:lnTo>
                      <a:pt x="7784" y="5085"/>
                    </a:lnTo>
                    <a:lnTo>
                      <a:pt x="7784" y="5169"/>
                    </a:lnTo>
                    <a:lnTo>
                      <a:pt x="7638" y="5190"/>
                    </a:lnTo>
                    <a:lnTo>
                      <a:pt x="7533" y="5106"/>
                    </a:lnTo>
                    <a:lnTo>
                      <a:pt x="7324" y="5085"/>
                    </a:lnTo>
                    <a:lnTo>
                      <a:pt x="7219" y="5002"/>
                    </a:lnTo>
                    <a:lnTo>
                      <a:pt x="7115" y="4981"/>
                    </a:lnTo>
                    <a:lnTo>
                      <a:pt x="6947" y="5064"/>
                    </a:lnTo>
                    <a:lnTo>
                      <a:pt x="6696" y="5085"/>
                    </a:lnTo>
                    <a:lnTo>
                      <a:pt x="6508" y="5002"/>
                    </a:lnTo>
                    <a:lnTo>
                      <a:pt x="6361" y="5002"/>
                    </a:lnTo>
                    <a:lnTo>
                      <a:pt x="6215" y="4960"/>
                    </a:lnTo>
                    <a:lnTo>
                      <a:pt x="6131" y="4897"/>
                    </a:lnTo>
                    <a:lnTo>
                      <a:pt x="5922" y="4918"/>
                    </a:lnTo>
                    <a:lnTo>
                      <a:pt x="5859" y="5064"/>
                    </a:lnTo>
                    <a:lnTo>
                      <a:pt x="5922" y="5169"/>
                    </a:lnTo>
                    <a:lnTo>
                      <a:pt x="5922" y="5587"/>
                    </a:lnTo>
                    <a:lnTo>
                      <a:pt x="5943" y="5629"/>
                    </a:lnTo>
                    <a:lnTo>
                      <a:pt x="5838" y="5755"/>
                    </a:lnTo>
                    <a:lnTo>
                      <a:pt x="5838" y="5839"/>
                    </a:lnTo>
                    <a:lnTo>
                      <a:pt x="5922" y="5901"/>
                    </a:lnTo>
                    <a:lnTo>
                      <a:pt x="5985" y="6006"/>
                    </a:lnTo>
                    <a:lnTo>
                      <a:pt x="6131" y="6006"/>
                    </a:lnTo>
                    <a:lnTo>
                      <a:pt x="6236" y="6069"/>
                    </a:lnTo>
                    <a:lnTo>
                      <a:pt x="6110" y="6048"/>
                    </a:lnTo>
                    <a:lnTo>
                      <a:pt x="6027" y="6111"/>
                    </a:lnTo>
                    <a:lnTo>
                      <a:pt x="5985" y="6173"/>
                    </a:lnTo>
                    <a:lnTo>
                      <a:pt x="5964" y="6069"/>
                    </a:lnTo>
                    <a:lnTo>
                      <a:pt x="5859" y="5964"/>
                    </a:lnTo>
                    <a:lnTo>
                      <a:pt x="5817" y="5964"/>
                    </a:lnTo>
                    <a:lnTo>
                      <a:pt x="5796" y="6027"/>
                    </a:lnTo>
                    <a:lnTo>
                      <a:pt x="5713" y="5922"/>
                    </a:lnTo>
                    <a:lnTo>
                      <a:pt x="5692" y="5734"/>
                    </a:lnTo>
                    <a:lnTo>
                      <a:pt x="5692" y="5525"/>
                    </a:lnTo>
                    <a:lnTo>
                      <a:pt x="5629" y="5232"/>
                    </a:lnTo>
                    <a:lnTo>
                      <a:pt x="5503" y="5085"/>
                    </a:lnTo>
                    <a:lnTo>
                      <a:pt x="5503" y="4981"/>
                    </a:lnTo>
                    <a:lnTo>
                      <a:pt x="5231" y="4792"/>
                    </a:lnTo>
                    <a:lnTo>
                      <a:pt x="5169" y="4792"/>
                    </a:lnTo>
                    <a:lnTo>
                      <a:pt x="5001" y="4688"/>
                    </a:lnTo>
                    <a:lnTo>
                      <a:pt x="4980" y="4583"/>
                    </a:lnTo>
                    <a:lnTo>
                      <a:pt x="4876" y="4541"/>
                    </a:lnTo>
                    <a:lnTo>
                      <a:pt x="4708" y="4583"/>
                    </a:lnTo>
                    <a:lnTo>
                      <a:pt x="4353" y="4981"/>
                    </a:lnTo>
                    <a:lnTo>
                      <a:pt x="4290" y="5106"/>
                    </a:lnTo>
                    <a:lnTo>
                      <a:pt x="4290" y="5211"/>
                    </a:lnTo>
                    <a:lnTo>
                      <a:pt x="4374" y="5274"/>
                    </a:lnTo>
                    <a:lnTo>
                      <a:pt x="4499" y="5315"/>
                    </a:lnTo>
                    <a:lnTo>
                      <a:pt x="4562" y="5441"/>
                    </a:lnTo>
                    <a:lnTo>
                      <a:pt x="4562" y="5525"/>
                    </a:lnTo>
                    <a:lnTo>
                      <a:pt x="4541" y="5546"/>
                    </a:lnTo>
                    <a:lnTo>
                      <a:pt x="4457" y="5420"/>
                    </a:lnTo>
                    <a:lnTo>
                      <a:pt x="4374" y="5399"/>
                    </a:lnTo>
                    <a:lnTo>
                      <a:pt x="4290" y="5336"/>
                    </a:lnTo>
                    <a:lnTo>
                      <a:pt x="4248" y="5378"/>
                    </a:lnTo>
                    <a:lnTo>
                      <a:pt x="4164" y="5399"/>
                    </a:lnTo>
                    <a:lnTo>
                      <a:pt x="4143" y="5483"/>
                    </a:lnTo>
                    <a:lnTo>
                      <a:pt x="4185" y="5608"/>
                    </a:lnTo>
                    <a:lnTo>
                      <a:pt x="4269" y="5650"/>
                    </a:lnTo>
                    <a:lnTo>
                      <a:pt x="4332" y="5818"/>
                    </a:lnTo>
                    <a:lnTo>
                      <a:pt x="4353" y="6131"/>
                    </a:lnTo>
                    <a:lnTo>
                      <a:pt x="4269" y="6278"/>
                    </a:lnTo>
                    <a:lnTo>
                      <a:pt x="4269" y="6445"/>
                    </a:lnTo>
                    <a:lnTo>
                      <a:pt x="4185" y="6634"/>
                    </a:lnTo>
                    <a:lnTo>
                      <a:pt x="4185" y="6759"/>
                    </a:lnTo>
                    <a:lnTo>
                      <a:pt x="4227" y="6780"/>
                    </a:lnTo>
                    <a:lnTo>
                      <a:pt x="4290" y="6759"/>
                    </a:lnTo>
                    <a:lnTo>
                      <a:pt x="4290" y="6759"/>
                    </a:lnTo>
                    <a:lnTo>
                      <a:pt x="4269" y="6906"/>
                    </a:lnTo>
                    <a:lnTo>
                      <a:pt x="4185" y="7052"/>
                    </a:lnTo>
                    <a:lnTo>
                      <a:pt x="4143" y="6968"/>
                    </a:lnTo>
                    <a:lnTo>
                      <a:pt x="4123" y="6864"/>
                    </a:lnTo>
                    <a:lnTo>
                      <a:pt x="4018" y="6780"/>
                    </a:lnTo>
                    <a:lnTo>
                      <a:pt x="3934" y="6864"/>
                    </a:lnTo>
                    <a:lnTo>
                      <a:pt x="3934" y="7052"/>
                    </a:lnTo>
                    <a:lnTo>
                      <a:pt x="4081" y="7303"/>
                    </a:lnTo>
                    <a:lnTo>
                      <a:pt x="4248" y="7282"/>
                    </a:lnTo>
                    <a:lnTo>
                      <a:pt x="4353" y="7324"/>
                    </a:lnTo>
                    <a:lnTo>
                      <a:pt x="4395" y="7408"/>
                    </a:lnTo>
                    <a:lnTo>
                      <a:pt x="4583" y="7408"/>
                    </a:lnTo>
                    <a:lnTo>
                      <a:pt x="4792" y="7491"/>
                    </a:lnTo>
                    <a:lnTo>
                      <a:pt x="4876" y="7408"/>
                    </a:lnTo>
                    <a:lnTo>
                      <a:pt x="5001" y="7324"/>
                    </a:lnTo>
                    <a:lnTo>
                      <a:pt x="5001" y="7261"/>
                    </a:lnTo>
                    <a:lnTo>
                      <a:pt x="5085" y="7219"/>
                    </a:lnTo>
                    <a:lnTo>
                      <a:pt x="5085" y="7303"/>
                    </a:lnTo>
                    <a:lnTo>
                      <a:pt x="5022" y="7408"/>
                    </a:lnTo>
                    <a:lnTo>
                      <a:pt x="5022" y="7533"/>
                    </a:lnTo>
                    <a:lnTo>
                      <a:pt x="4980" y="7596"/>
                    </a:lnTo>
                    <a:lnTo>
                      <a:pt x="4876" y="7533"/>
                    </a:lnTo>
                    <a:lnTo>
                      <a:pt x="4646" y="7533"/>
                    </a:lnTo>
                    <a:lnTo>
                      <a:pt x="4541" y="7575"/>
                    </a:lnTo>
                    <a:lnTo>
                      <a:pt x="4541" y="7680"/>
                    </a:lnTo>
                    <a:lnTo>
                      <a:pt x="4583" y="7701"/>
                    </a:lnTo>
                    <a:lnTo>
                      <a:pt x="4708" y="7701"/>
                    </a:lnTo>
                    <a:lnTo>
                      <a:pt x="4750" y="7784"/>
                    </a:lnTo>
                    <a:lnTo>
                      <a:pt x="4646" y="7784"/>
                    </a:lnTo>
                    <a:lnTo>
                      <a:pt x="4646" y="7952"/>
                    </a:lnTo>
                    <a:lnTo>
                      <a:pt x="4478" y="7722"/>
                    </a:lnTo>
                    <a:lnTo>
                      <a:pt x="4395" y="7722"/>
                    </a:lnTo>
                    <a:lnTo>
                      <a:pt x="4353" y="7617"/>
                    </a:lnTo>
                    <a:lnTo>
                      <a:pt x="4290" y="7533"/>
                    </a:lnTo>
                    <a:lnTo>
                      <a:pt x="4039" y="7366"/>
                    </a:lnTo>
                    <a:lnTo>
                      <a:pt x="3976" y="7366"/>
                    </a:lnTo>
                    <a:lnTo>
                      <a:pt x="3830" y="7199"/>
                    </a:lnTo>
                    <a:lnTo>
                      <a:pt x="3830" y="7178"/>
                    </a:lnTo>
                    <a:lnTo>
                      <a:pt x="3725" y="7178"/>
                    </a:lnTo>
                    <a:lnTo>
                      <a:pt x="3620" y="7261"/>
                    </a:lnTo>
                    <a:lnTo>
                      <a:pt x="3516" y="7261"/>
                    </a:lnTo>
                    <a:lnTo>
                      <a:pt x="3432" y="7303"/>
                    </a:lnTo>
                    <a:lnTo>
                      <a:pt x="3286" y="7261"/>
                    </a:lnTo>
                    <a:lnTo>
                      <a:pt x="3034" y="7303"/>
                    </a:lnTo>
                    <a:lnTo>
                      <a:pt x="2972" y="7282"/>
                    </a:lnTo>
                    <a:lnTo>
                      <a:pt x="2783" y="7471"/>
                    </a:lnTo>
                    <a:lnTo>
                      <a:pt x="2700" y="7617"/>
                    </a:lnTo>
                    <a:lnTo>
                      <a:pt x="2700" y="7743"/>
                    </a:lnTo>
                    <a:lnTo>
                      <a:pt x="2595" y="7784"/>
                    </a:lnTo>
                    <a:lnTo>
                      <a:pt x="2490" y="7847"/>
                    </a:lnTo>
                    <a:lnTo>
                      <a:pt x="2365" y="7910"/>
                    </a:lnTo>
                    <a:lnTo>
                      <a:pt x="2344" y="7994"/>
                    </a:lnTo>
                    <a:lnTo>
                      <a:pt x="2198" y="8098"/>
                    </a:lnTo>
                    <a:lnTo>
                      <a:pt x="2177" y="8224"/>
                    </a:lnTo>
                    <a:lnTo>
                      <a:pt x="2260" y="8224"/>
                    </a:lnTo>
                    <a:lnTo>
                      <a:pt x="2281" y="8307"/>
                    </a:lnTo>
                    <a:lnTo>
                      <a:pt x="2177" y="8307"/>
                    </a:lnTo>
                    <a:lnTo>
                      <a:pt x="2093" y="8349"/>
                    </a:lnTo>
                    <a:lnTo>
                      <a:pt x="2260" y="8475"/>
                    </a:lnTo>
                    <a:lnTo>
                      <a:pt x="2407" y="8517"/>
                    </a:lnTo>
                    <a:lnTo>
                      <a:pt x="2511" y="8433"/>
                    </a:lnTo>
                    <a:lnTo>
                      <a:pt x="2490" y="8349"/>
                    </a:lnTo>
                    <a:lnTo>
                      <a:pt x="2658" y="8370"/>
                    </a:lnTo>
                    <a:lnTo>
                      <a:pt x="2825" y="8245"/>
                    </a:lnTo>
                    <a:lnTo>
                      <a:pt x="2825" y="8349"/>
                    </a:lnTo>
                    <a:lnTo>
                      <a:pt x="2700" y="8412"/>
                    </a:lnTo>
                    <a:lnTo>
                      <a:pt x="2616" y="8538"/>
                    </a:lnTo>
                    <a:lnTo>
                      <a:pt x="2616" y="8621"/>
                    </a:lnTo>
                    <a:lnTo>
                      <a:pt x="2783" y="8621"/>
                    </a:lnTo>
                    <a:lnTo>
                      <a:pt x="2888" y="8642"/>
                    </a:lnTo>
                    <a:lnTo>
                      <a:pt x="3014" y="8475"/>
                    </a:lnTo>
                    <a:lnTo>
                      <a:pt x="3202" y="8349"/>
                    </a:lnTo>
                    <a:lnTo>
                      <a:pt x="3307" y="8119"/>
                    </a:lnTo>
                    <a:lnTo>
                      <a:pt x="3453" y="7931"/>
                    </a:lnTo>
                    <a:lnTo>
                      <a:pt x="3558" y="7910"/>
                    </a:lnTo>
                    <a:lnTo>
                      <a:pt x="3558" y="7910"/>
                    </a:lnTo>
                    <a:lnTo>
                      <a:pt x="3537" y="7994"/>
                    </a:lnTo>
                    <a:lnTo>
                      <a:pt x="3453" y="8035"/>
                    </a:lnTo>
                    <a:lnTo>
                      <a:pt x="3307" y="8245"/>
                    </a:lnTo>
                    <a:lnTo>
                      <a:pt x="3348" y="8349"/>
                    </a:lnTo>
                    <a:lnTo>
                      <a:pt x="3244" y="8349"/>
                    </a:lnTo>
                    <a:lnTo>
                      <a:pt x="3181" y="8454"/>
                    </a:lnTo>
                    <a:lnTo>
                      <a:pt x="3202" y="8538"/>
                    </a:lnTo>
                    <a:lnTo>
                      <a:pt x="3286" y="8538"/>
                    </a:lnTo>
                    <a:lnTo>
                      <a:pt x="3223" y="8580"/>
                    </a:lnTo>
                    <a:lnTo>
                      <a:pt x="3139" y="8580"/>
                    </a:lnTo>
                    <a:lnTo>
                      <a:pt x="3034" y="8684"/>
                    </a:lnTo>
                    <a:lnTo>
                      <a:pt x="3076" y="8747"/>
                    </a:lnTo>
                    <a:lnTo>
                      <a:pt x="3202" y="8747"/>
                    </a:lnTo>
                    <a:lnTo>
                      <a:pt x="3118" y="8789"/>
                    </a:lnTo>
                    <a:lnTo>
                      <a:pt x="2993" y="8747"/>
                    </a:lnTo>
                    <a:lnTo>
                      <a:pt x="2888" y="8747"/>
                    </a:lnTo>
                    <a:lnTo>
                      <a:pt x="2804" y="8789"/>
                    </a:lnTo>
                    <a:lnTo>
                      <a:pt x="2721" y="8831"/>
                    </a:lnTo>
                    <a:lnTo>
                      <a:pt x="2679" y="8872"/>
                    </a:lnTo>
                    <a:lnTo>
                      <a:pt x="2721" y="8977"/>
                    </a:lnTo>
                    <a:lnTo>
                      <a:pt x="2804" y="8977"/>
                    </a:lnTo>
                    <a:lnTo>
                      <a:pt x="2867" y="8935"/>
                    </a:lnTo>
                    <a:lnTo>
                      <a:pt x="2909" y="8956"/>
                    </a:lnTo>
                    <a:lnTo>
                      <a:pt x="3014" y="8956"/>
                    </a:lnTo>
                    <a:lnTo>
                      <a:pt x="3014" y="9040"/>
                    </a:lnTo>
                    <a:lnTo>
                      <a:pt x="2930" y="9040"/>
                    </a:lnTo>
                    <a:lnTo>
                      <a:pt x="2825" y="8998"/>
                    </a:lnTo>
                    <a:lnTo>
                      <a:pt x="2783" y="9040"/>
                    </a:lnTo>
                    <a:lnTo>
                      <a:pt x="2783" y="9082"/>
                    </a:lnTo>
                    <a:lnTo>
                      <a:pt x="2888" y="9103"/>
                    </a:lnTo>
                    <a:lnTo>
                      <a:pt x="2867" y="9144"/>
                    </a:lnTo>
                    <a:lnTo>
                      <a:pt x="2783" y="9186"/>
                    </a:lnTo>
                    <a:lnTo>
                      <a:pt x="2700" y="9186"/>
                    </a:lnTo>
                    <a:lnTo>
                      <a:pt x="2700" y="9249"/>
                    </a:lnTo>
                    <a:lnTo>
                      <a:pt x="2783" y="9396"/>
                    </a:lnTo>
                    <a:lnTo>
                      <a:pt x="2867" y="9396"/>
                    </a:lnTo>
                    <a:lnTo>
                      <a:pt x="2909" y="9312"/>
                    </a:lnTo>
                    <a:lnTo>
                      <a:pt x="3034" y="9207"/>
                    </a:lnTo>
                    <a:lnTo>
                      <a:pt x="3014" y="9312"/>
                    </a:lnTo>
                    <a:lnTo>
                      <a:pt x="2909" y="9396"/>
                    </a:lnTo>
                    <a:lnTo>
                      <a:pt x="2825" y="9479"/>
                    </a:lnTo>
                    <a:lnTo>
                      <a:pt x="2804" y="9563"/>
                    </a:lnTo>
                    <a:lnTo>
                      <a:pt x="2972" y="9626"/>
                    </a:lnTo>
                    <a:lnTo>
                      <a:pt x="3097" y="9626"/>
                    </a:lnTo>
                    <a:lnTo>
                      <a:pt x="3118" y="9605"/>
                    </a:lnTo>
                    <a:lnTo>
                      <a:pt x="3181" y="9605"/>
                    </a:lnTo>
                    <a:lnTo>
                      <a:pt x="3244" y="9668"/>
                    </a:lnTo>
                    <a:lnTo>
                      <a:pt x="3432" y="9584"/>
                    </a:lnTo>
                    <a:lnTo>
                      <a:pt x="3620" y="9416"/>
                    </a:lnTo>
                    <a:lnTo>
                      <a:pt x="3620" y="9396"/>
                    </a:lnTo>
                    <a:lnTo>
                      <a:pt x="3725" y="9312"/>
                    </a:lnTo>
                    <a:lnTo>
                      <a:pt x="3934" y="9103"/>
                    </a:lnTo>
                    <a:lnTo>
                      <a:pt x="3934" y="9040"/>
                    </a:lnTo>
                    <a:lnTo>
                      <a:pt x="4018" y="8956"/>
                    </a:lnTo>
                    <a:lnTo>
                      <a:pt x="4081" y="8956"/>
                    </a:lnTo>
                    <a:lnTo>
                      <a:pt x="4018" y="9040"/>
                    </a:lnTo>
                    <a:lnTo>
                      <a:pt x="3976" y="9144"/>
                    </a:lnTo>
                    <a:lnTo>
                      <a:pt x="3809" y="9354"/>
                    </a:lnTo>
                    <a:lnTo>
                      <a:pt x="3599" y="9479"/>
                    </a:lnTo>
                    <a:lnTo>
                      <a:pt x="3453" y="9626"/>
                    </a:lnTo>
                    <a:lnTo>
                      <a:pt x="3307" y="9709"/>
                    </a:lnTo>
                    <a:lnTo>
                      <a:pt x="3223" y="9793"/>
                    </a:lnTo>
                    <a:lnTo>
                      <a:pt x="3286" y="9877"/>
                    </a:lnTo>
                    <a:lnTo>
                      <a:pt x="3223" y="9898"/>
                    </a:lnTo>
                    <a:lnTo>
                      <a:pt x="3076" y="9772"/>
                    </a:lnTo>
                    <a:lnTo>
                      <a:pt x="2825" y="9772"/>
                    </a:lnTo>
                    <a:lnTo>
                      <a:pt x="2825" y="9835"/>
                    </a:lnTo>
                    <a:lnTo>
                      <a:pt x="2783" y="9814"/>
                    </a:lnTo>
                    <a:lnTo>
                      <a:pt x="2700" y="9688"/>
                    </a:lnTo>
                    <a:lnTo>
                      <a:pt x="2490" y="9584"/>
                    </a:lnTo>
                    <a:lnTo>
                      <a:pt x="2407" y="9605"/>
                    </a:lnTo>
                    <a:lnTo>
                      <a:pt x="2365" y="9563"/>
                    </a:lnTo>
                    <a:lnTo>
                      <a:pt x="2407" y="9416"/>
                    </a:lnTo>
                    <a:lnTo>
                      <a:pt x="2407" y="9082"/>
                    </a:lnTo>
                    <a:lnTo>
                      <a:pt x="2365" y="8872"/>
                    </a:lnTo>
                    <a:lnTo>
                      <a:pt x="2239" y="8726"/>
                    </a:lnTo>
                    <a:lnTo>
                      <a:pt x="2156" y="8726"/>
                    </a:lnTo>
                    <a:lnTo>
                      <a:pt x="2030" y="8663"/>
                    </a:lnTo>
                    <a:lnTo>
                      <a:pt x="1946" y="8684"/>
                    </a:lnTo>
                    <a:lnTo>
                      <a:pt x="1821" y="8684"/>
                    </a:lnTo>
                    <a:lnTo>
                      <a:pt x="1737" y="8726"/>
                    </a:lnTo>
                    <a:lnTo>
                      <a:pt x="1633" y="8747"/>
                    </a:lnTo>
                    <a:lnTo>
                      <a:pt x="1633" y="8831"/>
                    </a:lnTo>
                    <a:lnTo>
                      <a:pt x="1654" y="8935"/>
                    </a:lnTo>
                    <a:lnTo>
                      <a:pt x="1633" y="8977"/>
                    </a:lnTo>
                    <a:lnTo>
                      <a:pt x="1612" y="9165"/>
                    </a:lnTo>
                    <a:lnTo>
                      <a:pt x="1654" y="9249"/>
                    </a:lnTo>
                    <a:lnTo>
                      <a:pt x="1716" y="9249"/>
                    </a:lnTo>
                    <a:lnTo>
                      <a:pt x="1716" y="9312"/>
                    </a:lnTo>
                    <a:lnTo>
                      <a:pt x="1612" y="9396"/>
                    </a:lnTo>
                    <a:lnTo>
                      <a:pt x="1570" y="9458"/>
                    </a:lnTo>
                    <a:lnTo>
                      <a:pt x="1654" y="9563"/>
                    </a:lnTo>
                    <a:lnTo>
                      <a:pt x="1737" y="9563"/>
                    </a:lnTo>
                    <a:lnTo>
                      <a:pt x="1758" y="9500"/>
                    </a:lnTo>
                    <a:lnTo>
                      <a:pt x="1884" y="9563"/>
                    </a:lnTo>
                    <a:lnTo>
                      <a:pt x="1863" y="9584"/>
                    </a:lnTo>
                    <a:lnTo>
                      <a:pt x="1737" y="9584"/>
                    </a:lnTo>
                    <a:lnTo>
                      <a:pt x="1737" y="9605"/>
                    </a:lnTo>
                    <a:lnTo>
                      <a:pt x="1821" y="9668"/>
                    </a:lnTo>
                    <a:lnTo>
                      <a:pt x="1821" y="9709"/>
                    </a:lnTo>
                    <a:lnTo>
                      <a:pt x="1737" y="9772"/>
                    </a:lnTo>
                    <a:lnTo>
                      <a:pt x="1716" y="9793"/>
                    </a:lnTo>
                    <a:lnTo>
                      <a:pt x="1779" y="9814"/>
                    </a:lnTo>
                    <a:lnTo>
                      <a:pt x="1842" y="9877"/>
                    </a:lnTo>
                    <a:lnTo>
                      <a:pt x="1946" y="9877"/>
                    </a:lnTo>
                    <a:lnTo>
                      <a:pt x="1967" y="9898"/>
                    </a:lnTo>
                    <a:lnTo>
                      <a:pt x="1926" y="9940"/>
                    </a:lnTo>
                    <a:lnTo>
                      <a:pt x="1821" y="9940"/>
                    </a:lnTo>
                    <a:lnTo>
                      <a:pt x="1779" y="9981"/>
                    </a:lnTo>
                    <a:lnTo>
                      <a:pt x="1654" y="9877"/>
                    </a:lnTo>
                    <a:lnTo>
                      <a:pt x="1612" y="9898"/>
                    </a:lnTo>
                    <a:lnTo>
                      <a:pt x="1570" y="9940"/>
                    </a:lnTo>
                    <a:lnTo>
                      <a:pt x="1507" y="9940"/>
                    </a:lnTo>
                    <a:lnTo>
                      <a:pt x="1444" y="9835"/>
                    </a:lnTo>
                    <a:lnTo>
                      <a:pt x="1361" y="9814"/>
                    </a:lnTo>
                    <a:lnTo>
                      <a:pt x="1298" y="9877"/>
                    </a:lnTo>
                    <a:lnTo>
                      <a:pt x="1110" y="9877"/>
                    </a:lnTo>
                    <a:lnTo>
                      <a:pt x="984" y="9793"/>
                    </a:lnTo>
                    <a:lnTo>
                      <a:pt x="879" y="9793"/>
                    </a:lnTo>
                    <a:lnTo>
                      <a:pt x="817" y="9835"/>
                    </a:lnTo>
                    <a:lnTo>
                      <a:pt x="817" y="9919"/>
                    </a:lnTo>
                    <a:lnTo>
                      <a:pt x="733" y="9940"/>
                    </a:lnTo>
                    <a:lnTo>
                      <a:pt x="628" y="9981"/>
                    </a:lnTo>
                    <a:lnTo>
                      <a:pt x="586" y="10044"/>
                    </a:lnTo>
                    <a:lnTo>
                      <a:pt x="419" y="10086"/>
                    </a:lnTo>
                    <a:lnTo>
                      <a:pt x="377" y="10107"/>
                    </a:lnTo>
                    <a:lnTo>
                      <a:pt x="273" y="10128"/>
                    </a:lnTo>
                    <a:lnTo>
                      <a:pt x="189" y="10212"/>
                    </a:lnTo>
                    <a:lnTo>
                      <a:pt x="168" y="10316"/>
                    </a:lnTo>
                    <a:lnTo>
                      <a:pt x="168" y="10358"/>
                    </a:lnTo>
                    <a:lnTo>
                      <a:pt x="147" y="10442"/>
                    </a:lnTo>
                    <a:lnTo>
                      <a:pt x="1" y="10525"/>
                    </a:lnTo>
                    <a:lnTo>
                      <a:pt x="1" y="10609"/>
                    </a:lnTo>
                    <a:lnTo>
                      <a:pt x="42" y="10651"/>
                    </a:lnTo>
                    <a:lnTo>
                      <a:pt x="42" y="10818"/>
                    </a:lnTo>
                    <a:lnTo>
                      <a:pt x="63" y="10860"/>
                    </a:lnTo>
                    <a:lnTo>
                      <a:pt x="189" y="10860"/>
                    </a:lnTo>
                    <a:lnTo>
                      <a:pt x="252" y="10735"/>
                    </a:lnTo>
                    <a:lnTo>
                      <a:pt x="294" y="10735"/>
                    </a:lnTo>
                    <a:lnTo>
                      <a:pt x="273" y="10756"/>
                    </a:lnTo>
                    <a:lnTo>
                      <a:pt x="210" y="10860"/>
                    </a:lnTo>
                    <a:lnTo>
                      <a:pt x="273" y="10881"/>
                    </a:lnTo>
                    <a:lnTo>
                      <a:pt x="356" y="10818"/>
                    </a:lnTo>
                    <a:lnTo>
                      <a:pt x="356" y="10651"/>
                    </a:lnTo>
                    <a:lnTo>
                      <a:pt x="398" y="10421"/>
                    </a:lnTo>
                    <a:lnTo>
                      <a:pt x="482" y="10400"/>
                    </a:lnTo>
                    <a:lnTo>
                      <a:pt x="566" y="10337"/>
                    </a:lnTo>
                    <a:lnTo>
                      <a:pt x="419" y="10567"/>
                    </a:lnTo>
                    <a:lnTo>
                      <a:pt x="419" y="10672"/>
                    </a:lnTo>
                    <a:lnTo>
                      <a:pt x="398" y="10714"/>
                    </a:lnTo>
                    <a:lnTo>
                      <a:pt x="377" y="10839"/>
                    </a:lnTo>
                    <a:lnTo>
                      <a:pt x="314" y="10944"/>
                    </a:lnTo>
                    <a:lnTo>
                      <a:pt x="377" y="10986"/>
                    </a:lnTo>
                    <a:lnTo>
                      <a:pt x="419" y="10986"/>
                    </a:lnTo>
                    <a:lnTo>
                      <a:pt x="503" y="11069"/>
                    </a:lnTo>
                    <a:lnTo>
                      <a:pt x="607" y="11069"/>
                    </a:lnTo>
                    <a:lnTo>
                      <a:pt x="628" y="10965"/>
                    </a:lnTo>
                    <a:lnTo>
                      <a:pt x="607" y="10944"/>
                    </a:lnTo>
                    <a:lnTo>
                      <a:pt x="670" y="10839"/>
                    </a:lnTo>
                    <a:lnTo>
                      <a:pt x="691" y="10735"/>
                    </a:lnTo>
                    <a:lnTo>
                      <a:pt x="733" y="10672"/>
                    </a:lnTo>
                    <a:lnTo>
                      <a:pt x="733" y="10756"/>
                    </a:lnTo>
                    <a:lnTo>
                      <a:pt x="775" y="10818"/>
                    </a:lnTo>
                    <a:lnTo>
                      <a:pt x="712" y="10944"/>
                    </a:lnTo>
                    <a:lnTo>
                      <a:pt x="712" y="11028"/>
                    </a:lnTo>
                    <a:lnTo>
                      <a:pt x="712" y="11090"/>
                    </a:lnTo>
                    <a:lnTo>
                      <a:pt x="796" y="11195"/>
                    </a:lnTo>
                    <a:lnTo>
                      <a:pt x="838" y="11237"/>
                    </a:lnTo>
                    <a:lnTo>
                      <a:pt x="921" y="11153"/>
                    </a:lnTo>
                    <a:lnTo>
                      <a:pt x="900" y="11069"/>
                    </a:lnTo>
                    <a:lnTo>
                      <a:pt x="900" y="11048"/>
                    </a:lnTo>
                    <a:lnTo>
                      <a:pt x="921" y="11028"/>
                    </a:lnTo>
                    <a:lnTo>
                      <a:pt x="1005" y="11028"/>
                    </a:lnTo>
                    <a:lnTo>
                      <a:pt x="1047" y="10965"/>
                    </a:lnTo>
                    <a:lnTo>
                      <a:pt x="1026" y="10860"/>
                    </a:lnTo>
                    <a:lnTo>
                      <a:pt x="984" y="10818"/>
                    </a:lnTo>
                    <a:lnTo>
                      <a:pt x="984" y="10735"/>
                    </a:lnTo>
                    <a:lnTo>
                      <a:pt x="1026" y="10756"/>
                    </a:lnTo>
                    <a:lnTo>
                      <a:pt x="1110" y="10923"/>
                    </a:lnTo>
                    <a:lnTo>
                      <a:pt x="1110" y="10986"/>
                    </a:lnTo>
                    <a:lnTo>
                      <a:pt x="1047" y="11090"/>
                    </a:lnTo>
                    <a:lnTo>
                      <a:pt x="1005" y="11090"/>
                    </a:lnTo>
                    <a:lnTo>
                      <a:pt x="942" y="11195"/>
                    </a:lnTo>
                    <a:lnTo>
                      <a:pt x="984" y="11258"/>
                    </a:lnTo>
                    <a:lnTo>
                      <a:pt x="1026" y="11258"/>
                    </a:lnTo>
                    <a:lnTo>
                      <a:pt x="1089" y="11279"/>
                    </a:lnTo>
                    <a:lnTo>
                      <a:pt x="1110" y="11341"/>
                    </a:lnTo>
                    <a:lnTo>
                      <a:pt x="1151" y="11341"/>
                    </a:lnTo>
                    <a:lnTo>
                      <a:pt x="1340" y="11446"/>
                    </a:lnTo>
                    <a:lnTo>
                      <a:pt x="1402" y="11446"/>
                    </a:lnTo>
                    <a:lnTo>
                      <a:pt x="1402" y="11551"/>
                    </a:lnTo>
                    <a:lnTo>
                      <a:pt x="1612" y="11551"/>
                    </a:lnTo>
                    <a:lnTo>
                      <a:pt x="1674" y="11593"/>
                    </a:lnTo>
                    <a:lnTo>
                      <a:pt x="1737" y="11572"/>
                    </a:lnTo>
                    <a:lnTo>
                      <a:pt x="1779" y="11488"/>
                    </a:lnTo>
                    <a:lnTo>
                      <a:pt x="1716" y="11362"/>
                    </a:lnTo>
                    <a:lnTo>
                      <a:pt x="1654" y="11174"/>
                    </a:lnTo>
                    <a:lnTo>
                      <a:pt x="1716" y="11048"/>
                    </a:lnTo>
                    <a:lnTo>
                      <a:pt x="1758" y="10986"/>
                    </a:lnTo>
                    <a:lnTo>
                      <a:pt x="1779" y="11048"/>
                    </a:lnTo>
                    <a:lnTo>
                      <a:pt x="1821" y="11174"/>
                    </a:lnTo>
                    <a:lnTo>
                      <a:pt x="1821" y="11279"/>
                    </a:lnTo>
                    <a:lnTo>
                      <a:pt x="1842" y="11341"/>
                    </a:lnTo>
                    <a:lnTo>
                      <a:pt x="1926" y="11341"/>
                    </a:lnTo>
                    <a:lnTo>
                      <a:pt x="1946" y="11279"/>
                    </a:lnTo>
                    <a:lnTo>
                      <a:pt x="2030" y="11279"/>
                    </a:lnTo>
                    <a:lnTo>
                      <a:pt x="2051" y="11237"/>
                    </a:lnTo>
                    <a:lnTo>
                      <a:pt x="2072" y="11153"/>
                    </a:lnTo>
                    <a:lnTo>
                      <a:pt x="2135" y="11090"/>
                    </a:lnTo>
                    <a:lnTo>
                      <a:pt x="2156" y="10965"/>
                    </a:lnTo>
                    <a:lnTo>
                      <a:pt x="2177" y="10923"/>
                    </a:lnTo>
                    <a:lnTo>
                      <a:pt x="2198" y="10923"/>
                    </a:lnTo>
                    <a:lnTo>
                      <a:pt x="2260" y="11048"/>
                    </a:lnTo>
                    <a:lnTo>
                      <a:pt x="2239" y="11090"/>
                    </a:lnTo>
                    <a:lnTo>
                      <a:pt x="2177" y="11195"/>
                    </a:lnTo>
                    <a:lnTo>
                      <a:pt x="2156" y="11279"/>
                    </a:lnTo>
                    <a:lnTo>
                      <a:pt x="2198" y="11341"/>
                    </a:lnTo>
                    <a:lnTo>
                      <a:pt x="2198" y="11404"/>
                    </a:lnTo>
                    <a:lnTo>
                      <a:pt x="2302" y="11488"/>
                    </a:lnTo>
                    <a:lnTo>
                      <a:pt x="2386" y="11446"/>
                    </a:lnTo>
                    <a:lnTo>
                      <a:pt x="2490" y="11279"/>
                    </a:lnTo>
                    <a:lnTo>
                      <a:pt x="2449" y="11174"/>
                    </a:lnTo>
                    <a:lnTo>
                      <a:pt x="2470" y="11028"/>
                    </a:lnTo>
                    <a:lnTo>
                      <a:pt x="2574" y="10944"/>
                    </a:lnTo>
                    <a:lnTo>
                      <a:pt x="2679" y="10923"/>
                    </a:lnTo>
                    <a:lnTo>
                      <a:pt x="2574" y="11028"/>
                    </a:lnTo>
                    <a:lnTo>
                      <a:pt x="2553" y="11132"/>
                    </a:lnTo>
                    <a:lnTo>
                      <a:pt x="2595" y="11237"/>
                    </a:lnTo>
                    <a:lnTo>
                      <a:pt x="2511" y="11446"/>
                    </a:lnTo>
                    <a:lnTo>
                      <a:pt x="2511" y="11509"/>
                    </a:lnTo>
                    <a:lnTo>
                      <a:pt x="2595" y="11593"/>
                    </a:lnTo>
                    <a:lnTo>
                      <a:pt x="2700" y="11572"/>
                    </a:lnTo>
                    <a:lnTo>
                      <a:pt x="2783" y="11593"/>
                    </a:lnTo>
                    <a:lnTo>
                      <a:pt x="2867" y="11572"/>
                    </a:lnTo>
                    <a:lnTo>
                      <a:pt x="2867" y="11446"/>
                    </a:lnTo>
                    <a:lnTo>
                      <a:pt x="2930" y="11362"/>
                    </a:lnTo>
                    <a:lnTo>
                      <a:pt x="2909" y="11279"/>
                    </a:lnTo>
                    <a:lnTo>
                      <a:pt x="2825" y="11132"/>
                    </a:lnTo>
                    <a:lnTo>
                      <a:pt x="2909" y="10944"/>
                    </a:lnTo>
                    <a:lnTo>
                      <a:pt x="2909" y="10818"/>
                    </a:lnTo>
                    <a:lnTo>
                      <a:pt x="2972" y="10923"/>
                    </a:lnTo>
                    <a:lnTo>
                      <a:pt x="2930" y="11028"/>
                    </a:lnTo>
                    <a:lnTo>
                      <a:pt x="2909" y="11090"/>
                    </a:lnTo>
                    <a:lnTo>
                      <a:pt x="2993" y="11258"/>
                    </a:lnTo>
                    <a:lnTo>
                      <a:pt x="3076" y="11279"/>
                    </a:lnTo>
                    <a:lnTo>
                      <a:pt x="3118" y="11300"/>
                    </a:lnTo>
                    <a:lnTo>
                      <a:pt x="3034" y="11341"/>
                    </a:lnTo>
                    <a:lnTo>
                      <a:pt x="2993" y="11488"/>
                    </a:lnTo>
                    <a:lnTo>
                      <a:pt x="3014" y="11551"/>
                    </a:lnTo>
                    <a:lnTo>
                      <a:pt x="3181" y="11593"/>
                    </a:lnTo>
                    <a:lnTo>
                      <a:pt x="3244" y="11551"/>
                    </a:lnTo>
                    <a:lnTo>
                      <a:pt x="3348" y="11697"/>
                    </a:lnTo>
                    <a:lnTo>
                      <a:pt x="3348" y="11802"/>
                    </a:lnTo>
                    <a:lnTo>
                      <a:pt x="3286" y="11906"/>
                    </a:lnTo>
                    <a:lnTo>
                      <a:pt x="3181" y="11990"/>
                    </a:lnTo>
                    <a:lnTo>
                      <a:pt x="3223" y="12011"/>
                    </a:lnTo>
                    <a:lnTo>
                      <a:pt x="3286" y="12095"/>
                    </a:lnTo>
                    <a:lnTo>
                      <a:pt x="3369" y="12095"/>
                    </a:lnTo>
                    <a:lnTo>
                      <a:pt x="3495" y="12074"/>
                    </a:lnTo>
                    <a:lnTo>
                      <a:pt x="3537" y="12095"/>
                    </a:lnTo>
                    <a:lnTo>
                      <a:pt x="3725" y="11927"/>
                    </a:lnTo>
                    <a:lnTo>
                      <a:pt x="3830" y="11969"/>
                    </a:lnTo>
                    <a:lnTo>
                      <a:pt x="3871" y="11990"/>
                    </a:lnTo>
                    <a:lnTo>
                      <a:pt x="4039" y="11823"/>
                    </a:lnTo>
                    <a:lnTo>
                      <a:pt x="4123" y="11802"/>
                    </a:lnTo>
                    <a:lnTo>
                      <a:pt x="4227" y="11655"/>
                    </a:lnTo>
                    <a:lnTo>
                      <a:pt x="4290" y="11593"/>
                    </a:lnTo>
                    <a:lnTo>
                      <a:pt x="4332" y="11613"/>
                    </a:lnTo>
                    <a:lnTo>
                      <a:pt x="4290" y="11781"/>
                    </a:lnTo>
                    <a:lnTo>
                      <a:pt x="4269" y="11906"/>
                    </a:lnTo>
                    <a:lnTo>
                      <a:pt x="4290" y="11927"/>
                    </a:lnTo>
                    <a:lnTo>
                      <a:pt x="4395" y="11865"/>
                    </a:lnTo>
                    <a:lnTo>
                      <a:pt x="4478" y="11718"/>
                    </a:lnTo>
                    <a:lnTo>
                      <a:pt x="4583" y="11655"/>
                    </a:lnTo>
                    <a:lnTo>
                      <a:pt x="4687" y="11655"/>
                    </a:lnTo>
                    <a:lnTo>
                      <a:pt x="4813" y="11446"/>
                    </a:lnTo>
                    <a:lnTo>
                      <a:pt x="4876" y="11237"/>
                    </a:lnTo>
                    <a:lnTo>
                      <a:pt x="4855" y="11153"/>
                    </a:lnTo>
                    <a:lnTo>
                      <a:pt x="4876" y="11048"/>
                    </a:lnTo>
                    <a:lnTo>
                      <a:pt x="4792" y="11028"/>
                    </a:lnTo>
                    <a:lnTo>
                      <a:pt x="4750" y="11048"/>
                    </a:lnTo>
                    <a:lnTo>
                      <a:pt x="4667" y="11048"/>
                    </a:lnTo>
                    <a:lnTo>
                      <a:pt x="4541" y="11132"/>
                    </a:lnTo>
                    <a:lnTo>
                      <a:pt x="4478" y="11195"/>
                    </a:lnTo>
                    <a:lnTo>
                      <a:pt x="4374" y="11195"/>
                    </a:lnTo>
                    <a:lnTo>
                      <a:pt x="4457" y="11090"/>
                    </a:lnTo>
                    <a:lnTo>
                      <a:pt x="4478" y="11028"/>
                    </a:lnTo>
                    <a:lnTo>
                      <a:pt x="4374" y="11048"/>
                    </a:lnTo>
                    <a:lnTo>
                      <a:pt x="4353" y="10986"/>
                    </a:lnTo>
                    <a:lnTo>
                      <a:pt x="4374" y="10923"/>
                    </a:lnTo>
                    <a:lnTo>
                      <a:pt x="4457" y="10923"/>
                    </a:lnTo>
                    <a:lnTo>
                      <a:pt x="4499" y="10735"/>
                    </a:lnTo>
                    <a:lnTo>
                      <a:pt x="4562" y="10651"/>
                    </a:lnTo>
                    <a:lnTo>
                      <a:pt x="4541" y="10546"/>
                    </a:lnTo>
                    <a:lnTo>
                      <a:pt x="4395" y="10463"/>
                    </a:lnTo>
                    <a:lnTo>
                      <a:pt x="4185" y="10525"/>
                    </a:lnTo>
                    <a:lnTo>
                      <a:pt x="4060" y="10630"/>
                    </a:lnTo>
                    <a:lnTo>
                      <a:pt x="4123" y="10504"/>
                    </a:lnTo>
                    <a:lnTo>
                      <a:pt x="4039" y="10358"/>
                    </a:lnTo>
                    <a:lnTo>
                      <a:pt x="3892" y="10295"/>
                    </a:lnTo>
                    <a:lnTo>
                      <a:pt x="3830" y="10316"/>
                    </a:lnTo>
                    <a:lnTo>
                      <a:pt x="3767" y="10358"/>
                    </a:lnTo>
                    <a:lnTo>
                      <a:pt x="3725" y="10358"/>
                    </a:lnTo>
                    <a:lnTo>
                      <a:pt x="3599" y="10525"/>
                    </a:lnTo>
                    <a:lnTo>
                      <a:pt x="3495" y="10525"/>
                    </a:lnTo>
                    <a:lnTo>
                      <a:pt x="3558" y="10337"/>
                    </a:lnTo>
                    <a:lnTo>
                      <a:pt x="3453" y="10232"/>
                    </a:lnTo>
                    <a:lnTo>
                      <a:pt x="3809" y="10232"/>
                    </a:lnTo>
                    <a:lnTo>
                      <a:pt x="3830" y="10191"/>
                    </a:lnTo>
                    <a:lnTo>
                      <a:pt x="3725" y="10044"/>
                    </a:lnTo>
                    <a:lnTo>
                      <a:pt x="3767" y="9981"/>
                    </a:lnTo>
                    <a:lnTo>
                      <a:pt x="3830" y="9793"/>
                    </a:lnTo>
                    <a:lnTo>
                      <a:pt x="3830" y="9709"/>
                    </a:lnTo>
                    <a:lnTo>
                      <a:pt x="3934" y="9605"/>
                    </a:lnTo>
                    <a:lnTo>
                      <a:pt x="3934" y="9668"/>
                    </a:lnTo>
                    <a:lnTo>
                      <a:pt x="3955" y="9730"/>
                    </a:lnTo>
                    <a:lnTo>
                      <a:pt x="3934" y="9835"/>
                    </a:lnTo>
                    <a:lnTo>
                      <a:pt x="3871" y="9898"/>
                    </a:lnTo>
                    <a:lnTo>
                      <a:pt x="3934" y="10128"/>
                    </a:lnTo>
                    <a:lnTo>
                      <a:pt x="4164" y="10421"/>
                    </a:lnTo>
                    <a:lnTo>
                      <a:pt x="4332" y="10442"/>
                    </a:lnTo>
                    <a:lnTo>
                      <a:pt x="4353" y="10421"/>
                    </a:lnTo>
                    <a:lnTo>
                      <a:pt x="4478" y="10421"/>
                    </a:lnTo>
                    <a:lnTo>
                      <a:pt x="4771" y="10546"/>
                    </a:lnTo>
                    <a:lnTo>
                      <a:pt x="4813" y="10525"/>
                    </a:lnTo>
                    <a:lnTo>
                      <a:pt x="4897" y="10358"/>
                    </a:lnTo>
                    <a:lnTo>
                      <a:pt x="4980" y="10295"/>
                    </a:lnTo>
                    <a:lnTo>
                      <a:pt x="5022" y="10295"/>
                    </a:lnTo>
                    <a:lnTo>
                      <a:pt x="4980" y="10358"/>
                    </a:lnTo>
                    <a:lnTo>
                      <a:pt x="5064" y="10400"/>
                    </a:lnTo>
                    <a:lnTo>
                      <a:pt x="5169" y="10337"/>
                    </a:lnTo>
                    <a:lnTo>
                      <a:pt x="5190" y="10253"/>
                    </a:lnTo>
                    <a:lnTo>
                      <a:pt x="5211" y="10212"/>
                    </a:lnTo>
                    <a:lnTo>
                      <a:pt x="5273" y="10253"/>
                    </a:lnTo>
                    <a:lnTo>
                      <a:pt x="5399" y="10212"/>
                    </a:lnTo>
                    <a:lnTo>
                      <a:pt x="5399" y="10086"/>
                    </a:lnTo>
                    <a:lnTo>
                      <a:pt x="5545" y="9981"/>
                    </a:lnTo>
                    <a:lnTo>
                      <a:pt x="5545" y="9877"/>
                    </a:lnTo>
                    <a:lnTo>
                      <a:pt x="5524" y="9835"/>
                    </a:lnTo>
                    <a:lnTo>
                      <a:pt x="5420" y="9835"/>
                    </a:lnTo>
                    <a:lnTo>
                      <a:pt x="5524" y="9730"/>
                    </a:lnTo>
                    <a:lnTo>
                      <a:pt x="5545" y="9521"/>
                    </a:lnTo>
                    <a:lnTo>
                      <a:pt x="5713" y="9500"/>
                    </a:lnTo>
                    <a:lnTo>
                      <a:pt x="5943" y="9563"/>
                    </a:lnTo>
                    <a:lnTo>
                      <a:pt x="6027" y="9626"/>
                    </a:lnTo>
                    <a:lnTo>
                      <a:pt x="6173" y="9626"/>
                    </a:lnTo>
                    <a:lnTo>
                      <a:pt x="6278" y="9563"/>
                    </a:lnTo>
                    <a:lnTo>
                      <a:pt x="6382" y="9563"/>
                    </a:lnTo>
                    <a:lnTo>
                      <a:pt x="6466" y="9668"/>
                    </a:lnTo>
                    <a:lnTo>
                      <a:pt x="6571" y="9626"/>
                    </a:lnTo>
                    <a:lnTo>
                      <a:pt x="6675" y="9521"/>
                    </a:lnTo>
                    <a:lnTo>
                      <a:pt x="6759" y="9479"/>
                    </a:lnTo>
                    <a:lnTo>
                      <a:pt x="6759" y="9396"/>
                    </a:lnTo>
                    <a:lnTo>
                      <a:pt x="6633" y="9396"/>
                    </a:lnTo>
                    <a:lnTo>
                      <a:pt x="6278" y="9207"/>
                    </a:lnTo>
                    <a:lnTo>
                      <a:pt x="6257" y="9144"/>
                    </a:lnTo>
                    <a:lnTo>
                      <a:pt x="6340" y="9082"/>
                    </a:lnTo>
                    <a:lnTo>
                      <a:pt x="6445" y="9103"/>
                    </a:lnTo>
                    <a:lnTo>
                      <a:pt x="6487" y="9165"/>
                    </a:lnTo>
                    <a:lnTo>
                      <a:pt x="6592" y="9144"/>
                    </a:lnTo>
                    <a:lnTo>
                      <a:pt x="6780" y="9291"/>
                    </a:lnTo>
                    <a:lnTo>
                      <a:pt x="6864" y="9270"/>
                    </a:lnTo>
                    <a:lnTo>
                      <a:pt x="6989" y="9165"/>
                    </a:lnTo>
                    <a:lnTo>
                      <a:pt x="7073" y="9144"/>
                    </a:lnTo>
                    <a:lnTo>
                      <a:pt x="7115" y="9061"/>
                    </a:lnTo>
                    <a:lnTo>
                      <a:pt x="7094" y="8935"/>
                    </a:lnTo>
                    <a:lnTo>
                      <a:pt x="6968" y="8831"/>
                    </a:lnTo>
                    <a:lnTo>
                      <a:pt x="6884" y="8831"/>
                    </a:lnTo>
                    <a:lnTo>
                      <a:pt x="6864" y="8747"/>
                    </a:lnTo>
                    <a:lnTo>
                      <a:pt x="6738" y="8684"/>
                    </a:lnTo>
                    <a:lnTo>
                      <a:pt x="6738" y="8642"/>
                    </a:lnTo>
                    <a:lnTo>
                      <a:pt x="6864" y="8663"/>
                    </a:lnTo>
                    <a:lnTo>
                      <a:pt x="6947" y="8684"/>
                    </a:lnTo>
                    <a:lnTo>
                      <a:pt x="6968" y="8768"/>
                    </a:lnTo>
                    <a:lnTo>
                      <a:pt x="7031" y="8789"/>
                    </a:lnTo>
                    <a:lnTo>
                      <a:pt x="7156" y="8789"/>
                    </a:lnTo>
                    <a:lnTo>
                      <a:pt x="7198" y="8852"/>
                    </a:lnTo>
                    <a:lnTo>
                      <a:pt x="7387" y="8726"/>
                    </a:lnTo>
                    <a:lnTo>
                      <a:pt x="7428" y="8726"/>
                    </a:lnTo>
                    <a:lnTo>
                      <a:pt x="7470" y="8538"/>
                    </a:lnTo>
                    <a:lnTo>
                      <a:pt x="7596" y="8328"/>
                    </a:lnTo>
                    <a:lnTo>
                      <a:pt x="7596" y="8224"/>
                    </a:lnTo>
                    <a:lnTo>
                      <a:pt x="7512" y="8161"/>
                    </a:lnTo>
                    <a:lnTo>
                      <a:pt x="7387" y="8056"/>
                    </a:lnTo>
                    <a:lnTo>
                      <a:pt x="7198" y="8056"/>
                    </a:lnTo>
                    <a:lnTo>
                      <a:pt x="7094" y="8119"/>
                    </a:lnTo>
                    <a:lnTo>
                      <a:pt x="7094" y="8035"/>
                    </a:lnTo>
                    <a:lnTo>
                      <a:pt x="7219" y="7994"/>
                    </a:lnTo>
                    <a:lnTo>
                      <a:pt x="7366" y="7994"/>
                    </a:lnTo>
                    <a:lnTo>
                      <a:pt x="7387" y="7931"/>
                    </a:lnTo>
                    <a:lnTo>
                      <a:pt x="7198" y="7784"/>
                    </a:lnTo>
                    <a:lnTo>
                      <a:pt x="7115" y="7743"/>
                    </a:lnTo>
                    <a:lnTo>
                      <a:pt x="7010" y="7743"/>
                    </a:lnTo>
                    <a:lnTo>
                      <a:pt x="6968" y="7722"/>
                    </a:lnTo>
                    <a:lnTo>
                      <a:pt x="6947" y="7743"/>
                    </a:lnTo>
                    <a:lnTo>
                      <a:pt x="6843" y="7784"/>
                    </a:lnTo>
                    <a:lnTo>
                      <a:pt x="6801" y="7743"/>
                    </a:lnTo>
                    <a:lnTo>
                      <a:pt x="6780" y="7784"/>
                    </a:lnTo>
                    <a:lnTo>
                      <a:pt x="6675" y="7784"/>
                    </a:lnTo>
                    <a:lnTo>
                      <a:pt x="6675" y="7701"/>
                    </a:lnTo>
                    <a:lnTo>
                      <a:pt x="6696" y="7638"/>
                    </a:lnTo>
                    <a:lnTo>
                      <a:pt x="6487" y="7533"/>
                    </a:lnTo>
                    <a:lnTo>
                      <a:pt x="6466" y="7491"/>
                    </a:lnTo>
                    <a:lnTo>
                      <a:pt x="6466" y="7491"/>
                    </a:lnTo>
                    <a:lnTo>
                      <a:pt x="6571" y="7533"/>
                    </a:lnTo>
                    <a:lnTo>
                      <a:pt x="6759" y="7575"/>
                    </a:lnTo>
                    <a:lnTo>
                      <a:pt x="6843" y="7617"/>
                    </a:lnTo>
                    <a:lnTo>
                      <a:pt x="6801" y="7701"/>
                    </a:lnTo>
                    <a:lnTo>
                      <a:pt x="6801" y="7701"/>
                    </a:lnTo>
                    <a:lnTo>
                      <a:pt x="6989" y="7638"/>
                    </a:lnTo>
                    <a:lnTo>
                      <a:pt x="7198" y="7638"/>
                    </a:lnTo>
                    <a:lnTo>
                      <a:pt x="7324" y="7743"/>
                    </a:lnTo>
                    <a:lnTo>
                      <a:pt x="7366" y="7722"/>
                    </a:lnTo>
                    <a:lnTo>
                      <a:pt x="7387" y="7596"/>
                    </a:lnTo>
                    <a:lnTo>
                      <a:pt x="7115" y="7512"/>
                    </a:lnTo>
                    <a:lnTo>
                      <a:pt x="6905" y="7491"/>
                    </a:lnTo>
                    <a:lnTo>
                      <a:pt x="6759" y="7429"/>
                    </a:lnTo>
                    <a:lnTo>
                      <a:pt x="6780" y="7387"/>
                    </a:lnTo>
                    <a:lnTo>
                      <a:pt x="6884" y="7366"/>
                    </a:lnTo>
                    <a:lnTo>
                      <a:pt x="6989" y="7429"/>
                    </a:lnTo>
                    <a:lnTo>
                      <a:pt x="7219" y="7491"/>
                    </a:lnTo>
                    <a:lnTo>
                      <a:pt x="7408" y="7491"/>
                    </a:lnTo>
                    <a:lnTo>
                      <a:pt x="7470" y="7596"/>
                    </a:lnTo>
                    <a:lnTo>
                      <a:pt x="7470" y="7722"/>
                    </a:lnTo>
                    <a:lnTo>
                      <a:pt x="7491" y="7805"/>
                    </a:lnTo>
                    <a:lnTo>
                      <a:pt x="7638" y="7910"/>
                    </a:lnTo>
                    <a:lnTo>
                      <a:pt x="7805" y="7952"/>
                    </a:lnTo>
                    <a:lnTo>
                      <a:pt x="7889" y="8035"/>
                    </a:lnTo>
                    <a:lnTo>
                      <a:pt x="7910" y="8035"/>
                    </a:lnTo>
                    <a:lnTo>
                      <a:pt x="7993" y="7994"/>
                    </a:lnTo>
                    <a:lnTo>
                      <a:pt x="7952" y="7847"/>
                    </a:lnTo>
                    <a:lnTo>
                      <a:pt x="7993" y="7743"/>
                    </a:lnTo>
                    <a:lnTo>
                      <a:pt x="7952" y="7701"/>
                    </a:lnTo>
                    <a:lnTo>
                      <a:pt x="8056" y="7617"/>
                    </a:lnTo>
                    <a:lnTo>
                      <a:pt x="7993" y="7575"/>
                    </a:lnTo>
                    <a:lnTo>
                      <a:pt x="7680" y="7491"/>
                    </a:lnTo>
                    <a:lnTo>
                      <a:pt x="7554" y="7512"/>
                    </a:lnTo>
                    <a:lnTo>
                      <a:pt x="7512" y="7512"/>
                    </a:lnTo>
                    <a:lnTo>
                      <a:pt x="7408" y="7408"/>
                    </a:lnTo>
                    <a:lnTo>
                      <a:pt x="7282" y="7387"/>
                    </a:lnTo>
                    <a:lnTo>
                      <a:pt x="7198" y="7282"/>
                    </a:lnTo>
                    <a:lnTo>
                      <a:pt x="7115" y="7282"/>
                    </a:lnTo>
                    <a:lnTo>
                      <a:pt x="7073" y="7324"/>
                    </a:lnTo>
                    <a:lnTo>
                      <a:pt x="6989" y="7324"/>
                    </a:lnTo>
                    <a:lnTo>
                      <a:pt x="7010" y="7219"/>
                    </a:lnTo>
                    <a:lnTo>
                      <a:pt x="6864" y="7178"/>
                    </a:lnTo>
                    <a:lnTo>
                      <a:pt x="6843" y="7094"/>
                    </a:lnTo>
                    <a:lnTo>
                      <a:pt x="6947" y="7073"/>
                    </a:lnTo>
                    <a:lnTo>
                      <a:pt x="6989" y="7115"/>
                    </a:lnTo>
                    <a:lnTo>
                      <a:pt x="7094" y="7157"/>
                    </a:lnTo>
                    <a:lnTo>
                      <a:pt x="7156" y="7073"/>
                    </a:lnTo>
                    <a:lnTo>
                      <a:pt x="7115" y="7010"/>
                    </a:lnTo>
                    <a:lnTo>
                      <a:pt x="7156" y="6968"/>
                    </a:lnTo>
                    <a:lnTo>
                      <a:pt x="7219" y="7052"/>
                    </a:lnTo>
                    <a:lnTo>
                      <a:pt x="7219" y="7178"/>
                    </a:lnTo>
                    <a:lnTo>
                      <a:pt x="7324" y="7219"/>
                    </a:lnTo>
                    <a:lnTo>
                      <a:pt x="7638" y="7303"/>
                    </a:lnTo>
                    <a:lnTo>
                      <a:pt x="7700" y="7261"/>
                    </a:lnTo>
                    <a:lnTo>
                      <a:pt x="7554" y="7052"/>
                    </a:lnTo>
                    <a:lnTo>
                      <a:pt x="7408" y="6989"/>
                    </a:lnTo>
                    <a:lnTo>
                      <a:pt x="7303" y="6947"/>
                    </a:lnTo>
                    <a:lnTo>
                      <a:pt x="7303" y="6864"/>
                    </a:lnTo>
                    <a:lnTo>
                      <a:pt x="7324" y="6801"/>
                    </a:lnTo>
                    <a:lnTo>
                      <a:pt x="7408" y="6906"/>
                    </a:lnTo>
                    <a:lnTo>
                      <a:pt x="7554" y="6906"/>
                    </a:lnTo>
                    <a:lnTo>
                      <a:pt x="7638" y="6968"/>
                    </a:lnTo>
                    <a:lnTo>
                      <a:pt x="7680" y="7073"/>
                    </a:lnTo>
                    <a:lnTo>
                      <a:pt x="7721" y="7052"/>
                    </a:lnTo>
                    <a:lnTo>
                      <a:pt x="7805" y="7157"/>
                    </a:lnTo>
                    <a:lnTo>
                      <a:pt x="7910" y="7199"/>
                    </a:lnTo>
                    <a:lnTo>
                      <a:pt x="7952" y="7261"/>
                    </a:lnTo>
                    <a:lnTo>
                      <a:pt x="8014" y="7282"/>
                    </a:lnTo>
                    <a:lnTo>
                      <a:pt x="8077" y="7178"/>
                    </a:lnTo>
                    <a:lnTo>
                      <a:pt x="8203" y="7178"/>
                    </a:lnTo>
                    <a:lnTo>
                      <a:pt x="8307" y="7282"/>
                    </a:lnTo>
                    <a:lnTo>
                      <a:pt x="8349" y="7261"/>
                    </a:lnTo>
                    <a:lnTo>
                      <a:pt x="8349" y="7157"/>
                    </a:lnTo>
                    <a:lnTo>
                      <a:pt x="8412" y="7157"/>
                    </a:lnTo>
                    <a:lnTo>
                      <a:pt x="8516" y="7261"/>
                    </a:lnTo>
                    <a:lnTo>
                      <a:pt x="8642" y="7261"/>
                    </a:lnTo>
                    <a:lnTo>
                      <a:pt x="8684" y="7199"/>
                    </a:lnTo>
                    <a:lnTo>
                      <a:pt x="8684" y="6885"/>
                    </a:lnTo>
                    <a:lnTo>
                      <a:pt x="8433" y="6634"/>
                    </a:lnTo>
                    <a:lnTo>
                      <a:pt x="8349" y="6634"/>
                    </a:lnTo>
                    <a:lnTo>
                      <a:pt x="8307" y="6655"/>
                    </a:lnTo>
                    <a:lnTo>
                      <a:pt x="8224" y="6634"/>
                    </a:lnTo>
                    <a:lnTo>
                      <a:pt x="8244" y="6571"/>
                    </a:lnTo>
                    <a:lnTo>
                      <a:pt x="8433" y="6550"/>
                    </a:lnTo>
                    <a:lnTo>
                      <a:pt x="8516" y="6571"/>
                    </a:lnTo>
                    <a:lnTo>
                      <a:pt x="8558" y="6550"/>
                    </a:lnTo>
                    <a:lnTo>
                      <a:pt x="8642" y="6592"/>
                    </a:lnTo>
                    <a:lnTo>
                      <a:pt x="8642" y="6696"/>
                    </a:lnTo>
                    <a:lnTo>
                      <a:pt x="8684" y="6759"/>
                    </a:lnTo>
                    <a:lnTo>
                      <a:pt x="8851" y="6780"/>
                    </a:lnTo>
                    <a:lnTo>
                      <a:pt x="8851" y="6968"/>
                    </a:lnTo>
                    <a:lnTo>
                      <a:pt x="8893" y="7052"/>
                    </a:lnTo>
                    <a:lnTo>
                      <a:pt x="8998" y="7052"/>
                    </a:lnTo>
                    <a:lnTo>
                      <a:pt x="9060" y="7094"/>
                    </a:lnTo>
                    <a:lnTo>
                      <a:pt x="9353" y="7115"/>
                    </a:lnTo>
                    <a:lnTo>
                      <a:pt x="9500" y="7115"/>
                    </a:lnTo>
                    <a:lnTo>
                      <a:pt x="9688" y="6947"/>
                    </a:lnTo>
                    <a:lnTo>
                      <a:pt x="9709" y="6864"/>
                    </a:lnTo>
                    <a:lnTo>
                      <a:pt x="9605" y="6801"/>
                    </a:lnTo>
                    <a:lnTo>
                      <a:pt x="9563" y="6843"/>
                    </a:lnTo>
                    <a:lnTo>
                      <a:pt x="9500" y="6780"/>
                    </a:lnTo>
                    <a:lnTo>
                      <a:pt x="9563" y="6759"/>
                    </a:lnTo>
                    <a:lnTo>
                      <a:pt x="9709" y="6696"/>
                    </a:lnTo>
                    <a:lnTo>
                      <a:pt x="9835" y="6738"/>
                    </a:lnTo>
                    <a:lnTo>
                      <a:pt x="9981" y="6675"/>
                    </a:lnTo>
                    <a:lnTo>
                      <a:pt x="10002" y="6571"/>
                    </a:lnTo>
                    <a:lnTo>
                      <a:pt x="9918" y="6466"/>
                    </a:lnTo>
                    <a:lnTo>
                      <a:pt x="9625" y="6466"/>
                    </a:lnTo>
                    <a:lnTo>
                      <a:pt x="9395" y="6424"/>
                    </a:lnTo>
                    <a:lnTo>
                      <a:pt x="9416" y="6362"/>
                    </a:lnTo>
                    <a:lnTo>
                      <a:pt x="9521" y="6362"/>
                    </a:lnTo>
                    <a:lnTo>
                      <a:pt x="9563" y="6257"/>
                    </a:lnTo>
                    <a:lnTo>
                      <a:pt x="9605" y="6278"/>
                    </a:lnTo>
                    <a:lnTo>
                      <a:pt x="9625" y="6383"/>
                    </a:lnTo>
                    <a:lnTo>
                      <a:pt x="9709" y="6383"/>
                    </a:lnTo>
                    <a:lnTo>
                      <a:pt x="9772" y="6341"/>
                    </a:lnTo>
                    <a:lnTo>
                      <a:pt x="9981" y="6424"/>
                    </a:lnTo>
                    <a:lnTo>
                      <a:pt x="10044" y="6362"/>
                    </a:lnTo>
                    <a:lnTo>
                      <a:pt x="10149" y="6445"/>
                    </a:lnTo>
                    <a:lnTo>
                      <a:pt x="10211" y="6445"/>
                    </a:lnTo>
                    <a:lnTo>
                      <a:pt x="10316" y="6320"/>
                    </a:lnTo>
                    <a:lnTo>
                      <a:pt x="10295" y="6236"/>
                    </a:lnTo>
                    <a:lnTo>
                      <a:pt x="10149" y="6152"/>
                    </a:lnTo>
                    <a:lnTo>
                      <a:pt x="10211" y="6048"/>
                    </a:lnTo>
                    <a:lnTo>
                      <a:pt x="10253" y="6006"/>
                    </a:lnTo>
                    <a:lnTo>
                      <a:pt x="10232" y="5839"/>
                    </a:lnTo>
                    <a:lnTo>
                      <a:pt x="10316" y="5901"/>
                    </a:lnTo>
                    <a:lnTo>
                      <a:pt x="10316" y="6006"/>
                    </a:lnTo>
                    <a:lnTo>
                      <a:pt x="10253" y="6069"/>
                    </a:lnTo>
                    <a:lnTo>
                      <a:pt x="10295" y="6152"/>
                    </a:lnTo>
                    <a:lnTo>
                      <a:pt x="10358" y="6173"/>
                    </a:lnTo>
                    <a:lnTo>
                      <a:pt x="10441" y="6111"/>
                    </a:lnTo>
                    <a:lnTo>
                      <a:pt x="10734" y="6111"/>
                    </a:lnTo>
                    <a:lnTo>
                      <a:pt x="10776" y="6027"/>
                    </a:lnTo>
                    <a:lnTo>
                      <a:pt x="10923" y="5922"/>
                    </a:lnTo>
                    <a:lnTo>
                      <a:pt x="10881" y="5797"/>
                    </a:lnTo>
                    <a:lnTo>
                      <a:pt x="10944" y="5755"/>
                    </a:lnTo>
                    <a:lnTo>
                      <a:pt x="11048" y="5755"/>
                    </a:lnTo>
                    <a:lnTo>
                      <a:pt x="11132" y="5650"/>
                    </a:lnTo>
                    <a:lnTo>
                      <a:pt x="11216" y="5692"/>
                    </a:lnTo>
                    <a:lnTo>
                      <a:pt x="11299" y="5629"/>
                    </a:lnTo>
                    <a:lnTo>
                      <a:pt x="11550" y="5608"/>
                    </a:lnTo>
                    <a:lnTo>
                      <a:pt x="11613" y="5483"/>
                    </a:lnTo>
                    <a:lnTo>
                      <a:pt x="11822" y="5420"/>
                    </a:lnTo>
                    <a:lnTo>
                      <a:pt x="11927" y="5336"/>
                    </a:lnTo>
                    <a:lnTo>
                      <a:pt x="12073" y="5336"/>
                    </a:lnTo>
                    <a:lnTo>
                      <a:pt x="12136" y="5315"/>
                    </a:lnTo>
                    <a:lnTo>
                      <a:pt x="12262" y="5315"/>
                    </a:lnTo>
                    <a:lnTo>
                      <a:pt x="12429" y="5232"/>
                    </a:lnTo>
                    <a:lnTo>
                      <a:pt x="12555" y="5106"/>
                    </a:lnTo>
                    <a:lnTo>
                      <a:pt x="12659" y="5085"/>
                    </a:lnTo>
                    <a:lnTo>
                      <a:pt x="12743" y="4960"/>
                    </a:lnTo>
                    <a:lnTo>
                      <a:pt x="12952" y="4918"/>
                    </a:lnTo>
                    <a:lnTo>
                      <a:pt x="13036" y="4876"/>
                    </a:lnTo>
                    <a:lnTo>
                      <a:pt x="13224" y="4771"/>
                    </a:lnTo>
                    <a:lnTo>
                      <a:pt x="13308" y="4604"/>
                    </a:lnTo>
                    <a:lnTo>
                      <a:pt x="13371" y="4458"/>
                    </a:lnTo>
                    <a:lnTo>
                      <a:pt x="13182" y="4458"/>
                    </a:lnTo>
                    <a:lnTo>
                      <a:pt x="13057" y="4478"/>
                    </a:lnTo>
                    <a:lnTo>
                      <a:pt x="12973" y="4437"/>
                    </a:lnTo>
                    <a:lnTo>
                      <a:pt x="12848" y="4458"/>
                    </a:lnTo>
                    <a:lnTo>
                      <a:pt x="12659" y="4646"/>
                    </a:lnTo>
                    <a:lnTo>
                      <a:pt x="12387" y="4667"/>
                    </a:lnTo>
                    <a:lnTo>
                      <a:pt x="11927" y="4709"/>
                    </a:lnTo>
                    <a:lnTo>
                      <a:pt x="11801" y="4688"/>
                    </a:lnTo>
                    <a:lnTo>
                      <a:pt x="11488" y="4688"/>
                    </a:lnTo>
                    <a:lnTo>
                      <a:pt x="11299" y="4771"/>
                    </a:lnTo>
                    <a:lnTo>
                      <a:pt x="11299" y="4667"/>
                    </a:lnTo>
                    <a:lnTo>
                      <a:pt x="11174" y="4667"/>
                    </a:lnTo>
                    <a:lnTo>
                      <a:pt x="11216" y="4562"/>
                    </a:lnTo>
                    <a:lnTo>
                      <a:pt x="11362" y="4562"/>
                    </a:lnTo>
                    <a:lnTo>
                      <a:pt x="11446" y="4583"/>
                    </a:lnTo>
                    <a:lnTo>
                      <a:pt x="11550" y="4541"/>
                    </a:lnTo>
                    <a:lnTo>
                      <a:pt x="11571" y="4604"/>
                    </a:lnTo>
                    <a:lnTo>
                      <a:pt x="11718" y="4604"/>
                    </a:lnTo>
                    <a:lnTo>
                      <a:pt x="11906" y="4583"/>
                    </a:lnTo>
                    <a:lnTo>
                      <a:pt x="12032" y="4583"/>
                    </a:lnTo>
                    <a:lnTo>
                      <a:pt x="12346" y="4541"/>
                    </a:lnTo>
                    <a:lnTo>
                      <a:pt x="12848" y="4332"/>
                    </a:lnTo>
                    <a:lnTo>
                      <a:pt x="12931" y="4269"/>
                    </a:lnTo>
                    <a:lnTo>
                      <a:pt x="12848" y="4186"/>
                    </a:lnTo>
                    <a:lnTo>
                      <a:pt x="12638" y="4144"/>
                    </a:lnTo>
                    <a:lnTo>
                      <a:pt x="12262" y="4081"/>
                    </a:lnTo>
                    <a:lnTo>
                      <a:pt x="12199" y="3976"/>
                    </a:lnTo>
                    <a:lnTo>
                      <a:pt x="12199" y="3976"/>
                    </a:lnTo>
                    <a:lnTo>
                      <a:pt x="12346" y="4060"/>
                    </a:lnTo>
                    <a:lnTo>
                      <a:pt x="12450" y="4039"/>
                    </a:lnTo>
                    <a:lnTo>
                      <a:pt x="12450" y="3976"/>
                    </a:lnTo>
                    <a:lnTo>
                      <a:pt x="12325" y="3851"/>
                    </a:lnTo>
                    <a:lnTo>
                      <a:pt x="12304" y="3725"/>
                    </a:lnTo>
                    <a:lnTo>
                      <a:pt x="12408" y="3851"/>
                    </a:lnTo>
                    <a:lnTo>
                      <a:pt x="12597" y="4060"/>
                    </a:lnTo>
                    <a:lnTo>
                      <a:pt x="12638" y="4060"/>
                    </a:lnTo>
                    <a:lnTo>
                      <a:pt x="12722" y="4018"/>
                    </a:lnTo>
                    <a:lnTo>
                      <a:pt x="12764" y="4081"/>
                    </a:lnTo>
                    <a:lnTo>
                      <a:pt x="12973" y="4081"/>
                    </a:lnTo>
                    <a:lnTo>
                      <a:pt x="13057" y="4144"/>
                    </a:lnTo>
                    <a:lnTo>
                      <a:pt x="13141" y="4144"/>
                    </a:lnTo>
                    <a:lnTo>
                      <a:pt x="13287" y="4165"/>
                    </a:lnTo>
                    <a:lnTo>
                      <a:pt x="13371" y="4123"/>
                    </a:lnTo>
                    <a:lnTo>
                      <a:pt x="13308" y="4081"/>
                    </a:lnTo>
                    <a:lnTo>
                      <a:pt x="13162" y="4060"/>
                    </a:lnTo>
                    <a:lnTo>
                      <a:pt x="13162" y="3976"/>
                    </a:lnTo>
                    <a:lnTo>
                      <a:pt x="13350" y="4018"/>
                    </a:lnTo>
                    <a:lnTo>
                      <a:pt x="13475" y="4060"/>
                    </a:lnTo>
                    <a:lnTo>
                      <a:pt x="13601" y="4165"/>
                    </a:lnTo>
                    <a:lnTo>
                      <a:pt x="13664" y="4144"/>
                    </a:lnTo>
                    <a:lnTo>
                      <a:pt x="13706" y="4018"/>
                    </a:lnTo>
                    <a:lnTo>
                      <a:pt x="13810" y="4081"/>
                    </a:lnTo>
                    <a:lnTo>
                      <a:pt x="13978" y="4081"/>
                    </a:lnTo>
                    <a:lnTo>
                      <a:pt x="14124" y="4039"/>
                    </a:lnTo>
                    <a:lnTo>
                      <a:pt x="14229" y="4018"/>
                    </a:lnTo>
                    <a:lnTo>
                      <a:pt x="14354" y="3914"/>
                    </a:lnTo>
                    <a:lnTo>
                      <a:pt x="14710" y="3746"/>
                    </a:lnTo>
                    <a:lnTo>
                      <a:pt x="14794" y="3662"/>
                    </a:lnTo>
                    <a:lnTo>
                      <a:pt x="14794" y="3621"/>
                    </a:lnTo>
                    <a:lnTo>
                      <a:pt x="14877" y="3600"/>
                    </a:lnTo>
                    <a:lnTo>
                      <a:pt x="15003" y="3621"/>
                    </a:lnTo>
                    <a:lnTo>
                      <a:pt x="15045" y="3558"/>
                    </a:lnTo>
                    <a:lnTo>
                      <a:pt x="15275" y="3432"/>
                    </a:lnTo>
                    <a:lnTo>
                      <a:pt x="15400" y="3181"/>
                    </a:lnTo>
                    <a:lnTo>
                      <a:pt x="15463" y="2909"/>
                    </a:lnTo>
                    <a:lnTo>
                      <a:pt x="15442" y="2721"/>
                    </a:lnTo>
                    <a:lnTo>
                      <a:pt x="15379" y="2595"/>
                    </a:lnTo>
                    <a:lnTo>
                      <a:pt x="15233" y="2512"/>
                    </a:lnTo>
                    <a:lnTo>
                      <a:pt x="15149" y="2512"/>
                    </a:lnTo>
                    <a:lnTo>
                      <a:pt x="15128" y="2554"/>
                    </a:lnTo>
                    <a:lnTo>
                      <a:pt x="15024" y="2554"/>
                    </a:lnTo>
                    <a:lnTo>
                      <a:pt x="14961" y="2658"/>
                    </a:lnTo>
                    <a:lnTo>
                      <a:pt x="14877" y="2700"/>
                    </a:lnTo>
                    <a:lnTo>
                      <a:pt x="14835" y="2658"/>
                    </a:lnTo>
                    <a:lnTo>
                      <a:pt x="14961" y="2470"/>
                    </a:lnTo>
                    <a:lnTo>
                      <a:pt x="15003" y="2386"/>
                    </a:lnTo>
                    <a:lnTo>
                      <a:pt x="15107" y="2302"/>
                    </a:lnTo>
                    <a:lnTo>
                      <a:pt x="15128" y="2156"/>
                    </a:lnTo>
                    <a:lnTo>
                      <a:pt x="15066" y="2051"/>
                    </a:lnTo>
                    <a:lnTo>
                      <a:pt x="15024" y="2030"/>
                    </a:lnTo>
                    <a:lnTo>
                      <a:pt x="15107" y="1968"/>
                    </a:lnTo>
                    <a:lnTo>
                      <a:pt x="15170" y="1737"/>
                    </a:lnTo>
                    <a:lnTo>
                      <a:pt x="15066" y="1717"/>
                    </a:lnTo>
                    <a:lnTo>
                      <a:pt x="14940" y="1737"/>
                    </a:lnTo>
                    <a:lnTo>
                      <a:pt x="14919" y="1842"/>
                    </a:lnTo>
                    <a:lnTo>
                      <a:pt x="14856" y="1884"/>
                    </a:lnTo>
                    <a:lnTo>
                      <a:pt x="14794" y="1926"/>
                    </a:lnTo>
                    <a:lnTo>
                      <a:pt x="14731" y="1863"/>
                    </a:lnTo>
                    <a:lnTo>
                      <a:pt x="14794" y="1779"/>
                    </a:lnTo>
                    <a:lnTo>
                      <a:pt x="14794" y="1717"/>
                    </a:lnTo>
                    <a:lnTo>
                      <a:pt x="14835" y="1633"/>
                    </a:lnTo>
                    <a:lnTo>
                      <a:pt x="14814" y="1570"/>
                    </a:lnTo>
                    <a:lnTo>
                      <a:pt x="14689" y="1654"/>
                    </a:lnTo>
                    <a:lnTo>
                      <a:pt x="14626" y="1779"/>
                    </a:lnTo>
                    <a:lnTo>
                      <a:pt x="14584" y="1821"/>
                    </a:lnTo>
                    <a:lnTo>
                      <a:pt x="14522" y="1758"/>
                    </a:lnTo>
                    <a:lnTo>
                      <a:pt x="14584" y="1633"/>
                    </a:lnTo>
                    <a:lnTo>
                      <a:pt x="14542" y="1549"/>
                    </a:lnTo>
                    <a:lnTo>
                      <a:pt x="14417" y="1549"/>
                    </a:lnTo>
                    <a:lnTo>
                      <a:pt x="14270" y="1633"/>
                    </a:lnTo>
                    <a:lnTo>
                      <a:pt x="14208" y="1737"/>
                    </a:lnTo>
                    <a:lnTo>
                      <a:pt x="14082" y="1737"/>
                    </a:lnTo>
                    <a:lnTo>
                      <a:pt x="14019" y="1779"/>
                    </a:lnTo>
                    <a:lnTo>
                      <a:pt x="13978" y="1884"/>
                    </a:lnTo>
                    <a:lnTo>
                      <a:pt x="13894" y="1884"/>
                    </a:lnTo>
                    <a:lnTo>
                      <a:pt x="13789" y="1842"/>
                    </a:lnTo>
                    <a:lnTo>
                      <a:pt x="13580" y="1821"/>
                    </a:lnTo>
                    <a:lnTo>
                      <a:pt x="13308" y="1821"/>
                    </a:lnTo>
                    <a:lnTo>
                      <a:pt x="13496" y="1758"/>
                    </a:lnTo>
                    <a:lnTo>
                      <a:pt x="13559" y="1717"/>
                    </a:lnTo>
                    <a:lnTo>
                      <a:pt x="13643" y="1737"/>
                    </a:lnTo>
                    <a:lnTo>
                      <a:pt x="13747" y="1737"/>
                    </a:lnTo>
                    <a:lnTo>
                      <a:pt x="13894" y="1654"/>
                    </a:lnTo>
                    <a:lnTo>
                      <a:pt x="14019" y="1633"/>
                    </a:lnTo>
                    <a:lnTo>
                      <a:pt x="14124" y="1507"/>
                    </a:lnTo>
                    <a:lnTo>
                      <a:pt x="14333" y="1403"/>
                    </a:lnTo>
                    <a:lnTo>
                      <a:pt x="14396" y="1340"/>
                    </a:lnTo>
                    <a:lnTo>
                      <a:pt x="14354" y="1298"/>
                    </a:lnTo>
                    <a:lnTo>
                      <a:pt x="14270" y="1298"/>
                    </a:lnTo>
                    <a:lnTo>
                      <a:pt x="14061" y="1152"/>
                    </a:lnTo>
                    <a:lnTo>
                      <a:pt x="14019" y="1089"/>
                    </a:lnTo>
                    <a:lnTo>
                      <a:pt x="13978" y="1089"/>
                    </a:lnTo>
                    <a:lnTo>
                      <a:pt x="13873" y="1131"/>
                    </a:lnTo>
                    <a:lnTo>
                      <a:pt x="13810" y="1193"/>
                    </a:lnTo>
                    <a:lnTo>
                      <a:pt x="13747" y="1152"/>
                    </a:lnTo>
                    <a:lnTo>
                      <a:pt x="13706" y="1089"/>
                    </a:lnTo>
                    <a:lnTo>
                      <a:pt x="13789" y="1005"/>
                    </a:lnTo>
                    <a:lnTo>
                      <a:pt x="13768" y="921"/>
                    </a:lnTo>
                    <a:lnTo>
                      <a:pt x="13601" y="942"/>
                    </a:lnTo>
                    <a:lnTo>
                      <a:pt x="13538" y="1047"/>
                    </a:lnTo>
                    <a:lnTo>
                      <a:pt x="13454" y="1026"/>
                    </a:lnTo>
                    <a:lnTo>
                      <a:pt x="13454" y="901"/>
                    </a:lnTo>
                    <a:lnTo>
                      <a:pt x="13308" y="942"/>
                    </a:lnTo>
                    <a:lnTo>
                      <a:pt x="13266" y="1005"/>
                    </a:lnTo>
                    <a:lnTo>
                      <a:pt x="13224" y="921"/>
                    </a:lnTo>
                    <a:lnTo>
                      <a:pt x="13287" y="838"/>
                    </a:lnTo>
                    <a:lnTo>
                      <a:pt x="13245" y="775"/>
                    </a:lnTo>
                    <a:lnTo>
                      <a:pt x="13308" y="775"/>
                    </a:lnTo>
                    <a:lnTo>
                      <a:pt x="13371" y="691"/>
                    </a:lnTo>
                    <a:lnTo>
                      <a:pt x="13287" y="608"/>
                    </a:lnTo>
                    <a:lnTo>
                      <a:pt x="13078" y="587"/>
                    </a:lnTo>
                    <a:lnTo>
                      <a:pt x="12910" y="503"/>
                    </a:lnTo>
                    <a:lnTo>
                      <a:pt x="12785" y="524"/>
                    </a:lnTo>
                    <a:lnTo>
                      <a:pt x="12659" y="629"/>
                    </a:lnTo>
                    <a:lnTo>
                      <a:pt x="12638" y="733"/>
                    </a:lnTo>
                    <a:lnTo>
                      <a:pt x="12597" y="775"/>
                    </a:lnTo>
                    <a:lnTo>
                      <a:pt x="12513" y="670"/>
                    </a:lnTo>
                    <a:lnTo>
                      <a:pt x="12638" y="524"/>
                    </a:lnTo>
                    <a:lnTo>
                      <a:pt x="12659" y="461"/>
                    </a:lnTo>
                    <a:lnTo>
                      <a:pt x="12513" y="461"/>
                    </a:lnTo>
                    <a:lnTo>
                      <a:pt x="12387" y="377"/>
                    </a:lnTo>
                    <a:lnTo>
                      <a:pt x="12262" y="377"/>
                    </a:lnTo>
                    <a:lnTo>
                      <a:pt x="12199" y="482"/>
                    </a:lnTo>
                    <a:lnTo>
                      <a:pt x="12011" y="608"/>
                    </a:lnTo>
                    <a:lnTo>
                      <a:pt x="11885" y="733"/>
                    </a:lnTo>
                    <a:lnTo>
                      <a:pt x="11801" y="775"/>
                    </a:lnTo>
                    <a:lnTo>
                      <a:pt x="11781" y="712"/>
                    </a:lnTo>
                    <a:lnTo>
                      <a:pt x="11822" y="587"/>
                    </a:lnTo>
                    <a:lnTo>
                      <a:pt x="11822" y="419"/>
                    </a:lnTo>
                    <a:lnTo>
                      <a:pt x="11781" y="377"/>
                    </a:lnTo>
                    <a:lnTo>
                      <a:pt x="11739" y="273"/>
                    </a:lnTo>
                    <a:lnTo>
                      <a:pt x="11592" y="189"/>
                    </a:lnTo>
                    <a:lnTo>
                      <a:pt x="11467" y="210"/>
                    </a:lnTo>
                    <a:lnTo>
                      <a:pt x="11341" y="189"/>
                    </a:lnTo>
                    <a:lnTo>
                      <a:pt x="11278" y="85"/>
                    </a:lnTo>
                    <a:lnTo>
                      <a:pt x="11153" y="64"/>
                    </a:lnTo>
                    <a:lnTo>
                      <a:pt x="10985" y="105"/>
                    </a:lnTo>
                    <a:lnTo>
                      <a:pt x="10881" y="85"/>
                    </a:lnTo>
                    <a:lnTo>
                      <a:pt x="10818" y="64"/>
                    </a:lnTo>
                    <a:lnTo>
                      <a:pt x="10734" y="1"/>
                    </a:lnTo>
                    <a:lnTo>
                      <a:pt x="10651" y="64"/>
                    </a:lnTo>
                    <a:lnTo>
                      <a:pt x="10630" y="210"/>
                    </a:lnTo>
                    <a:lnTo>
                      <a:pt x="10734" y="461"/>
                    </a:lnTo>
                    <a:lnTo>
                      <a:pt x="10651" y="670"/>
                    </a:lnTo>
                    <a:lnTo>
                      <a:pt x="10651" y="817"/>
                    </a:lnTo>
                    <a:lnTo>
                      <a:pt x="10609" y="880"/>
                    </a:lnTo>
                    <a:lnTo>
                      <a:pt x="10525" y="838"/>
                    </a:lnTo>
                    <a:lnTo>
                      <a:pt x="10400" y="880"/>
                    </a:lnTo>
                    <a:lnTo>
                      <a:pt x="10337" y="817"/>
                    </a:lnTo>
                    <a:lnTo>
                      <a:pt x="10421" y="733"/>
                    </a:lnTo>
                    <a:lnTo>
                      <a:pt x="10358" y="566"/>
                    </a:lnTo>
                    <a:lnTo>
                      <a:pt x="10421" y="461"/>
                    </a:lnTo>
                    <a:lnTo>
                      <a:pt x="10441" y="315"/>
                    </a:lnTo>
                    <a:lnTo>
                      <a:pt x="10400" y="273"/>
                    </a:lnTo>
                    <a:lnTo>
                      <a:pt x="10232" y="398"/>
                    </a:lnTo>
                    <a:lnTo>
                      <a:pt x="10232" y="461"/>
                    </a:lnTo>
                    <a:lnTo>
                      <a:pt x="10149" y="482"/>
                    </a:lnTo>
                    <a:lnTo>
                      <a:pt x="10107" y="419"/>
                    </a:lnTo>
                    <a:lnTo>
                      <a:pt x="10149" y="273"/>
                    </a:lnTo>
                    <a:lnTo>
                      <a:pt x="10107" y="210"/>
                    </a:lnTo>
                    <a:lnTo>
                      <a:pt x="10044" y="252"/>
                    </a:lnTo>
                    <a:lnTo>
                      <a:pt x="9981" y="398"/>
                    </a:lnTo>
                    <a:lnTo>
                      <a:pt x="9897" y="398"/>
                    </a:lnTo>
                    <a:lnTo>
                      <a:pt x="9877" y="357"/>
                    </a:lnTo>
                    <a:lnTo>
                      <a:pt x="9918" y="252"/>
                    </a:lnTo>
                    <a:lnTo>
                      <a:pt x="9918" y="105"/>
                    </a:lnTo>
                    <a:lnTo>
                      <a:pt x="9897" y="64"/>
                    </a:lnTo>
                    <a:lnTo>
                      <a:pt x="962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 name="Google Shape;5882;p93">
                <a:extLst>
                  <a:ext uri="{FF2B5EF4-FFF2-40B4-BE49-F238E27FC236}">
                    <a16:creationId xmlns:a16="http://schemas.microsoft.com/office/drawing/2014/main" id="{D957732A-09EF-4940-8A24-339DE10E473E}"/>
                  </a:ext>
                </a:extLst>
              </p:cNvPr>
              <p:cNvSpPr/>
              <p:nvPr/>
            </p:nvSpPr>
            <p:spPr>
              <a:xfrm>
                <a:off x="2905300" y="2401625"/>
                <a:ext cx="91575" cy="98875"/>
              </a:xfrm>
              <a:custGeom>
                <a:avLst/>
                <a:gdLst/>
                <a:ahLst/>
                <a:cxnLst/>
                <a:rect l="l" t="t" r="r" b="b"/>
                <a:pathLst>
                  <a:path w="3663" h="3955" extrusionOk="0">
                    <a:moveTo>
                      <a:pt x="2909" y="2155"/>
                    </a:moveTo>
                    <a:lnTo>
                      <a:pt x="2872" y="2165"/>
                    </a:lnTo>
                    <a:lnTo>
                      <a:pt x="2872" y="2165"/>
                    </a:lnTo>
                    <a:lnTo>
                      <a:pt x="2878" y="2166"/>
                    </a:lnTo>
                    <a:lnTo>
                      <a:pt x="2878" y="2166"/>
                    </a:lnTo>
                    <a:lnTo>
                      <a:pt x="2930" y="2155"/>
                    </a:lnTo>
                    <a:close/>
                    <a:moveTo>
                      <a:pt x="2323" y="0"/>
                    </a:moveTo>
                    <a:lnTo>
                      <a:pt x="2260" y="42"/>
                    </a:lnTo>
                    <a:lnTo>
                      <a:pt x="2219" y="84"/>
                    </a:lnTo>
                    <a:lnTo>
                      <a:pt x="2135" y="84"/>
                    </a:lnTo>
                    <a:lnTo>
                      <a:pt x="2072" y="147"/>
                    </a:lnTo>
                    <a:lnTo>
                      <a:pt x="2009" y="188"/>
                    </a:lnTo>
                    <a:lnTo>
                      <a:pt x="1905" y="188"/>
                    </a:lnTo>
                    <a:lnTo>
                      <a:pt x="1779" y="293"/>
                    </a:lnTo>
                    <a:lnTo>
                      <a:pt x="1675" y="377"/>
                    </a:lnTo>
                    <a:lnTo>
                      <a:pt x="1675" y="460"/>
                    </a:lnTo>
                    <a:lnTo>
                      <a:pt x="1612" y="460"/>
                    </a:lnTo>
                    <a:lnTo>
                      <a:pt x="1570" y="419"/>
                    </a:lnTo>
                    <a:lnTo>
                      <a:pt x="1570" y="460"/>
                    </a:lnTo>
                    <a:lnTo>
                      <a:pt x="1591" y="481"/>
                    </a:lnTo>
                    <a:lnTo>
                      <a:pt x="1591" y="523"/>
                    </a:lnTo>
                    <a:lnTo>
                      <a:pt x="1528" y="586"/>
                    </a:lnTo>
                    <a:lnTo>
                      <a:pt x="1423" y="670"/>
                    </a:lnTo>
                    <a:lnTo>
                      <a:pt x="1382" y="691"/>
                    </a:lnTo>
                    <a:lnTo>
                      <a:pt x="1402" y="711"/>
                    </a:lnTo>
                    <a:lnTo>
                      <a:pt x="1382" y="774"/>
                    </a:lnTo>
                    <a:lnTo>
                      <a:pt x="1319" y="774"/>
                    </a:lnTo>
                    <a:lnTo>
                      <a:pt x="1319" y="816"/>
                    </a:lnTo>
                    <a:lnTo>
                      <a:pt x="1382" y="837"/>
                    </a:lnTo>
                    <a:lnTo>
                      <a:pt x="1319" y="879"/>
                    </a:lnTo>
                    <a:lnTo>
                      <a:pt x="1256" y="879"/>
                    </a:lnTo>
                    <a:lnTo>
                      <a:pt x="1193" y="942"/>
                    </a:lnTo>
                    <a:lnTo>
                      <a:pt x="1193" y="1004"/>
                    </a:lnTo>
                    <a:lnTo>
                      <a:pt x="1214" y="1004"/>
                    </a:lnTo>
                    <a:lnTo>
                      <a:pt x="1256" y="1025"/>
                    </a:lnTo>
                    <a:lnTo>
                      <a:pt x="1193" y="1046"/>
                    </a:lnTo>
                    <a:lnTo>
                      <a:pt x="1151" y="1046"/>
                    </a:lnTo>
                    <a:lnTo>
                      <a:pt x="1089" y="1151"/>
                    </a:lnTo>
                    <a:lnTo>
                      <a:pt x="1068" y="1214"/>
                    </a:lnTo>
                    <a:lnTo>
                      <a:pt x="942" y="1402"/>
                    </a:lnTo>
                    <a:lnTo>
                      <a:pt x="942" y="1444"/>
                    </a:lnTo>
                    <a:lnTo>
                      <a:pt x="984" y="1507"/>
                    </a:lnTo>
                    <a:lnTo>
                      <a:pt x="984" y="1548"/>
                    </a:lnTo>
                    <a:lnTo>
                      <a:pt x="963" y="1548"/>
                    </a:lnTo>
                    <a:lnTo>
                      <a:pt x="942" y="1527"/>
                    </a:lnTo>
                    <a:lnTo>
                      <a:pt x="900" y="1527"/>
                    </a:lnTo>
                    <a:lnTo>
                      <a:pt x="796" y="1569"/>
                    </a:lnTo>
                    <a:lnTo>
                      <a:pt x="754" y="1653"/>
                    </a:lnTo>
                    <a:lnTo>
                      <a:pt x="754" y="1716"/>
                    </a:lnTo>
                    <a:lnTo>
                      <a:pt x="796" y="1716"/>
                    </a:lnTo>
                    <a:lnTo>
                      <a:pt x="858" y="1758"/>
                    </a:lnTo>
                    <a:lnTo>
                      <a:pt x="838" y="1779"/>
                    </a:lnTo>
                    <a:lnTo>
                      <a:pt x="838" y="1841"/>
                    </a:lnTo>
                    <a:lnTo>
                      <a:pt x="775" y="1883"/>
                    </a:lnTo>
                    <a:lnTo>
                      <a:pt x="649" y="1862"/>
                    </a:lnTo>
                    <a:lnTo>
                      <a:pt x="628" y="1883"/>
                    </a:lnTo>
                    <a:lnTo>
                      <a:pt x="628" y="1946"/>
                    </a:lnTo>
                    <a:lnTo>
                      <a:pt x="545" y="2030"/>
                    </a:lnTo>
                    <a:lnTo>
                      <a:pt x="482" y="2134"/>
                    </a:lnTo>
                    <a:lnTo>
                      <a:pt x="440" y="2197"/>
                    </a:lnTo>
                    <a:lnTo>
                      <a:pt x="419" y="2197"/>
                    </a:lnTo>
                    <a:lnTo>
                      <a:pt x="419" y="2134"/>
                    </a:lnTo>
                    <a:lnTo>
                      <a:pt x="377" y="2197"/>
                    </a:lnTo>
                    <a:lnTo>
                      <a:pt x="335" y="2134"/>
                    </a:lnTo>
                    <a:lnTo>
                      <a:pt x="356" y="2072"/>
                    </a:lnTo>
                    <a:lnTo>
                      <a:pt x="440" y="2030"/>
                    </a:lnTo>
                    <a:lnTo>
                      <a:pt x="461" y="1967"/>
                    </a:lnTo>
                    <a:lnTo>
                      <a:pt x="440" y="1988"/>
                    </a:lnTo>
                    <a:lnTo>
                      <a:pt x="356" y="2051"/>
                    </a:lnTo>
                    <a:lnTo>
                      <a:pt x="231" y="2134"/>
                    </a:lnTo>
                    <a:lnTo>
                      <a:pt x="168" y="2260"/>
                    </a:lnTo>
                    <a:lnTo>
                      <a:pt x="231" y="2260"/>
                    </a:lnTo>
                    <a:lnTo>
                      <a:pt x="314" y="2239"/>
                    </a:lnTo>
                    <a:lnTo>
                      <a:pt x="461" y="2197"/>
                    </a:lnTo>
                    <a:lnTo>
                      <a:pt x="586" y="2197"/>
                    </a:lnTo>
                    <a:lnTo>
                      <a:pt x="524" y="2281"/>
                    </a:lnTo>
                    <a:lnTo>
                      <a:pt x="419" y="2406"/>
                    </a:lnTo>
                    <a:lnTo>
                      <a:pt x="335" y="2511"/>
                    </a:lnTo>
                    <a:lnTo>
                      <a:pt x="210" y="2595"/>
                    </a:lnTo>
                    <a:lnTo>
                      <a:pt x="105" y="2699"/>
                    </a:lnTo>
                    <a:lnTo>
                      <a:pt x="22" y="2699"/>
                    </a:lnTo>
                    <a:lnTo>
                      <a:pt x="1" y="2762"/>
                    </a:lnTo>
                    <a:lnTo>
                      <a:pt x="22" y="2804"/>
                    </a:lnTo>
                    <a:lnTo>
                      <a:pt x="1" y="2888"/>
                    </a:lnTo>
                    <a:lnTo>
                      <a:pt x="22" y="2929"/>
                    </a:lnTo>
                    <a:lnTo>
                      <a:pt x="63" y="2929"/>
                    </a:lnTo>
                    <a:lnTo>
                      <a:pt x="168" y="2971"/>
                    </a:lnTo>
                    <a:lnTo>
                      <a:pt x="314" y="2929"/>
                    </a:lnTo>
                    <a:lnTo>
                      <a:pt x="377" y="2888"/>
                    </a:lnTo>
                    <a:lnTo>
                      <a:pt x="482" y="2888"/>
                    </a:lnTo>
                    <a:lnTo>
                      <a:pt x="566" y="2825"/>
                    </a:lnTo>
                    <a:lnTo>
                      <a:pt x="586" y="2783"/>
                    </a:lnTo>
                    <a:lnTo>
                      <a:pt x="586" y="2804"/>
                    </a:lnTo>
                    <a:lnTo>
                      <a:pt x="545" y="2888"/>
                    </a:lnTo>
                    <a:lnTo>
                      <a:pt x="670" y="2908"/>
                    </a:lnTo>
                    <a:lnTo>
                      <a:pt x="754" y="2888"/>
                    </a:lnTo>
                    <a:lnTo>
                      <a:pt x="796" y="2929"/>
                    </a:lnTo>
                    <a:lnTo>
                      <a:pt x="963" y="2929"/>
                    </a:lnTo>
                    <a:lnTo>
                      <a:pt x="1047" y="2908"/>
                    </a:lnTo>
                    <a:lnTo>
                      <a:pt x="1068" y="2971"/>
                    </a:lnTo>
                    <a:lnTo>
                      <a:pt x="1110" y="3013"/>
                    </a:lnTo>
                    <a:lnTo>
                      <a:pt x="1214" y="3013"/>
                    </a:lnTo>
                    <a:lnTo>
                      <a:pt x="1256" y="2992"/>
                    </a:lnTo>
                    <a:lnTo>
                      <a:pt x="1277" y="3013"/>
                    </a:lnTo>
                    <a:lnTo>
                      <a:pt x="1361" y="3013"/>
                    </a:lnTo>
                    <a:lnTo>
                      <a:pt x="1402" y="2992"/>
                    </a:lnTo>
                    <a:lnTo>
                      <a:pt x="1402" y="2950"/>
                    </a:lnTo>
                    <a:lnTo>
                      <a:pt x="1486" y="2950"/>
                    </a:lnTo>
                    <a:lnTo>
                      <a:pt x="1507" y="2992"/>
                    </a:lnTo>
                    <a:lnTo>
                      <a:pt x="1570" y="2992"/>
                    </a:lnTo>
                    <a:lnTo>
                      <a:pt x="1591" y="2929"/>
                    </a:lnTo>
                    <a:lnTo>
                      <a:pt x="1633" y="2929"/>
                    </a:lnTo>
                    <a:lnTo>
                      <a:pt x="1695" y="2971"/>
                    </a:lnTo>
                    <a:lnTo>
                      <a:pt x="1716" y="2908"/>
                    </a:lnTo>
                    <a:lnTo>
                      <a:pt x="1716" y="2867"/>
                    </a:lnTo>
                    <a:lnTo>
                      <a:pt x="1716" y="2783"/>
                    </a:lnTo>
                    <a:lnTo>
                      <a:pt x="1737" y="2804"/>
                    </a:lnTo>
                    <a:lnTo>
                      <a:pt x="1779" y="2762"/>
                    </a:lnTo>
                    <a:lnTo>
                      <a:pt x="1821" y="2762"/>
                    </a:lnTo>
                    <a:lnTo>
                      <a:pt x="1800" y="2783"/>
                    </a:lnTo>
                    <a:lnTo>
                      <a:pt x="1779" y="2888"/>
                    </a:lnTo>
                    <a:lnTo>
                      <a:pt x="1800" y="2908"/>
                    </a:lnTo>
                    <a:lnTo>
                      <a:pt x="1821" y="2867"/>
                    </a:lnTo>
                    <a:lnTo>
                      <a:pt x="1884" y="2783"/>
                    </a:lnTo>
                    <a:lnTo>
                      <a:pt x="1905" y="2783"/>
                    </a:lnTo>
                    <a:lnTo>
                      <a:pt x="1905" y="2867"/>
                    </a:lnTo>
                    <a:lnTo>
                      <a:pt x="1884" y="2908"/>
                    </a:lnTo>
                    <a:lnTo>
                      <a:pt x="1884" y="2971"/>
                    </a:lnTo>
                    <a:lnTo>
                      <a:pt x="1947" y="2929"/>
                    </a:lnTo>
                    <a:lnTo>
                      <a:pt x="1988" y="2929"/>
                    </a:lnTo>
                    <a:lnTo>
                      <a:pt x="1988" y="2971"/>
                    </a:lnTo>
                    <a:lnTo>
                      <a:pt x="1884" y="3034"/>
                    </a:lnTo>
                    <a:lnTo>
                      <a:pt x="1779" y="3097"/>
                    </a:lnTo>
                    <a:lnTo>
                      <a:pt x="1800" y="3118"/>
                    </a:lnTo>
                    <a:lnTo>
                      <a:pt x="1821" y="3097"/>
                    </a:lnTo>
                    <a:lnTo>
                      <a:pt x="1884" y="3097"/>
                    </a:lnTo>
                    <a:lnTo>
                      <a:pt x="1905" y="3118"/>
                    </a:lnTo>
                    <a:lnTo>
                      <a:pt x="1947" y="3118"/>
                    </a:lnTo>
                    <a:lnTo>
                      <a:pt x="1988" y="3139"/>
                    </a:lnTo>
                    <a:lnTo>
                      <a:pt x="2030" y="3118"/>
                    </a:lnTo>
                    <a:lnTo>
                      <a:pt x="2114" y="3097"/>
                    </a:lnTo>
                    <a:lnTo>
                      <a:pt x="2135" y="3013"/>
                    </a:lnTo>
                    <a:lnTo>
                      <a:pt x="2135" y="2971"/>
                    </a:lnTo>
                    <a:lnTo>
                      <a:pt x="2198" y="2992"/>
                    </a:lnTo>
                    <a:lnTo>
                      <a:pt x="2260" y="3013"/>
                    </a:lnTo>
                    <a:lnTo>
                      <a:pt x="2323" y="3076"/>
                    </a:lnTo>
                    <a:lnTo>
                      <a:pt x="2365" y="3034"/>
                    </a:lnTo>
                    <a:lnTo>
                      <a:pt x="2428" y="3013"/>
                    </a:lnTo>
                    <a:lnTo>
                      <a:pt x="2511" y="3013"/>
                    </a:lnTo>
                    <a:lnTo>
                      <a:pt x="2449" y="3076"/>
                    </a:lnTo>
                    <a:lnTo>
                      <a:pt x="2449" y="3097"/>
                    </a:lnTo>
                    <a:lnTo>
                      <a:pt x="2344" y="3139"/>
                    </a:lnTo>
                    <a:lnTo>
                      <a:pt x="2239" y="3139"/>
                    </a:lnTo>
                    <a:lnTo>
                      <a:pt x="2198" y="3201"/>
                    </a:lnTo>
                    <a:lnTo>
                      <a:pt x="2198" y="3243"/>
                    </a:lnTo>
                    <a:lnTo>
                      <a:pt x="2156" y="3285"/>
                    </a:lnTo>
                    <a:lnTo>
                      <a:pt x="2135" y="3327"/>
                    </a:lnTo>
                    <a:lnTo>
                      <a:pt x="2051" y="3327"/>
                    </a:lnTo>
                    <a:lnTo>
                      <a:pt x="2009" y="3348"/>
                    </a:lnTo>
                    <a:lnTo>
                      <a:pt x="1988" y="3411"/>
                    </a:lnTo>
                    <a:lnTo>
                      <a:pt x="1926" y="3432"/>
                    </a:lnTo>
                    <a:lnTo>
                      <a:pt x="1821" y="3452"/>
                    </a:lnTo>
                    <a:lnTo>
                      <a:pt x="1737" y="3515"/>
                    </a:lnTo>
                    <a:lnTo>
                      <a:pt x="1716" y="3557"/>
                    </a:lnTo>
                    <a:lnTo>
                      <a:pt x="1737" y="3599"/>
                    </a:lnTo>
                    <a:lnTo>
                      <a:pt x="1779" y="3620"/>
                    </a:lnTo>
                    <a:lnTo>
                      <a:pt x="1842" y="3620"/>
                    </a:lnTo>
                    <a:lnTo>
                      <a:pt x="1884" y="3557"/>
                    </a:lnTo>
                    <a:lnTo>
                      <a:pt x="1905" y="3536"/>
                    </a:lnTo>
                    <a:lnTo>
                      <a:pt x="1947" y="3536"/>
                    </a:lnTo>
                    <a:lnTo>
                      <a:pt x="1947" y="3599"/>
                    </a:lnTo>
                    <a:lnTo>
                      <a:pt x="1988" y="3620"/>
                    </a:lnTo>
                    <a:lnTo>
                      <a:pt x="2051" y="3599"/>
                    </a:lnTo>
                    <a:lnTo>
                      <a:pt x="2114" y="3536"/>
                    </a:lnTo>
                    <a:lnTo>
                      <a:pt x="2135" y="3494"/>
                    </a:lnTo>
                    <a:lnTo>
                      <a:pt x="2156" y="3494"/>
                    </a:lnTo>
                    <a:lnTo>
                      <a:pt x="2198" y="3432"/>
                    </a:lnTo>
                    <a:lnTo>
                      <a:pt x="2219" y="3348"/>
                    </a:lnTo>
                    <a:lnTo>
                      <a:pt x="2260" y="3327"/>
                    </a:lnTo>
                    <a:lnTo>
                      <a:pt x="2365" y="3222"/>
                    </a:lnTo>
                    <a:lnTo>
                      <a:pt x="2428" y="3201"/>
                    </a:lnTo>
                    <a:lnTo>
                      <a:pt x="2470" y="3222"/>
                    </a:lnTo>
                    <a:lnTo>
                      <a:pt x="2553" y="3222"/>
                    </a:lnTo>
                    <a:lnTo>
                      <a:pt x="2511" y="3285"/>
                    </a:lnTo>
                    <a:lnTo>
                      <a:pt x="2553" y="3285"/>
                    </a:lnTo>
                    <a:lnTo>
                      <a:pt x="2616" y="3243"/>
                    </a:lnTo>
                    <a:lnTo>
                      <a:pt x="2658" y="3118"/>
                    </a:lnTo>
                    <a:lnTo>
                      <a:pt x="2721" y="3013"/>
                    </a:lnTo>
                    <a:lnTo>
                      <a:pt x="2721" y="2908"/>
                    </a:lnTo>
                    <a:lnTo>
                      <a:pt x="2742" y="2888"/>
                    </a:lnTo>
                    <a:lnTo>
                      <a:pt x="2763" y="2888"/>
                    </a:lnTo>
                    <a:lnTo>
                      <a:pt x="2825" y="2929"/>
                    </a:lnTo>
                    <a:lnTo>
                      <a:pt x="2846" y="2929"/>
                    </a:lnTo>
                    <a:lnTo>
                      <a:pt x="2888" y="2971"/>
                    </a:lnTo>
                    <a:lnTo>
                      <a:pt x="2888" y="3076"/>
                    </a:lnTo>
                    <a:lnTo>
                      <a:pt x="2867" y="3139"/>
                    </a:lnTo>
                    <a:lnTo>
                      <a:pt x="2846" y="3222"/>
                    </a:lnTo>
                    <a:lnTo>
                      <a:pt x="2867" y="3285"/>
                    </a:lnTo>
                    <a:lnTo>
                      <a:pt x="2846" y="3327"/>
                    </a:lnTo>
                    <a:lnTo>
                      <a:pt x="2763" y="3411"/>
                    </a:lnTo>
                    <a:lnTo>
                      <a:pt x="2721" y="3557"/>
                    </a:lnTo>
                    <a:lnTo>
                      <a:pt x="2721" y="3641"/>
                    </a:lnTo>
                    <a:lnTo>
                      <a:pt x="2679" y="3662"/>
                    </a:lnTo>
                    <a:lnTo>
                      <a:pt x="2679" y="3745"/>
                    </a:lnTo>
                    <a:lnTo>
                      <a:pt x="2742" y="3766"/>
                    </a:lnTo>
                    <a:lnTo>
                      <a:pt x="2825" y="3724"/>
                    </a:lnTo>
                    <a:lnTo>
                      <a:pt x="2888" y="3557"/>
                    </a:lnTo>
                    <a:lnTo>
                      <a:pt x="2951" y="3557"/>
                    </a:lnTo>
                    <a:lnTo>
                      <a:pt x="3035" y="3452"/>
                    </a:lnTo>
                    <a:lnTo>
                      <a:pt x="3076" y="3411"/>
                    </a:lnTo>
                    <a:lnTo>
                      <a:pt x="3097" y="3432"/>
                    </a:lnTo>
                    <a:lnTo>
                      <a:pt x="3202" y="3432"/>
                    </a:lnTo>
                    <a:lnTo>
                      <a:pt x="3202" y="3494"/>
                    </a:lnTo>
                    <a:lnTo>
                      <a:pt x="3139" y="3515"/>
                    </a:lnTo>
                    <a:lnTo>
                      <a:pt x="3035" y="3620"/>
                    </a:lnTo>
                    <a:lnTo>
                      <a:pt x="3035" y="3704"/>
                    </a:lnTo>
                    <a:lnTo>
                      <a:pt x="2993" y="3766"/>
                    </a:lnTo>
                    <a:lnTo>
                      <a:pt x="3035" y="3808"/>
                    </a:lnTo>
                    <a:lnTo>
                      <a:pt x="3035" y="3913"/>
                    </a:lnTo>
                    <a:lnTo>
                      <a:pt x="3076" y="3955"/>
                    </a:lnTo>
                    <a:lnTo>
                      <a:pt x="3097" y="3871"/>
                    </a:lnTo>
                    <a:lnTo>
                      <a:pt x="3160" y="3829"/>
                    </a:lnTo>
                    <a:lnTo>
                      <a:pt x="3202" y="3829"/>
                    </a:lnTo>
                    <a:lnTo>
                      <a:pt x="3265" y="3913"/>
                    </a:lnTo>
                    <a:lnTo>
                      <a:pt x="3307" y="3934"/>
                    </a:lnTo>
                    <a:lnTo>
                      <a:pt x="3390" y="3871"/>
                    </a:lnTo>
                    <a:lnTo>
                      <a:pt x="3390" y="3829"/>
                    </a:lnTo>
                    <a:lnTo>
                      <a:pt x="3411" y="3829"/>
                    </a:lnTo>
                    <a:lnTo>
                      <a:pt x="3453" y="3766"/>
                    </a:lnTo>
                    <a:lnTo>
                      <a:pt x="3453" y="3704"/>
                    </a:lnTo>
                    <a:lnTo>
                      <a:pt x="3474" y="3704"/>
                    </a:lnTo>
                    <a:lnTo>
                      <a:pt x="3495" y="3641"/>
                    </a:lnTo>
                    <a:lnTo>
                      <a:pt x="3474" y="3599"/>
                    </a:lnTo>
                    <a:lnTo>
                      <a:pt x="3495" y="3494"/>
                    </a:lnTo>
                    <a:lnTo>
                      <a:pt x="3599" y="3348"/>
                    </a:lnTo>
                    <a:lnTo>
                      <a:pt x="3662" y="3243"/>
                    </a:lnTo>
                    <a:lnTo>
                      <a:pt x="3662" y="3097"/>
                    </a:lnTo>
                    <a:lnTo>
                      <a:pt x="3662" y="3034"/>
                    </a:lnTo>
                    <a:lnTo>
                      <a:pt x="3620" y="3034"/>
                    </a:lnTo>
                    <a:lnTo>
                      <a:pt x="3620" y="3097"/>
                    </a:lnTo>
                    <a:lnTo>
                      <a:pt x="3579" y="3180"/>
                    </a:lnTo>
                    <a:lnTo>
                      <a:pt x="3495" y="3222"/>
                    </a:lnTo>
                    <a:lnTo>
                      <a:pt x="3411" y="3306"/>
                    </a:lnTo>
                    <a:lnTo>
                      <a:pt x="3369" y="3327"/>
                    </a:lnTo>
                    <a:lnTo>
                      <a:pt x="3348" y="3243"/>
                    </a:lnTo>
                    <a:lnTo>
                      <a:pt x="3369" y="3180"/>
                    </a:lnTo>
                    <a:lnTo>
                      <a:pt x="3369" y="3097"/>
                    </a:lnTo>
                    <a:lnTo>
                      <a:pt x="3474" y="3013"/>
                    </a:lnTo>
                    <a:lnTo>
                      <a:pt x="3495" y="2971"/>
                    </a:lnTo>
                    <a:lnTo>
                      <a:pt x="3579" y="2888"/>
                    </a:lnTo>
                    <a:lnTo>
                      <a:pt x="3599" y="2888"/>
                    </a:lnTo>
                    <a:lnTo>
                      <a:pt x="3662" y="2867"/>
                    </a:lnTo>
                    <a:lnTo>
                      <a:pt x="3620" y="2804"/>
                    </a:lnTo>
                    <a:lnTo>
                      <a:pt x="3579" y="2867"/>
                    </a:lnTo>
                    <a:lnTo>
                      <a:pt x="3516" y="2867"/>
                    </a:lnTo>
                    <a:lnTo>
                      <a:pt x="3453" y="2888"/>
                    </a:lnTo>
                    <a:lnTo>
                      <a:pt x="3390" y="2888"/>
                    </a:lnTo>
                    <a:lnTo>
                      <a:pt x="3307" y="2929"/>
                    </a:lnTo>
                    <a:lnTo>
                      <a:pt x="3286" y="2992"/>
                    </a:lnTo>
                    <a:lnTo>
                      <a:pt x="3181" y="3076"/>
                    </a:lnTo>
                    <a:lnTo>
                      <a:pt x="3181" y="3118"/>
                    </a:lnTo>
                    <a:lnTo>
                      <a:pt x="3139" y="3180"/>
                    </a:lnTo>
                    <a:lnTo>
                      <a:pt x="3055" y="3097"/>
                    </a:lnTo>
                    <a:lnTo>
                      <a:pt x="3055" y="3034"/>
                    </a:lnTo>
                    <a:lnTo>
                      <a:pt x="3035" y="2971"/>
                    </a:lnTo>
                    <a:lnTo>
                      <a:pt x="3035" y="2888"/>
                    </a:lnTo>
                    <a:lnTo>
                      <a:pt x="3076" y="2929"/>
                    </a:lnTo>
                    <a:lnTo>
                      <a:pt x="3097" y="2929"/>
                    </a:lnTo>
                    <a:lnTo>
                      <a:pt x="3181" y="2825"/>
                    </a:lnTo>
                    <a:lnTo>
                      <a:pt x="3139" y="2825"/>
                    </a:lnTo>
                    <a:lnTo>
                      <a:pt x="3055" y="2804"/>
                    </a:lnTo>
                    <a:lnTo>
                      <a:pt x="3181" y="2804"/>
                    </a:lnTo>
                    <a:lnTo>
                      <a:pt x="3076" y="2783"/>
                    </a:lnTo>
                    <a:lnTo>
                      <a:pt x="3035" y="2720"/>
                    </a:lnTo>
                    <a:lnTo>
                      <a:pt x="3035" y="2678"/>
                    </a:lnTo>
                    <a:lnTo>
                      <a:pt x="3055" y="2657"/>
                    </a:lnTo>
                    <a:lnTo>
                      <a:pt x="3160" y="2657"/>
                    </a:lnTo>
                    <a:lnTo>
                      <a:pt x="3181" y="2616"/>
                    </a:lnTo>
                    <a:lnTo>
                      <a:pt x="3265" y="2553"/>
                    </a:lnTo>
                    <a:lnTo>
                      <a:pt x="3286" y="2448"/>
                    </a:lnTo>
                    <a:lnTo>
                      <a:pt x="3369" y="2448"/>
                    </a:lnTo>
                    <a:lnTo>
                      <a:pt x="3390" y="2469"/>
                    </a:lnTo>
                    <a:lnTo>
                      <a:pt x="3495" y="2406"/>
                    </a:lnTo>
                    <a:lnTo>
                      <a:pt x="3516" y="2344"/>
                    </a:lnTo>
                    <a:lnTo>
                      <a:pt x="3516" y="2260"/>
                    </a:lnTo>
                    <a:lnTo>
                      <a:pt x="3495" y="2197"/>
                    </a:lnTo>
                    <a:lnTo>
                      <a:pt x="3411" y="2281"/>
                    </a:lnTo>
                    <a:lnTo>
                      <a:pt x="3369" y="2302"/>
                    </a:lnTo>
                    <a:lnTo>
                      <a:pt x="3348" y="2281"/>
                    </a:lnTo>
                    <a:lnTo>
                      <a:pt x="3286" y="2281"/>
                    </a:lnTo>
                    <a:lnTo>
                      <a:pt x="3286" y="2344"/>
                    </a:lnTo>
                    <a:lnTo>
                      <a:pt x="3286" y="2406"/>
                    </a:lnTo>
                    <a:lnTo>
                      <a:pt x="3244" y="2448"/>
                    </a:lnTo>
                    <a:lnTo>
                      <a:pt x="3181" y="2448"/>
                    </a:lnTo>
                    <a:lnTo>
                      <a:pt x="3097" y="2490"/>
                    </a:lnTo>
                    <a:lnTo>
                      <a:pt x="3055" y="2511"/>
                    </a:lnTo>
                    <a:lnTo>
                      <a:pt x="3055" y="2574"/>
                    </a:lnTo>
                    <a:lnTo>
                      <a:pt x="2993" y="2595"/>
                    </a:lnTo>
                    <a:lnTo>
                      <a:pt x="3035" y="2553"/>
                    </a:lnTo>
                    <a:lnTo>
                      <a:pt x="3035" y="2469"/>
                    </a:lnTo>
                    <a:lnTo>
                      <a:pt x="2993" y="2490"/>
                    </a:lnTo>
                    <a:lnTo>
                      <a:pt x="2951" y="2490"/>
                    </a:lnTo>
                    <a:lnTo>
                      <a:pt x="2993" y="2469"/>
                    </a:lnTo>
                    <a:lnTo>
                      <a:pt x="3055" y="2406"/>
                    </a:lnTo>
                    <a:lnTo>
                      <a:pt x="3076" y="2385"/>
                    </a:lnTo>
                    <a:lnTo>
                      <a:pt x="3035" y="2364"/>
                    </a:lnTo>
                    <a:lnTo>
                      <a:pt x="3076" y="2302"/>
                    </a:lnTo>
                    <a:lnTo>
                      <a:pt x="3097" y="2239"/>
                    </a:lnTo>
                    <a:lnTo>
                      <a:pt x="3055" y="2197"/>
                    </a:lnTo>
                    <a:lnTo>
                      <a:pt x="2993" y="2260"/>
                    </a:lnTo>
                    <a:lnTo>
                      <a:pt x="3035" y="2197"/>
                    </a:lnTo>
                    <a:lnTo>
                      <a:pt x="3035" y="2155"/>
                    </a:lnTo>
                    <a:lnTo>
                      <a:pt x="2993" y="2155"/>
                    </a:lnTo>
                    <a:lnTo>
                      <a:pt x="2930" y="2176"/>
                    </a:lnTo>
                    <a:lnTo>
                      <a:pt x="2878" y="2166"/>
                    </a:lnTo>
                    <a:lnTo>
                      <a:pt x="2878" y="2166"/>
                    </a:lnTo>
                    <a:lnTo>
                      <a:pt x="2825" y="2176"/>
                    </a:lnTo>
                    <a:lnTo>
                      <a:pt x="2872" y="2165"/>
                    </a:lnTo>
                    <a:lnTo>
                      <a:pt x="2872" y="2165"/>
                    </a:lnTo>
                    <a:lnTo>
                      <a:pt x="2825" y="2155"/>
                    </a:lnTo>
                    <a:lnTo>
                      <a:pt x="2909" y="2155"/>
                    </a:lnTo>
                    <a:lnTo>
                      <a:pt x="2993" y="2113"/>
                    </a:lnTo>
                    <a:lnTo>
                      <a:pt x="3035" y="2072"/>
                    </a:lnTo>
                    <a:lnTo>
                      <a:pt x="3076" y="2072"/>
                    </a:lnTo>
                    <a:lnTo>
                      <a:pt x="3139" y="2051"/>
                    </a:lnTo>
                    <a:lnTo>
                      <a:pt x="3139" y="1967"/>
                    </a:lnTo>
                    <a:lnTo>
                      <a:pt x="3181" y="1904"/>
                    </a:lnTo>
                    <a:lnTo>
                      <a:pt x="3181" y="1862"/>
                    </a:lnTo>
                    <a:lnTo>
                      <a:pt x="3097" y="1800"/>
                    </a:lnTo>
                    <a:lnTo>
                      <a:pt x="2993" y="1716"/>
                    </a:lnTo>
                    <a:lnTo>
                      <a:pt x="2888" y="1716"/>
                    </a:lnTo>
                    <a:lnTo>
                      <a:pt x="2783" y="1737"/>
                    </a:lnTo>
                    <a:lnTo>
                      <a:pt x="2742" y="1737"/>
                    </a:lnTo>
                    <a:lnTo>
                      <a:pt x="2742" y="1779"/>
                    </a:lnTo>
                    <a:lnTo>
                      <a:pt x="2679" y="1862"/>
                    </a:lnTo>
                    <a:lnTo>
                      <a:pt x="2658" y="1946"/>
                    </a:lnTo>
                    <a:lnTo>
                      <a:pt x="2679" y="1841"/>
                    </a:lnTo>
                    <a:lnTo>
                      <a:pt x="2658" y="1820"/>
                    </a:lnTo>
                    <a:lnTo>
                      <a:pt x="2679" y="1758"/>
                    </a:lnTo>
                    <a:lnTo>
                      <a:pt x="2742" y="1674"/>
                    </a:lnTo>
                    <a:lnTo>
                      <a:pt x="2721" y="1674"/>
                    </a:lnTo>
                    <a:lnTo>
                      <a:pt x="2637" y="1737"/>
                    </a:lnTo>
                    <a:lnTo>
                      <a:pt x="2574" y="1779"/>
                    </a:lnTo>
                    <a:lnTo>
                      <a:pt x="2553" y="1862"/>
                    </a:lnTo>
                    <a:lnTo>
                      <a:pt x="2532" y="1841"/>
                    </a:lnTo>
                    <a:lnTo>
                      <a:pt x="2491" y="1862"/>
                    </a:lnTo>
                    <a:lnTo>
                      <a:pt x="2449" y="1883"/>
                    </a:lnTo>
                    <a:lnTo>
                      <a:pt x="2428" y="1862"/>
                    </a:lnTo>
                    <a:lnTo>
                      <a:pt x="2344" y="1925"/>
                    </a:lnTo>
                    <a:lnTo>
                      <a:pt x="2323" y="2030"/>
                    </a:lnTo>
                    <a:lnTo>
                      <a:pt x="2239" y="2072"/>
                    </a:lnTo>
                    <a:lnTo>
                      <a:pt x="2239" y="2072"/>
                    </a:lnTo>
                    <a:lnTo>
                      <a:pt x="2281" y="2030"/>
                    </a:lnTo>
                    <a:lnTo>
                      <a:pt x="2323" y="1883"/>
                    </a:lnTo>
                    <a:lnTo>
                      <a:pt x="2365" y="1779"/>
                    </a:lnTo>
                    <a:lnTo>
                      <a:pt x="2344" y="1758"/>
                    </a:lnTo>
                    <a:lnTo>
                      <a:pt x="2281" y="1779"/>
                    </a:lnTo>
                    <a:lnTo>
                      <a:pt x="2260" y="1841"/>
                    </a:lnTo>
                    <a:lnTo>
                      <a:pt x="2219" y="1883"/>
                    </a:lnTo>
                    <a:lnTo>
                      <a:pt x="2177" y="1841"/>
                    </a:lnTo>
                    <a:lnTo>
                      <a:pt x="2239" y="1779"/>
                    </a:lnTo>
                    <a:lnTo>
                      <a:pt x="2260" y="1737"/>
                    </a:lnTo>
                    <a:lnTo>
                      <a:pt x="2260" y="1716"/>
                    </a:lnTo>
                    <a:lnTo>
                      <a:pt x="2177" y="1737"/>
                    </a:lnTo>
                    <a:lnTo>
                      <a:pt x="2072" y="1820"/>
                    </a:lnTo>
                    <a:lnTo>
                      <a:pt x="2030" y="1820"/>
                    </a:lnTo>
                    <a:lnTo>
                      <a:pt x="2009" y="1737"/>
                    </a:lnTo>
                    <a:lnTo>
                      <a:pt x="1967" y="1737"/>
                    </a:lnTo>
                    <a:lnTo>
                      <a:pt x="1905" y="1820"/>
                    </a:lnTo>
                    <a:lnTo>
                      <a:pt x="1842" y="1820"/>
                    </a:lnTo>
                    <a:lnTo>
                      <a:pt x="1842" y="1779"/>
                    </a:lnTo>
                    <a:lnTo>
                      <a:pt x="1947" y="1737"/>
                    </a:lnTo>
                    <a:lnTo>
                      <a:pt x="2009" y="1632"/>
                    </a:lnTo>
                    <a:lnTo>
                      <a:pt x="2030" y="1548"/>
                    </a:lnTo>
                    <a:lnTo>
                      <a:pt x="1947" y="1548"/>
                    </a:lnTo>
                    <a:lnTo>
                      <a:pt x="1863" y="1611"/>
                    </a:lnTo>
                    <a:lnTo>
                      <a:pt x="1863" y="1611"/>
                    </a:lnTo>
                    <a:lnTo>
                      <a:pt x="1926" y="1527"/>
                    </a:lnTo>
                    <a:lnTo>
                      <a:pt x="2009" y="1444"/>
                    </a:lnTo>
                    <a:lnTo>
                      <a:pt x="2114" y="1444"/>
                    </a:lnTo>
                    <a:lnTo>
                      <a:pt x="2156" y="1423"/>
                    </a:lnTo>
                    <a:lnTo>
                      <a:pt x="2239" y="1381"/>
                    </a:lnTo>
                    <a:lnTo>
                      <a:pt x="2281" y="1339"/>
                    </a:lnTo>
                    <a:lnTo>
                      <a:pt x="2281" y="1276"/>
                    </a:lnTo>
                    <a:lnTo>
                      <a:pt x="2260" y="1318"/>
                    </a:lnTo>
                    <a:lnTo>
                      <a:pt x="2156" y="1339"/>
                    </a:lnTo>
                    <a:lnTo>
                      <a:pt x="2114" y="1318"/>
                    </a:lnTo>
                    <a:lnTo>
                      <a:pt x="2030" y="1235"/>
                    </a:lnTo>
                    <a:lnTo>
                      <a:pt x="1967" y="1235"/>
                    </a:lnTo>
                    <a:lnTo>
                      <a:pt x="1926" y="1255"/>
                    </a:lnTo>
                    <a:lnTo>
                      <a:pt x="1967" y="1151"/>
                    </a:lnTo>
                    <a:lnTo>
                      <a:pt x="2009" y="1130"/>
                    </a:lnTo>
                    <a:lnTo>
                      <a:pt x="2009" y="1109"/>
                    </a:lnTo>
                    <a:lnTo>
                      <a:pt x="1947" y="1130"/>
                    </a:lnTo>
                    <a:lnTo>
                      <a:pt x="1863" y="1193"/>
                    </a:lnTo>
                    <a:lnTo>
                      <a:pt x="1821" y="1255"/>
                    </a:lnTo>
                    <a:lnTo>
                      <a:pt x="1737" y="1339"/>
                    </a:lnTo>
                    <a:lnTo>
                      <a:pt x="1695" y="1360"/>
                    </a:lnTo>
                    <a:lnTo>
                      <a:pt x="1654" y="1423"/>
                    </a:lnTo>
                    <a:lnTo>
                      <a:pt x="1591" y="1465"/>
                    </a:lnTo>
                    <a:lnTo>
                      <a:pt x="1528" y="1548"/>
                    </a:lnTo>
                    <a:lnTo>
                      <a:pt x="1528" y="1444"/>
                    </a:lnTo>
                    <a:lnTo>
                      <a:pt x="1549" y="1360"/>
                    </a:lnTo>
                    <a:lnTo>
                      <a:pt x="1612" y="1297"/>
                    </a:lnTo>
                    <a:lnTo>
                      <a:pt x="1612" y="1235"/>
                    </a:lnTo>
                    <a:lnTo>
                      <a:pt x="1654" y="1130"/>
                    </a:lnTo>
                    <a:lnTo>
                      <a:pt x="1737" y="1046"/>
                    </a:lnTo>
                    <a:lnTo>
                      <a:pt x="1737" y="1004"/>
                    </a:lnTo>
                    <a:lnTo>
                      <a:pt x="1800" y="942"/>
                    </a:lnTo>
                    <a:lnTo>
                      <a:pt x="1821" y="921"/>
                    </a:lnTo>
                    <a:lnTo>
                      <a:pt x="1863" y="816"/>
                    </a:lnTo>
                    <a:lnTo>
                      <a:pt x="1947" y="774"/>
                    </a:lnTo>
                    <a:lnTo>
                      <a:pt x="2009" y="711"/>
                    </a:lnTo>
                    <a:lnTo>
                      <a:pt x="2051" y="691"/>
                    </a:lnTo>
                    <a:lnTo>
                      <a:pt x="2072" y="670"/>
                    </a:lnTo>
                    <a:lnTo>
                      <a:pt x="2072" y="607"/>
                    </a:lnTo>
                    <a:lnTo>
                      <a:pt x="2114" y="565"/>
                    </a:lnTo>
                    <a:lnTo>
                      <a:pt x="2135" y="481"/>
                    </a:lnTo>
                    <a:lnTo>
                      <a:pt x="2135" y="523"/>
                    </a:lnTo>
                    <a:lnTo>
                      <a:pt x="2114" y="586"/>
                    </a:lnTo>
                    <a:lnTo>
                      <a:pt x="2135" y="628"/>
                    </a:lnTo>
                    <a:lnTo>
                      <a:pt x="2219" y="523"/>
                    </a:lnTo>
                    <a:lnTo>
                      <a:pt x="2323" y="419"/>
                    </a:lnTo>
                    <a:lnTo>
                      <a:pt x="2344" y="377"/>
                    </a:lnTo>
                    <a:lnTo>
                      <a:pt x="2323" y="314"/>
                    </a:lnTo>
                    <a:lnTo>
                      <a:pt x="2260" y="314"/>
                    </a:lnTo>
                    <a:lnTo>
                      <a:pt x="2219" y="377"/>
                    </a:lnTo>
                    <a:lnTo>
                      <a:pt x="2177" y="293"/>
                    </a:lnTo>
                    <a:lnTo>
                      <a:pt x="2156" y="272"/>
                    </a:lnTo>
                    <a:lnTo>
                      <a:pt x="2177" y="209"/>
                    </a:lnTo>
                    <a:lnTo>
                      <a:pt x="2239" y="188"/>
                    </a:lnTo>
                    <a:lnTo>
                      <a:pt x="2323" y="209"/>
                    </a:lnTo>
                    <a:lnTo>
                      <a:pt x="2386" y="272"/>
                    </a:lnTo>
                    <a:lnTo>
                      <a:pt x="2449" y="251"/>
                    </a:lnTo>
                    <a:lnTo>
                      <a:pt x="2491" y="188"/>
                    </a:lnTo>
                    <a:lnTo>
                      <a:pt x="2491" y="42"/>
                    </a:lnTo>
                    <a:lnTo>
                      <a:pt x="2428" y="42"/>
                    </a:lnTo>
                    <a:lnTo>
                      <a:pt x="2365" y="63"/>
                    </a:lnTo>
                    <a:lnTo>
                      <a:pt x="2365" y="105"/>
                    </a:lnTo>
                    <a:lnTo>
                      <a:pt x="2323" y="105"/>
                    </a:lnTo>
                    <a:lnTo>
                      <a:pt x="2323" y="63"/>
                    </a:lnTo>
                    <a:lnTo>
                      <a:pt x="232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 name="Google Shape;5883;p93">
                <a:extLst>
                  <a:ext uri="{FF2B5EF4-FFF2-40B4-BE49-F238E27FC236}">
                    <a16:creationId xmlns:a16="http://schemas.microsoft.com/office/drawing/2014/main" id="{28EB332B-8747-42B8-B0D7-37198B26C63C}"/>
                  </a:ext>
                </a:extLst>
              </p:cNvPr>
              <p:cNvSpPr/>
              <p:nvPr/>
            </p:nvSpPr>
            <p:spPr>
              <a:xfrm>
                <a:off x="1922950" y="1659350"/>
                <a:ext cx="1050900" cy="913875"/>
              </a:xfrm>
              <a:custGeom>
                <a:avLst/>
                <a:gdLst/>
                <a:ahLst/>
                <a:cxnLst/>
                <a:rect l="l" t="t" r="r" b="b"/>
                <a:pathLst>
                  <a:path w="42036" h="36555" extrusionOk="0">
                    <a:moveTo>
                      <a:pt x="4310" y="26929"/>
                    </a:moveTo>
                    <a:lnTo>
                      <a:pt x="4310" y="27055"/>
                    </a:lnTo>
                    <a:lnTo>
                      <a:pt x="4268" y="27159"/>
                    </a:lnTo>
                    <a:lnTo>
                      <a:pt x="4101" y="27264"/>
                    </a:lnTo>
                    <a:lnTo>
                      <a:pt x="4076" y="27268"/>
                    </a:lnTo>
                    <a:lnTo>
                      <a:pt x="4076" y="27268"/>
                    </a:lnTo>
                    <a:lnTo>
                      <a:pt x="4101" y="27243"/>
                    </a:lnTo>
                    <a:lnTo>
                      <a:pt x="4185" y="27117"/>
                    </a:lnTo>
                    <a:lnTo>
                      <a:pt x="4289" y="27034"/>
                    </a:lnTo>
                    <a:lnTo>
                      <a:pt x="4310" y="26929"/>
                    </a:lnTo>
                    <a:close/>
                    <a:moveTo>
                      <a:pt x="40508" y="27473"/>
                    </a:moveTo>
                    <a:lnTo>
                      <a:pt x="40299" y="27557"/>
                    </a:lnTo>
                    <a:lnTo>
                      <a:pt x="40090" y="27599"/>
                    </a:lnTo>
                    <a:lnTo>
                      <a:pt x="40132" y="27536"/>
                    </a:lnTo>
                    <a:lnTo>
                      <a:pt x="40404" y="27473"/>
                    </a:lnTo>
                    <a:close/>
                    <a:moveTo>
                      <a:pt x="19459" y="0"/>
                    </a:moveTo>
                    <a:lnTo>
                      <a:pt x="19187" y="105"/>
                    </a:lnTo>
                    <a:lnTo>
                      <a:pt x="18810" y="105"/>
                    </a:lnTo>
                    <a:lnTo>
                      <a:pt x="18727" y="63"/>
                    </a:lnTo>
                    <a:lnTo>
                      <a:pt x="18392" y="84"/>
                    </a:lnTo>
                    <a:lnTo>
                      <a:pt x="18308" y="63"/>
                    </a:lnTo>
                    <a:lnTo>
                      <a:pt x="18120" y="105"/>
                    </a:lnTo>
                    <a:lnTo>
                      <a:pt x="18078" y="210"/>
                    </a:lnTo>
                    <a:lnTo>
                      <a:pt x="18120" y="272"/>
                    </a:lnTo>
                    <a:lnTo>
                      <a:pt x="18078" y="377"/>
                    </a:lnTo>
                    <a:lnTo>
                      <a:pt x="18078" y="524"/>
                    </a:lnTo>
                    <a:lnTo>
                      <a:pt x="18036" y="775"/>
                    </a:lnTo>
                    <a:lnTo>
                      <a:pt x="18120" y="879"/>
                    </a:lnTo>
                    <a:lnTo>
                      <a:pt x="18036" y="942"/>
                    </a:lnTo>
                    <a:lnTo>
                      <a:pt x="17911" y="942"/>
                    </a:lnTo>
                    <a:lnTo>
                      <a:pt x="17764" y="1109"/>
                    </a:lnTo>
                    <a:lnTo>
                      <a:pt x="17701" y="1214"/>
                    </a:lnTo>
                    <a:lnTo>
                      <a:pt x="17471" y="1298"/>
                    </a:lnTo>
                    <a:lnTo>
                      <a:pt x="17367" y="1444"/>
                    </a:lnTo>
                    <a:lnTo>
                      <a:pt x="17095" y="1633"/>
                    </a:lnTo>
                    <a:lnTo>
                      <a:pt x="16990" y="1674"/>
                    </a:lnTo>
                    <a:lnTo>
                      <a:pt x="16990" y="1758"/>
                    </a:lnTo>
                    <a:lnTo>
                      <a:pt x="17074" y="1925"/>
                    </a:lnTo>
                    <a:lnTo>
                      <a:pt x="17074" y="2072"/>
                    </a:lnTo>
                    <a:lnTo>
                      <a:pt x="16760" y="2030"/>
                    </a:lnTo>
                    <a:lnTo>
                      <a:pt x="16739" y="1946"/>
                    </a:lnTo>
                    <a:lnTo>
                      <a:pt x="16718" y="2135"/>
                    </a:lnTo>
                    <a:lnTo>
                      <a:pt x="16613" y="2281"/>
                    </a:lnTo>
                    <a:lnTo>
                      <a:pt x="16530" y="2302"/>
                    </a:lnTo>
                    <a:lnTo>
                      <a:pt x="16509" y="2365"/>
                    </a:lnTo>
                    <a:lnTo>
                      <a:pt x="16300" y="2407"/>
                    </a:lnTo>
                    <a:lnTo>
                      <a:pt x="16237" y="2574"/>
                    </a:lnTo>
                    <a:lnTo>
                      <a:pt x="16132" y="2595"/>
                    </a:lnTo>
                    <a:lnTo>
                      <a:pt x="16028" y="2700"/>
                    </a:lnTo>
                    <a:lnTo>
                      <a:pt x="15944" y="2700"/>
                    </a:lnTo>
                    <a:lnTo>
                      <a:pt x="15923" y="2804"/>
                    </a:lnTo>
                    <a:lnTo>
                      <a:pt x="15776" y="2888"/>
                    </a:lnTo>
                    <a:lnTo>
                      <a:pt x="15672" y="2993"/>
                    </a:lnTo>
                    <a:lnTo>
                      <a:pt x="15588" y="2972"/>
                    </a:lnTo>
                    <a:lnTo>
                      <a:pt x="15588" y="3076"/>
                    </a:lnTo>
                    <a:lnTo>
                      <a:pt x="15776" y="3139"/>
                    </a:lnTo>
                    <a:lnTo>
                      <a:pt x="15986" y="3139"/>
                    </a:lnTo>
                    <a:lnTo>
                      <a:pt x="15986" y="3244"/>
                    </a:lnTo>
                    <a:lnTo>
                      <a:pt x="15839" y="3202"/>
                    </a:lnTo>
                    <a:lnTo>
                      <a:pt x="15944" y="3516"/>
                    </a:lnTo>
                    <a:lnTo>
                      <a:pt x="16028" y="3599"/>
                    </a:lnTo>
                    <a:lnTo>
                      <a:pt x="16007" y="3725"/>
                    </a:lnTo>
                    <a:lnTo>
                      <a:pt x="15944" y="3871"/>
                    </a:lnTo>
                    <a:lnTo>
                      <a:pt x="16007" y="4018"/>
                    </a:lnTo>
                    <a:lnTo>
                      <a:pt x="15902" y="4185"/>
                    </a:lnTo>
                    <a:lnTo>
                      <a:pt x="15902" y="4394"/>
                    </a:lnTo>
                    <a:lnTo>
                      <a:pt x="15902" y="4457"/>
                    </a:lnTo>
                    <a:lnTo>
                      <a:pt x="15986" y="4457"/>
                    </a:lnTo>
                    <a:lnTo>
                      <a:pt x="16028" y="4478"/>
                    </a:lnTo>
                    <a:lnTo>
                      <a:pt x="16111" y="4394"/>
                    </a:lnTo>
                    <a:lnTo>
                      <a:pt x="16237" y="4374"/>
                    </a:lnTo>
                    <a:lnTo>
                      <a:pt x="16341" y="4394"/>
                    </a:lnTo>
                    <a:lnTo>
                      <a:pt x="16509" y="4374"/>
                    </a:lnTo>
                    <a:lnTo>
                      <a:pt x="16676" y="4227"/>
                    </a:lnTo>
                    <a:lnTo>
                      <a:pt x="16760" y="4185"/>
                    </a:lnTo>
                    <a:lnTo>
                      <a:pt x="16760" y="4143"/>
                    </a:lnTo>
                    <a:lnTo>
                      <a:pt x="16864" y="4060"/>
                    </a:lnTo>
                    <a:lnTo>
                      <a:pt x="16927" y="4143"/>
                    </a:lnTo>
                    <a:lnTo>
                      <a:pt x="16927" y="4269"/>
                    </a:lnTo>
                    <a:lnTo>
                      <a:pt x="16844" y="4353"/>
                    </a:lnTo>
                    <a:lnTo>
                      <a:pt x="16927" y="4457"/>
                    </a:lnTo>
                    <a:lnTo>
                      <a:pt x="17032" y="4457"/>
                    </a:lnTo>
                    <a:lnTo>
                      <a:pt x="17178" y="4374"/>
                    </a:lnTo>
                    <a:lnTo>
                      <a:pt x="17346" y="4374"/>
                    </a:lnTo>
                    <a:lnTo>
                      <a:pt x="17450" y="4248"/>
                    </a:lnTo>
                    <a:lnTo>
                      <a:pt x="17597" y="4081"/>
                    </a:lnTo>
                    <a:lnTo>
                      <a:pt x="17576" y="4018"/>
                    </a:lnTo>
                    <a:lnTo>
                      <a:pt x="17701" y="3850"/>
                    </a:lnTo>
                    <a:lnTo>
                      <a:pt x="17722" y="3767"/>
                    </a:lnTo>
                    <a:lnTo>
                      <a:pt x="17890" y="3620"/>
                    </a:lnTo>
                    <a:lnTo>
                      <a:pt x="18015" y="3557"/>
                    </a:lnTo>
                    <a:lnTo>
                      <a:pt x="18036" y="3453"/>
                    </a:lnTo>
                    <a:lnTo>
                      <a:pt x="18099" y="3306"/>
                    </a:lnTo>
                    <a:lnTo>
                      <a:pt x="18204" y="3453"/>
                    </a:lnTo>
                    <a:lnTo>
                      <a:pt x="18350" y="3453"/>
                    </a:lnTo>
                    <a:lnTo>
                      <a:pt x="18497" y="3348"/>
                    </a:lnTo>
                    <a:lnTo>
                      <a:pt x="18643" y="3327"/>
                    </a:lnTo>
                    <a:lnTo>
                      <a:pt x="18706" y="3181"/>
                    </a:lnTo>
                    <a:lnTo>
                      <a:pt x="18769" y="3181"/>
                    </a:lnTo>
                    <a:lnTo>
                      <a:pt x="18873" y="3076"/>
                    </a:lnTo>
                    <a:lnTo>
                      <a:pt x="18936" y="2909"/>
                    </a:lnTo>
                    <a:lnTo>
                      <a:pt x="19124" y="2867"/>
                    </a:lnTo>
                    <a:lnTo>
                      <a:pt x="19187" y="2846"/>
                    </a:lnTo>
                    <a:lnTo>
                      <a:pt x="19250" y="2888"/>
                    </a:lnTo>
                    <a:lnTo>
                      <a:pt x="19333" y="2846"/>
                    </a:lnTo>
                    <a:lnTo>
                      <a:pt x="19543" y="2846"/>
                    </a:lnTo>
                    <a:lnTo>
                      <a:pt x="19668" y="2762"/>
                    </a:lnTo>
                    <a:lnTo>
                      <a:pt x="19773" y="2762"/>
                    </a:lnTo>
                    <a:lnTo>
                      <a:pt x="20024" y="2658"/>
                    </a:lnTo>
                    <a:lnTo>
                      <a:pt x="20233" y="2616"/>
                    </a:lnTo>
                    <a:lnTo>
                      <a:pt x="20296" y="2595"/>
                    </a:lnTo>
                    <a:cubicBezTo>
                      <a:pt x="20338" y="2679"/>
                      <a:pt x="20442" y="2741"/>
                      <a:pt x="20526" y="2762"/>
                    </a:cubicBezTo>
                    <a:lnTo>
                      <a:pt x="20401" y="2783"/>
                    </a:lnTo>
                    <a:lnTo>
                      <a:pt x="19877" y="2993"/>
                    </a:lnTo>
                    <a:lnTo>
                      <a:pt x="19752" y="3097"/>
                    </a:lnTo>
                    <a:lnTo>
                      <a:pt x="19438" y="3181"/>
                    </a:lnTo>
                    <a:lnTo>
                      <a:pt x="19020" y="3369"/>
                    </a:lnTo>
                    <a:lnTo>
                      <a:pt x="18852" y="3495"/>
                    </a:lnTo>
                    <a:lnTo>
                      <a:pt x="18852" y="3578"/>
                    </a:lnTo>
                    <a:lnTo>
                      <a:pt x="18957" y="3578"/>
                    </a:lnTo>
                    <a:lnTo>
                      <a:pt x="19020" y="3620"/>
                    </a:lnTo>
                    <a:lnTo>
                      <a:pt x="18915" y="3704"/>
                    </a:lnTo>
                    <a:lnTo>
                      <a:pt x="18831" y="3704"/>
                    </a:lnTo>
                    <a:lnTo>
                      <a:pt x="18643" y="3850"/>
                    </a:lnTo>
                    <a:lnTo>
                      <a:pt x="18497" y="3850"/>
                    </a:lnTo>
                    <a:lnTo>
                      <a:pt x="18413" y="3934"/>
                    </a:lnTo>
                    <a:lnTo>
                      <a:pt x="18392" y="4039"/>
                    </a:lnTo>
                    <a:lnTo>
                      <a:pt x="18225" y="4143"/>
                    </a:lnTo>
                    <a:lnTo>
                      <a:pt x="18162" y="4227"/>
                    </a:lnTo>
                    <a:lnTo>
                      <a:pt x="18162" y="4353"/>
                    </a:lnTo>
                    <a:lnTo>
                      <a:pt x="18225" y="4311"/>
                    </a:lnTo>
                    <a:lnTo>
                      <a:pt x="18308" y="4374"/>
                    </a:lnTo>
                    <a:lnTo>
                      <a:pt x="18266" y="4457"/>
                    </a:lnTo>
                    <a:lnTo>
                      <a:pt x="18287" y="4478"/>
                    </a:lnTo>
                    <a:lnTo>
                      <a:pt x="18371" y="4457"/>
                    </a:lnTo>
                    <a:lnTo>
                      <a:pt x="18476" y="4415"/>
                    </a:lnTo>
                    <a:lnTo>
                      <a:pt x="18580" y="4415"/>
                    </a:lnTo>
                    <a:lnTo>
                      <a:pt x="18643" y="4457"/>
                    </a:lnTo>
                    <a:lnTo>
                      <a:pt x="18622" y="4541"/>
                    </a:lnTo>
                    <a:lnTo>
                      <a:pt x="18497" y="4583"/>
                    </a:lnTo>
                    <a:lnTo>
                      <a:pt x="18371" y="4520"/>
                    </a:lnTo>
                    <a:lnTo>
                      <a:pt x="18287" y="4562"/>
                    </a:lnTo>
                    <a:lnTo>
                      <a:pt x="18308" y="4666"/>
                    </a:lnTo>
                    <a:lnTo>
                      <a:pt x="18517" y="4771"/>
                    </a:lnTo>
                    <a:lnTo>
                      <a:pt x="18601" y="4729"/>
                    </a:lnTo>
                    <a:lnTo>
                      <a:pt x="18622" y="4646"/>
                    </a:lnTo>
                    <a:lnTo>
                      <a:pt x="18685" y="4646"/>
                    </a:lnTo>
                    <a:lnTo>
                      <a:pt x="18727" y="4687"/>
                    </a:lnTo>
                    <a:lnTo>
                      <a:pt x="18685" y="4771"/>
                    </a:lnTo>
                    <a:lnTo>
                      <a:pt x="18789" y="4771"/>
                    </a:lnTo>
                    <a:lnTo>
                      <a:pt x="18957" y="4792"/>
                    </a:lnTo>
                    <a:lnTo>
                      <a:pt x="19145" y="4750"/>
                    </a:lnTo>
                    <a:lnTo>
                      <a:pt x="19250" y="4750"/>
                    </a:lnTo>
                    <a:lnTo>
                      <a:pt x="19417" y="4834"/>
                    </a:lnTo>
                    <a:lnTo>
                      <a:pt x="19543" y="4792"/>
                    </a:lnTo>
                    <a:lnTo>
                      <a:pt x="19647" y="4855"/>
                    </a:lnTo>
                    <a:lnTo>
                      <a:pt x="19689" y="4959"/>
                    </a:lnTo>
                    <a:lnTo>
                      <a:pt x="19773" y="4959"/>
                    </a:lnTo>
                    <a:lnTo>
                      <a:pt x="19752" y="5001"/>
                    </a:lnTo>
                    <a:lnTo>
                      <a:pt x="19668" y="5001"/>
                    </a:lnTo>
                    <a:lnTo>
                      <a:pt x="19522" y="4897"/>
                    </a:lnTo>
                    <a:lnTo>
                      <a:pt x="19313" y="4897"/>
                    </a:lnTo>
                    <a:lnTo>
                      <a:pt x="19250" y="4959"/>
                    </a:lnTo>
                    <a:lnTo>
                      <a:pt x="19375" y="5001"/>
                    </a:lnTo>
                    <a:lnTo>
                      <a:pt x="19417" y="5064"/>
                    </a:lnTo>
                    <a:lnTo>
                      <a:pt x="19229" y="5064"/>
                    </a:lnTo>
                    <a:lnTo>
                      <a:pt x="19145" y="4980"/>
                    </a:lnTo>
                    <a:lnTo>
                      <a:pt x="18894" y="5001"/>
                    </a:lnTo>
                    <a:lnTo>
                      <a:pt x="18810" y="5064"/>
                    </a:lnTo>
                    <a:lnTo>
                      <a:pt x="18727" y="5001"/>
                    </a:lnTo>
                    <a:lnTo>
                      <a:pt x="18643" y="5001"/>
                    </a:lnTo>
                    <a:lnTo>
                      <a:pt x="18580" y="5043"/>
                    </a:lnTo>
                    <a:lnTo>
                      <a:pt x="18497" y="5043"/>
                    </a:lnTo>
                    <a:lnTo>
                      <a:pt x="18225" y="5064"/>
                    </a:lnTo>
                    <a:lnTo>
                      <a:pt x="18183" y="5085"/>
                    </a:lnTo>
                    <a:lnTo>
                      <a:pt x="17973" y="5127"/>
                    </a:lnTo>
                    <a:lnTo>
                      <a:pt x="17953" y="5273"/>
                    </a:lnTo>
                    <a:lnTo>
                      <a:pt x="17973" y="5587"/>
                    </a:lnTo>
                    <a:lnTo>
                      <a:pt x="17994" y="5629"/>
                    </a:lnTo>
                    <a:lnTo>
                      <a:pt x="17994" y="5754"/>
                    </a:lnTo>
                    <a:lnTo>
                      <a:pt x="17953" y="5796"/>
                    </a:lnTo>
                    <a:lnTo>
                      <a:pt x="17953" y="5859"/>
                    </a:lnTo>
                    <a:lnTo>
                      <a:pt x="17994" y="5922"/>
                    </a:lnTo>
                    <a:lnTo>
                      <a:pt x="18099" y="5901"/>
                    </a:lnTo>
                    <a:lnTo>
                      <a:pt x="18141" y="5901"/>
                    </a:lnTo>
                    <a:lnTo>
                      <a:pt x="18225" y="5943"/>
                    </a:lnTo>
                    <a:lnTo>
                      <a:pt x="18329" y="5943"/>
                    </a:lnTo>
                    <a:lnTo>
                      <a:pt x="18371" y="5901"/>
                    </a:lnTo>
                    <a:lnTo>
                      <a:pt x="18392" y="5901"/>
                    </a:lnTo>
                    <a:lnTo>
                      <a:pt x="18476" y="5922"/>
                    </a:lnTo>
                    <a:lnTo>
                      <a:pt x="18517" y="5964"/>
                    </a:lnTo>
                    <a:lnTo>
                      <a:pt x="18559" y="5943"/>
                    </a:lnTo>
                    <a:lnTo>
                      <a:pt x="18622" y="6006"/>
                    </a:lnTo>
                    <a:lnTo>
                      <a:pt x="18622" y="6047"/>
                    </a:lnTo>
                    <a:lnTo>
                      <a:pt x="18706" y="6068"/>
                    </a:lnTo>
                    <a:lnTo>
                      <a:pt x="18789" y="6047"/>
                    </a:lnTo>
                    <a:lnTo>
                      <a:pt x="18852" y="6047"/>
                    </a:lnTo>
                    <a:lnTo>
                      <a:pt x="18915" y="6110"/>
                    </a:lnTo>
                    <a:lnTo>
                      <a:pt x="19041" y="6110"/>
                    </a:lnTo>
                    <a:lnTo>
                      <a:pt x="19124" y="6068"/>
                    </a:lnTo>
                    <a:lnTo>
                      <a:pt x="19229" y="6131"/>
                    </a:lnTo>
                    <a:lnTo>
                      <a:pt x="19333" y="6068"/>
                    </a:lnTo>
                    <a:lnTo>
                      <a:pt x="19417" y="6110"/>
                    </a:lnTo>
                    <a:lnTo>
                      <a:pt x="19543" y="6110"/>
                    </a:lnTo>
                    <a:lnTo>
                      <a:pt x="19647" y="6068"/>
                    </a:lnTo>
                    <a:lnTo>
                      <a:pt x="19752" y="6131"/>
                    </a:lnTo>
                    <a:lnTo>
                      <a:pt x="19773" y="6215"/>
                    </a:lnTo>
                    <a:lnTo>
                      <a:pt x="19857" y="6152"/>
                    </a:lnTo>
                    <a:lnTo>
                      <a:pt x="19877" y="6257"/>
                    </a:lnTo>
                    <a:lnTo>
                      <a:pt x="19982" y="6340"/>
                    </a:lnTo>
                    <a:lnTo>
                      <a:pt x="19982" y="6382"/>
                    </a:lnTo>
                    <a:lnTo>
                      <a:pt x="20003" y="6445"/>
                    </a:lnTo>
                    <a:lnTo>
                      <a:pt x="20108" y="6445"/>
                    </a:lnTo>
                    <a:lnTo>
                      <a:pt x="20191" y="6466"/>
                    </a:lnTo>
                    <a:lnTo>
                      <a:pt x="20212" y="6550"/>
                    </a:lnTo>
                    <a:lnTo>
                      <a:pt x="20275" y="6570"/>
                    </a:lnTo>
                    <a:lnTo>
                      <a:pt x="20359" y="6654"/>
                    </a:lnTo>
                    <a:lnTo>
                      <a:pt x="20317" y="6696"/>
                    </a:lnTo>
                    <a:lnTo>
                      <a:pt x="20317" y="6780"/>
                    </a:lnTo>
                    <a:lnTo>
                      <a:pt x="20422" y="6884"/>
                    </a:lnTo>
                    <a:lnTo>
                      <a:pt x="20589" y="6989"/>
                    </a:lnTo>
                    <a:lnTo>
                      <a:pt x="20589" y="7052"/>
                    </a:lnTo>
                    <a:lnTo>
                      <a:pt x="20568" y="7073"/>
                    </a:lnTo>
                    <a:lnTo>
                      <a:pt x="20589" y="7114"/>
                    </a:lnTo>
                    <a:lnTo>
                      <a:pt x="20526" y="7094"/>
                    </a:lnTo>
                    <a:lnTo>
                      <a:pt x="20317" y="7052"/>
                    </a:lnTo>
                    <a:lnTo>
                      <a:pt x="20170" y="6989"/>
                    </a:lnTo>
                    <a:lnTo>
                      <a:pt x="20087" y="7010"/>
                    </a:lnTo>
                    <a:lnTo>
                      <a:pt x="20003" y="6989"/>
                    </a:lnTo>
                    <a:lnTo>
                      <a:pt x="19982" y="7010"/>
                    </a:lnTo>
                    <a:lnTo>
                      <a:pt x="19898" y="7010"/>
                    </a:lnTo>
                    <a:lnTo>
                      <a:pt x="19836" y="6905"/>
                    </a:lnTo>
                    <a:lnTo>
                      <a:pt x="19752" y="6905"/>
                    </a:lnTo>
                    <a:lnTo>
                      <a:pt x="19689" y="6801"/>
                    </a:lnTo>
                    <a:lnTo>
                      <a:pt x="19647" y="6780"/>
                    </a:lnTo>
                    <a:lnTo>
                      <a:pt x="19522" y="6801"/>
                    </a:lnTo>
                    <a:lnTo>
                      <a:pt x="19438" y="6780"/>
                    </a:lnTo>
                    <a:lnTo>
                      <a:pt x="19375" y="6738"/>
                    </a:lnTo>
                    <a:lnTo>
                      <a:pt x="19250" y="6675"/>
                    </a:lnTo>
                    <a:lnTo>
                      <a:pt x="19229" y="6591"/>
                    </a:lnTo>
                    <a:lnTo>
                      <a:pt x="19166" y="6591"/>
                    </a:lnTo>
                    <a:lnTo>
                      <a:pt x="19124" y="6570"/>
                    </a:lnTo>
                    <a:lnTo>
                      <a:pt x="18999" y="6570"/>
                    </a:lnTo>
                    <a:lnTo>
                      <a:pt x="18936" y="6550"/>
                    </a:lnTo>
                    <a:lnTo>
                      <a:pt x="18685" y="6550"/>
                    </a:lnTo>
                    <a:lnTo>
                      <a:pt x="18517" y="6529"/>
                    </a:lnTo>
                    <a:lnTo>
                      <a:pt x="18413" y="6487"/>
                    </a:lnTo>
                    <a:lnTo>
                      <a:pt x="17973" y="6487"/>
                    </a:lnTo>
                    <a:lnTo>
                      <a:pt x="17890" y="6529"/>
                    </a:lnTo>
                    <a:lnTo>
                      <a:pt x="17764" y="6550"/>
                    </a:lnTo>
                    <a:lnTo>
                      <a:pt x="17701" y="6633"/>
                    </a:lnTo>
                    <a:lnTo>
                      <a:pt x="17701" y="6801"/>
                    </a:lnTo>
                    <a:lnTo>
                      <a:pt x="17597" y="6968"/>
                    </a:lnTo>
                    <a:lnTo>
                      <a:pt x="17639" y="7156"/>
                    </a:lnTo>
                    <a:lnTo>
                      <a:pt x="17597" y="7219"/>
                    </a:lnTo>
                    <a:lnTo>
                      <a:pt x="17639" y="7282"/>
                    </a:lnTo>
                    <a:lnTo>
                      <a:pt x="17701" y="7303"/>
                    </a:lnTo>
                    <a:lnTo>
                      <a:pt x="17681" y="7366"/>
                    </a:lnTo>
                    <a:lnTo>
                      <a:pt x="17639" y="7387"/>
                    </a:lnTo>
                    <a:lnTo>
                      <a:pt x="17701" y="7617"/>
                    </a:lnTo>
                    <a:lnTo>
                      <a:pt x="17785" y="7700"/>
                    </a:lnTo>
                    <a:lnTo>
                      <a:pt x="17806" y="7742"/>
                    </a:lnTo>
                    <a:lnTo>
                      <a:pt x="17973" y="7847"/>
                    </a:lnTo>
                    <a:lnTo>
                      <a:pt x="18015" y="7910"/>
                    </a:lnTo>
                    <a:lnTo>
                      <a:pt x="18120" y="7889"/>
                    </a:lnTo>
                    <a:lnTo>
                      <a:pt x="18183" y="7951"/>
                    </a:lnTo>
                    <a:lnTo>
                      <a:pt x="18266" y="7993"/>
                    </a:lnTo>
                    <a:lnTo>
                      <a:pt x="18392" y="7931"/>
                    </a:lnTo>
                    <a:lnTo>
                      <a:pt x="18476" y="7931"/>
                    </a:lnTo>
                    <a:lnTo>
                      <a:pt x="18538" y="8014"/>
                    </a:lnTo>
                    <a:lnTo>
                      <a:pt x="18685" y="8014"/>
                    </a:lnTo>
                    <a:lnTo>
                      <a:pt x="18748" y="8140"/>
                    </a:lnTo>
                    <a:lnTo>
                      <a:pt x="18831" y="8161"/>
                    </a:lnTo>
                    <a:lnTo>
                      <a:pt x="18852" y="8223"/>
                    </a:lnTo>
                    <a:lnTo>
                      <a:pt x="18727" y="8265"/>
                    </a:lnTo>
                    <a:lnTo>
                      <a:pt x="18727" y="8349"/>
                    </a:lnTo>
                    <a:lnTo>
                      <a:pt x="18685" y="8412"/>
                    </a:lnTo>
                    <a:lnTo>
                      <a:pt x="18685" y="8454"/>
                    </a:lnTo>
                    <a:lnTo>
                      <a:pt x="18622" y="8537"/>
                    </a:lnTo>
                    <a:lnTo>
                      <a:pt x="18497" y="8621"/>
                    </a:lnTo>
                    <a:lnTo>
                      <a:pt x="18497" y="8663"/>
                    </a:lnTo>
                    <a:lnTo>
                      <a:pt x="18434" y="8747"/>
                    </a:lnTo>
                    <a:lnTo>
                      <a:pt x="18517" y="8788"/>
                    </a:lnTo>
                    <a:lnTo>
                      <a:pt x="18517" y="8935"/>
                    </a:lnTo>
                    <a:lnTo>
                      <a:pt x="18580" y="9060"/>
                    </a:lnTo>
                    <a:lnTo>
                      <a:pt x="18580" y="9144"/>
                    </a:lnTo>
                    <a:lnTo>
                      <a:pt x="18434" y="9165"/>
                    </a:lnTo>
                    <a:lnTo>
                      <a:pt x="18497" y="9207"/>
                    </a:lnTo>
                    <a:lnTo>
                      <a:pt x="18685" y="9249"/>
                    </a:lnTo>
                    <a:lnTo>
                      <a:pt x="18748" y="9207"/>
                    </a:lnTo>
                    <a:lnTo>
                      <a:pt x="18810" y="9207"/>
                    </a:lnTo>
                    <a:lnTo>
                      <a:pt x="18831" y="9270"/>
                    </a:lnTo>
                    <a:lnTo>
                      <a:pt x="18894" y="9207"/>
                    </a:lnTo>
                    <a:lnTo>
                      <a:pt x="18936" y="9207"/>
                    </a:lnTo>
                    <a:lnTo>
                      <a:pt x="18999" y="9249"/>
                    </a:lnTo>
                    <a:lnTo>
                      <a:pt x="19145" y="9249"/>
                    </a:lnTo>
                    <a:lnTo>
                      <a:pt x="19333" y="9311"/>
                    </a:lnTo>
                    <a:lnTo>
                      <a:pt x="19417" y="9249"/>
                    </a:lnTo>
                    <a:lnTo>
                      <a:pt x="19564" y="9249"/>
                    </a:lnTo>
                    <a:lnTo>
                      <a:pt x="19585" y="9291"/>
                    </a:lnTo>
                    <a:lnTo>
                      <a:pt x="19626" y="9291"/>
                    </a:lnTo>
                    <a:lnTo>
                      <a:pt x="19668" y="9270"/>
                    </a:lnTo>
                    <a:lnTo>
                      <a:pt x="19752" y="9249"/>
                    </a:lnTo>
                    <a:lnTo>
                      <a:pt x="19794" y="9270"/>
                    </a:lnTo>
                    <a:lnTo>
                      <a:pt x="19836" y="9353"/>
                    </a:lnTo>
                    <a:lnTo>
                      <a:pt x="19877" y="9353"/>
                    </a:lnTo>
                    <a:lnTo>
                      <a:pt x="19940" y="9311"/>
                    </a:lnTo>
                    <a:lnTo>
                      <a:pt x="19982" y="9353"/>
                    </a:lnTo>
                    <a:lnTo>
                      <a:pt x="20003" y="9416"/>
                    </a:lnTo>
                    <a:lnTo>
                      <a:pt x="20066" y="9416"/>
                    </a:lnTo>
                    <a:lnTo>
                      <a:pt x="20108" y="9374"/>
                    </a:lnTo>
                    <a:lnTo>
                      <a:pt x="20254" y="9353"/>
                    </a:lnTo>
                    <a:lnTo>
                      <a:pt x="20296" y="9270"/>
                    </a:lnTo>
                    <a:lnTo>
                      <a:pt x="20401" y="9249"/>
                    </a:lnTo>
                    <a:lnTo>
                      <a:pt x="20484" y="9249"/>
                    </a:lnTo>
                    <a:lnTo>
                      <a:pt x="20589" y="9144"/>
                    </a:lnTo>
                    <a:lnTo>
                      <a:pt x="20714" y="9081"/>
                    </a:lnTo>
                    <a:lnTo>
                      <a:pt x="20819" y="9060"/>
                    </a:lnTo>
                    <a:lnTo>
                      <a:pt x="20840" y="8998"/>
                    </a:lnTo>
                    <a:lnTo>
                      <a:pt x="20924" y="8998"/>
                    </a:lnTo>
                    <a:lnTo>
                      <a:pt x="21028" y="9039"/>
                    </a:lnTo>
                    <a:lnTo>
                      <a:pt x="21112" y="9039"/>
                    </a:lnTo>
                    <a:lnTo>
                      <a:pt x="21196" y="9081"/>
                    </a:lnTo>
                    <a:lnTo>
                      <a:pt x="21405" y="9081"/>
                    </a:lnTo>
                    <a:lnTo>
                      <a:pt x="21635" y="8935"/>
                    </a:lnTo>
                    <a:lnTo>
                      <a:pt x="21656" y="8851"/>
                    </a:lnTo>
                    <a:lnTo>
                      <a:pt x="21719" y="8851"/>
                    </a:lnTo>
                    <a:lnTo>
                      <a:pt x="21740" y="8893"/>
                    </a:lnTo>
                    <a:lnTo>
                      <a:pt x="21761" y="8851"/>
                    </a:lnTo>
                    <a:lnTo>
                      <a:pt x="21844" y="8788"/>
                    </a:lnTo>
                    <a:lnTo>
                      <a:pt x="21844" y="8726"/>
                    </a:lnTo>
                    <a:lnTo>
                      <a:pt x="21865" y="8663"/>
                    </a:lnTo>
                    <a:lnTo>
                      <a:pt x="21928" y="8684"/>
                    </a:lnTo>
                    <a:lnTo>
                      <a:pt x="21991" y="8684"/>
                    </a:lnTo>
                    <a:lnTo>
                      <a:pt x="22054" y="8642"/>
                    </a:lnTo>
                    <a:lnTo>
                      <a:pt x="22054" y="8579"/>
                    </a:lnTo>
                    <a:lnTo>
                      <a:pt x="22095" y="8621"/>
                    </a:lnTo>
                    <a:lnTo>
                      <a:pt x="22158" y="8621"/>
                    </a:lnTo>
                    <a:lnTo>
                      <a:pt x="22179" y="8663"/>
                    </a:lnTo>
                    <a:lnTo>
                      <a:pt x="22179" y="8726"/>
                    </a:lnTo>
                    <a:lnTo>
                      <a:pt x="22242" y="8767"/>
                    </a:lnTo>
                    <a:lnTo>
                      <a:pt x="22158" y="8830"/>
                    </a:lnTo>
                    <a:lnTo>
                      <a:pt x="22158" y="8893"/>
                    </a:lnTo>
                    <a:lnTo>
                      <a:pt x="22095" y="8977"/>
                    </a:lnTo>
                    <a:lnTo>
                      <a:pt x="22054" y="8998"/>
                    </a:lnTo>
                    <a:lnTo>
                      <a:pt x="22054" y="9060"/>
                    </a:lnTo>
                    <a:lnTo>
                      <a:pt x="22137" y="9081"/>
                    </a:lnTo>
                    <a:lnTo>
                      <a:pt x="22200" y="9165"/>
                    </a:lnTo>
                    <a:lnTo>
                      <a:pt x="22242" y="9144"/>
                    </a:lnTo>
                    <a:lnTo>
                      <a:pt x="22305" y="9144"/>
                    </a:lnTo>
                    <a:lnTo>
                      <a:pt x="22409" y="9186"/>
                    </a:lnTo>
                    <a:lnTo>
                      <a:pt x="22409" y="9207"/>
                    </a:lnTo>
                    <a:cubicBezTo>
                      <a:pt x="22367" y="9207"/>
                      <a:pt x="22305" y="9249"/>
                      <a:pt x="22263" y="9270"/>
                    </a:cubicBezTo>
                    <a:lnTo>
                      <a:pt x="22242" y="9270"/>
                    </a:lnTo>
                    <a:cubicBezTo>
                      <a:pt x="22137" y="9291"/>
                      <a:pt x="22054" y="9353"/>
                      <a:pt x="21949" y="9374"/>
                    </a:cubicBezTo>
                    <a:cubicBezTo>
                      <a:pt x="21886" y="9374"/>
                      <a:pt x="21865" y="9395"/>
                      <a:pt x="21844" y="9458"/>
                    </a:cubicBezTo>
                    <a:lnTo>
                      <a:pt x="21551" y="9521"/>
                    </a:lnTo>
                    <a:lnTo>
                      <a:pt x="21133" y="9563"/>
                    </a:lnTo>
                    <a:lnTo>
                      <a:pt x="21007" y="9521"/>
                    </a:lnTo>
                    <a:lnTo>
                      <a:pt x="20903" y="9521"/>
                    </a:lnTo>
                    <a:lnTo>
                      <a:pt x="20735" y="9730"/>
                    </a:lnTo>
                    <a:lnTo>
                      <a:pt x="20631" y="9793"/>
                    </a:lnTo>
                    <a:lnTo>
                      <a:pt x="20589" y="9876"/>
                    </a:lnTo>
                    <a:lnTo>
                      <a:pt x="20673" y="9918"/>
                    </a:lnTo>
                    <a:lnTo>
                      <a:pt x="20735" y="9876"/>
                    </a:lnTo>
                    <a:lnTo>
                      <a:pt x="20798" y="9876"/>
                    </a:lnTo>
                    <a:lnTo>
                      <a:pt x="20777" y="9981"/>
                    </a:lnTo>
                    <a:lnTo>
                      <a:pt x="20694" y="10023"/>
                    </a:lnTo>
                    <a:lnTo>
                      <a:pt x="20714" y="10086"/>
                    </a:lnTo>
                    <a:lnTo>
                      <a:pt x="20882" y="10107"/>
                    </a:lnTo>
                    <a:lnTo>
                      <a:pt x="20903" y="10148"/>
                    </a:lnTo>
                    <a:lnTo>
                      <a:pt x="21028" y="10127"/>
                    </a:lnTo>
                    <a:lnTo>
                      <a:pt x="21028" y="10044"/>
                    </a:lnTo>
                    <a:lnTo>
                      <a:pt x="20945" y="9981"/>
                    </a:lnTo>
                    <a:lnTo>
                      <a:pt x="20945" y="9897"/>
                    </a:lnTo>
                    <a:lnTo>
                      <a:pt x="21028" y="9876"/>
                    </a:lnTo>
                    <a:lnTo>
                      <a:pt x="21049" y="9918"/>
                    </a:lnTo>
                    <a:lnTo>
                      <a:pt x="21133" y="9918"/>
                    </a:lnTo>
                    <a:lnTo>
                      <a:pt x="21238" y="10002"/>
                    </a:lnTo>
                    <a:lnTo>
                      <a:pt x="21321" y="9981"/>
                    </a:lnTo>
                    <a:lnTo>
                      <a:pt x="21342" y="9876"/>
                    </a:lnTo>
                    <a:lnTo>
                      <a:pt x="21426" y="9814"/>
                    </a:lnTo>
                    <a:lnTo>
                      <a:pt x="21426" y="9918"/>
                    </a:lnTo>
                    <a:lnTo>
                      <a:pt x="21530" y="10023"/>
                    </a:lnTo>
                    <a:lnTo>
                      <a:pt x="21551" y="9981"/>
                    </a:lnTo>
                    <a:lnTo>
                      <a:pt x="21551" y="9897"/>
                    </a:lnTo>
                    <a:lnTo>
                      <a:pt x="21656" y="9897"/>
                    </a:lnTo>
                    <a:lnTo>
                      <a:pt x="21677" y="9814"/>
                    </a:lnTo>
                    <a:lnTo>
                      <a:pt x="21761" y="9814"/>
                    </a:lnTo>
                    <a:lnTo>
                      <a:pt x="21886" y="9772"/>
                    </a:lnTo>
                    <a:cubicBezTo>
                      <a:pt x="21932" y="9802"/>
                      <a:pt x="21989" y="9822"/>
                      <a:pt x="22041" y="9822"/>
                    </a:cubicBezTo>
                    <a:cubicBezTo>
                      <a:pt x="22060" y="9822"/>
                      <a:pt x="22079" y="9819"/>
                      <a:pt x="22095" y="9814"/>
                    </a:cubicBezTo>
                    <a:cubicBezTo>
                      <a:pt x="22116" y="9814"/>
                      <a:pt x="22132" y="9808"/>
                      <a:pt x="22142" y="9803"/>
                    </a:cubicBezTo>
                    <a:lnTo>
                      <a:pt x="22142" y="9803"/>
                    </a:lnTo>
                    <a:lnTo>
                      <a:pt x="22095" y="9835"/>
                    </a:lnTo>
                    <a:lnTo>
                      <a:pt x="22158" y="9918"/>
                    </a:lnTo>
                    <a:lnTo>
                      <a:pt x="22033" y="10044"/>
                    </a:lnTo>
                    <a:lnTo>
                      <a:pt x="21949" y="10002"/>
                    </a:lnTo>
                    <a:lnTo>
                      <a:pt x="21886" y="10044"/>
                    </a:lnTo>
                    <a:lnTo>
                      <a:pt x="21782" y="10044"/>
                    </a:lnTo>
                    <a:lnTo>
                      <a:pt x="21740" y="10002"/>
                    </a:lnTo>
                    <a:lnTo>
                      <a:pt x="21656" y="10002"/>
                    </a:lnTo>
                    <a:lnTo>
                      <a:pt x="21551" y="10190"/>
                    </a:lnTo>
                    <a:lnTo>
                      <a:pt x="21572" y="10316"/>
                    </a:lnTo>
                    <a:lnTo>
                      <a:pt x="21572" y="10462"/>
                    </a:lnTo>
                    <a:lnTo>
                      <a:pt x="21551" y="10316"/>
                    </a:lnTo>
                    <a:lnTo>
                      <a:pt x="21510" y="10316"/>
                    </a:lnTo>
                    <a:lnTo>
                      <a:pt x="21468" y="10232"/>
                    </a:lnTo>
                    <a:lnTo>
                      <a:pt x="21405" y="10232"/>
                    </a:lnTo>
                    <a:lnTo>
                      <a:pt x="21342" y="10337"/>
                    </a:lnTo>
                    <a:lnTo>
                      <a:pt x="21196" y="10379"/>
                    </a:lnTo>
                    <a:lnTo>
                      <a:pt x="21133" y="10400"/>
                    </a:lnTo>
                    <a:lnTo>
                      <a:pt x="21133" y="10316"/>
                    </a:lnTo>
                    <a:lnTo>
                      <a:pt x="21091" y="10316"/>
                    </a:lnTo>
                    <a:lnTo>
                      <a:pt x="21007" y="10420"/>
                    </a:lnTo>
                    <a:lnTo>
                      <a:pt x="20924" y="10441"/>
                    </a:lnTo>
                    <a:lnTo>
                      <a:pt x="20882" y="10400"/>
                    </a:lnTo>
                    <a:lnTo>
                      <a:pt x="20798" y="10400"/>
                    </a:lnTo>
                    <a:lnTo>
                      <a:pt x="20735" y="10483"/>
                    </a:lnTo>
                    <a:lnTo>
                      <a:pt x="20735" y="10504"/>
                    </a:lnTo>
                    <a:lnTo>
                      <a:pt x="20589" y="10525"/>
                    </a:lnTo>
                    <a:lnTo>
                      <a:pt x="20505" y="10588"/>
                    </a:lnTo>
                    <a:lnTo>
                      <a:pt x="20505" y="10692"/>
                    </a:lnTo>
                    <a:lnTo>
                      <a:pt x="20526" y="10797"/>
                    </a:lnTo>
                    <a:lnTo>
                      <a:pt x="20422" y="11069"/>
                    </a:lnTo>
                    <a:lnTo>
                      <a:pt x="20380" y="11278"/>
                    </a:lnTo>
                    <a:lnTo>
                      <a:pt x="20380" y="11362"/>
                    </a:lnTo>
                    <a:lnTo>
                      <a:pt x="20484" y="11446"/>
                    </a:lnTo>
                    <a:lnTo>
                      <a:pt x="20463" y="11488"/>
                    </a:lnTo>
                    <a:lnTo>
                      <a:pt x="20359" y="11529"/>
                    </a:lnTo>
                    <a:lnTo>
                      <a:pt x="20359" y="11592"/>
                    </a:lnTo>
                    <a:lnTo>
                      <a:pt x="20422" y="11697"/>
                    </a:lnTo>
                    <a:lnTo>
                      <a:pt x="20422" y="11801"/>
                    </a:lnTo>
                    <a:lnTo>
                      <a:pt x="20380" y="11864"/>
                    </a:lnTo>
                    <a:lnTo>
                      <a:pt x="20359" y="11801"/>
                    </a:lnTo>
                    <a:lnTo>
                      <a:pt x="20275" y="11864"/>
                    </a:lnTo>
                    <a:lnTo>
                      <a:pt x="20212" y="11843"/>
                    </a:lnTo>
                    <a:lnTo>
                      <a:pt x="20254" y="11760"/>
                    </a:lnTo>
                    <a:lnTo>
                      <a:pt x="20296" y="11739"/>
                    </a:lnTo>
                    <a:lnTo>
                      <a:pt x="20296" y="11634"/>
                    </a:lnTo>
                    <a:lnTo>
                      <a:pt x="20212" y="11634"/>
                    </a:lnTo>
                    <a:lnTo>
                      <a:pt x="20087" y="11864"/>
                    </a:lnTo>
                    <a:lnTo>
                      <a:pt x="20066" y="12115"/>
                    </a:lnTo>
                    <a:lnTo>
                      <a:pt x="20108" y="12408"/>
                    </a:lnTo>
                    <a:lnTo>
                      <a:pt x="20108" y="12785"/>
                    </a:lnTo>
                    <a:lnTo>
                      <a:pt x="20087" y="12408"/>
                    </a:lnTo>
                    <a:lnTo>
                      <a:pt x="20045" y="12220"/>
                    </a:lnTo>
                    <a:lnTo>
                      <a:pt x="19982" y="12178"/>
                    </a:lnTo>
                    <a:lnTo>
                      <a:pt x="20045" y="12073"/>
                    </a:lnTo>
                    <a:lnTo>
                      <a:pt x="20045" y="11990"/>
                    </a:lnTo>
                    <a:lnTo>
                      <a:pt x="19898" y="11906"/>
                    </a:lnTo>
                    <a:lnTo>
                      <a:pt x="19961" y="11780"/>
                    </a:lnTo>
                    <a:lnTo>
                      <a:pt x="19961" y="11571"/>
                    </a:lnTo>
                    <a:lnTo>
                      <a:pt x="19877" y="11446"/>
                    </a:lnTo>
                    <a:lnTo>
                      <a:pt x="19877" y="11236"/>
                    </a:lnTo>
                    <a:lnTo>
                      <a:pt x="19961" y="11111"/>
                    </a:lnTo>
                    <a:lnTo>
                      <a:pt x="20045" y="10923"/>
                    </a:lnTo>
                    <a:lnTo>
                      <a:pt x="20045" y="10755"/>
                    </a:lnTo>
                    <a:lnTo>
                      <a:pt x="20003" y="10755"/>
                    </a:lnTo>
                    <a:lnTo>
                      <a:pt x="19961" y="10839"/>
                    </a:lnTo>
                    <a:lnTo>
                      <a:pt x="19940" y="10964"/>
                    </a:lnTo>
                    <a:lnTo>
                      <a:pt x="19857" y="11048"/>
                    </a:lnTo>
                    <a:lnTo>
                      <a:pt x="19836" y="11027"/>
                    </a:lnTo>
                    <a:lnTo>
                      <a:pt x="19794" y="10902"/>
                    </a:lnTo>
                    <a:lnTo>
                      <a:pt x="19877" y="10713"/>
                    </a:lnTo>
                    <a:lnTo>
                      <a:pt x="19898" y="10609"/>
                    </a:lnTo>
                    <a:lnTo>
                      <a:pt x="19836" y="10546"/>
                    </a:lnTo>
                    <a:lnTo>
                      <a:pt x="19752" y="10630"/>
                    </a:lnTo>
                    <a:lnTo>
                      <a:pt x="19731" y="10609"/>
                    </a:lnTo>
                    <a:lnTo>
                      <a:pt x="19689" y="10546"/>
                    </a:lnTo>
                    <a:lnTo>
                      <a:pt x="19731" y="10483"/>
                    </a:lnTo>
                    <a:lnTo>
                      <a:pt x="19731" y="10337"/>
                    </a:lnTo>
                    <a:lnTo>
                      <a:pt x="19668" y="10337"/>
                    </a:lnTo>
                    <a:lnTo>
                      <a:pt x="19668" y="10295"/>
                    </a:lnTo>
                    <a:lnTo>
                      <a:pt x="19689" y="10232"/>
                    </a:lnTo>
                    <a:lnTo>
                      <a:pt x="19689" y="10127"/>
                    </a:lnTo>
                    <a:lnTo>
                      <a:pt x="19585" y="10169"/>
                    </a:lnTo>
                    <a:lnTo>
                      <a:pt x="19271" y="10274"/>
                    </a:lnTo>
                    <a:lnTo>
                      <a:pt x="19103" y="10379"/>
                    </a:lnTo>
                    <a:lnTo>
                      <a:pt x="19041" y="10337"/>
                    </a:lnTo>
                    <a:lnTo>
                      <a:pt x="19041" y="10295"/>
                    </a:lnTo>
                    <a:lnTo>
                      <a:pt x="18999" y="10295"/>
                    </a:lnTo>
                    <a:lnTo>
                      <a:pt x="18915" y="10379"/>
                    </a:lnTo>
                    <a:lnTo>
                      <a:pt x="18831" y="10379"/>
                    </a:lnTo>
                    <a:lnTo>
                      <a:pt x="18789" y="10295"/>
                    </a:lnTo>
                    <a:lnTo>
                      <a:pt x="18622" y="10420"/>
                    </a:lnTo>
                    <a:lnTo>
                      <a:pt x="18622" y="10337"/>
                    </a:lnTo>
                    <a:lnTo>
                      <a:pt x="18517" y="10295"/>
                    </a:lnTo>
                    <a:lnTo>
                      <a:pt x="18476" y="10295"/>
                    </a:lnTo>
                    <a:lnTo>
                      <a:pt x="18476" y="10337"/>
                    </a:lnTo>
                    <a:lnTo>
                      <a:pt x="18308" y="10337"/>
                    </a:lnTo>
                    <a:lnTo>
                      <a:pt x="18078" y="10232"/>
                    </a:lnTo>
                    <a:lnTo>
                      <a:pt x="17890" y="10232"/>
                    </a:lnTo>
                    <a:lnTo>
                      <a:pt x="17701" y="10127"/>
                    </a:lnTo>
                    <a:lnTo>
                      <a:pt x="17555" y="10127"/>
                    </a:lnTo>
                    <a:lnTo>
                      <a:pt x="17555" y="10023"/>
                    </a:lnTo>
                    <a:lnTo>
                      <a:pt x="17429" y="9918"/>
                    </a:lnTo>
                    <a:lnTo>
                      <a:pt x="17346" y="9981"/>
                    </a:lnTo>
                    <a:lnTo>
                      <a:pt x="17241" y="9897"/>
                    </a:lnTo>
                    <a:lnTo>
                      <a:pt x="17220" y="9772"/>
                    </a:lnTo>
                    <a:lnTo>
                      <a:pt x="17116" y="9709"/>
                    </a:lnTo>
                    <a:lnTo>
                      <a:pt x="17053" y="9667"/>
                    </a:lnTo>
                    <a:lnTo>
                      <a:pt x="17157" y="9646"/>
                    </a:lnTo>
                    <a:lnTo>
                      <a:pt x="17283" y="9646"/>
                    </a:lnTo>
                    <a:lnTo>
                      <a:pt x="17283" y="9500"/>
                    </a:lnTo>
                    <a:lnTo>
                      <a:pt x="17388" y="9437"/>
                    </a:lnTo>
                    <a:lnTo>
                      <a:pt x="17367" y="9353"/>
                    </a:lnTo>
                    <a:lnTo>
                      <a:pt x="17471" y="9353"/>
                    </a:lnTo>
                    <a:lnTo>
                      <a:pt x="17639" y="9395"/>
                    </a:lnTo>
                    <a:lnTo>
                      <a:pt x="17681" y="9374"/>
                    </a:lnTo>
                    <a:lnTo>
                      <a:pt x="17681" y="9332"/>
                    </a:lnTo>
                    <a:lnTo>
                      <a:pt x="17806" y="9332"/>
                    </a:lnTo>
                    <a:lnTo>
                      <a:pt x="18078" y="9395"/>
                    </a:lnTo>
                    <a:lnTo>
                      <a:pt x="18183" y="9291"/>
                    </a:lnTo>
                    <a:lnTo>
                      <a:pt x="18183" y="9165"/>
                    </a:lnTo>
                    <a:lnTo>
                      <a:pt x="18225" y="9060"/>
                    </a:lnTo>
                    <a:lnTo>
                      <a:pt x="18183" y="8935"/>
                    </a:lnTo>
                    <a:lnTo>
                      <a:pt x="18183" y="8809"/>
                    </a:lnTo>
                    <a:lnTo>
                      <a:pt x="18120" y="8705"/>
                    </a:lnTo>
                    <a:lnTo>
                      <a:pt x="18078" y="8537"/>
                    </a:lnTo>
                    <a:lnTo>
                      <a:pt x="17994" y="8516"/>
                    </a:lnTo>
                    <a:lnTo>
                      <a:pt x="17973" y="8433"/>
                    </a:lnTo>
                    <a:lnTo>
                      <a:pt x="17806" y="8286"/>
                    </a:lnTo>
                    <a:lnTo>
                      <a:pt x="17764" y="8286"/>
                    </a:lnTo>
                    <a:lnTo>
                      <a:pt x="17743" y="8349"/>
                    </a:lnTo>
                    <a:lnTo>
                      <a:pt x="17681" y="8349"/>
                    </a:lnTo>
                    <a:lnTo>
                      <a:pt x="17660" y="8286"/>
                    </a:lnTo>
                    <a:lnTo>
                      <a:pt x="17492" y="8203"/>
                    </a:lnTo>
                    <a:lnTo>
                      <a:pt x="17492" y="8244"/>
                    </a:lnTo>
                    <a:lnTo>
                      <a:pt x="17597" y="8328"/>
                    </a:lnTo>
                    <a:lnTo>
                      <a:pt x="17576" y="8391"/>
                    </a:lnTo>
                    <a:lnTo>
                      <a:pt x="17639" y="8454"/>
                    </a:lnTo>
                    <a:lnTo>
                      <a:pt x="17576" y="8558"/>
                    </a:lnTo>
                    <a:lnTo>
                      <a:pt x="17492" y="8454"/>
                    </a:lnTo>
                    <a:lnTo>
                      <a:pt x="17492" y="8349"/>
                    </a:lnTo>
                    <a:lnTo>
                      <a:pt x="17388" y="8349"/>
                    </a:lnTo>
                    <a:lnTo>
                      <a:pt x="17220" y="8244"/>
                    </a:lnTo>
                    <a:lnTo>
                      <a:pt x="17178" y="8182"/>
                    </a:lnTo>
                    <a:lnTo>
                      <a:pt x="17137" y="8223"/>
                    </a:lnTo>
                    <a:lnTo>
                      <a:pt x="17053" y="8182"/>
                    </a:lnTo>
                    <a:lnTo>
                      <a:pt x="17011" y="8077"/>
                    </a:lnTo>
                    <a:lnTo>
                      <a:pt x="16906" y="7993"/>
                    </a:lnTo>
                    <a:lnTo>
                      <a:pt x="16739" y="7993"/>
                    </a:lnTo>
                    <a:lnTo>
                      <a:pt x="16551" y="7805"/>
                    </a:lnTo>
                    <a:lnTo>
                      <a:pt x="16404" y="7721"/>
                    </a:lnTo>
                    <a:lnTo>
                      <a:pt x="16383" y="7617"/>
                    </a:lnTo>
                    <a:lnTo>
                      <a:pt x="15902" y="7345"/>
                    </a:lnTo>
                    <a:lnTo>
                      <a:pt x="15776" y="7135"/>
                    </a:lnTo>
                    <a:lnTo>
                      <a:pt x="15776" y="6968"/>
                    </a:lnTo>
                    <a:lnTo>
                      <a:pt x="15672" y="6717"/>
                    </a:lnTo>
                    <a:lnTo>
                      <a:pt x="15672" y="6612"/>
                    </a:lnTo>
                    <a:lnTo>
                      <a:pt x="15567" y="6612"/>
                    </a:lnTo>
                    <a:lnTo>
                      <a:pt x="15442" y="6508"/>
                    </a:lnTo>
                    <a:lnTo>
                      <a:pt x="15337" y="6508"/>
                    </a:lnTo>
                    <a:lnTo>
                      <a:pt x="15253" y="6424"/>
                    </a:lnTo>
                    <a:lnTo>
                      <a:pt x="15149" y="6403"/>
                    </a:lnTo>
                    <a:lnTo>
                      <a:pt x="15065" y="6319"/>
                    </a:lnTo>
                    <a:lnTo>
                      <a:pt x="14940" y="6361"/>
                    </a:lnTo>
                    <a:lnTo>
                      <a:pt x="14793" y="6487"/>
                    </a:lnTo>
                    <a:lnTo>
                      <a:pt x="14688" y="6696"/>
                    </a:lnTo>
                    <a:lnTo>
                      <a:pt x="14584" y="6738"/>
                    </a:lnTo>
                    <a:lnTo>
                      <a:pt x="14479" y="6801"/>
                    </a:lnTo>
                    <a:lnTo>
                      <a:pt x="14375" y="6801"/>
                    </a:lnTo>
                    <a:lnTo>
                      <a:pt x="14312" y="6738"/>
                    </a:lnTo>
                    <a:lnTo>
                      <a:pt x="14144" y="6696"/>
                    </a:lnTo>
                    <a:lnTo>
                      <a:pt x="14061" y="6633"/>
                    </a:lnTo>
                    <a:lnTo>
                      <a:pt x="14144" y="6529"/>
                    </a:lnTo>
                    <a:lnTo>
                      <a:pt x="14207" y="6466"/>
                    </a:lnTo>
                    <a:lnTo>
                      <a:pt x="14270" y="6466"/>
                    </a:lnTo>
                    <a:lnTo>
                      <a:pt x="14375" y="6361"/>
                    </a:lnTo>
                    <a:lnTo>
                      <a:pt x="14458" y="6319"/>
                    </a:lnTo>
                    <a:lnTo>
                      <a:pt x="14479" y="6257"/>
                    </a:lnTo>
                    <a:lnTo>
                      <a:pt x="14458" y="6215"/>
                    </a:lnTo>
                    <a:lnTo>
                      <a:pt x="14375" y="6236"/>
                    </a:lnTo>
                    <a:lnTo>
                      <a:pt x="14333" y="6194"/>
                    </a:lnTo>
                    <a:lnTo>
                      <a:pt x="14354" y="6110"/>
                    </a:lnTo>
                    <a:lnTo>
                      <a:pt x="14458" y="6006"/>
                    </a:lnTo>
                    <a:lnTo>
                      <a:pt x="14437" y="5943"/>
                    </a:lnTo>
                    <a:lnTo>
                      <a:pt x="14542" y="5838"/>
                    </a:lnTo>
                    <a:lnTo>
                      <a:pt x="14542" y="5754"/>
                    </a:lnTo>
                    <a:lnTo>
                      <a:pt x="14521" y="5629"/>
                    </a:lnTo>
                    <a:lnTo>
                      <a:pt x="14375" y="5650"/>
                    </a:lnTo>
                    <a:lnTo>
                      <a:pt x="14375" y="5734"/>
                    </a:lnTo>
                    <a:lnTo>
                      <a:pt x="14165" y="5880"/>
                    </a:lnTo>
                    <a:lnTo>
                      <a:pt x="14061" y="5838"/>
                    </a:lnTo>
                    <a:lnTo>
                      <a:pt x="14165" y="6047"/>
                    </a:lnTo>
                    <a:lnTo>
                      <a:pt x="14103" y="6131"/>
                    </a:lnTo>
                    <a:lnTo>
                      <a:pt x="14061" y="6026"/>
                    </a:lnTo>
                    <a:lnTo>
                      <a:pt x="13914" y="6026"/>
                    </a:lnTo>
                    <a:lnTo>
                      <a:pt x="13810" y="6131"/>
                    </a:lnTo>
                    <a:lnTo>
                      <a:pt x="13893" y="6152"/>
                    </a:lnTo>
                    <a:lnTo>
                      <a:pt x="13851" y="6298"/>
                    </a:lnTo>
                    <a:lnTo>
                      <a:pt x="13747" y="6236"/>
                    </a:lnTo>
                    <a:lnTo>
                      <a:pt x="13642" y="6319"/>
                    </a:lnTo>
                    <a:lnTo>
                      <a:pt x="13684" y="6403"/>
                    </a:lnTo>
                    <a:lnTo>
                      <a:pt x="13789" y="6403"/>
                    </a:lnTo>
                    <a:lnTo>
                      <a:pt x="13831" y="6466"/>
                    </a:lnTo>
                    <a:lnTo>
                      <a:pt x="13642" y="6570"/>
                    </a:lnTo>
                    <a:lnTo>
                      <a:pt x="13579" y="6424"/>
                    </a:lnTo>
                    <a:lnTo>
                      <a:pt x="13433" y="6361"/>
                    </a:lnTo>
                    <a:lnTo>
                      <a:pt x="13391" y="6236"/>
                    </a:lnTo>
                    <a:lnTo>
                      <a:pt x="13391" y="5713"/>
                    </a:lnTo>
                    <a:lnTo>
                      <a:pt x="13496" y="5503"/>
                    </a:lnTo>
                    <a:lnTo>
                      <a:pt x="13475" y="5148"/>
                    </a:lnTo>
                    <a:lnTo>
                      <a:pt x="13538" y="5001"/>
                    </a:lnTo>
                    <a:lnTo>
                      <a:pt x="13517" y="4562"/>
                    </a:lnTo>
                    <a:lnTo>
                      <a:pt x="13517" y="4625"/>
                    </a:lnTo>
                    <a:lnTo>
                      <a:pt x="13370" y="4687"/>
                    </a:lnTo>
                    <a:lnTo>
                      <a:pt x="13266" y="4855"/>
                    </a:lnTo>
                    <a:lnTo>
                      <a:pt x="13349" y="4938"/>
                    </a:lnTo>
                    <a:lnTo>
                      <a:pt x="13287" y="5001"/>
                    </a:lnTo>
                    <a:lnTo>
                      <a:pt x="13349" y="5148"/>
                    </a:lnTo>
                    <a:lnTo>
                      <a:pt x="13307" y="5315"/>
                    </a:lnTo>
                    <a:lnTo>
                      <a:pt x="13245" y="5294"/>
                    </a:lnTo>
                    <a:lnTo>
                      <a:pt x="13161" y="5210"/>
                    </a:lnTo>
                    <a:lnTo>
                      <a:pt x="13119" y="5294"/>
                    </a:lnTo>
                    <a:lnTo>
                      <a:pt x="13119" y="5378"/>
                    </a:lnTo>
                    <a:lnTo>
                      <a:pt x="13056" y="5315"/>
                    </a:lnTo>
                    <a:lnTo>
                      <a:pt x="12952" y="5399"/>
                    </a:lnTo>
                    <a:lnTo>
                      <a:pt x="12952" y="5482"/>
                    </a:lnTo>
                    <a:lnTo>
                      <a:pt x="12889" y="5482"/>
                    </a:lnTo>
                    <a:lnTo>
                      <a:pt x="12638" y="5608"/>
                    </a:lnTo>
                    <a:lnTo>
                      <a:pt x="12491" y="5775"/>
                    </a:lnTo>
                    <a:lnTo>
                      <a:pt x="12429" y="5692"/>
                    </a:lnTo>
                    <a:lnTo>
                      <a:pt x="12429" y="5587"/>
                    </a:lnTo>
                    <a:lnTo>
                      <a:pt x="12575" y="5524"/>
                    </a:lnTo>
                    <a:lnTo>
                      <a:pt x="12596" y="5420"/>
                    </a:lnTo>
                    <a:lnTo>
                      <a:pt x="12491" y="5420"/>
                    </a:lnTo>
                    <a:lnTo>
                      <a:pt x="12387" y="5482"/>
                    </a:lnTo>
                    <a:lnTo>
                      <a:pt x="12178" y="5482"/>
                    </a:lnTo>
                    <a:lnTo>
                      <a:pt x="12052" y="5566"/>
                    </a:lnTo>
                    <a:lnTo>
                      <a:pt x="11780" y="5566"/>
                    </a:lnTo>
                    <a:lnTo>
                      <a:pt x="11424" y="5817"/>
                    </a:lnTo>
                    <a:lnTo>
                      <a:pt x="11257" y="5880"/>
                    </a:lnTo>
                    <a:lnTo>
                      <a:pt x="11111" y="6089"/>
                    </a:lnTo>
                    <a:lnTo>
                      <a:pt x="11090" y="5985"/>
                    </a:lnTo>
                    <a:lnTo>
                      <a:pt x="11215" y="5796"/>
                    </a:lnTo>
                    <a:lnTo>
                      <a:pt x="11173" y="5713"/>
                    </a:lnTo>
                    <a:lnTo>
                      <a:pt x="10985" y="5817"/>
                    </a:lnTo>
                    <a:lnTo>
                      <a:pt x="10964" y="5775"/>
                    </a:lnTo>
                    <a:lnTo>
                      <a:pt x="10880" y="5796"/>
                    </a:lnTo>
                    <a:lnTo>
                      <a:pt x="10797" y="5838"/>
                    </a:lnTo>
                    <a:lnTo>
                      <a:pt x="10734" y="5775"/>
                    </a:lnTo>
                    <a:lnTo>
                      <a:pt x="10629" y="5796"/>
                    </a:lnTo>
                    <a:lnTo>
                      <a:pt x="10587" y="5880"/>
                    </a:lnTo>
                    <a:lnTo>
                      <a:pt x="10315" y="6047"/>
                    </a:lnTo>
                    <a:lnTo>
                      <a:pt x="10211" y="6047"/>
                    </a:lnTo>
                    <a:lnTo>
                      <a:pt x="10022" y="6110"/>
                    </a:lnTo>
                    <a:lnTo>
                      <a:pt x="9897" y="6257"/>
                    </a:lnTo>
                    <a:lnTo>
                      <a:pt x="9939" y="6361"/>
                    </a:lnTo>
                    <a:lnTo>
                      <a:pt x="9834" y="6340"/>
                    </a:lnTo>
                    <a:lnTo>
                      <a:pt x="9792" y="6403"/>
                    </a:lnTo>
                    <a:lnTo>
                      <a:pt x="9688" y="6361"/>
                    </a:lnTo>
                    <a:lnTo>
                      <a:pt x="9657" y="6408"/>
                    </a:lnTo>
                    <a:lnTo>
                      <a:pt x="9657" y="6408"/>
                    </a:lnTo>
                    <a:lnTo>
                      <a:pt x="9583" y="6319"/>
                    </a:lnTo>
                    <a:lnTo>
                      <a:pt x="9625" y="6215"/>
                    </a:lnTo>
                    <a:lnTo>
                      <a:pt x="9709" y="6215"/>
                    </a:lnTo>
                    <a:lnTo>
                      <a:pt x="9792" y="6110"/>
                    </a:lnTo>
                    <a:lnTo>
                      <a:pt x="9897" y="6026"/>
                    </a:lnTo>
                    <a:lnTo>
                      <a:pt x="9939" y="6068"/>
                    </a:lnTo>
                    <a:lnTo>
                      <a:pt x="10022" y="6026"/>
                    </a:lnTo>
                    <a:lnTo>
                      <a:pt x="10043" y="5943"/>
                    </a:lnTo>
                    <a:lnTo>
                      <a:pt x="10169" y="5838"/>
                    </a:lnTo>
                    <a:lnTo>
                      <a:pt x="10211" y="5901"/>
                    </a:lnTo>
                    <a:lnTo>
                      <a:pt x="10462" y="5796"/>
                    </a:lnTo>
                    <a:lnTo>
                      <a:pt x="10546" y="5650"/>
                    </a:lnTo>
                    <a:lnTo>
                      <a:pt x="10671" y="5608"/>
                    </a:lnTo>
                    <a:lnTo>
                      <a:pt x="10880" y="5629"/>
                    </a:lnTo>
                    <a:lnTo>
                      <a:pt x="10901" y="5587"/>
                    </a:lnTo>
                    <a:lnTo>
                      <a:pt x="11090" y="5587"/>
                    </a:lnTo>
                    <a:lnTo>
                      <a:pt x="11278" y="5503"/>
                    </a:lnTo>
                    <a:lnTo>
                      <a:pt x="11320" y="5587"/>
                    </a:lnTo>
                    <a:lnTo>
                      <a:pt x="11383" y="5587"/>
                    </a:lnTo>
                    <a:lnTo>
                      <a:pt x="11445" y="5524"/>
                    </a:lnTo>
                    <a:lnTo>
                      <a:pt x="11529" y="5524"/>
                    </a:lnTo>
                    <a:lnTo>
                      <a:pt x="11675" y="5503"/>
                    </a:lnTo>
                    <a:lnTo>
                      <a:pt x="11738" y="5399"/>
                    </a:lnTo>
                    <a:lnTo>
                      <a:pt x="11989" y="5315"/>
                    </a:lnTo>
                    <a:lnTo>
                      <a:pt x="12240" y="5231"/>
                    </a:lnTo>
                    <a:lnTo>
                      <a:pt x="12261" y="5127"/>
                    </a:lnTo>
                    <a:lnTo>
                      <a:pt x="12324" y="5127"/>
                    </a:lnTo>
                    <a:lnTo>
                      <a:pt x="12366" y="5085"/>
                    </a:lnTo>
                    <a:lnTo>
                      <a:pt x="12324" y="5022"/>
                    </a:lnTo>
                    <a:lnTo>
                      <a:pt x="12324" y="4918"/>
                    </a:lnTo>
                    <a:lnTo>
                      <a:pt x="12240" y="4876"/>
                    </a:lnTo>
                    <a:lnTo>
                      <a:pt x="12219" y="4918"/>
                    </a:lnTo>
                    <a:lnTo>
                      <a:pt x="12219" y="5001"/>
                    </a:lnTo>
                    <a:lnTo>
                      <a:pt x="12115" y="5022"/>
                    </a:lnTo>
                    <a:lnTo>
                      <a:pt x="12073" y="4980"/>
                    </a:lnTo>
                    <a:lnTo>
                      <a:pt x="12031" y="4980"/>
                    </a:lnTo>
                    <a:lnTo>
                      <a:pt x="12010" y="4938"/>
                    </a:lnTo>
                    <a:lnTo>
                      <a:pt x="11885" y="4938"/>
                    </a:lnTo>
                    <a:lnTo>
                      <a:pt x="11696" y="5001"/>
                    </a:lnTo>
                    <a:lnTo>
                      <a:pt x="11634" y="5106"/>
                    </a:lnTo>
                    <a:lnTo>
                      <a:pt x="11571" y="5169"/>
                    </a:lnTo>
                    <a:lnTo>
                      <a:pt x="11508" y="5085"/>
                    </a:lnTo>
                    <a:lnTo>
                      <a:pt x="11466" y="5085"/>
                    </a:lnTo>
                    <a:lnTo>
                      <a:pt x="11362" y="5169"/>
                    </a:lnTo>
                    <a:lnTo>
                      <a:pt x="11090" y="5252"/>
                    </a:lnTo>
                    <a:lnTo>
                      <a:pt x="10755" y="5273"/>
                    </a:lnTo>
                    <a:lnTo>
                      <a:pt x="10692" y="5210"/>
                    </a:lnTo>
                    <a:lnTo>
                      <a:pt x="10629" y="5210"/>
                    </a:lnTo>
                    <a:lnTo>
                      <a:pt x="10650" y="5273"/>
                    </a:lnTo>
                    <a:lnTo>
                      <a:pt x="10587" y="5315"/>
                    </a:lnTo>
                    <a:lnTo>
                      <a:pt x="10483" y="5294"/>
                    </a:lnTo>
                    <a:lnTo>
                      <a:pt x="10420" y="5294"/>
                    </a:lnTo>
                    <a:lnTo>
                      <a:pt x="10357" y="5420"/>
                    </a:lnTo>
                    <a:lnTo>
                      <a:pt x="10211" y="5587"/>
                    </a:lnTo>
                    <a:lnTo>
                      <a:pt x="10148" y="5524"/>
                    </a:lnTo>
                    <a:lnTo>
                      <a:pt x="10043" y="5524"/>
                    </a:lnTo>
                    <a:lnTo>
                      <a:pt x="10022" y="5503"/>
                    </a:lnTo>
                    <a:lnTo>
                      <a:pt x="9897" y="5503"/>
                    </a:lnTo>
                    <a:lnTo>
                      <a:pt x="9813" y="5566"/>
                    </a:lnTo>
                    <a:lnTo>
                      <a:pt x="9730" y="5566"/>
                    </a:lnTo>
                    <a:lnTo>
                      <a:pt x="9688" y="5629"/>
                    </a:lnTo>
                    <a:lnTo>
                      <a:pt x="9583" y="5671"/>
                    </a:lnTo>
                    <a:lnTo>
                      <a:pt x="9478" y="5734"/>
                    </a:lnTo>
                    <a:lnTo>
                      <a:pt x="9311" y="5817"/>
                    </a:lnTo>
                    <a:lnTo>
                      <a:pt x="9123" y="5880"/>
                    </a:lnTo>
                    <a:lnTo>
                      <a:pt x="9081" y="5985"/>
                    </a:lnTo>
                    <a:lnTo>
                      <a:pt x="9081" y="6152"/>
                    </a:lnTo>
                    <a:lnTo>
                      <a:pt x="9102" y="6466"/>
                    </a:lnTo>
                    <a:lnTo>
                      <a:pt x="9081" y="6633"/>
                    </a:lnTo>
                    <a:lnTo>
                      <a:pt x="9018" y="6612"/>
                    </a:lnTo>
                    <a:lnTo>
                      <a:pt x="8955" y="6654"/>
                    </a:lnTo>
                    <a:lnTo>
                      <a:pt x="8704" y="6863"/>
                    </a:lnTo>
                    <a:lnTo>
                      <a:pt x="8788" y="6759"/>
                    </a:lnTo>
                    <a:lnTo>
                      <a:pt x="8893" y="6633"/>
                    </a:lnTo>
                    <a:lnTo>
                      <a:pt x="8914" y="6550"/>
                    </a:lnTo>
                    <a:lnTo>
                      <a:pt x="8872" y="6529"/>
                    </a:lnTo>
                    <a:lnTo>
                      <a:pt x="8872" y="6445"/>
                    </a:lnTo>
                    <a:lnTo>
                      <a:pt x="8746" y="6257"/>
                    </a:lnTo>
                    <a:lnTo>
                      <a:pt x="8662" y="6257"/>
                    </a:lnTo>
                    <a:lnTo>
                      <a:pt x="8600" y="6173"/>
                    </a:lnTo>
                    <a:lnTo>
                      <a:pt x="8537" y="6152"/>
                    </a:lnTo>
                    <a:lnTo>
                      <a:pt x="8537" y="6006"/>
                    </a:lnTo>
                    <a:lnTo>
                      <a:pt x="8390" y="5817"/>
                    </a:lnTo>
                    <a:lnTo>
                      <a:pt x="8370" y="5817"/>
                    </a:lnTo>
                    <a:lnTo>
                      <a:pt x="8286" y="5796"/>
                    </a:lnTo>
                    <a:lnTo>
                      <a:pt x="8265" y="5692"/>
                    </a:lnTo>
                    <a:lnTo>
                      <a:pt x="8181" y="5629"/>
                    </a:lnTo>
                    <a:lnTo>
                      <a:pt x="8139" y="5671"/>
                    </a:lnTo>
                    <a:lnTo>
                      <a:pt x="8035" y="5587"/>
                    </a:lnTo>
                    <a:lnTo>
                      <a:pt x="7846" y="5378"/>
                    </a:lnTo>
                    <a:lnTo>
                      <a:pt x="7805" y="5190"/>
                    </a:lnTo>
                    <a:lnTo>
                      <a:pt x="7805" y="5001"/>
                    </a:lnTo>
                    <a:lnTo>
                      <a:pt x="7763" y="4980"/>
                    </a:lnTo>
                    <a:lnTo>
                      <a:pt x="7721" y="5043"/>
                    </a:lnTo>
                    <a:lnTo>
                      <a:pt x="7658" y="5001"/>
                    </a:lnTo>
                    <a:lnTo>
                      <a:pt x="7616" y="4876"/>
                    </a:lnTo>
                    <a:lnTo>
                      <a:pt x="7658" y="4750"/>
                    </a:lnTo>
                    <a:lnTo>
                      <a:pt x="7637" y="4729"/>
                    </a:lnTo>
                    <a:lnTo>
                      <a:pt x="7658" y="4646"/>
                    </a:lnTo>
                    <a:lnTo>
                      <a:pt x="7533" y="4520"/>
                    </a:lnTo>
                    <a:lnTo>
                      <a:pt x="7533" y="4415"/>
                    </a:lnTo>
                    <a:lnTo>
                      <a:pt x="7428" y="4332"/>
                    </a:lnTo>
                    <a:lnTo>
                      <a:pt x="7386" y="4332"/>
                    </a:lnTo>
                    <a:lnTo>
                      <a:pt x="7323" y="4248"/>
                    </a:lnTo>
                    <a:lnTo>
                      <a:pt x="7219" y="4164"/>
                    </a:lnTo>
                    <a:lnTo>
                      <a:pt x="7114" y="4164"/>
                    </a:lnTo>
                    <a:lnTo>
                      <a:pt x="6800" y="3934"/>
                    </a:lnTo>
                    <a:lnTo>
                      <a:pt x="6717" y="3934"/>
                    </a:lnTo>
                    <a:lnTo>
                      <a:pt x="6696" y="3850"/>
                    </a:lnTo>
                    <a:lnTo>
                      <a:pt x="0" y="16091"/>
                    </a:lnTo>
                    <a:lnTo>
                      <a:pt x="377" y="16091"/>
                    </a:lnTo>
                    <a:lnTo>
                      <a:pt x="502" y="16153"/>
                    </a:lnTo>
                    <a:lnTo>
                      <a:pt x="711" y="16007"/>
                    </a:lnTo>
                    <a:lnTo>
                      <a:pt x="1004" y="16049"/>
                    </a:lnTo>
                    <a:lnTo>
                      <a:pt x="858" y="16300"/>
                    </a:lnTo>
                    <a:lnTo>
                      <a:pt x="921" y="16446"/>
                    </a:lnTo>
                    <a:lnTo>
                      <a:pt x="1025" y="16718"/>
                    </a:lnTo>
                    <a:lnTo>
                      <a:pt x="1172" y="17388"/>
                    </a:lnTo>
                    <a:lnTo>
                      <a:pt x="1235" y="17534"/>
                    </a:lnTo>
                    <a:lnTo>
                      <a:pt x="1130" y="17702"/>
                    </a:lnTo>
                    <a:lnTo>
                      <a:pt x="1130" y="17765"/>
                    </a:lnTo>
                    <a:lnTo>
                      <a:pt x="1172" y="17765"/>
                    </a:lnTo>
                    <a:lnTo>
                      <a:pt x="1381" y="17744"/>
                    </a:lnTo>
                    <a:lnTo>
                      <a:pt x="1569" y="17723"/>
                    </a:lnTo>
                    <a:lnTo>
                      <a:pt x="1695" y="17639"/>
                    </a:lnTo>
                    <a:lnTo>
                      <a:pt x="1862" y="17409"/>
                    </a:lnTo>
                    <a:lnTo>
                      <a:pt x="1988" y="17283"/>
                    </a:lnTo>
                    <a:lnTo>
                      <a:pt x="2197" y="17200"/>
                    </a:lnTo>
                    <a:lnTo>
                      <a:pt x="2260" y="17179"/>
                    </a:lnTo>
                    <a:lnTo>
                      <a:pt x="2469" y="17116"/>
                    </a:lnTo>
                    <a:lnTo>
                      <a:pt x="2636" y="17116"/>
                    </a:lnTo>
                    <a:lnTo>
                      <a:pt x="2783" y="17221"/>
                    </a:lnTo>
                    <a:lnTo>
                      <a:pt x="2783" y="17325"/>
                    </a:lnTo>
                    <a:lnTo>
                      <a:pt x="2804" y="17409"/>
                    </a:lnTo>
                    <a:lnTo>
                      <a:pt x="2720" y="17555"/>
                    </a:lnTo>
                    <a:lnTo>
                      <a:pt x="2699" y="17639"/>
                    </a:lnTo>
                    <a:lnTo>
                      <a:pt x="2825" y="17974"/>
                    </a:lnTo>
                    <a:lnTo>
                      <a:pt x="2804" y="18078"/>
                    </a:lnTo>
                    <a:lnTo>
                      <a:pt x="2846" y="18288"/>
                    </a:lnTo>
                    <a:lnTo>
                      <a:pt x="2992" y="18455"/>
                    </a:lnTo>
                    <a:lnTo>
                      <a:pt x="3013" y="18664"/>
                    </a:lnTo>
                    <a:lnTo>
                      <a:pt x="3055" y="18748"/>
                    </a:lnTo>
                    <a:lnTo>
                      <a:pt x="3097" y="18853"/>
                    </a:lnTo>
                    <a:lnTo>
                      <a:pt x="3034" y="18957"/>
                    </a:lnTo>
                    <a:lnTo>
                      <a:pt x="3034" y="19062"/>
                    </a:lnTo>
                    <a:lnTo>
                      <a:pt x="3055" y="19146"/>
                    </a:lnTo>
                    <a:lnTo>
                      <a:pt x="3013" y="19501"/>
                    </a:lnTo>
                    <a:lnTo>
                      <a:pt x="3013" y="19920"/>
                    </a:lnTo>
                    <a:lnTo>
                      <a:pt x="3034" y="20338"/>
                    </a:lnTo>
                    <a:lnTo>
                      <a:pt x="2929" y="20380"/>
                    </a:lnTo>
                    <a:lnTo>
                      <a:pt x="2929" y="20464"/>
                    </a:lnTo>
                    <a:lnTo>
                      <a:pt x="2971" y="20464"/>
                    </a:lnTo>
                    <a:lnTo>
                      <a:pt x="3055" y="20527"/>
                    </a:lnTo>
                    <a:lnTo>
                      <a:pt x="3076" y="20568"/>
                    </a:lnTo>
                    <a:lnTo>
                      <a:pt x="3034" y="20589"/>
                    </a:lnTo>
                    <a:lnTo>
                      <a:pt x="2971" y="20652"/>
                    </a:lnTo>
                    <a:lnTo>
                      <a:pt x="3013" y="20736"/>
                    </a:lnTo>
                    <a:lnTo>
                      <a:pt x="3055" y="20778"/>
                    </a:lnTo>
                    <a:lnTo>
                      <a:pt x="3076" y="20861"/>
                    </a:lnTo>
                    <a:lnTo>
                      <a:pt x="3055" y="20903"/>
                    </a:lnTo>
                    <a:lnTo>
                      <a:pt x="3055" y="20966"/>
                    </a:lnTo>
                    <a:lnTo>
                      <a:pt x="3160" y="20966"/>
                    </a:lnTo>
                    <a:lnTo>
                      <a:pt x="3243" y="20987"/>
                    </a:lnTo>
                    <a:lnTo>
                      <a:pt x="3348" y="21154"/>
                    </a:lnTo>
                    <a:lnTo>
                      <a:pt x="3369" y="21217"/>
                    </a:lnTo>
                    <a:lnTo>
                      <a:pt x="3452" y="21280"/>
                    </a:lnTo>
                    <a:lnTo>
                      <a:pt x="3578" y="21363"/>
                    </a:lnTo>
                    <a:lnTo>
                      <a:pt x="3641" y="21468"/>
                    </a:lnTo>
                    <a:lnTo>
                      <a:pt x="3641" y="21573"/>
                    </a:lnTo>
                    <a:lnTo>
                      <a:pt x="3683" y="21594"/>
                    </a:lnTo>
                    <a:lnTo>
                      <a:pt x="3704" y="21635"/>
                    </a:lnTo>
                    <a:lnTo>
                      <a:pt x="3683" y="21698"/>
                    </a:lnTo>
                    <a:lnTo>
                      <a:pt x="3683" y="21740"/>
                    </a:lnTo>
                    <a:lnTo>
                      <a:pt x="3641" y="21782"/>
                    </a:lnTo>
                    <a:lnTo>
                      <a:pt x="3641" y="21845"/>
                    </a:lnTo>
                    <a:lnTo>
                      <a:pt x="3641" y="21887"/>
                    </a:lnTo>
                    <a:lnTo>
                      <a:pt x="3662" y="21907"/>
                    </a:lnTo>
                    <a:lnTo>
                      <a:pt x="3599" y="22033"/>
                    </a:lnTo>
                    <a:lnTo>
                      <a:pt x="3452" y="22326"/>
                    </a:lnTo>
                    <a:lnTo>
                      <a:pt x="3432" y="22514"/>
                    </a:lnTo>
                    <a:lnTo>
                      <a:pt x="3285" y="22661"/>
                    </a:lnTo>
                    <a:lnTo>
                      <a:pt x="3285" y="22744"/>
                    </a:lnTo>
                    <a:lnTo>
                      <a:pt x="3327" y="22744"/>
                    </a:lnTo>
                    <a:lnTo>
                      <a:pt x="3494" y="22535"/>
                    </a:lnTo>
                    <a:lnTo>
                      <a:pt x="3536" y="22410"/>
                    </a:lnTo>
                    <a:lnTo>
                      <a:pt x="3662" y="22305"/>
                    </a:lnTo>
                    <a:lnTo>
                      <a:pt x="3683" y="22347"/>
                    </a:lnTo>
                    <a:lnTo>
                      <a:pt x="3766" y="22368"/>
                    </a:lnTo>
                    <a:lnTo>
                      <a:pt x="3766" y="22431"/>
                    </a:lnTo>
                    <a:lnTo>
                      <a:pt x="3599" y="22514"/>
                    </a:lnTo>
                    <a:lnTo>
                      <a:pt x="3557" y="22619"/>
                    </a:lnTo>
                    <a:lnTo>
                      <a:pt x="3390" y="22786"/>
                    </a:lnTo>
                    <a:lnTo>
                      <a:pt x="3390" y="22828"/>
                    </a:lnTo>
                    <a:lnTo>
                      <a:pt x="3473" y="22828"/>
                    </a:lnTo>
                    <a:lnTo>
                      <a:pt x="3432" y="22870"/>
                    </a:lnTo>
                    <a:lnTo>
                      <a:pt x="3285" y="22849"/>
                    </a:lnTo>
                    <a:lnTo>
                      <a:pt x="3222" y="22870"/>
                    </a:lnTo>
                    <a:lnTo>
                      <a:pt x="3160" y="23037"/>
                    </a:lnTo>
                    <a:lnTo>
                      <a:pt x="3055" y="23142"/>
                    </a:lnTo>
                    <a:lnTo>
                      <a:pt x="3076" y="23268"/>
                    </a:lnTo>
                    <a:lnTo>
                      <a:pt x="3034" y="23247"/>
                    </a:lnTo>
                    <a:lnTo>
                      <a:pt x="2971" y="23184"/>
                    </a:lnTo>
                    <a:lnTo>
                      <a:pt x="2908" y="23247"/>
                    </a:lnTo>
                    <a:lnTo>
                      <a:pt x="2908" y="23393"/>
                    </a:lnTo>
                    <a:lnTo>
                      <a:pt x="3013" y="23393"/>
                    </a:lnTo>
                    <a:lnTo>
                      <a:pt x="3034" y="23477"/>
                    </a:lnTo>
                    <a:lnTo>
                      <a:pt x="2971" y="23665"/>
                    </a:lnTo>
                    <a:lnTo>
                      <a:pt x="2950" y="23937"/>
                    </a:lnTo>
                    <a:lnTo>
                      <a:pt x="3013" y="24125"/>
                    </a:lnTo>
                    <a:lnTo>
                      <a:pt x="3076" y="24293"/>
                    </a:lnTo>
                    <a:lnTo>
                      <a:pt x="3160" y="24314"/>
                    </a:lnTo>
                    <a:lnTo>
                      <a:pt x="3180" y="24230"/>
                    </a:lnTo>
                    <a:lnTo>
                      <a:pt x="3264" y="24146"/>
                    </a:lnTo>
                    <a:lnTo>
                      <a:pt x="3452" y="24104"/>
                    </a:lnTo>
                    <a:lnTo>
                      <a:pt x="3557" y="24021"/>
                    </a:lnTo>
                    <a:lnTo>
                      <a:pt x="3662" y="23895"/>
                    </a:lnTo>
                    <a:lnTo>
                      <a:pt x="3704" y="23895"/>
                    </a:lnTo>
                    <a:lnTo>
                      <a:pt x="3704" y="24021"/>
                    </a:lnTo>
                    <a:lnTo>
                      <a:pt x="3662" y="24125"/>
                    </a:lnTo>
                    <a:lnTo>
                      <a:pt x="3599" y="24146"/>
                    </a:lnTo>
                    <a:lnTo>
                      <a:pt x="3536" y="24251"/>
                    </a:lnTo>
                    <a:lnTo>
                      <a:pt x="3536" y="24314"/>
                    </a:lnTo>
                    <a:lnTo>
                      <a:pt x="3641" y="24397"/>
                    </a:lnTo>
                    <a:lnTo>
                      <a:pt x="3704" y="24460"/>
                    </a:lnTo>
                    <a:lnTo>
                      <a:pt x="3808" y="24460"/>
                    </a:lnTo>
                    <a:lnTo>
                      <a:pt x="3892" y="24502"/>
                    </a:lnTo>
                    <a:lnTo>
                      <a:pt x="3955" y="24544"/>
                    </a:lnTo>
                    <a:lnTo>
                      <a:pt x="3808" y="24502"/>
                    </a:lnTo>
                    <a:lnTo>
                      <a:pt x="3683" y="24502"/>
                    </a:lnTo>
                    <a:lnTo>
                      <a:pt x="3578" y="24439"/>
                    </a:lnTo>
                    <a:lnTo>
                      <a:pt x="3432" y="24439"/>
                    </a:lnTo>
                    <a:lnTo>
                      <a:pt x="3369" y="24523"/>
                    </a:lnTo>
                    <a:lnTo>
                      <a:pt x="3369" y="24607"/>
                    </a:lnTo>
                    <a:lnTo>
                      <a:pt x="3432" y="24669"/>
                    </a:lnTo>
                    <a:lnTo>
                      <a:pt x="3452" y="24920"/>
                    </a:lnTo>
                    <a:lnTo>
                      <a:pt x="3494" y="24983"/>
                    </a:lnTo>
                    <a:lnTo>
                      <a:pt x="3557" y="24983"/>
                    </a:lnTo>
                    <a:lnTo>
                      <a:pt x="3641" y="24941"/>
                    </a:lnTo>
                    <a:lnTo>
                      <a:pt x="3683" y="24983"/>
                    </a:lnTo>
                    <a:lnTo>
                      <a:pt x="3641" y="25046"/>
                    </a:lnTo>
                    <a:lnTo>
                      <a:pt x="3599" y="25088"/>
                    </a:lnTo>
                    <a:lnTo>
                      <a:pt x="3683" y="25151"/>
                    </a:lnTo>
                    <a:lnTo>
                      <a:pt x="3683" y="25192"/>
                    </a:lnTo>
                    <a:lnTo>
                      <a:pt x="3662" y="25255"/>
                    </a:lnTo>
                    <a:lnTo>
                      <a:pt x="3557" y="25234"/>
                    </a:lnTo>
                    <a:lnTo>
                      <a:pt x="3411" y="25276"/>
                    </a:lnTo>
                    <a:lnTo>
                      <a:pt x="3264" y="25381"/>
                    </a:lnTo>
                    <a:lnTo>
                      <a:pt x="3243" y="25423"/>
                    </a:lnTo>
                    <a:lnTo>
                      <a:pt x="3306" y="25485"/>
                    </a:lnTo>
                    <a:lnTo>
                      <a:pt x="3452" y="25423"/>
                    </a:lnTo>
                    <a:lnTo>
                      <a:pt x="3536" y="25465"/>
                    </a:lnTo>
                    <a:lnTo>
                      <a:pt x="3452" y="25485"/>
                    </a:lnTo>
                    <a:lnTo>
                      <a:pt x="3432" y="25548"/>
                    </a:lnTo>
                    <a:lnTo>
                      <a:pt x="3515" y="25632"/>
                    </a:lnTo>
                    <a:lnTo>
                      <a:pt x="3662" y="25590"/>
                    </a:lnTo>
                    <a:lnTo>
                      <a:pt x="3829" y="25465"/>
                    </a:lnTo>
                    <a:lnTo>
                      <a:pt x="3934" y="25297"/>
                    </a:lnTo>
                    <a:lnTo>
                      <a:pt x="4038" y="25297"/>
                    </a:lnTo>
                    <a:lnTo>
                      <a:pt x="4143" y="25213"/>
                    </a:lnTo>
                    <a:lnTo>
                      <a:pt x="4164" y="25109"/>
                    </a:lnTo>
                    <a:lnTo>
                      <a:pt x="4185" y="25088"/>
                    </a:lnTo>
                    <a:lnTo>
                      <a:pt x="4206" y="25172"/>
                    </a:lnTo>
                    <a:lnTo>
                      <a:pt x="4143" y="25339"/>
                    </a:lnTo>
                    <a:lnTo>
                      <a:pt x="4038" y="25402"/>
                    </a:lnTo>
                    <a:lnTo>
                      <a:pt x="3913" y="25465"/>
                    </a:lnTo>
                    <a:lnTo>
                      <a:pt x="3892" y="25548"/>
                    </a:lnTo>
                    <a:lnTo>
                      <a:pt x="3955" y="25611"/>
                    </a:lnTo>
                    <a:lnTo>
                      <a:pt x="4038" y="25590"/>
                    </a:lnTo>
                    <a:lnTo>
                      <a:pt x="4164" y="25590"/>
                    </a:lnTo>
                    <a:lnTo>
                      <a:pt x="4268" y="25611"/>
                    </a:lnTo>
                    <a:lnTo>
                      <a:pt x="4122" y="25611"/>
                    </a:lnTo>
                    <a:lnTo>
                      <a:pt x="4017" y="25674"/>
                    </a:lnTo>
                    <a:lnTo>
                      <a:pt x="4017" y="25820"/>
                    </a:lnTo>
                    <a:lnTo>
                      <a:pt x="4059" y="25967"/>
                    </a:lnTo>
                    <a:lnTo>
                      <a:pt x="4017" y="25988"/>
                    </a:lnTo>
                    <a:lnTo>
                      <a:pt x="3976" y="25904"/>
                    </a:lnTo>
                    <a:lnTo>
                      <a:pt x="3976" y="25757"/>
                    </a:lnTo>
                    <a:lnTo>
                      <a:pt x="3913" y="25674"/>
                    </a:lnTo>
                    <a:lnTo>
                      <a:pt x="3850" y="25716"/>
                    </a:lnTo>
                    <a:lnTo>
                      <a:pt x="3578" y="25904"/>
                    </a:lnTo>
                    <a:lnTo>
                      <a:pt x="3536" y="25988"/>
                    </a:lnTo>
                    <a:lnTo>
                      <a:pt x="3369" y="26071"/>
                    </a:lnTo>
                    <a:lnTo>
                      <a:pt x="3327" y="26134"/>
                    </a:lnTo>
                    <a:lnTo>
                      <a:pt x="3348" y="26218"/>
                    </a:lnTo>
                    <a:lnTo>
                      <a:pt x="3348" y="26301"/>
                    </a:lnTo>
                    <a:lnTo>
                      <a:pt x="3369" y="26322"/>
                    </a:lnTo>
                    <a:lnTo>
                      <a:pt x="3452" y="26281"/>
                    </a:lnTo>
                    <a:lnTo>
                      <a:pt x="3557" y="26218"/>
                    </a:lnTo>
                    <a:lnTo>
                      <a:pt x="3599" y="26113"/>
                    </a:lnTo>
                    <a:lnTo>
                      <a:pt x="3662" y="26134"/>
                    </a:lnTo>
                    <a:lnTo>
                      <a:pt x="3704" y="26197"/>
                    </a:lnTo>
                    <a:lnTo>
                      <a:pt x="3892" y="26218"/>
                    </a:lnTo>
                    <a:lnTo>
                      <a:pt x="3871" y="26239"/>
                    </a:lnTo>
                    <a:lnTo>
                      <a:pt x="3766" y="26218"/>
                    </a:lnTo>
                    <a:lnTo>
                      <a:pt x="3599" y="26218"/>
                    </a:lnTo>
                    <a:lnTo>
                      <a:pt x="3536" y="26281"/>
                    </a:lnTo>
                    <a:lnTo>
                      <a:pt x="3536" y="26322"/>
                    </a:lnTo>
                    <a:lnTo>
                      <a:pt x="3557" y="26385"/>
                    </a:lnTo>
                    <a:lnTo>
                      <a:pt x="3473" y="26406"/>
                    </a:lnTo>
                    <a:lnTo>
                      <a:pt x="3432" y="26385"/>
                    </a:lnTo>
                    <a:lnTo>
                      <a:pt x="3264" y="26427"/>
                    </a:lnTo>
                    <a:lnTo>
                      <a:pt x="3264" y="26490"/>
                    </a:lnTo>
                    <a:lnTo>
                      <a:pt x="3390" y="26490"/>
                    </a:lnTo>
                    <a:lnTo>
                      <a:pt x="3473" y="26532"/>
                    </a:lnTo>
                    <a:lnTo>
                      <a:pt x="3578" y="26532"/>
                    </a:lnTo>
                    <a:lnTo>
                      <a:pt x="3515" y="26594"/>
                    </a:lnTo>
                    <a:lnTo>
                      <a:pt x="3390" y="26594"/>
                    </a:lnTo>
                    <a:lnTo>
                      <a:pt x="3327" y="26532"/>
                    </a:lnTo>
                    <a:lnTo>
                      <a:pt x="3222" y="26553"/>
                    </a:lnTo>
                    <a:lnTo>
                      <a:pt x="3180" y="26657"/>
                    </a:lnTo>
                    <a:lnTo>
                      <a:pt x="3243" y="26720"/>
                    </a:lnTo>
                    <a:lnTo>
                      <a:pt x="3327" y="26720"/>
                    </a:lnTo>
                    <a:lnTo>
                      <a:pt x="3452" y="26699"/>
                    </a:lnTo>
                    <a:lnTo>
                      <a:pt x="3536" y="26741"/>
                    </a:lnTo>
                    <a:lnTo>
                      <a:pt x="3683" y="26741"/>
                    </a:lnTo>
                    <a:lnTo>
                      <a:pt x="3662" y="26804"/>
                    </a:lnTo>
                    <a:lnTo>
                      <a:pt x="3557" y="26825"/>
                    </a:lnTo>
                    <a:lnTo>
                      <a:pt x="3452" y="26804"/>
                    </a:lnTo>
                    <a:lnTo>
                      <a:pt x="3432" y="26825"/>
                    </a:lnTo>
                    <a:lnTo>
                      <a:pt x="3452" y="26845"/>
                    </a:lnTo>
                    <a:lnTo>
                      <a:pt x="3662" y="26845"/>
                    </a:lnTo>
                    <a:lnTo>
                      <a:pt x="3662" y="26908"/>
                    </a:lnTo>
                    <a:lnTo>
                      <a:pt x="3536" y="26929"/>
                    </a:lnTo>
                    <a:lnTo>
                      <a:pt x="3390" y="26908"/>
                    </a:lnTo>
                    <a:lnTo>
                      <a:pt x="3327" y="26845"/>
                    </a:lnTo>
                    <a:lnTo>
                      <a:pt x="3264" y="26908"/>
                    </a:lnTo>
                    <a:lnTo>
                      <a:pt x="3327" y="27013"/>
                    </a:lnTo>
                    <a:lnTo>
                      <a:pt x="3452" y="27076"/>
                    </a:lnTo>
                    <a:lnTo>
                      <a:pt x="3473" y="27013"/>
                    </a:lnTo>
                    <a:lnTo>
                      <a:pt x="3557" y="27013"/>
                    </a:lnTo>
                    <a:lnTo>
                      <a:pt x="3641" y="27055"/>
                    </a:lnTo>
                    <a:lnTo>
                      <a:pt x="3787" y="27034"/>
                    </a:lnTo>
                    <a:lnTo>
                      <a:pt x="3850" y="27076"/>
                    </a:lnTo>
                    <a:lnTo>
                      <a:pt x="3766" y="27117"/>
                    </a:lnTo>
                    <a:lnTo>
                      <a:pt x="3766" y="27159"/>
                    </a:lnTo>
                    <a:lnTo>
                      <a:pt x="3871" y="27159"/>
                    </a:lnTo>
                    <a:lnTo>
                      <a:pt x="3892" y="27243"/>
                    </a:lnTo>
                    <a:lnTo>
                      <a:pt x="4026" y="27276"/>
                    </a:lnTo>
                    <a:lnTo>
                      <a:pt x="3976" y="27285"/>
                    </a:lnTo>
                    <a:lnTo>
                      <a:pt x="3871" y="27285"/>
                    </a:lnTo>
                    <a:lnTo>
                      <a:pt x="3787" y="27369"/>
                    </a:lnTo>
                    <a:lnTo>
                      <a:pt x="3787" y="27431"/>
                    </a:lnTo>
                    <a:lnTo>
                      <a:pt x="3871" y="27473"/>
                    </a:lnTo>
                    <a:lnTo>
                      <a:pt x="3913" y="27431"/>
                    </a:lnTo>
                    <a:lnTo>
                      <a:pt x="3976" y="27389"/>
                    </a:lnTo>
                    <a:lnTo>
                      <a:pt x="3996" y="27452"/>
                    </a:lnTo>
                    <a:lnTo>
                      <a:pt x="4017" y="27452"/>
                    </a:lnTo>
                    <a:lnTo>
                      <a:pt x="4080" y="27369"/>
                    </a:lnTo>
                    <a:lnTo>
                      <a:pt x="4185" y="27306"/>
                    </a:lnTo>
                    <a:lnTo>
                      <a:pt x="4185" y="27369"/>
                    </a:lnTo>
                    <a:lnTo>
                      <a:pt x="4164" y="27410"/>
                    </a:lnTo>
                    <a:lnTo>
                      <a:pt x="4164" y="27473"/>
                    </a:lnTo>
                    <a:lnTo>
                      <a:pt x="4206" y="27494"/>
                    </a:lnTo>
                    <a:lnTo>
                      <a:pt x="4289" y="27557"/>
                    </a:lnTo>
                    <a:lnTo>
                      <a:pt x="4373" y="27557"/>
                    </a:lnTo>
                    <a:lnTo>
                      <a:pt x="4499" y="27369"/>
                    </a:lnTo>
                    <a:lnTo>
                      <a:pt x="4520" y="27159"/>
                    </a:lnTo>
                    <a:lnTo>
                      <a:pt x="4582" y="27055"/>
                    </a:lnTo>
                    <a:lnTo>
                      <a:pt x="4645" y="27034"/>
                    </a:lnTo>
                    <a:lnTo>
                      <a:pt x="4645" y="27097"/>
                    </a:lnTo>
                    <a:lnTo>
                      <a:pt x="4603" y="27159"/>
                    </a:lnTo>
                    <a:lnTo>
                      <a:pt x="4603" y="27306"/>
                    </a:lnTo>
                    <a:lnTo>
                      <a:pt x="4499" y="27473"/>
                    </a:lnTo>
                    <a:lnTo>
                      <a:pt x="4415" y="27557"/>
                    </a:lnTo>
                    <a:lnTo>
                      <a:pt x="4436" y="27599"/>
                    </a:lnTo>
                    <a:lnTo>
                      <a:pt x="4582" y="27599"/>
                    </a:lnTo>
                    <a:lnTo>
                      <a:pt x="4687" y="27578"/>
                    </a:lnTo>
                    <a:lnTo>
                      <a:pt x="4708" y="27599"/>
                    </a:lnTo>
                    <a:lnTo>
                      <a:pt x="4624" y="27682"/>
                    </a:lnTo>
                    <a:lnTo>
                      <a:pt x="4582" y="27808"/>
                    </a:lnTo>
                    <a:lnTo>
                      <a:pt x="4415" y="27913"/>
                    </a:lnTo>
                    <a:lnTo>
                      <a:pt x="4415" y="27975"/>
                    </a:lnTo>
                    <a:lnTo>
                      <a:pt x="4499" y="28122"/>
                    </a:lnTo>
                    <a:lnTo>
                      <a:pt x="4624" y="28185"/>
                    </a:lnTo>
                    <a:lnTo>
                      <a:pt x="4708" y="28122"/>
                    </a:lnTo>
                    <a:lnTo>
                      <a:pt x="4792" y="28122"/>
                    </a:lnTo>
                    <a:lnTo>
                      <a:pt x="4812" y="28226"/>
                    </a:lnTo>
                    <a:lnTo>
                      <a:pt x="4875" y="28331"/>
                    </a:lnTo>
                    <a:lnTo>
                      <a:pt x="4875" y="28415"/>
                    </a:lnTo>
                    <a:lnTo>
                      <a:pt x="4812" y="28415"/>
                    </a:lnTo>
                    <a:lnTo>
                      <a:pt x="4771" y="28310"/>
                    </a:lnTo>
                    <a:lnTo>
                      <a:pt x="4708" y="28310"/>
                    </a:lnTo>
                    <a:lnTo>
                      <a:pt x="4708" y="28415"/>
                    </a:lnTo>
                    <a:lnTo>
                      <a:pt x="4812" y="28561"/>
                    </a:lnTo>
                    <a:lnTo>
                      <a:pt x="4938" y="28498"/>
                    </a:lnTo>
                    <a:lnTo>
                      <a:pt x="5085" y="28436"/>
                    </a:lnTo>
                    <a:lnTo>
                      <a:pt x="5147" y="28352"/>
                    </a:lnTo>
                    <a:lnTo>
                      <a:pt x="5147" y="28352"/>
                    </a:lnTo>
                    <a:lnTo>
                      <a:pt x="5126" y="28519"/>
                    </a:lnTo>
                    <a:lnTo>
                      <a:pt x="5022" y="28750"/>
                    </a:lnTo>
                    <a:lnTo>
                      <a:pt x="5043" y="28938"/>
                    </a:lnTo>
                    <a:lnTo>
                      <a:pt x="5126" y="28959"/>
                    </a:lnTo>
                    <a:lnTo>
                      <a:pt x="20087" y="30444"/>
                    </a:lnTo>
                    <a:lnTo>
                      <a:pt x="20212" y="30507"/>
                    </a:lnTo>
                    <a:lnTo>
                      <a:pt x="20359" y="30507"/>
                    </a:lnTo>
                    <a:lnTo>
                      <a:pt x="20484" y="30612"/>
                    </a:lnTo>
                    <a:lnTo>
                      <a:pt x="20484" y="30674"/>
                    </a:lnTo>
                    <a:lnTo>
                      <a:pt x="20568" y="30737"/>
                    </a:lnTo>
                    <a:lnTo>
                      <a:pt x="20589" y="30779"/>
                    </a:lnTo>
                    <a:lnTo>
                      <a:pt x="20694" y="30821"/>
                    </a:lnTo>
                    <a:lnTo>
                      <a:pt x="20714" y="30842"/>
                    </a:lnTo>
                    <a:lnTo>
                      <a:pt x="20840" y="30884"/>
                    </a:lnTo>
                    <a:lnTo>
                      <a:pt x="20903" y="30946"/>
                    </a:lnTo>
                    <a:lnTo>
                      <a:pt x="20945" y="30946"/>
                    </a:lnTo>
                    <a:lnTo>
                      <a:pt x="21049" y="30926"/>
                    </a:lnTo>
                    <a:lnTo>
                      <a:pt x="21133" y="30946"/>
                    </a:lnTo>
                    <a:lnTo>
                      <a:pt x="21238" y="30946"/>
                    </a:lnTo>
                    <a:lnTo>
                      <a:pt x="21363" y="31051"/>
                    </a:lnTo>
                    <a:lnTo>
                      <a:pt x="21447" y="31051"/>
                    </a:lnTo>
                    <a:lnTo>
                      <a:pt x="21510" y="31198"/>
                    </a:lnTo>
                    <a:lnTo>
                      <a:pt x="21719" y="31239"/>
                    </a:lnTo>
                    <a:lnTo>
                      <a:pt x="21823" y="31260"/>
                    </a:lnTo>
                    <a:lnTo>
                      <a:pt x="21886" y="31344"/>
                    </a:lnTo>
                    <a:lnTo>
                      <a:pt x="21970" y="31407"/>
                    </a:lnTo>
                    <a:lnTo>
                      <a:pt x="22158" y="31407"/>
                    </a:lnTo>
                    <a:lnTo>
                      <a:pt x="22263" y="31344"/>
                    </a:lnTo>
                    <a:lnTo>
                      <a:pt x="22305" y="31407"/>
                    </a:lnTo>
                    <a:lnTo>
                      <a:pt x="22367" y="31511"/>
                    </a:lnTo>
                    <a:lnTo>
                      <a:pt x="22618" y="31532"/>
                    </a:lnTo>
                    <a:lnTo>
                      <a:pt x="22681" y="31574"/>
                    </a:lnTo>
                    <a:lnTo>
                      <a:pt x="22807" y="31616"/>
                    </a:lnTo>
                    <a:lnTo>
                      <a:pt x="22890" y="31658"/>
                    </a:lnTo>
                    <a:lnTo>
                      <a:pt x="25192" y="32725"/>
                    </a:lnTo>
                    <a:lnTo>
                      <a:pt x="25339" y="32913"/>
                    </a:lnTo>
                    <a:lnTo>
                      <a:pt x="25694" y="33206"/>
                    </a:lnTo>
                    <a:lnTo>
                      <a:pt x="26050" y="34985"/>
                    </a:lnTo>
                    <a:lnTo>
                      <a:pt x="26008" y="35738"/>
                    </a:lnTo>
                    <a:lnTo>
                      <a:pt x="25945" y="35864"/>
                    </a:lnTo>
                    <a:lnTo>
                      <a:pt x="25903" y="36010"/>
                    </a:lnTo>
                    <a:lnTo>
                      <a:pt x="25820" y="36136"/>
                    </a:lnTo>
                    <a:lnTo>
                      <a:pt x="25611" y="36240"/>
                    </a:lnTo>
                    <a:lnTo>
                      <a:pt x="25506" y="36366"/>
                    </a:lnTo>
                    <a:lnTo>
                      <a:pt x="25611" y="36554"/>
                    </a:lnTo>
                    <a:lnTo>
                      <a:pt x="27598" y="36031"/>
                    </a:lnTo>
                    <a:lnTo>
                      <a:pt x="27849" y="35947"/>
                    </a:lnTo>
                    <a:lnTo>
                      <a:pt x="27912" y="35654"/>
                    </a:lnTo>
                    <a:lnTo>
                      <a:pt x="28979" y="35340"/>
                    </a:lnTo>
                    <a:lnTo>
                      <a:pt x="29461" y="34985"/>
                    </a:lnTo>
                    <a:lnTo>
                      <a:pt x="29565" y="34901"/>
                    </a:lnTo>
                    <a:lnTo>
                      <a:pt x="29712" y="34880"/>
                    </a:lnTo>
                    <a:lnTo>
                      <a:pt x="29984" y="34650"/>
                    </a:lnTo>
                    <a:lnTo>
                      <a:pt x="30088" y="34545"/>
                    </a:lnTo>
                    <a:lnTo>
                      <a:pt x="30214" y="34483"/>
                    </a:lnTo>
                    <a:lnTo>
                      <a:pt x="30318" y="34378"/>
                    </a:lnTo>
                    <a:lnTo>
                      <a:pt x="30528" y="34357"/>
                    </a:lnTo>
                    <a:lnTo>
                      <a:pt x="32202" y="34378"/>
                    </a:lnTo>
                    <a:lnTo>
                      <a:pt x="32327" y="34252"/>
                    </a:lnTo>
                    <a:lnTo>
                      <a:pt x="32390" y="34252"/>
                    </a:lnTo>
                    <a:lnTo>
                      <a:pt x="32432" y="34190"/>
                    </a:lnTo>
                    <a:lnTo>
                      <a:pt x="32515" y="34190"/>
                    </a:lnTo>
                    <a:lnTo>
                      <a:pt x="32620" y="34231"/>
                    </a:lnTo>
                    <a:lnTo>
                      <a:pt x="32704" y="34169"/>
                    </a:lnTo>
                    <a:lnTo>
                      <a:pt x="32725" y="34085"/>
                    </a:lnTo>
                    <a:lnTo>
                      <a:pt x="32913" y="33876"/>
                    </a:lnTo>
                    <a:lnTo>
                      <a:pt x="32976" y="33855"/>
                    </a:lnTo>
                    <a:lnTo>
                      <a:pt x="33143" y="33667"/>
                    </a:lnTo>
                    <a:lnTo>
                      <a:pt x="33185" y="33541"/>
                    </a:lnTo>
                    <a:lnTo>
                      <a:pt x="33227" y="33415"/>
                    </a:lnTo>
                    <a:lnTo>
                      <a:pt x="33373" y="33332"/>
                    </a:lnTo>
                    <a:lnTo>
                      <a:pt x="33373" y="33227"/>
                    </a:lnTo>
                    <a:lnTo>
                      <a:pt x="33478" y="33102"/>
                    </a:lnTo>
                    <a:lnTo>
                      <a:pt x="33687" y="32871"/>
                    </a:lnTo>
                    <a:lnTo>
                      <a:pt x="33750" y="32767"/>
                    </a:lnTo>
                    <a:lnTo>
                      <a:pt x="33854" y="32662"/>
                    </a:lnTo>
                    <a:lnTo>
                      <a:pt x="33875" y="32662"/>
                    </a:lnTo>
                    <a:lnTo>
                      <a:pt x="33959" y="32704"/>
                    </a:lnTo>
                    <a:lnTo>
                      <a:pt x="34022" y="32788"/>
                    </a:lnTo>
                    <a:lnTo>
                      <a:pt x="34168" y="32767"/>
                    </a:lnTo>
                    <a:lnTo>
                      <a:pt x="34315" y="32809"/>
                    </a:lnTo>
                    <a:lnTo>
                      <a:pt x="34378" y="32767"/>
                    </a:lnTo>
                    <a:lnTo>
                      <a:pt x="34608" y="32976"/>
                    </a:lnTo>
                    <a:lnTo>
                      <a:pt x="34608" y="33143"/>
                    </a:lnTo>
                    <a:lnTo>
                      <a:pt x="34482" y="33876"/>
                    </a:lnTo>
                    <a:lnTo>
                      <a:pt x="34440" y="33959"/>
                    </a:lnTo>
                    <a:lnTo>
                      <a:pt x="34503" y="33959"/>
                    </a:lnTo>
                    <a:lnTo>
                      <a:pt x="34524" y="34043"/>
                    </a:lnTo>
                    <a:lnTo>
                      <a:pt x="34587" y="34085"/>
                    </a:lnTo>
                    <a:lnTo>
                      <a:pt x="34587" y="34190"/>
                    </a:lnTo>
                    <a:lnTo>
                      <a:pt x="34587" y="34252"/>
                    </a:lnTo>
                    <a:lnTo>
                      <a:pt x="34587" y="34294"/>
                    </a:lnTo>
                    <a:lnTo>
                      <a:pt x="34545" y="34357"/>
                    </a:lnTo>
                    <a:lnTo>
                      <a:pt x="34587" y="34378"/>
                    </a:lnTo>
                    <a:lnTo>
                      <a:pt x="34733" y="34399"/>
                    </a:lnTo>
                    <a:lnTo>
                      <a:pt x="34859" y="34378"/>
                    </a:lnTo>
                    <a:lnTo>
                      <a:pt x="34901" y="34462"/>
                    </a:lnTo>
                    <a:lnTo>
                      <a:pt x="34963" y="34483"/>
                    </a:lnTo>
                    <a:lnTo>
                      <a:pt x="35026" y="34399"/>
                    </a:lnTo>
                    <a:lnTo>
                      <a:pt x="35110" y="34462"/>
                    </a:lnTo>
                    <a:lnTo>
                      <a:pt x="35235" y="34441"/>
                    </a:lnTo>
                    <a:lnTo>
                      <a:pt x="35277" y="34336"/>
                    </a:lnTo>
                    <a:lnTo>
                      <a:pt x="35382" y="34231"/>
                    </a:lnTo>
                    <a:lnTo>
                      <a:pt x="35382" y="34231"/>
                    </a:lnTo>
                    <a:lnTo>
                      <a:pt x="35319" y="34336"/>
                    </a:lnTo>
                    <a:lnTo>
                      <a:pt x="35340" y="34336"/>
                    </a:lnTo>
                    <a:lnTo>
                      <a:pt x="35319" y="34378"/>
                    </a:lnTo>
                    <a:lnTo>
                      <a:pt x="35361" y="34399"/>
                    </a:lnTo>
                    <a:lnTo>
                      <a:pt x="35633" y="34336"/>
                    </a:lnTo>
                    <a:lnTo>
                      <a:pt x="35675" y="34252"/>
                    </a:lnTo>
                    <a:lnTo>
                      <a:pt x="35842" y="34252"/>
                    </a:lnTo>
                    <a:lnTo>
                      <a:pt x="35968" y="34127"/>
                    </a:lnTo>
                    <a:lnTo>
                      <a:pt x="36072" y="34085"/>
                    </a:lnTo>
                    <a:lnTo>
                      <a:pt x="36198" y="33918"/>
                    </a:lnTo>
                    <a:lnTo>
                      <a:pt x="36198" y="33980"/>
                    </a:lnTo>
                    <a:lnTo>
                      <a:pt x="36282" y="33939"/>
                    </a:lnTo>
                    <a:lnTo>
                      <a:pt x="36282" y="33980"/>
                    </a:lnTo>
                    <a:lnTo>
                      <a:pt x="36156" y="34127"/>
                    </a:lnTo>
                    <a:lnTo>
                      <a:pt x="36051" y="34148"/>
                    </a:lnTo>
                    <a:lnTo>
                      <a:pt x="35947" y="34294"/>
                    </a:lnTo>
                    <a:lnTo>
                      <a:pt x="36072" y="34336"/>
                    </a:lnTo>
                    <a:lnTo>
                      <a:pt x="36156" y="34231"/>
                    </a:lnTo>
                    <a:lnTo>
                      <a:pt x="36261" y="34231"/>
                    </a:lnTo>
                    <a:lnTo>
                      <a:pt x="36323" y="34273"/>
                    </a:lnTo>
                    <a:lnTo>
                      <a:pt x="36575" y="34294"/>
                    </a:lnTo>
                    <a:lnTo>
                      <a:pt x="36742" y="34294"/>
                    </a:lnTo>
                    <a:lnTo>
                      <a:pt x="36616" y="34357"/>
                    </a:lnTo>
                    <a:lnTo>
                      <a:pt x="36470" y="34378"/>
                    </a:lnTo>
                    <a:lnTo>
                      <a:pt x="36365" y="34399"/>
                    </a:lnTo>
                    <a:lnTo>
                      <a:pt x="36323" y="34483"/>
                    </a:lnTo>
                    <a:lnTo>
                      <a:pt x="36323" y="34545"/>
                    </a:lnTo>
                    <a:lnTo>
                      <a:pt x="36261" y="34483"/>
                    </a:lnTo>
                    <a:lnTo>
                      <a:pt x="36219" y="34378"/>
                    </a:lnTo>
                    <a:lnTo>
                      <a:pt x="36156" y="34357"/>
                    </a:lnTo>
                    <a:lnTo>
                      <a:pt x="35968" y="34399"/>
                    </a:lnTo>
                    <a:lnTo>
                      <a:pt x="35779" y="34545"/>
                    </a:lnTo>
                    <a:lnTo>
                      <a:pt x="35549" y="34587"/>
                    </a:lnTo>
                    <a:lnTo>
                      <a:pt x="35340" y="34713"/>
                    </a:lnTo>
                    <a:lnTo>
                      <a:pt x="35319" y="34817"/>
                    </a:lnTo>
                    <a:lnTo>
                      <a:pt x="35173" y="34922"/>
                    </a:lnTo>
                    <a:lnTo>
                      <a:pt x="35110" y="35110"/>
                    </a:lnTo>
                    <a:lnTo>
                      <a:pt x="35110" y="35236"/>
                    </a:lnTo>
                    <a:lnTo>
                      <a:pt x="35131" y="35340"/>
                    </a:lnTo>
                    <a:lnTo>
                      <a:pt x="35152" y="35445"/>
                    </a:lnTo>
                    <a:lnTo>
                      <a:pt x="35215" y="35424"/>
                    </a:lnTo>
                    <a:lnTo>
                      <a:pt x="35256" y="35445"/>
                    </a:lnTo>
                    <a:lnTo>
                      <a:pt x="35256" y="35592"/>
                    </a:lnTo>
                    <a:lnTo>
                      <a:pt x="35361" y="35654"/>
                    </a:lnTo>
                    <a:lnTo>
                      <a:pt x="35403" y="35612"/>
                    </a:lnTo>
                    <a:lnTo>
                      <a:pt x="35466" y="35654"/>
                    </a:lnTo>
                    <a:lnTo>
                      <a:pt x="35507" y="35612"/>
                    </a:lnTo>
                    <a:lnTo>
                      <a:pt x="35507" y="35508"/>
                    </a:lnTo>
                    <a:lnTo>
                      <a:pt x="35570" y="35487"/>
                    </a:lnTo>
                    <a:lnTo>
                      <a:pt x="35654" y="35487"/>
                    </a:lnTo>
                    <a:lnTo>
                      <a:pt x="35779" y="35382"/>
                    </a:lnTo>
                    <a:lnTo>
                      <a:pt x="35884" y="35340"/>
                    </a:lnTo>
                    <a:lnTo>
                      <a:pt x="36031" y="35131"/>
                    </a:lnTo>
                    <a:lnTo>
                      <a:pt x="36219" y="35006"/>
                    </a:lnTo>
                    <a:lnTo>
                      <a:pt x="36177" y="34964"/>
                    </a:lnTo>
                    <a:lnTo>
                      <a:pt x="36240" y="34817"/>
                    </a:lnTo>
                    <a:lnTo>
                      <a:pt x="36323" y="34817"/>
                    </a:lnTo>
                    <a:lnTo>
                      <a:pt x="36386" y="34755"/>
                    </a:lnTo>
                    <a:lnTo>
                      <a:pt x="36428" y="34755"/>
                    </a:lnTo>
                    <a:lnTo>
                      <a:pt x="36491" y="34880"/>
                    </a:lnTo>
                    <a:lnTo>
                      <a:pt x="36637" y="34901"/>
                    </a:lnTo>
                    <a:lnTo>
                      <a:pt x="36637" y="34859"/>
                    </a:lnTo>
                    <a:lnTo>
                      <a:pt x="36721" y="34859"/>
                    </a:lnTo>
                    <a:lnTo>
                      <a:pt x="36909" y="34755"/>
                    </a:lnTo>
                    <a:lnTo>
                      <a:pt x="37077" y="34692"/>
                    </a:lnTo>
                    <a:lnTo>
                      <a:pt x="37286" y="34650"/>
                    </a:lnTo>
                    <a:lnTo>
                      <a:pt x="37391" y="34650"/>
                    </a:lnTo>
                    <a:lnTo>
                      <a:pt x="37663" y="34483"/>
                    </a:lnTo>
                    <a:lnTo>
                      <a:pt x="37809" y="34441"/>
                    </a:lnTo>
                    <a:lnTo>
                      <a:pt x="37914" y="34441"/>
                    </a:lnTo>
                    <a:lnTo>
                      <a:pt x="37997" y="34462"/>
                    </a:lnTo>
                    <a:lnTo>
                      <a:pt x="38081" y="34399"/>
                    </a:lnTo>
                    <a:lnTo>
                      <a:pt x="38018" y="34357"/>
                    </a:lnTo>
                    <a:lnTo>
                      <a:pt x="37935" y="34357"/>
                    </a:lnTo>
                    <a:lnTo>
                      <a:pt x="37830" y="34294"/>
                    </a:lnTo>
                    <a:lnTo>
                      <a:pt x="37872" y="34294"/>
                    </a:lnTo>
                    <a:lnTo>
                      <a:pt x="37956" y="34273"/>
                    </a:lnTo>
                    <a:lnTo>
                      <a:pt x="37956" y="34231"/>
                    </a:lnTo>
                    <a:lnTo>
                      <a:pt x="37663" y="34169"/>
                    </a:lnTo>
                    <a:lnTo>
                      <a:pt x="37537" y="34148"/>
                    </a:lnTo>
                    <a:lnTo>
                      <a:pt x="37558" y="34085"/>
                    </a:lnTo>
                    <a:lnTo>
                      <a:pt x="37537" y="33980"/>
                    </a:lnTo>
                    <a:lnTo>
                      <a:pt x="37370" y="34085"/>
                    </a:lnTo>
                    <a:lnTo>
                      <a:pt x="37349" y="34148"/>
                    </a:lnTo>
                    <a:lnTo>
                      <a:pt x="37160" y="34106"/>
                    </a:lnTo>
                    <a:lnTo>
                      <a:pt x="37139" y="34064"/>
                    </a:lnTo>
                    <a:lnTo>
                      <a:pt x="36993" y="34022"/>
                    </a:lnTo>
                    <a:lnTo>
                      <a:pt x="36930" y="34043"/>
                    </a:lnTo>
                    <a:lnTo>
                      <a:pt x="36826" y="33980"/>
                    </a:lnTo>
                    <a:lnTo>
                      <a:pt x="36637" y="33980"/>
                    </a:lnTo>
                    <a:lnTo>
                      <a:pt x="36491" y="33876"/>
                    </a:lnTo>
                    <a:lnTo>
                      <a:pt x="36616" y="33834"/>
                    </a:lnTo>
                    <a:lnTo>
                      <a:pt x="36637" y="33750"/>
                    </a:lnTo>
                    <a:lnTo>
                      <a:pt x="36491" y="33750"/>
                    </a:lnTo>
                    <a:lnTo>
                      <a:pt x="36428" y="33708"/>
                    </a:lnTo>
                    <a:lnTo>
                      <a:pt x="36323" y="33708"/>
                    </a:lnTo>
                    <a:lnTo>
                      <a:pt x="36282" y="33541"/>
                    </a:lnTo>
                    <a:lnTo>
                      <a:pt x="36219" y="33499"/>
                    </a:lnTo>
                    <a:lnTo>
                      <a:pt x="36219" y="33332"/>
                    </a:lnTo>
                    <a:lnTo>
                      <a:pt x="36261" y="33227"/>
                    </a:lnTo>
                    <a:lnTo>
                      <a:pt x="36177" y="33143"/>
                    </a:lnTo>
                    <a:lnTo>
                      <a:pt x="36261" y="33039"/>
                    </a:lnTo>
                    <a:lnTo>
                      <a:pt x="36261" y="32997"/>
                    </a:lnTo>
                    <a:lnTo>
                      <a:pt x="36051" y="32997"/>
                    </a:lnTo>
                    <a:lnTo>
                      <a:pt x="36114" y="32913"/>
                    </a:lnTo>
                    <a:lnTo>
                      <a:pt x="36198" y="32913"/>
                    </a:lnTo>
                    <a:lnTo>
                      <a:pt x="36365" y="32620"/>
                    </a:lnTo>
                    <a:lnTo>
                      <a:pt x="36470" y="32558"/>
                    </a:lnTo>
                    <a:lnTo>
                      <a:pt x="36428" y="32474"/>
                    </a:lnTo>
                    <a:lnTo>
                      <a:pt x="36365" y="32474"/>
                    </a:lnTo>
                    <a:lnTo>
                      <a:pt x="36323" y="32411"/>
                    </a:lnTo>
                    <a:lnTo>
                      <a:pt x="36219" y="32411"/>
                    </a:lnTo>
                    <a:lnTo>
                      <a:pt x="36114" y="32495"/>
                    </a:lnTo>
                    <a:lnTo>
                      <a:pt x="35989" y="32558"/>
                    </a:lnTo>
                    <a:lnTo>
                      <a:pt x="35947" y="32474"/>
                    </a:lnTo>
                    <a:lnTo>
                      <a:pt x="35905" y="32369"/>
                    </a:lnTo>
                    <a:lnTo>
                      <a:pt x="35675" y="32307"/>
                    </a:lnTo>
                    <a:lnTo>
                      <a:pt x="35528" y="32286"/>
                    </a:lnTo>
                    <a:lnTo>
                      <a:pt x="35361" y="32307"/>
                    </a:lnTo>
                    <a:lnTo>
                      <a:pt x="35528" y="32244"/>
                    </a:lnTo>
                    <a:lnTo>
                      <a:pt x="35654" y="32265"/>
                    </a:lnTo>
                    <a:lnTo>
                      <a:pt x="35779" y="32244"/>
                    </a:lnTo>
                    <a:lnTo>
                      <a:pt x="35863" y="32181"/>
                    </a:lnTo>
                    <a:lnTo>
                      <a:pt x="35989" y="32244"/>
                    </a:lnTo>
                    <a:lnTo>
                      <a:pt x="36093" y="32307"/>
                    </a:lnTo>
                    <a:lnTo>
                      <a:pt x="36219" y="32307"/>
                    </a:lnTo>
                    <a:lnTo>
                      <a:pt x="36386" y="32202"/>
                    </a:lnTo>
                    <a:lnTo>
                      <a:pt x="36470" y="32202"/>
                    </a:lnTo>
                    <a:lnTo>
                      <a:pt x="36575" y="32097"/>
                    </a:lnTo>
                    <a:lnTo>
                      <a:pt x="36700" y="32076"/>
                    </a:lnTo>
                    <a:lnTo>
                      <a:pt x="36784" y="31867"/>
                    </a:lnTo>
                    <a:lnTo>
                      <a:pt x="36721" y="31825"/>
                    </a:lnTo>
                    <a:lnTo>
                      <a:pt x="36805" y="31783"/>
                    </a:lnTo>
                    <a:lnTo>
                      <a:pt x="36742" y="31721"/>
                    </a:lnTo>
                    <a:lnTo>
                      <a:pt x="36616" y="31658"/>
                    </a:lnTo>
                    <a:lnTo>
                      <a:pt x="36533" y="31658"/>
                    </a:lnTo>
                    <a:lnTo>
                      <a:pt x="36575" y="31637"/>
                    </a:lnTo>
                    <a:lnTo>
                      <a:pt x="36575" y="31616"/>
                    </a:lnTo>
                    <a:lnTo>
                      <a:pt x="36742" y="31637"/>
                    </a:lnTo>
                    <a:lnTo>
                      <a:pt x="36742" y="31574"/>
                    </a:lnTo>
                    <a:lnTo>
                      <a:pt x="36512" y="31449"/>
                    </a:lnTo>
                    <a:lnTo>
                      <a:pt x="36303" y="31365"/>
                    </a:lnTo>
                    <a:lnTo>
                      <a:pt x="35905" y="31365"/>
                    </a:lnTo>
                    <a:lnTo>
                      <a:pt x="35800" y="31428"/>
                    </a:lnTo>
                    <a:lnTo>
                      <a:pt x="35675" y="31428"/>
                    </a:lnTo>
                    <a:lnTo>
                      <a:pt x="35319" y="31553"/>
                    </a:lnTo>
                    <a:lnTo>
                      <a:pt x="35026" y="31616"/>
                    </a:lnTo>
                    <a:lnTo>
                      <a:pt x="34859" y="31679"/>
                    </a:lnTo>
                    <a:lnTo>
                      <a:pt x="34712" y="31721"/>
                    </a:lnTo>
                    <a:lnTo>
                      <a:pt x="34440" y="31867"/>
                    </a:lnTo>
                    <a:lnTo>
                      <a:pt x="34064" y="32139"/>
                    </a:lnTo>
                    <a:lnTo>
                      <a:pt x="33771" y="32390"/>
                    </a:lnTo>
                    <a:lnTo>
                      <a:pt x="33666" y="32453"/>
                    </a:lnTo>
                    <a:lnTo>
                      <a:pt x="33541" y="32579"/>
                    </a:lnTo>
                    <a:lnTo>
                      <a:pt x="33373" y="32767"/>
                    </a:lnTo>
                    <a:lnTo>
                      <a:pt x="33185" y="32892"/>
                    </a:lnTo>
                    <a:lnTo>
                      <a:pt x="32934" y="33018"/>
                    </a:lnTo>
                    <a:lnTo>
                      <a:pt x="32641" y="33143"/>
                    </a:lnTo>
                    <a:lnTo>
                      <a:pt x="32515" y="33143"/>
                    </a:lnTo>
                    <a:lnTo>
                      <a:pt x="32704" y="33102"/>
                    </a:lnTo>
                    <a:lnTo>
                      <a:pt x="33018" y="32976"/>
                    </a:lnTo>
                    <a:lnTo>
                      <a:pt x="33038" y="32892"/>
                    </a:lnTo>
                    <a:lnTo>
                      <a:pt x="33290" y="32725"/>
                    </a:lnTo>
                    <a:lnTo>
                      <a:pt x="33373" y="32599"/>
                    </a:lnTo>
                    <a:lnTo>
                      <a:pt x="33436" y="32453"/>
                    </a:lnTo>
                    <a:lnTo>
                      <a:pt x="33541" y="32411"/>
                    </a:lnTo>
                    <a:lnTo>
                      <a:pt x="33666" y="32286"/>
                    </a:lnTo>
                    <a:lnTo>
                      <a:pt x="33813" y="32202"/>
                    </a:lnTo>
                    <a:lnTo>
                      <a:pt x="33875" y="31993"/>
                    </a:lnTo>
                    <a:lnTo>
                      <a:pt x="34106" y="31888"/>
                    </a:lnTo>
                    <a:lnTo>
                      <a:pt x="34231" y="31679"/>
                    </a:lnTo>
                    <a:lnTo>
                      <a:pt x="34294" y="31658"/>
                    </a:lnTo>
                    <a:lnTo>
                      <a:pt x="34315" y="31595"/>
                    </a:lnTo>
                    <a:lnTo>
                      <a:pt x="34440" y="31532"/>
                    </a:lnTo>
                    <a:lnTo>
                      <a:pt x="34545" y="31491"/>
                    </a:lnTo>
                    <a:lnTo>
                      <a:pt x="34608" y="31386"/>
                    </a:lnTo>
                    <a:lnTo>
                      <a:pt x="34712" y="31344"/>
                    </a:lnTo>
                    <a:lnTo>
                      <a:pt x="34754" y="31386"/>
                    </a:lnTo>
                    <a:lnTo>
                      <a:pt x="34838" y="31365"/>
                    </a:lnTo>
                    <a:lnTo>
                      <a:pt x="34922" y="31239"/>
                    </a:lnTo>
                    <a:lnTo>
                      <a:pt x="35131" y="31239"/>
                    </a:lnTo>
                    <a:lnTo>
                      <a:pt x="35235" y="31177"/>
                    </a:lnTo>
                    <a:lnTo>
                      <a:pt x="35424" y="31177"/>
                    </a:lnTo>
                    <a:lnTo>
                      <a:pt x="35487" y="31072"/>
                    </a:lnTo>
                    <a:lnTo>
                      <a:pt x="35528" y="30946"/>
                    </a:lnTo>
                    <a:lnTo>
                      <a:pt x="35570" y="30905"/>
                    </a:lnTo>
                    <a:lnTo>
                      <a:pt x="35570" y="30821"/>
                    </a:lnTo>
                    <a:lnTo>
                      <a:pt x="35696" y="30758"/>
                    </a:lnTo>
                    <a:lnTo>
                      <a:pt x="35905" y="30591"/>
                    </a:lnTo>
                    <a:lnTo>
                      <a:pt x="36010" y="30549"/>
                    </a:lnTo>
                    <a:lnTo>
                      <a:pt x="36072" y="30507"/>
                    </a:lnTo>
                    <a:lnTo>
                      <a:pt x="36010" y="30444"/>
                    </a:lnTo>
                    <a:lnTo>
                      <a:pt x="36072" y="30382"/>
                    </a:lnTo>
                    <a:lnTo>
                      <a:pt x="36156" y="30319"/>
                    </a:lnTo>
                    <a:lnTo>
                      <a:pt x="36261" y="30423"/>
                    </a:lnTo>
                    <a:lnTo>
                      <a:pt x="36386" y="30486"/>
                    </a:lnTo>
                    <a:lnTo>
                      <a:pt x="36616" y="30444"/>
                    </a:lnTo>
                    <a:lnTo>
                      <a:pt x="36805" y="30528"/>
                    </a:lnTo>
                    <a:lnTo>
                      <a:pt x="36888" y="30528"/>
                    </a:lnTo>
                    <a:lnTo>
                      <a:pt x="36951" y="30549"/>
                    </a:lnTo>
                    <a:lnTo>
                      <a:pt x="37098" y="30486"/>
                    </a:lnTo>
                    <a:lnTo>
                      <a:pt x="37160" y="30549"/>
                    </a:lnTo>
                    <a:lnTo>
                      <a:pt x="37265" y="30549"/>
                    </a:lnTo>
                    <a:lnTo>
                      <a:pt x="37349" y="30507"/>
                    </a:lnTo>
                    <a:lnTo>
                      <a:pt x="37474" y="30591"/>
                    </a:lnTo>
                    <a:lnTo>
                      <a:pt x="37663" y="30612"/>
                    </a:lnTo>
                    <a:lnTo>
                      <a:pt x="37746" y="30570"/>
                    </a:lnTo>
                    <a:lnTo>
                      <a:pt x="37788" y="30570"/>
                    </a:lnTo>
                    <a:lnTo>
                      <a:pt x="37893" y="30633"/>
                    </a:lnTo>
                    <a:lnTo>
                      <a:pt x="38039" y="30674"/>
                    </a:lnTo>
                    <a:lnTo>
                      <a:pt x="38081" y="30633"/>
                    </a:lnTo>
                    <a:lnTo>
                      <a:pt x="38248" y="30716"/>
                    </a:lnTo>
                    <a:lnTo>
                      <a:pt x="38311" y="30716"/>
                    </a:lnTo>
                    <a:lnTo>
                      <a:pt x="38416" y="30674"/>
                    </a:lnTo>
                    <a:lnTo>
                      <a:pt x="38500" y="30695"/>
                    </a:lnTo>
                    <a:lnTo>
                      <a:pt x="38479" y="30737"/>
                    </a:lnTo>
                    <a:lnTo>
                      <a:pt x="38583" y="30779"/>
                    </a:lnTo>
                    <a:lnTo>
                      <a:pt x="38834" y="30695"/>
                    </a:lnTo>
                    <a:lnTo>
                      <a:pt x="38897" y="30695"/>
                    </a:lnTo>
                    <a:lnTo>
                      <a:pt x="39023" y="30633"/>
                    </a:lnTo>
                    <a:lnTo>
                      <a:pt x="39085" y="30674"/>
                    </a:lnTo>
                    <a:lnTo>
                      <a:pt x="39253" y="30674"/>
                    </a:lnTo>
                    <a:lnTo>
                      <a:pt x="39336" y="30716"/>
                    </a:lnTo>
                    <a:lnTo>
                      <a:pt x="39441" y="30674"/>
                    </a:lnTo>
                    <a:lnTo>
                      <a:pt x="39462" y="30591"/>
                    </a:lnTo>
                    <a:lnTo>
                      <a:pt x="39608" y="30591"/>
                    </a:lnTo>
                    <a:lnTo>
                      <a:pt x="39671" y="30528"/>
                    </a:lnTo>
                    <a:lnTo>
                      <a:pt x="39734" y="30570"/>
                    </a:lnTo>
                    <a:lnTo>
                      <a:pt x="39818" y="30465"/>
                    </a:lnTo>
                    <a:lnTo>
                      <a:pt x="39922" y="30402"/>
                    </a:lnTo>
                    <a:lnTo>
                      <a:pt x="39943" y="30361"/>
                    </a:lnTo>
                    <a:lnTo>
                      <a:pt x="40048" y="30382"/>
                    </a:lnTo>
                    <a:lnTo>
                      <a:pt x="40132" y="30214"/>
                    </a:lnTo>
                    <a:lnTo>
                      <a:pt x="40132" y="30110"/>
                    </a:lnTo>
                    <a:lnTo>
                      <a:pt x="40194" y="30110"/>
                    </a:lnTo>
                    <a:lnTo>
                      <a:pt x="40278" y="30047"/>
                    </a:lnTo>
                    <a:lnTo>
                      <a:pt x="40299" y="29963"/>
                    </a:lnTo>
                    <a:lnTo>
                      <a:pt x="40257" y="29942"/>
                    </a:lnTo>
                    <a:lnTo>
                      <a:pt x="40278" y="29879"/>
                    </a:lnTo>
                    <a:lnTo>
                      <a:pt x="40383" y="29879"/>
                    </a:lnTo>
                    <a:lnTo>
                      <a:pt x="40487" y="29858"/>
                    </a:lnTo>
                    <a:lnTo>
                      <a:pt x="40487" y="29775"/>
                    </a:lnTo>
                    <a:lnTo>
                      <a:pt x="40508" y="29754"/>
                    </a:lnTo>
                    <a:lnTo>
                      <a:pt x="40571" y="29838"/>
                    </a:lnTo>
                    <a:lnTo>
                      <a:pt x="40696" y="29858"/>
                    </a:lnTo>
                    <a:lnTo>
                      <a:pt x="40801" y="29775"/>
                    </a:lnTo>
                    <a:lnTo>
                      <a:pt x="40822" y="29838"/>
                    </a:lnTo>
                    <a:lnTo>
                      <a:pt x="40906" y="29838"/>
                    </a:lnTo>
                    <a:lnTo>
                      <a:pt x="40989" y="29775"/>
                    </a:lnTo>
                    <a:lnTo>
                      <a:pt x="41031" y="29838"/>
                    </a:lnTo>
                    <a:lnTo>
                      <a:pt x="41136" y="29796"/>
                    </a:lnTo>
                    <a:lnTo>
                      <a:pt x="41178" y="29754"/>
                    </a:lnTo>
                    <a:lnTo>
                      <a:pt x="41241" y="29754"/>
                    </a:lnTo>
                    <a:lnTo>
                      <a:pt x="41324" y="29649"/>
                    </a:lnTo>
                    <a:lnTo>
                      <a:pt x="41387" y="29649"/>
                    </a:lnTo>
                    <a:lnTo>
                      <a:pt x="41492" y="29545"/>
                    </a:lnTo>
                    <a:lnTo>
                      <a:pt x="41617" y="29545"/>
                    </a:lnTo>
                    <a:lnTo>
                      <a:pt x="41764" y="29440"/>
                    </a:lnTo>
                    <a:lnTo>
                      <a:pt x="41826" y="29356"/>
                    </a:lnTo>
                    <a:lnTo>
                      <a:pt x="41910" y="29356"/>
                    </a:lnTo>
                    <a:lnTo>
                      <a:pt x="41931" y="29252"/>
                    </a:lnTo>
                    <a:lnTo>
                      <a:pt x="41973" y="29147"/>
                    </a:lnTo>
                    <a:lnTo>
                      <a:pt x="41910" y="29126"/>
                    </a:lnTo>
                    <a:lnTo>
                      <a:pt x="41805" y="29147"/>
                    </a:lnTo>
                    <a:lnTo>
                      <a:pt x="41722" y="29105"/>
                    </a:lnTo>
                    <a:lnTo>
                      <a:pt x="41764" y="29105"/>
                    </a:lnTo>
                    <a:lnTo>
                      <a:pt x="41868" y="29126"/>
                    </a:lnTo>
                    <a:lnTo>
                      <a:pt x="41952" y="29105"/>
                    </a:lnTo>
                    <a:lnTo>
                      <a:pt x="41868" y="29001"/>
                    </a:lnTo>
                    <a:lnTo>
                      <a:pt x="41764" y="29001"/>
                    </a:lnTo>
                    <a:lnTo>
                      <a:pt x="41617" y="28917"/>
                    </a:lnTo>
                    <a:lnTo>
                      <a:pt x="41554" y="28812"/>
                    </a:lnTo>
                    <a:lnTo>
                      <a:pt x="41554" y="28812"/>
                    </a:lnTo>
                    <a:lnTo>
                      <a:pt x="41701" y="28896"/>
                    </a:lnTo>
                    <a:lnTo>
                      <a:pt x="41805" y="28833"/>
                    </a:lnTo>
                    <a:lnTo>
                      <a:pt x="41826" y="28729"/>
                    </a:lnTo>
                    <a:lnTo>
                      <a:pt x="41910" y="28708"/>
                    </a:lnTo>
                    <a:lnTo>
                      <a:pt x="41952" y="28603"/>
                    </a:lnTo>
                    <a:lnTo>
                      <a:pt x="41764" y="28540"/>
                    </a:lnTo>
                    <a:lnTo>
                      <a:pt x="41847" y="28478"/>
                    </a:lnTo>
                    <a:lnTo>
                      <a:pt x="41931" y="28498"/>
                    </a:lnTo>
                    <a:lnTo>
                      <a:pt x="42015" y="28415"/>
                    </a:lnTo>
                    <a:lnTo>
                      <a:pt x="41973" y="28331"/>
                    </a:lnTo>
                    <a:lnTo>
                      <a:pt x="41826" y="28268"/>
                    </a:lnTo>
                    <a:lnTo>
                      <a:pt x="41805" y="28164"/>
                    </a:lnTo>
                    <a:lnTo>
                      <a:pt x="41847" y="28122"/>
                    </a:lnTo>
                    <a:lnTo>
                      <a:pt x="41952" y="28185"/>
                    </a:lnTo>
                    <a:lnTo>
                      <a:pt x="41931" y="28101"/>
                    </a:lnTo>
                    <a:lnTo>
                      <a:pt x="41764" y="28017"/>
                    </a:lnTo>
                    <a:lnTo>
                      <a:pt x="41617" y="28017"/>
                    </a:lnTo>
                    <a:lnTo>
                      <a:pt x="41638" y="27954"/>
                    </a:lnTo>
                    <a:lnTo>
                      <a:pt x="41701" y="27913"/>
                    </a:lnTo>
                    <a:lnTo>
                      <a:pt x="41659" y="27871"/>
                    </a:lnTo>
                    <a:lnTo>
                      <a:pt x="41533" y="27871"/>
                    </a:lnTo>
                    <a:lnTo>
                      <a:pt x="41387" y="27954"/>
                    </a:lnTo>
                    <a:lnTo>
                      <a:pt x="41345" y="28059"/>
                    </a:lnTo>
                    <a:lnTo>
                      <a:pt x="41303" y="28101"/>
                    </a:lnTo>
                    <a:lnTo>
                      <a:pt x="41241" y="27996"/>
                    </a:lnTo>
                    <a:lnTo>
                      <a:pt x="41094" y="27996"/>
                    </a:lnTo>
                    <a:lnTo>
                      <a:pt x="41157" y="27913"/>
                    </a:lnTo>
                    <a:lnTo>
                      <a:pt x="41220" y="27913"/>
                    </a:lnTo>
                    <a:lnTo>
                      <a:pt x="41345" y="27808"/>
                    </a:lnTo>
                    <a:lnTo>
                      <a:pt x="41387" y="27703"/>
                    </a:lnTo>
                    <a:lnTo>
                      <a:pt x="41303" y="27536"/>
                    </a:lnTo>
                    <a:lnTo>
                      <a:pt x="41115" y="27473"/>
                    </a:lnTo>
                    <a:lnTo>
                      <a:pt x="40885" y="27494"/>
                    </a:lnTo>
                    <a:lnTo>
                      <a:pt x="40801" y="27536"/>
                    </a:lnTo>
                    <a:lnTo>
                      <a:pt x="40822" y="27557"/>
                    </a:lnTo>
                    <a:lnTo>
                      <a:pt x="40969" y="27557"/>
                    </a:lnTo>
                    <a:lnTo>
                      <a:pt x="41010" y="27578"/>
                    </a:lnTo>
                    <a:lnTo>
                      <a:pt x="40885" y="27578"/>
                    </a:lnTo>
                    <a:lnTo>
                      <a:pt x="40717" y="27557"/>
                    </a:lnTo>
                    <a:lnTo>
                      <a:pt x="40550" y="27641"/>
                    </a:lnTo>
                    <a:lnTo>
                      <a:pt x="40404" y="27661"/>
                    </a:lnTo>
                    <a:lnTo>
                      <a:pt x="40299" y="27787"/>
                    </a:lnTo>
                    <a:lnTo>
                      <a:pt x="40257" y="27892"/>
                    </a:lnTo>
                    <a:lnTo>
                      <a:pt x="40173" y="27892"/>
                    </a:lnTo>
                    <a:lnTo>
                      <a:pt x="40048" y="27996"/>
                    </a:lnTo>
                    <a:lnTo>
                      <a:pt x="39860" y="27996"/>
                    </a:lnTo>
                    <a:lnTo>
                      <a:pt x="39755" y="28205"/>
                    </a:lnTo>
                    <a:lnTo>
                      <a:pt x="39671" y="28205"/>
                    </a:lnTo>
                    <a:lnTo>
                      <a:pt x="39629" y="28268"/>
                    </a:lnTo>
                    <a:lnTo>
                      <a:pt x="39567" y="28268"/>
                    </a:lnTo>
                    <a:lnTo>
                      <a:pt x="39525" y="28185"/>
                    </a:lnTo>
                    <a:lnTo>
                      <a:pt x="39608" y="28101"/>
                    </a:lnTo>
                    <a:lnTo>
                      <a:pt x="39671" y="28122"/>
                    </a:lnTo>
                    <a:lnTo>
                      <a:pt x="39713" y="28059"/>
                    </a:lnTo>
                    <a:lnTo>
                      <a:pt x="39462" y="27871"/>
                    </a:lnTo>
                    <a:lnTo>
                      <a:pt x="39441" y="27808"/>
                    </a:lnTo>
                    <a:lnTo>
                      <a:pt x="39357" y="27787"/>
                    </a:lnTo>
                    <a:lnTo>
                      <a:pt x="39399" y="27745"/>
                    </a:lnTo>
                    <a:lnTo>
                      <a:pt x="39399" y="27641"/>
                    </a:lnTo>
                    <a:lnTo>
                      <a:pt x="39525" y="27850"/>
                    </a:lnTo>
                    <a:lnTo>
                      <a:pt x="39734" y="27975"/>
                    </a:lnTo>
                    <a:lnTo>
                      <a:pt x="39776" y="27913"/>
                    </a:lnTo>
                    <a:lnTo>
                      <a:pt x="39818" y="27808"/>
                    </a:lnTo>
                    <a:lnTo>
                      <a:pt x="39943" y="27808"/>
                    </a:lnTo>
                    <a:lnTo>
                      <a:pt x="40027" y="27745"/>
                    </a:lnTo>
                    <a:lnTo>
                      <a:pt x="40194" y="27641"/>
                    </a:lnTo>
                    <a:lnTo>
                      <a:pt x="40404" y="27578"/>
                    </a:lnTo>
                    <a:lnTo>
                      <a:pt x="40613" y="27557"/>
                    </a:lnTo>
                    <a:lnTo>
                      <a:pt x="40592" y="27494"/>
                    </a:lnTo>
                    <a:lnTo>
                      <a:pt x="40508" y="27473"/>
                    </a:lnTo>
                    <a:lnTo>
                      <a:pt x="40613" y="27473"/>
                    </a:lnTo>
                    <a:lnTo>
                      <a:pt x="40717" y="27369"/>
                    </a:lnTo>
                    <a:lnTo>
                      <a:pt x="40906" y="27285"/>
                    </a:lnTo>
                    <a:lnTo>
                      <a:pt x="40969" y="27348"/>
                    </a:lnTo>
                    <a:lnTo>
                      <a:pt x="41199" y="27285"/>
                    </a:lnTo>
                    <a:lnTo>
                      <a:pt x="41199" y="27243"/>
                    </a:lnTo>
                    <a:lnTo>
                      <a:pt x="41387" y="27222"/>
                    </a:lnTo>
                    <a:lnTo>
                      <a:pt x="41282" y="27117"/>
                    </a:lnTo>
                    <a:lnTo>
                      <a:pt x="41010" y="27034"/>
                    </a:lnTo>
                    <a:lnTo>
                      <a:pt x="41073" y="26971"/>
                    </a:lnTo>
                    <a:lnTo>
                      <a:pt x="41136" y="26971"/>
                    </a:lnTo>
                    <a:lnTo>
                      <a:pt x="41199" y="26866"/>
                    </a:lnTo>
                    <a:lnTo>
                      <a:pt x="41115" y="26845"/>
                    </a:lnTo>
                    <a:lnTo>
                      <a:pt x="40969" y="26908"/>
                    </a:lnTo>
                    <a:lnTo>
                      <a:pt x="40885" y="27013"/>
                    </a:lnTo>
                    <a:lnTo>
                      <a:pt x="40759" y="26929"/>
                    </a:lnTo>
                    <a:lnTo>
                      <a:pt x="40613" y="26950"/>
                    </a:lnTo>
                    <a:lnTo>
                      <a:pt x="40592" y="26866"/>
                    </a:lnTo>
                    <a:lnTo>
                      <a:pt x="40676" y="26845"/>
                    </a:lnTo>
                    <a:lnTo>
                      <a:pt x="40676" y="26657"/>
                    </a:lnTo>
                    <a:lnTo>
                      <a:pt x="40696" y="26615"/>
                    </a:lnTo>
                    <a:lnTo>
                      <a:pt x="40550" y="26720"/>
                    </a:lnTo>
                    <a:lnTo>
                      <a:pt x="40550" y="26657"/>
                    </a:lnTo>
                    <a:lnTo>
                      <a:pt x="40592" y="26615"/>
                    </a:lnTo>
                    <a:lnTo>
                      <a:pt x="40550" y="26594"/>
                    </a:lnTo>
                    <a:lnTo>
                      <a:pt x="40341" y="26762"/>
                    </a:lnTo>
                    <a:lnTo>
                      <a:pt x="40257" y="26845"/>
                    </a:lnTo>
                    <a:lnTo>
                      <a:pt x="40194" y="26845"/>
                    </a:lnTo>
                    <a:lnTo>
                      <a:pt x="40278" y="26762"/>
                    </a:lnTo>
                    <a:lnTo>
                      <a:pt x="40445" y="26636"/>
                    </a:lnTo>
                    <a:lnTo>
                      <a:pt x="40383" y="26594"/>
                    </a:lnTo>
                    <a:lnTo>
                      <a:pt x="40236" y="26657"/>
                    </a:lnTo>
                    <a:lnTo>
                      <a:pt x="40194" y="26636"/>
                    </a:lnTo>
                    <a:lnTo>
                      <a:pt x="40257" y="26594"/>
                    </a:lnTo>
                    <a:lnTo>
                      <a:pt x="40341" y="26532"/>
                    </a:lnTo>
                    <a:lnTo>
                      <a:pt x="40341" y="26490"/>
                    </a:lnTo>
                    <a:lnTo>
                      <a:pt x="40194" y="26511"/>
                    </a:lnTo>
                    <a:lnTo>
                      <a:pt x="40090" y="26615"/>
                    </a:lnTo>
                    <a:lnTo>
                      <a:pt x="39985" y="26741"/>
                    </a:lnTo>
                    <a:lnTo>
                      <a:pt x="39943" y="26720"/>
                    </a:lnTo>
                    <a:lnTo>
                      <a:pt x="39985" y="26615"/>
                    </a:lnTo>
                    <a:lnTo>
                      <a:pt x="40090" y="26532"/>
                    </a:lnTo>
                    <a:lnTo>
                      <a:pt x="40090" y="26490"/>
                    </a:lnTo>
                    <a:lnTo>
                      <a:pt x="40027" y="26490"/>
                    </a:lnTo>
                    <a:lnTo>
                      <a:pt x="39818" y="26699"/>
                    </a:lnTo>
                    <a:lnTo>
                      <a:pt x="39713" y="26720"/>
                    </a:lnTo>
                    <a:lnTo>
                      <a:pt x="39608" y="26636"/>
                    </a:lnTo>
                    <a:lnTo>
                      <a:pt x="39734" y="26657"/>
                    </a:lnTo>
                    <a:lnTo>
                      <a:pt x="39839" y="26594"/>
                    </a:lnTo>
                    <a:lnTo>
                      <a:pt x="40027" y="26343"/>
                    </a:lnTo>
                    <a:lnTo>
                      <a:pt x="40152" y="26281"/>
                    </a:lnTo>
                    <a:lnTo>
                      <a:pt x="40069" y="26197"/>
                    </a:lnTo>
                    <a:lnTo>
                      <a:pt x="40090" y="26092"/>
                    </a:lnTo>
                    <a:lnTo>
                      <a:pt x="40069" y="26071"/>
                    </a:lnTo>
                    <a:lnTo>
                      <a:pt x="39964" y="26218"/>
                    </a:lnTo>
                    <a:lnTo>
                      <a:pt x="39922" y="26218"/>
                    </a:lnTo>
                    <a:lnTo>
                      <a:pt x="39922" y="26176"/>
                    </a:lnTo>
                    <a:lnTo>
                      <a:pt x="39964" y="26092"/>
                    </a:lnTo>
                    <a:lnTo>
                      <a:pt x="39964" y="25925"/>
                    </a:lnTo>
                    <a:lnTo>
                      <a:pt x="39880" y="25904"/>
                    </a:lnTo>
                    <a:lnTo>
                      <a:pt x="39860" y="25883"/>
                    </a:lnTo>
                    <a:lnTo>
                      <a:pt x="39755" y="25967"/>
                    </a:lnTo>
                    <a:lnTo>
                      <a:pt x="39734" y="25904"/>
                    </a:lnTo>
                    <a:lnTo>
                      <a:pt x="39755" y="25820"/>
                    </a:lnTo>
                    <a:lnTo>
                      <a:pt x="39734" y="25799"/>
                    </a:lnTo>
                    <a:lnTo>
                      <a:pt x="39650" y="25799"/>
                    </a:lnTo>
                    <a:lnTo>
                      <a:pt x="39713" y="25757"/>
                    </a:lnTo>
                    <a:lnTo>
                      <a:pt x="39650" y="25695"/>
                    </a:lnTo>
                    <a:lnTo>
                      <a:pt x="39650" y="25611"/>
                    </a:lnTo>
                    <a:lnTo>
                      <a:pt x="39608" y="25611"/>
                    </a:lnTo>
                    <a:lnTo>
                      <a:pt x="39441" y="25653"/>
                    </a:lnTo>
                    <a:lnTo>
                      <a:pt x="39441" y="25695"/>
                    </a:lnTo>
                    <a:lnTo>
                      <a:pt x="39357" y="25716"/>
                    </a:lnTo>
                    <a:lnTo>
                      <a:pt x="39148" y="25674"/>
                    </a:lnTo>
                    <a:lnTo>
                      <a:pt x="39316" y="25674"/>
                    </a:lnTo>
                    <a:lnTo>
                      <a:pt x="39357" y="25590"/>
                    </a:lnTo>
                    <a:lnTo>
                      <a:pt x="39504" y="25569"/>
                    </a:lnTo>
                    <a:lnTo>
                      <a:pt x="39525" y="25506"/>
                    </a:lnTo>
                    <a:lnTo>
                      <a:pt x="39462" y="25444"/>
                    </a:lnTo>
                    <a:lnTo>
                      <a:pt x="39357" y="25339"/>
                    </a:lnTo>
                    <a:lnTo>
                      <a:pt x="39357" y="25234"/>
                    </a:lnTo>
                    <a:lnTo>
                      <a:pt x="39211" y="25151"/>
                    </a:lnTo>
                    <a:lnTo>
                      <a:pt x="39357" y="25151"/>
                    </a:lnTo>
                    <a:lnTo>
                      <a:pt x="39525" y="25234"/>
                    </a:lnTo>
                    <a:lnTo>
                      <a:pt x="39650" y="25234"/>
                    </a:lnTo>
                    <a:lnTo>
                      <a:pt x="39650" y="25151"/>
                    </a:lnTo>
                    <a:lnTo>
                      <a:pt x="39546" y="25088"/>
                    </a:lnTo>
                    <a:lnTo>
                      <a:pt x="39567" y="25046"/>
                    </a:lnTo>
                    <a:lnTo>
                      <a:pt x="39650" y="25067"/>
                    </a:lnTo>
                    <a:lnTo>
                      <a:pt x="39776" y="24962"/>
                    </a:lnTo>
                    <a:lnTo>
                      <a:pt x="39860" y="24920"/>
                    </a:lnTo>
                    <a:lnTo>
                      <a:pt x="39880" y="24816"/>
                    </a:lnTo>
                    <a:lnTo>
                      <a:pt x="39776" y="24711"/>
                    </a:lnTo>
                    <a:lnTo>
                      <a:pt x="39713" y="24732"/>
                    </a:lnTo>
                    <a:lnTo>
                      <a:pt x="39608" y="24711"/>
                    </a:lnTo>
                    <a:lnTo>
                      <a:pt x="39671" y="24648"/>
                    </a:lnTo>
                    <a:lnTo>
                      <a:pt x="39713" y="24565"/>
                    </a:lnTo>
                    <a:lnTo>
                      <a:pt x="39650" y="24523"/>
                    </a:lnTo>
                    <a:lnTo>
                      <a:pt x="39525" y="24523"/>
                    </a:lnTo>
                    <a:lnTo>
                      <a:pt x="39462" y="24502"/>
                    </a:lnTo>
                    <a:lnTo>
                      <a:pt x="39399" y="24523"/>
                    </a:lnTo>
                    <a:lnTo>
                      <a:pt x="39316" y="24439"/>
                    </a:lnTo>
                    <a:lnTo>
                      <a:pt x="39420" y="24439"/>
                    </a:lnTo>
                    <a:lnTo>
                      <a:pt x="39462" y="24397"/>
                    </a:lnTo>
                    <a:lnTo>
                      <a:pt x="39546" y="24418"/>
                    </a:lnTo>
                    <a:lnTo>
                      <a:pt x="39650" y="24314"/>
                    </a:lnTo>
                    <a:lnTo>
                      <a:pt x="39608" y="24125"/>
                    </a:lnTo>
                    <a:lnTo>
                      <a:pt x="39504" y="24021"/>
                    </a:lnTo>
                    <a:lnTo>
                      <a:pt x="39441" y="24104"/>
                    </a:lnTo>
                    <a:lnTo>
                      <a:pt x="39336" y="24084"/>
                    </a:lnTo>
                    <a:lnTo>
                      <a:pt x="39253" y="24146"/>
                    </a:lnTo>
                    <a:lnTo>
                      <a:pt x="39295" y="24042"/>
                    </a:lnTo>
                    <a:lnTo>
                      <a:pt x="39420" y="23979"/>
                    </a:lnTo>
                    <a:lnTo>
                      <a:pt x="39504" y="23979"/>
                    </a:lnTo>
                    <a:lnTo>
                      <a:pt x="39504" y="23874"/>
                    </a:lnTo>
                    <a:lnTo>
                      <a:pt x="39399" y="23832"/>
                    </a:lnTo>
                    <a:lnTo>
                      <a:pt x="39316" y="23874"/>
                    </a:lnTo>
                    <a:lnTo>
                      <a:pt x="39190" y="23874"/>
                    </a:lnTo>
                    <a:lnTo>
                      <a:pt x="39002" y="23937"/>
                    </a:lnTo>
                    <a:lnTo>
                      <a:pt x="39002" y="23937"/>
                    </a:lnTo>
                    <a:lnTo>
                      <a:pt x="39148" y="23728"/>
                    </a:lnTo>
                    <a:lnTo>
                      <a:pt x="39253" y="23728"/>
                    </a:lnTo>
                    <a:lnTo>
                      <a:pt x="39357" y="23686"/>
                    </a:lnTo>
                    <a:lnTo>
                      <a:pt x="39357" y="23623"/>
                    </a:lnTo>
                    <a:lnTo>
                      <a:pt x="39441" y="23560"/>
                    </a:lnTo>
                    <a:lnTo>
                      <a:pt x="39420" y="23519"/>
                    </a:lnTo>
                    <a:lnTo>
                      <a:pt x="39295" y="23581"/>
                    </a:lnTo>
                    <a:lnTo>
                      <a:pt x="39106" y="23581"/>
                    </a:lnTo>
                    <a:lnTo>
                      <a:pt x="38939" y="23665"/>
                    </a:lnTo>
                    <a:lnTo>
                      <a:pt x="38939" y="23665"/>
                    </a:lnTo>
                    <a:lnTo>
                      <a:pt x="39002" y="23581"/>
                    </a:lnTo>
                    <a:lnTo>
                      <a:pt x="38981" y="23498"/>
                    </a:lnTo>
                    <a:lnTo>
                      <a:pt x="39023" y="23414"/>
                    </a:lnTo>
                    <a:lnTo>
                      <a:pt x="39106" y="23477"/>
                    </a:lnTo>
                    <a:lnTo>
                      <a:pt x="39295" y="23477"/>
                    </a:lnTo>
                    <a:lnTo>
                      <a:pt x="39399" y="23351"/>
                    </a:lnTo>
                    <a:lnTo>
                      <a:pt x="39399" y="23205"/>
                    </a:lnTo>
                    <a:lnTo>
                      <a:pt x="39295" y="23268"/>
                    </a:lnTo>
                    <a:lnTo>
                      <a:pt x="39211" y="23247"/>
                    </a:lnTo>
                    <a:lnTo>
                      <a:pt x="39316" y="23142"/>
                    </a:lnTo>
                    <a:lnTo>
                      <a:pt x="39336" y="23037"/>
                    </a:lnTo>
                    <a:lnTo>
                      <a:pt x="39253" y="22996"/>
                    </a:lnTo>
                    <a:lnTo>
                      <a:pt x="39002" y="23079"/>
                    </a:lnTo>
                    <a:lnTo>
                      <a:pt x="38918" y="23037"/>
                    </a:lnTo>
                    <a:lnTo>
                      <a:pt x="38981" y="22954"/>
                    </a:lnTo>
                    <a:lnTo>
                      <a:pt x="39106" y="22975"/>
                    </a:lnTo>
                    <a:lnTo>
                      <a:pt x="39211" y="22954"/>
                    </a:lnTo>
                    <a:lnTo>
                      <a:pt x="39295" y="22828"/>
                    </a:lnTo>
                    <a:lnTo>
                      <a:pt x="39211" y="22765"/>
                    </a:lnTo>
                    <a:lnTo>
                      <a:pt x="39211" y="22682"/>
                    </a:lnTo>
                    <a:lnTo>
                      <a:pt x="39127" y="22765"/>
                    </a:lnTo>
                    <a:lnTo>
                      <a:pt x="39085" y="22765"/>
                    </a:lnTo>
                    <a:lnTo>
                      <a:pt x="39044" y="22682"/>
                    </a:lnTo>
                    <a:lnTo>
                      <a:pt x="38981" y="22619"/>
                    </a:lnTo>
                    <a:lnTo>
                      <a:pt x="39044" y="22577"/>
                    </a:lnTo>
                    <a:lnTo>
                      <a:pt x="39106" y="22640"/>
                    </a:lnTo>
                    <a:lnTo>
                      <a:pt x="39148" y="22577"/>
                    </a:lnTo>
                    <a:lnTo>
                      <a:pt x="39148" y="22452"/>
                    </a:lnTo>
                    <a:lnTo>
                      <a:pt x="39044" y="22347"/>
                    </a:lnTo>
                    <a:lnTo>
                      <a:pt x="39023" y="22242"/>
                    </a:lnTo>
                    <a:lnTo>
                      <a:pt x="39106" y="22200"/>
                    </a:lnTo>
                    <a:lnTo>
                      <a:pt x="39106" y="22096"/>
                    </a:lnTo>
                    <a:lnTo>
                      <a:pt x="39023" y="22096"/>
                    </a:lnTo>
                    <a:lnTo>
                      <a:pt x="39044" y="22033"/>
                    </a:lnTo>
                    <a:lnTo>
                      <a:pt x="39085" y="21928"/>
                    </a:lnTo>
                    <a:lnTo>
                      <a:pt x="39002" y="21928"/>
                    </a:lnTo>
                    <a:lnTo>
                      <a:pt x="38918" y="21907"/>
                    </a:lnTo>
                    <a:lnTo>
                      <a:pt x="38918" y="21887"/>
                    </a:lnTo>
                    <a:lnTo>
                      <a:pt x="38981" y="21887"/>
                    </a:lnTo>
                    <a:lnTo>
                      <a:pt x="39044" y="21803"/>
                    </a:lnTo>
                    <a:lnTo>
                      <a:pt x="38981" y="21740"/>
                    </a:lnTo>
                    <a:lnTo>
                      <a:pt x="38981" y="21677"/>
                    </a:lnTo>
                    <a:lnTo>
                      <a:pt x="39044" y="21615"/>
                    </a:lnTo>
                    <a:lnTo>
                      <a:pt x="39023" y="21573"/>
                    </a:lnTo>
                    <a:lnTo>
                      <a:pt x="38918" y="21615"/>
                    </a:lnTo>
                    <a:lnTo>
                      <a:pt x="38918" y="21615"/>
                    </a:lnTo>
                    <a:lnTo>
                      <a:pt x="39023" y="21531"/>
                    </a:lnTo>
                    <a:lnTo>
                      <a:pt x="38981" y="21489"/>
                    </a:lnTo>
                    <a:lnTo>
                      <a:pt x="38876" y="21510"/>
                    </a:lnTo>
                    <a:lnTo>
                      <a:pt x="38772" y="21635"/>
                    </a:lnTo>
                    <a:lnTo>
                      <a:pt x="38792" y="21719"/>
                    </a:lnTo>
                    <a:lnTo>
                      <a:pt x="38730" y="21824"/>
                    </a:lnTo>
                    <a:lnTo>
                      <a:pt x="38604" y="21949"/>
                    </a:lnTo>
                    <a:lnTo>
                      <a:pt x="38604" y="22033"/>
                    </a:lnTo>
                    <a:lnTo>
                      <a:pt x="38520" y="22096"/>
                    </a:lnTo>
                    <a:lnTo>
                      <a:pt x="38520" y="22200"/>
                    </a:lnTo>
                    <a:lnTo>
                      <a:pt x="38458" y="22117"/>
                    </a:lnTo>
                    <a:lnTo>
                      <a:pt x="38395" y="22138"/>
                    </a:lnTo>
                    <a:lnTo>
                      <a:pt x="38311" y="22326"/>
                    </a:lnTo>
                    <a:lnTo>
                      <a:pt x="38311" y="22410"/>
                    </a:lnTo>
                    <a:lnTo>
                      <a:pt x="38416" y="22410"/>
                    </a:lnTo>
                    <a:lnTo>
                      <a:pt x="38479" y="22472"/>
                    </a:lnTo>
                    <a:lnTo>
                      <a:pt x="38479" y="22556"/>
                    </a:lnTo>
                    <a:lnTo>
                      <a:pt x="38374" y="22452"/>
                    </a:lnTo>
                    <a:lnTo>
                      <a:pt x="38311" y="22452"/>
                    </a:lnTo>
                    <a:lnTo>
                      <a:pt x="38290" y="22535"/>
                    </a:lnTo>
                    <a:lnTo>
                      <a:pt x="38207" y="22640"/>
                    </a:lnTo>
                    <a:lnTo>
                      <a:pt x="38144" y="22682"/>
                    </a:lnTo>
                    <a:lnTo>
                      <a:pt x="38102" y="22849"/>
                    </a:lnTo>
                    <a:lnTo>
                      <a:pt x="37997" y="22870"/>
                    </a:lnTo>
                    <a:lnTo>
                      <a:pt x="37935" y="22975"/>
                    </a:lnTo>
                    <a:lnTo>
                      <a:pt x="37935" y="23037"/>
                    </a:lnTo>
                    <a:lnTo>
                      <a:pt x="37872" y="23037"/>
                    </a:lnTo>
                    <a:lnTo>
                      <a:pt x="37872" y="23205"/>
                    </a:lnTo>
                    <a:lnTo>
                      <a:pt x="37788" y="23393"/>
                    </a:lnTo>
                    <a:lnTo>
                      <a:pt x="37788" y="23393"/>
                    </a:lnTo>
                    <a:lnTo>
                      <a:pt x="37830" y="23268"/>
                    </a:lnTo>
                    <a:lnTo>
                      <a:pt x="37788" y="23100"/>
                    </a:lnTo>
                    <a:lnTo>
                      <a:pt x="37725" y="23037"/>
                    </a:lnTo>
                    <a:lnTo>
                      <a:pt x="37558" y="23142"/>
                    </a:lnTo>
                    <a:lnTo>
                      <a:pt x="37474" y="23247"/>
                    </a:lnTo>
                    <a:lnTo>
                      <a:pt x="37453" y="23351"/>
                    </a:lnTo>
                    <a:lnTo>
                      <a:pt x="37349" y="23372"/>
                    </a:lnTo>
                    <a:lnTo>
                      <a:pt x="37307" y="23414"/>
                    </a:lnTo>
                    <a:lnTo>
                      <a:pt x="37265" y="23372"/>
                    </a:lnTo>
                    <a:lnTo>
                      <a:pt x="37202" y="23372"/>
                    </a:lnTo>
                    <a:lnTo>
                      <a:pt x="37098" y="23456"/>
                    </a:lnTo>
                    <a:lnTo>
                      <a:pt x="36993" y="23456"/>
                    </a:lnTo>
                    <a:lnTo>
                      <a:pt x="36847" y="23560"/>
                    </a:lnTo>
                    <a:lnTo>
                      <a:pt x="36826" y="23686"/>
                    </a:lnTo>
                    <a:lnTo>
                      <a:pt x="36700" y="23832"/>
                    </a:lnTo>
                    <a:lnTo>
                      <a:pt x="36742" y="23728"/>
                    </a:lnTo>
                    <a:lnTo>
                      <a:pt x="36742" y="23623"/>
                    </a:lnTo>
                    <a:lnTo>
                      <a:pt x="36784" y="23581"/>
                    </a:lnTo>
                    <a:lnTo>
                      <a:pt x="36784" y="23351"/>
                    </a:lnTo>
                    <a:lnTo>
                      <a:pt x="36805" y="23247"/>
                    </a:lnTo>
                    <a:lnTo>
                      <a:pt x="36784" y="23247"/>
                    </a:lnTo>
                    <a:lnTo>
                      <a:pt x="36365" y="23456"/>
                    </a:lnTo>
                    <a:lnTo>
                      <a:pt x="36198" y="23770"/>
                    </a:lnTo>
                    <a:lnTo>
                      <a:pt x="36072" y="23812"/>
                    </a:lnTo>
                    <a:lnTo>
                      <a:pt x="36156" y="23707"/>
                    </a:lnTo>
                    <a:lnTo>
                      <a:pt x="36177" y="23581"/>
                    </a:lnTo>
                    <a:lnTo>
                      <a:pt x="36303" y="23393"/>
                    </a:lnTo>
                    <a:lnTo>
                      <a:pt x="36303" y="23268"/>
                    </a:lnTo>
                    <a:lnTo>
                      <a:pt x="36323" y="23142"/>
                    </a:lnTo>
                    <a:lnTo>
                      <a:pt x="36282" y="23037"/>
                    </a:lnTo>
                    <a:lnTo>
                      <a:pt x="36177" y="22933"/>
                    </a:lnTo>
                    <a:lnTo>
                      <a:pt x="36072" y="22933"/>
                    </a:lnTo>
                    <a:lnTo>
                      <a:pt x="36093" y="23058"/>
                    </a:lnTo>
                    <a:lnTo>
                      <a:pt x="36072" y="23058"/>
                    </a:lnTo>
                    <a:lnTo>
                      <a:pt x="35968" y="22975"/>
                    </a:lnTo>
                    <a:lnTo>
                      <a:pt x="35842" y="22765"/>
                    </a:lnTo>
                    <a:lnTo>
                      <a:pt x="36051" y="22870"/>
                    </a:lnTo>
                    <a:lnTo>
                      <a:pt x="36093" y="22849"/>
                    </a:lnTo>
                    <a:lnTo>
                      <a:pt x="35989" y="22807"/>
                    </a:lnTo>
                    <a:lnTo>
                      <a:pt x="35863" y="22598"/>
                    </a:lnTo>
                    <a:lnTo>
                      <a:pt x="35842" y="22577"/>
                    </a:lnTo>
                    <a:lnTo>
                      <a:pt x="35968" y="22431"/>
                    </a:lnTo>
                    <a:lnTo>
                      <a:pt x="35989" y="22347"/>
                    </a:lnTo>
                    <a:lnTo>
                      <a:pt x="36093" y="22179"/>
                    </a:lnTo>
                    <a:lnTo>
                      <a:pt x="36093" y="21970"/>
                    </a:lnTo>
                    <a:lnTo>
                      <a:pt x="35947" y="21845"/>
                    </a:lnTo>
                    <a:lnTo>
                      <a:pt x="35738" y="21803"/>
                    </a:lnTo>
                    <a:lnTo>
                      <a:pt x="35466" y="21656"/>
                    </a:lnTo>
                    <a:lnTo>
                      <a:pt x="35466" y="21656"/>
                    </a:lnTo>
                    <a:lnTo>
                      <a:pt x="35759" y="21761"/>
                    </a:lnTo>
                    <a:lnTo>
                      <a:pt x="36010" y="21803"/>
                    </a:lnTo>
                    <a:lnTo>
                      <a:pt x="36051" y="21615"/>
                    </a:lnTo>
                    <a:lnTo>
                      <a:pt x="36093" y="21531"/>
                    </a:lnTo>
                    <a:lnTo>
                      <a:pt x="36114" y="21698"/>
                    </a:lnTo>
                    <a:lnTo>
                      <a:pt x="36177" y="21594"/>
                    </a:lnTo>
                    <a:lnTo>
                      <a:pt x="36093" y="21363"/>
                    </a:lnTo>
                    <a:lnTo>
                      <a:pt x="36198" y="21196"/>
                    </a:lnTo>
                    <a:lnTo>
                      <a:pt x="36365" y="21175"/>
                    </a:lnTo>
                    <a:lnTo>
                      <a:pt x="36386" y="20987"/>
                    </a:lnTo>
                    <a:lnTo>
                      <a:pt x="36386" y="20778"/>
                    </a:lnTo>
                    <a:lnTo>
                      <a:pt x="36303" y="20778"/>
                    </a:lnTo>
                    <a:lnTo>
                      <a:pt x="36282" y="20966"/>
                    </a:lnTo>
                    <a:lnTo>
                      <a:pt x="36156" y="21071"/>
                    </a:lnTo>
                    <a:lnTo>
                      <a:pt x="36093" y="20987"/>
                    </a:lnTo>
                    <a:lnTo>
                      <a:pt x="36114" y="20778"/>
                    </a:lnTo>
                    <a:lnTo>
                      <a:pt x="35968" y="20715"/>
                    </a:lnTo>
                    <a:lnTo>
                      <a:pt x="35842" y="20778"/>
                    </a:lnTo>
                    <a:lnTo>
                      <a:pt x="35779" y="20715"/>
                    </a:lnTo>
                    <a:lnTo>
                      <a:pt x="35696" y="20757"/>
                    </a:lnTo>
                    <a:lnTo>
                      <a:pt x="35528" y="20589"/>
                    </a:lnTo>
                    <a:lnTo>
                      <a:pt x="35424" y="20652"/>
                    </a:lnTo>
                    <a:lnTo>
                      <a:pt x="35424" y="20547"/>
                    </a:lnTo>
                    <a:lnTo>
                      <a:pt x="35319" y="20652"/>
                    </a:lnTo>
                    <a:lnTo>
                      <a:pt x="35319" y="20547"/>
                    </a:lnTo>
                    <a:lnTo>
                      <a:pt x="35173" y="20401"/>
                    </a:lnTo>
                    <a:lnTo>
                      <a:pt x="35277" y="20401"/>
                    </a:lnTo>
                    <a:lnTo>
                      <a:pt x="35340" y="20296"/>
                    </a:lnTo>
                    <a:lnTo>
                      <a:pt x="35445" y="20380"/>
                    </a:lnTo>
                    <a:lnTo>
                      <a:pt x="35466" y="20296"/>
                    </a:lnTo>
                    <a:lnTo>
                      <a:pt x="35361" y="20171"/>
                    </a:lnTo>
                    <a:lnTo>
                      <a:pt x="35277" y="20255"/>
                    </a:lnTo>
                    <a:lnTo>
                      <a:pt x="35173" y="20171"/>
                    </a:lnTo>
                    <a:lnTo>
                      <a:pt x="35277" y="20150"/>
                    </a:lnTo>
                    <a:lnTo>
                      <a:pt x="35235" y="20024"/>
                    </a:lnTo>
                    <a:lnTo>
                      <a:pt x="35110" y="19920"/>
                    </a:lnTo>
                    <a:lnTo>
                      <a:pt x="35026" y="19962"/>
                    </a:lnTo>
                    <a:lnTo>
                      <a:pt x="35026" y="19878"/>
                    </a:lnTo>
                    <a:lnTo>
                      <a:pt x="35110" y="19773"/>
                    </a:lnTo>
                    <a:lnTo>
                      <a:pt x="35110" y="19606"/>
                    </a:lnTo>
                    <a:lnTo>
                      <a:pt x="35005" y="19606"/>
                    </a:lnTo>
                    <a:lnTo>
                      <a:pt x="34859" y="19501"/>
                    </a:lnTo>
                    <a:lnTo>
                      <a:pt x="34859" y="19397"/>
                    </a:lnTo>
                    <a:lnTo>
                      <a:pt x="34650" y="19229"/>
                    </a:lnTo>
                    <a:lnTo>
                      <a:pt x="34503" y="19313"/>
                    </a:lnTo>
                    <a:lnTo>
                      <a:pt x="34398" y="19313"/>
                    </a:lnTo>
                    <a:lnTo>
                      <a:pt x="34336" y="19397"/>
                    </a:lnTo>
                    <a:lnTo>
                      <a:pt x="34210" y="19334"/>
                    </a:lnTo>
                    <a:lnTo>
                      <a:pt x="34210" y="19480"/>
                    </a:lnTo>
                    <a:lnTo>
                      <a:pt x="34126" y="19376"/>
                    </a:lnTo>
                    <a:lnTo>
                      <a:pt x="34043" y="19376"/>
                    </a:lnTo>
                    <a:lnTo>
                      <a:pt x="34001" y="19292"/>
                    </a:lnTo>
                    <a:lnTo>
                      <a:pt x="33896" y="19292"/>
                    </a:lnTo>
                    <a:lnTo>
                      <a:pt x="33729" y="19397"/>
                    </a:lnTo>
                    <a:lnTo>
                      <a:pt x="33562" y="19397"/>
                    </a:lnTo>
                    <a:lnTo>
                      <a:pt x="33708" y="19334"/>
                    </a:lnTo>
                    <a:lnTo>
                      <a:pt x="33729" y="19229"/>
                    </a:lnTo>
                    <a:lnTo>
                      <a:pt x="33603" y="19229"/>
                    </a:lnTo>
                    <a:lnTo>
                      <a:pt x="33352" y="19104"/>
                    </a:lnTo>
                    <a:lnTo>
                      <a:pt x="33164" y="18999"/>
                    </a:lnTo>
                    <a:lnTo>
                      <a:pt x="32976" y="18999"/>
                    </a:lnTo>
                    <a:lnTo>
                      <a:pt x="32913" y="18957"/>
                    </a:lnTo>
                    <a:lnTo>
                      <a:pt x="32829" y="18978"/>
                    </a:lnTo>
                    <a:lnTo>
                      <a:pt x="32746" y="18978"/>
                    </a:lnTo>
                    <a:lnTo>
                      <a:pt x="32662" y="19062"/>
                    </a:lnTo>
                    <a:lnTo>
                      <a:pt x="32662" y="19125"/>
                    </a:lnTo>
                    <a:lnTo>
                      <a:pt x="32578" y="19125"/>
                    </a:lnTo>
                    <a:lnTo>
                      <a:pt x="32536" y="19104"/>
                    </a:lnTo>
                    <a:lnTo>
                      <a:pt x="32453" y="19166"/>
                    </a:lnTo>
                    <a:lnTo>
                      <a:pt x="32453" y="19313"/>
                    </a:lnTo>
                    <a:lnTo>
                      <a:pt x="32369" y="19480"/>
                    </a:lnTo>
                    <a:lnTo>
                      <a:pt x="32369" y="19690"/>
                    </a:lnTo>
                    <a:lnTo>
                      <a:pt x="32453" y="19794"/>
                    </a:lnTo>
                    <a:lnTo>
                      <a:pt x="32515" y="19794"/>
                    </a:lnTo>
                    <a:lnTo>
                      <a:pt x="32515" y="19836"/>
                    </a:lnTo>
                    <a:lnTo>
                      <a:pt x="32557" y="19857"/>
                    </a:lnTo>
                    <a:lnTo>
                      <a:pt x="32557" y="20003"/>
                    </a:lnTo>
                    <a:lnTo>
                      <a:pt x="32515" y="20045"/>
                    </a:lnTo>
                    <a:lnTo>
                      <a:pt x="32432" y="20045"/>
                    </a:lnTo>
                    <a:lnTo>
                      <a:pt x="32411" y="20171"/>
                    </a:lnTo>
                    <a:lnTo>
                      <a:pt x="32243" y="20380"/>
                    </a:lnTo>
                    <a:lnTo>
                      <a:pt x="32013" y="20568"/>
                    </a:lnTo>
                    <a:lnTo>
                      <a:pt x="32013" y="20652"/>
                    </a:lnTo>
                    <a:lnTo>
                      <a:pt x="32055" y="20673"/>
                    </a:lnTo>
                    <a:lnTo>
                      <a:pt x="32243" y="20652"/>
                    </a:lnTo>
                    <a:lnTo>
                      <a:pt x="32327" y="20652"/>
                    </a:lnTo>
                    <a:lnTo>
                      <a:pt x="32243" y="20694"/>
                    </a:lnTo>
                    <a:lnTo>
                      <a:pt x="32202" y="20861"/>
                    </a:lnTo>
                    <a:lnTo>
                      <a:pt x="32202" y="20903"/>
                    </a:lnTo>
                    <a:lnTo>
                      <a:pt x="32327" y="20945"/>
                    </a:lnTo>
                    <a:lnTo>
                      <a:pt x="32222" y="20966"/>
                    </a:lnTo>
                    <a:lnTo>
                      <a:pt x="32139" y="21050"/>
                    </a:lnTo>
                    <a:lnTo>
                      <a:pt x="32160" y="21112"/>
                    </a:lnTo>
                    <a:lnTo>
                      <a:pt x="32222" y="21175"/>
                    </a:lnTo>
                    <a:lnTo>
                      <a:pt x="32118" y="21301"/>
                    </a:lnTo>
                    <a:lnTo>
                      <a:pt x="32118" y="21363"/>
                    </a:lnTo>
                    <a:lnTo>
                      <a:pt x="32264" y="21363"/>
                    </a:lnTo>
                    <a:lnTo>
                      <a:pt x="32306" y="21426"/>
                    </a:lnTo>
                    <a:lnTo>
                      <a:pt x="32160" y="21635"/>
                    </a:lnTo>
                    <a:lnTo>
                      <a:pt x="32034" y="21698"/>
                    </a:lnTo>
                    <a:lnTo>
                      <a:pt x="32034" y="21824"/>
                    </a:lnTo>
                    <a:lnTo>
                      <a:pt x="32097" y="21887"/>
                    </a:lnTo>
                    <a:lnTo>
                      <a:pt x="32013" y="21845"/>
                    </a:lnTo>
                    <a:lnTo>
                      <a:pt x="31930" y="21719"/>
                    </a:lnTo>
                    <a:lnTo>
                      <a:pt x="31888" y="21719"/>
                    </a:lnTo>
                    <a:lnTo>
                      <a:pt x="31741" y="21887"/>
                    </a:lnTo>
                    <a:lnTo>
                      <a:pt x="31741" y="21928"/>
                    </a:lnTo>
                    <a:lnTo>
                      <a:pt x="31804" y="21949"/>
                    </a:lnTo>
                    <a:lnTo>
                      <a:pt x="31804" y="22033"/>
                    </a:lnTo>
                    <a:lnTo>
                      <a:pt x="31720" y="22117"/>
                    </a:lnTo>
                    <a:lnTo>
                      <a:pt x="31616" y="22117"/>
                    </a:lnTo>
                    <a:lnTo>
                      <a:pt x="31302" y="22431"/>
                    </a:lnTo>
                    <a:lnTo>
                      <a:pt x="31197" y="22472"/>
                    </a:lnTo>
                    <a:lnTo>
                      <a:pt x="31113" y="22724"/>
                    </a:lnTo>
                    <a:lnTo>
                      <a:pt x="31155" y="22786"/>
                    </a:lnTo>
                    <a:lnTo>
                      <a:pt x="31260" y="22828"/>
                    </a:lnTo>
                    <a:lnTo>
                      <a:pt x="31281" y="22954"/>
                    </a:lnTo>
                    <a:lnTo>
                      <a:pt x="31406" y="23037"/>
                    </a:lnTo>
                    <a:lnTo>
                      <a:pt x="31595" y="23288"/>
                    </a:lnTo>
                    <a:lnTo>
                      <a:pt x="31616" y="23602"/>
                    </a:lnTo>
                    <a:lnTo>
                      <a:pt x="31595" y="23937"/>
                    </a:lnTo>
                    <a:lnTo>
                      <a:pt x="31678" y="24125"/>
                    </a:lnTo>
                    <a:lnTo>
                      <a:pt x="31637" y="24251"/>
                    </a:lnTo>
                    <a:lnTo>
                      <a:pt x="31637" y="24460"/>
                    </a:lnTo>
                    <a:lnTo>
                      <a:pt x="31595" y="24523"/>
                    </a:lnTo>
                    <a:lnTo>
                      <a:pt x="31490" y="24816"/>
                    </a:lnTo>
                    <a:lnTo>
                      <a:pt x="31427" y="24962"/>
                    </a:lnTo>
                    <a:lnTo>
                      <a:pt x="31490" y="24962"/>
                    </a:lnTo>
                    <a:lnTo>
                      <a:pt x="31511" y="24858"/>
                    </a:lnTo>
                    <a:lnTo>
                      <a:pt x="31595" y="24816"/>
                    </a:lnTo>
                    <a:lnTo>
                      <a:pt x="31595" y="24962"/>
                    </a:lnTo>
                    <a:lnTo>
                      <a:pt x="31699" y="25088"/>
                    </a:lnTo>
                    <a:lnTo>
                      <a:pt x="31616" y="25192"/>
                    </a:lnTo>
                    <a:lnTo>
                      <a:pt x="31511" y="25192"/>
                    </a:lnTo>
                    <a:lnTo>
                      <a:pt x="31469" y="25151"/>
                    </a:lnTo>
                    <a:lnTo>
                      <a:pt x="31385" y="25151"/>
                    </a:lnTo>
                    <a:lnTo>
                      <a:pt x="31218" y="25402"/>
                    </a:lnTo>
                    <a:lnTo>
                      <a:pt x="31093" y="25465"/>
                    </a:lnTo>
                    <a:lnTo>
                      <a:pt x="31072" y="25569"/>
                    </a:lnTo>
                    <a:lnTo>
                      <a:pt x="30800" y="25674"/>
                    </a:lnTo>
                    <a:lnTo>
                      <a:pt x="30737" y="25757"/>
                    </a:lnTo>
                    <a:lnTo>
                      <a:pt x="30737" y="25799"/>
                    </a:lnTo>
                    <a:lnTo>
                      <a:pt x="30360" y="25925"/>
                    </a:lnTo>
                    <a:lnTo>
                      <a:pt x="30130" y="26029"/>
                    </a:lnTo>
                    <a:lnTo>
                      <a:pt x="30067" y="26092"/>
                    </a:lnTo>
                    <a:lnTo>
                      <a:pt x="29942" y="26092"/>
                    </a:lnTo>
                    <a:lnTo>
                      <a:pt x="29837" y="26176"/>
                    </a:lnTo>
                    <a:lnTo>
                      <a:pt x="29607" y="26197"/>
                    </a:lnTo>
                    <a:lnTo>
                      <a:pt x="29440" y="26281"/>
                    </a:lnTo>
                    <a:lnTo>
                      <a:pt x="29481" y="26322"/>
                    </a:lnTo>
                    <a:lnTo>
                      <a:pt x="29481" y="26427"/>
                    </a:lnTo>
                    <a:lnTo>
                      <a:pt x="29523" y="26511"/>
                    </a:lnTo>
                    <a:lnTo>
                      <a:pt x="29523" y="26615"/>
                    </a:lnTo>
                    <a:lnTo>
                      <a:pt x="29586" y="26699"/>
                    </a:lnTo>
                    <a:lnTo>
                      <a:pt x="29523" y="26720"/>
                    </a:lnTo>
                    <a:lnTo>
                      <a:pt x="29544" y="26804"/>
                    </a:lnTo>
                    <a:lnTo>
                      <a:pt x="29607" y="26825"/>
                    </a:lnTo>
                    <a:lnTo>
                      <a:pt x="29523" y="26866"/>
                    </a:lnTo>
                    <a:lnTo>
                      <a:pt x="29586" y="26971"/>
                    </a:lnTo>
                    <a:lnTo>
                      <a:pt x="29523" y="27013"/>
                    </a:lnTo>
                    <a:lnTo>
                      <a:pt x="29544" y="27117"/>
                    </a:lnTo>
                    <a:lnTo>
                      <a:pt x="29502" y="27159"/>
                    </a:lnTo>
                    <a:lnTo>
                      <a:pt x="29481" y="27348"/>
                    </a:lnTo>
                    <a:lnTo>
                      <a:pt x="29502" y="27452"/>
                    </a:lnTo>
                    <a:lnTo>
                      <a:pt x="29419" y="27745"/>
                    </a:lnTo>
                    <a:lnTo>
                      <a:pt x="29440" y="27808"/>
                    </a:lnTo>
                    <a:lnTo>
                      <a:pt x="29502" y="27850"/>
                    </a:lnTo>
                    <a:lnTo>
                      <a:pt x="29502" y="27913"/>
                    </a:lnTo>
                    <a:lnTo>
                      <a:pt x="29544" y="27975"/>
                    </a:lnTo>
                    <a:lnTo>
                      <a:pt x="29440" y="28101"/>
                    </a:lnTo>
                    <a:lnTo>
                      <a:pt x="29440" y="28226"/>
                    </a:lnTo>
                    <a:lnTo>
                      <a:pt x="29523" y="28268"/>
                    </a:lnTo>
                    <a:lnTo>
                      <a:pt x="29544" y="28436"/>
                    </a:lnTo>
                    <a:lnTo>
                      <a:pt x="29607" y="28498"/>
                    </a:lnTo>
                    <a:lnTo>
                      <a:pt x="29481" y="28624"/>
                    </a:lnTo>
                    <a:lnTo>
                      <a:pt x="29419" y="28791"/>
                    </a:lnTo>
                    <a:lnTo>
                      <a:pt x="29377" y="28812"/>
                    </a:lnTo>
                    <a:lnTo>
                      <a:pt x="29314" y="28791"/>
                    </a:lnTo>
                    <a:lnTo>
                      <a:pt x="29314" y="28896"/>
                    </a:lnTo>
                    <a:lnTo>
                      <a:pt x="29377" y="28959"/>
                    </a:lnTo>
                    <a:lnTo>
                      <a:pt x="29314" y="29042"/>
                    </a:lnTo>
                    <a:lnTo>
                      <a:pt x="29293" y="29231"/>
                    </a:lnTo>
                    <a:lnTo>
                      <a:pt x="29314" y="29356"/>
                    </a:lnTo>
                    <a:lnTo>
                      <a:pt x="29419" y="29482"/>
                    </a:lnTo>
                    <a:lnTo>
                      <a:pt x="29523" y="29545"/>
                    </a:lnTo>
                    <a:lnTo>
                      <a:pt x="29335" y="29524"/>
                    </a:lnTo>
                    <a:lnTo>
                      <a:pt x="29209" y="29419"/>
                    </a:lnTo>
                    <a:lnTo>
                      <a:pt x="29230" y="29252"/>
                    </a:lnTo>
                    <a:lnTo>
                      <a:pt x="29189" y="29042"/>
                    </a:lnTo>
                    <a:lnTo>
                      <a:pt x="29105" y="29022"/>
                    </a:lnTo>
                    <a:lnTo>
                      <a:pt x="29084" y="28959"/>
                    </a:lnTo>
                    <a:lnTo>
                      <a:pt x="29105" y="28854"/>
                    </a:lnTo>
                    <a:lnTo>
                      <a:pt x="29063" y="28854"/>
                    </a:lnTo>
                    <a:lnTo>
                      <a:pt x="28875" y="29105"/>
                    </a:lnTo>
                    <a:lnTo>
                      <a:pt x="28875" y="29210"/>
                    </a:lnTo>
                    <a:lnTo>
                      <a:pt x="28854" y="29314"/>
                    </a:lnTo>
                    <a:lnTo>
                      <a:pt x="28749" y="29314"/>
                    </a:lnTo>
                    <a:lnTo>
                      <a:pt x="28644" y="29210"/>
                    </a:lnTo>
                    <a:lnTo>
                      <a:pt x="28477" y="29147"/>
                    </a:lnTo>
                    <a:lnTo>
                      <a:pt x="28352" y="29252"/>
                    </a:lnTo>
                    <a:lnTo>
                      <a:pt x="28184" y="29335"/>
                    </a:lnTo>
                    <a:lnTo>
                      <a:pt x="28184" y="29335"/>
                    </a:lnTo>
                    <a:lnTo>
                      <a:pt x="28393" y="29147"/>
                    </a:lnTo>
                    <a:lnTo>
                      <a:pt x="28456" y="29001"/>
                    </a:lnTo>
                    <a:lnTo>
                      <a:pt x="28435" y="28917"/>
                    </a:lnTo>
                    <a:lnTo>
                      <a:pt x="28393" y="28729"/>
                    </a:lnTo>
                    <a:lnTo>
                      <a:pt x="28331" y="28624"/>
                    </a:lnTo>
                    <a:lnTo>
                      <a:pt x="28289" y="28540"/>
                    </a:lnTo>
                    <a:lnTo>
                      <a:pt x="28268" y="28540"/>
                    </a:lnTo>
                    <a:lnTo>
                      <a:pt x="28142" y="28478"/>
                    </a:lnTo>
                    <a:lnTo>
                      <a:pt x="28038" y="28415"/>
                    </a:lnTo>
                    <a:lnTo>
                      <a:pt x="28038" y="28331"/>
                    </a:lnTo>
                    <a:lnTo>
                      <a:pt x="28017" y="28289"/>
                    </a:lnTo>
                    <a:lnTo>
                      <a:pt x="28038" y="28185"/>
                    </a:lnTo>
                    <a:lnTo>
                      <a:pt x="27954" y="28080"/>
                    </a:lnTo>
                    <a:lnTo>
                      <a:pt x="27870" y="28017"/>
                    </a:lnTo>
                    <a:lnTo>
                      <a:pt x="27870" y="27892"/>
                    </a:lnTo>
                    <a:lnTo>
                      <a:pt x="27766" y="27808"/>
                    </a:lnTo>
                    <a:lnTo>
                      <a:pt x="27724" y="27703"/>
                    </a:lnTo>
                    <a:lnTo>
                      <a:pt x="27766" y="27473"/>
                    </a:lnTo>
                    <a:lnTo>
                      <a:pt x="27870" y="27369"/>
                    </a:lnTo>
                    <a:lnTo>
                      <a:pt x="27933" y="27222"/>
                    </a:lnTo>
                    <a:lnTo>
                      <a:pt x="27933" y="27117"/>
                    </a:lnTo>
                    <a:lnTo>
                      <a:pt x="28080" y="26866"/>
                    </a:lnTo>
                    <a:lnTo>
                      <a:pt x="28080" y="26615"/>
                    </a:lnTo>
                    <a:lnTo>
                      <a:pt x="28059" y="26594"/>
                    </a:lnTo>
                    <a:lnTo>
                      <a:pt x="28038" y="26448"/>
                    </a:lnTo>
                    <a:lnTo>
                      <a:pt x="28121" y="26301"/>
                    </a:lnTo>
                    <a:lnTo>
                      <a:pt x="28184" y="26197"/>
                    </a:lnTo>
                    <a:lnTo>
                      <a:pt x="28184" y="26092"/>
                    </a:lnTo>
                    <a:lnTo>
                      <a:pt x="28352" y="25799"/>
                    </a:lnTo>
                    <a:lnTo>
                      <a:pt x="28331" y="25611"/>
                    </a:lnTo>
                    <a:lnTo>
                      <a:pt x="28268" y="25611"/>
                    </a:lnTo>
                    <a:lnTo>
                      <a:pt x="28247" y="25653"/>
                    </a:lnTo>
                    <a:lnTo>
                      <a:pt x="28247" y="25590"/>
                    </a:lnTo>
                    <a:lnTo>
                      <a:pt x="28163" y="25590"/>
                    </a:lnTo>
                    <a:lnTo>
                      <a:pt x="28038" y="25653"/>
                    </a:lnTo>
                    <a:lnTo>
                      <a:pt x="27849" y="25611"/>
                    </a:lnTo>
                    <a:lnTo>
                      <a:pt x="27661" y="25569"/>
                    </a:lnTo>
                    <a:lnTo>
                      <a:pt x="27619" y="25569"/>
                    </a:lnTo>
                    <a:lnTo>
                      <a:pt x="27556" y="25506"/>
                    </a:lnTo>
                    <a:lnTo>
                      <a:pt x="27326" y="25506"/>
                    </a:lnTo>
                    <a:lnTo>
                      <a:pt x="27201" y="25548"/>
                    </a:lnTo>
                    <a:lnTo>
                      <a:pt x="27138" y="25506"/>
                    </a:lnTo>
                    <a:lnTo>
                      <a:pt x="26971" y="25506"/>
                    </a:lnTo>
                    <a:lnTo>
                      <a:pt x="26929" y="25485"/>
                    </a:lnTo>
                    <a:lnTo>
                      <a:pt x="26971" y="25444"/>
                    </a:lnTo>
                    <a:lnTo>
                      <a:pt x="26803" y="25297"/>
                    </a:lnTo>
                    <a:lnTo>
                      <a:pt x="26782" y="25234"/>
                    </a:lnTo>
                    <a:lnTo>
                      <a:pt x="26594" y="25046"/>
                    </a:lnTo>
                    <a:lnTo>
                      <a:pt x="26510" y="25025"/>
                    </a:lnTo>
                    <a:lnTo>
                      <a:pt x="26343" y="24879"/>
                    </a:lnTo>
                    <a:lnTo>
                      <a:pt x="26259" y="24858"/>
                    </a:lnTo>
                    <a:lnTo>
                      <a:pt x="26029" y="24711"/>
                    </a:lnTo>
                    <a:lnTo>
                      <a:pt x="25966" y="24648"/>
                    </a:lnTo>
                    <a:lnTo>
                      <a:pt x="25903" y="24753"/>
                    </a:lnTo>
                    <a:lnTo>
                      <a:pt x="25903" y="24711"/>
                    </a:lnTo>
                    <a:lnTo>
                      <a:pt x="25820" y="24523"/>
                    </a:lnTo>
                    <a:lnTo>
                      <a:pt x="25736" y="24439"/>
                    </a:lnTo>
                    <a:lnTo>
                      <a:pt x="25736" y="24335"/>
                    </a:lnTo>
                    <a:lnTo>
                      <a:pt x="25631" y="24293"/>
                    </a:lnTo>
                    <a:lnTo>
                      <a:pt x="25527" y="24104"/>
                    </a:lnTo>
                    <a:lnTo>
                      <a:pt x="25443" y="24084"/>
                    </a:lnTo>
                    <a:lnTo>
                      <a:pt x="25255" y="23895"/>
                    </a:lnTo>
                    <a:lnTo>
                      <a:pt x="25150" y="23874"/>
                    </a:lnTo>
                    <a:lnTo>
                      <a:pt x="25087" y="23812"/>
                    </a:lnTo>
                    <a:lnTo>
                      <a:pt x="24815" y="23728"/>
                    </a:lnTo>
                    <a:lnTo>
                      <a:pt x="24627" y="23581"/>
                    </a:lnTo>
                    <a:lnTo>
                      <a:pt x="24376" y="23393"/>
                    </a:lnTo>
                    <a:lnTo>
                      <a:pt x="24167" y="23414"/>
                    </a:lnTo>
                    <a:lnTo>
                      <a:pt x="23748" y="23560"/>
                    </a:lnTo>
                    <a:lnTo>
                      <a:pt x="23330" y="23686"/>
                    </a:lnTo>
                    <a:lnTo>
                      <a:pt x="23142" y="23686"/>
                    </a:lnTo>
                    <a:lnTo>
                      <a:pt x="23016" y="23623"/>
                    </a:lnTo>
                    <a:lnTo>
                      <a:pt x="23016" y="23623"/>
                    </a:lnTo>
                    <a:lnTo>
                      <a:pt x="23142" y="23665"/>
                    </a:lnTo>
                    <a:lnTo>
                      <a:pt x="23330" y="23602"/>
                    </a:lnTo>
                    <a:lnTo>
                      <a:pt x="23665" y="23268"/>
                    </a:lnTo>
                    <a:lnTo>
                      <a:pt x="23727" y="23163"/>
                    </a:lnTo>
                    <a:lnTo>
                      <a:pt x="23665" y="22933"/>
                    </a:lnTo>
                    <a:lnTo>
                      <a:pt x="23581" y="22828"/>
                    </a:lnTo>
                    <a:lnTo>
                      <a:pt x="23665" y="22577"/>
                    </a:lnTo>
                    <a:lnTo>
                      <a:pt x="23665" y="22347"/>
                    </a:lnTo>
                    <a:lnTo>
                      <a:pt x="23581" y="22200"/>
                    </a:lnTo>
                    <a:lnTo>
                      <a:pt x="23581" y="22054"/>
                    </a:lnTo>
                    <a:lnTo>
                      <a:pt x="23644" y="21928"/>
                    </a:lnTo>
                    <a:lnTo>
                      <a:pt x="23644" y="21824"/>
                    </a:lnTo>
                    <a:lnTo>
                      <a:pt x="23539" y="21782"/>
                    </a:lnTo>
                    <a:lnTo>
                      <a:pt x="23204" y="21782"/>
                    </a:lnTo>
                    <a:lnTo>
                      <a:pt x="23037" y="22054"/>
                    </a:lnTo>
                    <a:lnTo>
                      <a:pt x="22828" y="22305"/>
                    </a:lnTo>
                    <a:lnTo>
                      <a:pt x="22577" y="22326"/>
                    </a:lnTo>
                    <a:lnTo>
                      <a:pt x="22409" y="22452"/>
                    </a:lnTo>
                    <a:lnTo>
                      <a:pt x="22472" y="22347"/>
                    </a:lnTo>
                    <a:lnTo>
                      <a:pt x="22786" y="22263"/>
                    </a:lnTo>
                    <a:lnTo>
                      <a:pt x="22932" y="22117"/>
                    </a:lnTo>
                    <a:lnTo>
                      <a:pt x="23037" y="21845"/>
                    </a:lnTo>
                    <a:lnTo>
                      <a:pt x="22995" y="21824"/>
                    </a:lnTo>
                    <a:lnTo>
                      <a:pt x="22995" y="21677"/>
                    </a:lnTo>
                    <a:lnTo>
                      <a:pt x="22932" y="21594"/>
                    </a:lnTo>
                    <a:lnTo>
                      <a:pt x="22953" y="21489"/>
                    </a:lnTo>
                    <a:lnTo>
                      <a:pt x="22932" y="21405"/>
                    </a:lnTo>
                    <a:lnTo>
                      <a:pt x="22807" y="21384"/>
                    </a:lnTo>
                    <a:lnTo>
                      <a:pt x="22849" y="21322"/>
                    </a:lnTo>
                    <a:lnTo>
                      <a:pt x="22953" y="21301"/>
                    </a:lnTo>
                    <a:lnTo>
                      <a:pt x="22995" y="21196"/>
                    </a:lnTo>
                    <a:lnTo>
                      <a:pt x="23100" y="21008"/>
                    </a:lnTo>
                    <a:lnTo>
                      <a:pt x="23100" y="20861"/>
                    </a:lnTo>
                    <a:lnTo>
                      <a:pt x="23037" y="20799"/>
                    </a:lnTo>
                    <a:lnTo>
                      <a:pt x="23121" y="20568"/>
                    </a:lnTo>
                    <a:lnTo>
                      <a:pt x="23204" y="20527"/>
                    </a:lnTo>
                    <a:lnTo>
                      <a:pt x="23246" y="20359"/>
                    </a:lnTo>
                    <a:lnTo>
                      <a:pt x="23330" y="20255"/>
                    </a:lnTo>
                    <a:lnTo>
                      <a:pt x="23372" y="20045"/>
                    </a:lnTo>
                    <a:lnTo>
                      <a:pt x="23476" y="19941"/>
                    </a:lnTo>
                    <a:lnTo>
                      <a:pt x="23435" y="19815"/>
                    </a:lnTo>
                    <a:lnTo>
                      <a:pt x="23435" y="19731"/>
                    </a:lnTo>
                    <a:lnTo>
                      <a:pt x="23560" y="19815"/>
                    </a:lnTo>
                    <a:lnTo>
                      <a:pt x="23665" y="19711"/>
                    </a:lnTo>
                    <a:lnTo>
                      <a:pt x="23665" y="19606"/>
                    </a:lnTo>
                    <a:lnTo>
                      <a:pt x="23790" y="19585"/>
                    </a:lnTo>
                    <a:lnTo>
                      <a:pt x="23958" y="19397"/>
                    </a:lnTo>
                    <a:lnTo>
                      <a:pt x="24062" y="19334"/>
                    </a:lnTo>
                    <a:lnTo>
                      <a:pt x="24041" y="19229"/>
                    </a:lnTo>
                    <a:lnTo>
                      <a:pt x="24125" y="19166"/>
                    </a:lnTo>
                    <a:lnTo>
                      <a:pt x="24188" y="19166"/>
                    </a:lnTo>
                    <a:lnTo>
                      <a:pt x="24230" y="19083"/>
                    </a:lnTo>
                    <a:lnTo>
                      <a:pt x="24167" y="18999"/>
                    </a:lnTo>
                    <a:lnTo>
                      <a:pt x="24292" y="18915"/>
                    </a:lnTo>
                    <a:lnTo>
                      <a:pt x="24376" y="18769"/>
                    </a:lnTo>
                    <a:lnTo>
                      <a:pt x="24481" y="18769"/>
                    </a:lnTo>
                    <a:lnTo>
                      <a:pt x="24481" y="18706"/>
                    </a:lnTo>
                    <a:lnTo>
                      <a:pt x="24543" y="18664"/>
                    </a:lnTo>
                    <a:lnTo>
                      <a:pt x="24397" y="18560"/>
                    </a:lnTo>
                    <a:lnTo>
                      <a:pt x="24460" y="18539"/>
                    </a:lnTo>
                    <a:lnTo>
                      <a:pt x="24460" y="18455"/>
                    </a:lnTo>
                    <a:lnTo>
                      <a:pt x="24543" y="18476"/>
                    </a:lnTo>
                    <a:lnTo>
                      <a:pt x="24669" y="18581"/>
                    </a:lnTo>
                    <a:lnTo>
                      <a:pt x="24690" y="18643"/>
                    </a:lnTo>
                    <a:lnTo>
                      <a:pt x="24753" y="18602"/>
                    </a:lnTo>
                    <a:lnTo>
                      <a:pt x="24711" y="18539"/>
                    </a:lnTo>
                    <a:lnTo>
                      <a:pt x="24606" y="18476"/>
                    </a:lnTo>
                    <a:lnTo>
                      <a:pt x="24795" y="18392"/>
                    </a:lnTo>
                    <a:lnTo>
                      <a:pt x="24836" y="18330"/>
                    </a:lnTo>
                    <a:lnTo>
                      <a:pt x="24983" y="18330"/>
                    </a:lnTo>
                    <a:lnTo>
                      <a:pt x="25004" y="18350"/>
                    </a:lnTo>
                    <a:lnTo>
                      <a:pt x="25025" y="18267"/>
                    </a:lnTo>
                    <a:lnTo>
                      <a:pt x="25004" y="18225"/>
                    </a:lnTo>
                    <a:lnTo>
                      <a:pt x="25087" y="18225"/>
                    </a:lnTo>
                    <a:lnTo>
                      <a:pt x="25108" y="18350"/>
                    </a:lnTo>
                    <a:lnTo>
                      <a:pt x="25192" y="18246"/>
                    </a:lnTo>
                    <a:lnTo>
                      <a:pt x="25192" y="18225"/>
                    </a:lnTo>
                    <a:lnTo>
                      <a:pt x="25108" y="18162"/>
                    </a:lnTo>
                    <a:lnTo>
                      <a:pt x="25108" y="18058"/>
                    </a:lnTo>
                    <a:lnTo>
                      <a:pt x="25150" y="18120"/>
                    </a:lnTo>
                    <a:lnTo>
                      <a:pt x="25359" y="18162"/>
                    </a:lnTo>
                    <a:lnTo>
                      <a:pt x="25339" y="18078"/>
                    </a:lnTo>
                    <a:lnTo>
                      <a:pt x="25234" y="18037"/>
                    </a:lnTo>
                    <a:lnTo>
                      <a:pt x="25213" y="17953"/>
                    </a:lnTo>
                    <a:lnTo>
                      <a:pt x="25255" y="17932"/>
                    </a:lnTo>
                    <a:lnTo>
                      <a:pt x="25297" y="17848"/>
                    </a:lnTo>
                    <a:lnTo>
                      <a:pt x="25318" y="18016"/>
                    </a:lnTo>
                    <a:lnTo>
                      <a:pt x="25422" y="17974"/>
                    </a:lnTo>
                    <a:lnTo>
                      <a:pt x="25506" y="18016"/>
                    </a:lnTo>
                    <a:lnTo>
                      <a:pt x="25590" y="17953"/>
                    </a:lnTo>
                    <a:lnTo>
                      <a:pt x="25464" y="17744"/>
                    </a:lnTo>
                    <a:lnTo>
                      <a:pt x="25401" y="17514"/>
                    </a:lnTo>
                    <a:lnTo>
                      <a:pt x="25297" y="17388"/>
                    </a:lnTo>
                    <a:lnTo>
                      <a:pt x="25297" y="17283"/>
                    </a:lnTo>
                    <a:lnTo>
                      <a:pt x="25255" y="17200"/>
                    </a:lnTo>
                    <a:lnTo>
                      <a:pt x="25297" y="17137"/>
                    </a:lnTo>
                    <a:lnTo>
                      <a:pt x="25359" y="17221"/>
                    </a:lnTo>
                    <a:lnTo>
                      <a:pt x="25422" y="17409"/>
                    </a:lnTo>
                    <a:lnTo>
                      <a:pt x="25569" y="17597"/>
                    </a:lnTo>
                    <a:lnTo>
                      <a:pt x="25841" y="17639"/>
                    </a:lnTo>
                    <a:lnTo>
                      <a:pt x="25945" y="17723"/>
                    </a:lnTo>
                    <a:lnTo>
                      <a:pt x="26071" y="17723"/>
                    </a:lnTo>
                    <a:lnTo>
                      <a:pt x="26155" y="17660"/>
                    </a:lnTo>
                    <a:lnTo>
                      <a:pt x="26259" y="17660"/>
                    </a:lnTo>
                    <a:lnTo>
                      <a:pt x="26406" y="17514"/>
                    </a:lnTo>
                    <a:lnTo>
                      <a:pt x="26448" y="17242"/>
                    </a:lnTo>
                    <a:lnTo>
                      <a:pt x="26238" y="16990"/>
                    </a:lnTo>
                    <a:lnTo>
                      <a:pt x="26196" y="16823"/>
                    </a:lnTo>
                    <a:lnTo>
                      <a:pt x="26134" y="16739"/>
                    </a:lnTo>
                    <a:lnTo>
                      <a:pt x="26071" y="16739"/>
                    </a:lnTo>
                    <a:lnTo>
                      <a:pt x="25945" y="16886"/>
                    </a:lnTo>
                    <a:lnTo>
                      <a:pt x="25715" y="16907"/>
                    </a:lnTo>
                    <a:lnTo>
                      <a:pt x="25652" y="16928"/>
                    </a:lnTo>
                    <a:lnTo>
                      <a:pt x="25652" y="16907"/>
                    </a:lnTo>
                    <a:lnTo>
                      <a:pt x="25631" y="16823"/>
                    </a:lnTo>
                    <a:lnTo>
                      <a:pt x="25715" y="16865"/>
                    </a:lnTo>
                    <a:lnTo>
                      <a:pt x="25841" y="16823"/>
                    </a:lnTo>
                    <a:lnTo>
                      <a:pt x="25966" y="16718"/>
                    </a:lnTo>
                    <a:lnTo>
                      <a:pt x="25945" y="16677"/>
                    </a:lnTo>
                    <a:lnTo>
                      <a:pt x="25736" y="16551"/>
                    </a:lnTo>
                    <a:lnTo>
                      <a:pt x="25506" y="16300"/>
                    </a:lnTo>
                    <a:lnTo>
                      <a:pt x="25443" y="16300"/>
                    </a:lnTo>
                    <a:lnTo>
                      <a:pt x="25422" y="16363"/>
                    </a:lnTo>
                    <a:lnTo>
                      <a:pt x="25464" y="16446"/>
                    </a:lnTo>
                    <a:lnTo>
                      <a:pt x="25443" y="16488"/>
                    </a:lnTo>
                    <a:lnTo>
                      <a:pt x="25339" y="16405"/>
                    </a:lnTo>
                    <a:lnTo>
                      <a:pt x="25297" y="16258"/>
                    </a:lnTo>
                    <a:lnTo>
                      <a:pt x="25401" y="16279"/>
                    </a:lnTo>
                    <a:lnTo>
                      <a:pt x="25401" y="16091"/>
                    </a:lnTo>
                    <a:lnTo>
                      <a:pt x="25443" y="16195"/>
                    </a:lnTo>
                    <a:lnTo>
                      <a:pt x="25611" y="16342"/>
                    </a:lnTo>
                    <a:lnTo>
                      <a:pt x="25694" y="16363"/>
                    </a:lnTo>
                    <a:lnTo>
                      <a:pt x="25757" y="16551"/>
                    </a:lnTo>
                    <a:lnTo>
                      <a:pt x="25966" y="16677"/>
                    </a:lnTo>
                    <a:lnTo>
                      <a:pt x="26217" y="16760"/>
                    </a:lnTo>
                    <a:lnTo>
                      <a:pt x="26322" y="16907"/>
                    </a:lnTo>
                    <a:lnTo>
                      <a:pt x="26427" y="16970"/>
                    </a:lnTo>
                    <a:lnTo>
                      <a:pt x="26448" y="17032"/>
                    </a:lnTo>
                    <a:lnTo>
                      <a:pt x="26573" y="17095"/>
                    </a:lnTo>
                    <a:lnTo>
                      <a:pt x="26636" y="17137"/>
                    </a:lnTo>
                    <a:lnTo>
                      <a:pt x="26636" y="17011"/>
                    </a:lnTo>
                    <a:lnTo>
                      <a:pt x="26740" y="16970"/>
                    </a:lnTo>
                    <a:lnTo>
                      <a:pt x="26657" y="16907"/>
                    </a:lnTo>
                    <a:lnTo>
                      <a:pt x="26678" y="16802"/>
                    </a:lnTo>
                    <a:lnTo>
                      <a:pt x="26761" y="16928"/>
                    </a:lnTo>
                    <a:lnTo>
                      <a:pt x="26782" y="17011"/>
                    </a:lnTo>
                    <a:lnTo>
                      <a:pt x="26866" y="17032"/>
                    </a:lnTo>
                    <a:lnTo>
                      <a:pt x="26992" y="16865"/>
                    </a:lnTo>
                    <a:lnTo>
                      <a:pt x="26992" y="16656"/>
                    </a:lnTo>
                    <a:lnTo>
                      <a:pt x="26950" y="16572"/>
                    </a:lnTo>
                    <a:lnTo>
                      <a:pt x="26992" y="16405"/>
                    </a:lnTo>
                    <a:lnTo>
                      <a:pt x="27054" y="16593"/>
                    </a:lnTo>
                    <a:lnTo>
                      <a:pt x="27054" y="16698"/>
                    </a:lnTo>
                    <a:lnTo>
                      <a:pt x="27117" y="16467"/>
                    </a:lnTo>
                    <a:lnTo>
                      <a:pt x="27222" y="16405"/>
                    </a:lnTo>
                    <a:lnTo>
                      <a:pt x="27264" y="16467"/>
                    </a:lnTo>
                    <a:lnTo>
                      <a:pt x="27284" y="16488"/>
                    </a:lnTo>
                    <a:lnTo>
                      <a:pt x="27201" y="16593"/>
                    </a:lnTo>
                    <a:lnTo>
                      <a:pt x="27264" y="16614"/>
                    </a:lnTo>
                    <a:lnTo>
                      <a:pt x="27284" y="16698"/>
                    </a:lnTo>
                    <a:lnTo>
                      <a:pt x="27368" y="16614"/>
                    </a:lnTo>
                    <a:lnTo>
                      <a:pt x="27431" y="16656"/>
                    </a:lnTo>
                    <a:lnTo>
                      <a:pt x="27577" y="16802"/>
                    </a:lnTo>
                    <a:lnTo>
                      <a:pt x="27598" y="16760"/>
                    </a:lnTo>
                    <a:lnTo>
                      <a:pt x="27682" y="16760"/>
                    </a:lnTo>
                    <a:lnTo>
                      <a:pt x="27724" y="16802"/>
                    </a:lnTo>
                    <a:lnTo>
                      <a:pt x="27828" y="16781"/>
                    </a:lnTo>
                    <a:lnTo>
                      <a:pt x="27933" y="16593"/>
                    </a:lnTo>
                    <a:lnTo>
                      <a:pt x="28100" y="16509"/>
                    </a:lnTo>
                    <a:lnTo>
                      <a:pt x="28456" y="16153"/>
                    </a:lnTo>
                    <a:lnTo>
                      <a:pt x="28477" y="16070"/>
                    </a:lnTo>
                    <a:lnTo>
                      <a:pt x="28540" y="16049"/>
                    </a:lnTo>
                    <a:lnTo>
                      <a:pt x="28561" y="16091"/>
                    </a:lnTo>
                    <a:lnTo>
                      <a:pt x="28728" y="15881"/>
                    </a:lnTo>
                    <a:lnTo>
                      <a:pt x="28833" y="15840"/>
                    </a:lnTo>
                    <a:lnTo>
                      <a:pt x="28958" y="15735"/>
                    </a:lnTo>
                    <a:lnTo>
                      <a:pt x="29000" y="15672"/>
                    </a:lnTo>
                    <a:lnTo>
                      <a:pt x="28979" y="15547"/>
                    </a:lnTo>
                    <a:lnTo>
                      <a:pt x="28561" y="15442"/>
                    </a:lnTo>
                    <a:lnTo>
                      <a:pt x="28331" y="15400"/>
                    </a:lnTo>
                    <a:lnTo>
                      <a:pt x="28121" y="15317"/>
                    </a:lnTo>
                    <a:lnTo>
                      <a:pt x="28038" y="15128"/>
                    </a:lnTo>
                    <a:lnTo>
                      <a:pt x="27912" y="14898"/>
                    </a:lnTo>
                    <a:lnTo>
                      <a:pt x="27849" y="14898"/>
                    </a:lnTo>
                    <a:lnTo>
                      <a:pt x="27828" y="14710"/>
                    </a:lnTo>
                    <a:lnTo>
                      <a:pt x="27808" y="14689"/>
                    </a:lnTo>
                    <a:lnTo>
                      <a:pt x="27828" y="14626"/>
                    </a:lnTo>
                    <a:lnTo>
                      <a:pt x="27870" y="14626"/>
                    </a:lnTo>
                    <a:lnTo>
                      <a:pt x="27912" y="14563"/>
                    </a:lnTo>
                    <a:lnTo>
                      <a:pt x="27828" y="14501"/>
                    </a:lnTo>
                    <a:lnTo>
                      <a:pt x="27598" y="14501"/>
                    </a:lnTo>
                    <a:lnTo>
                      <a:pt x="27326" y="14417"/>
                    </a:lnTo>
                    <a:lnTo>
                      <a:pt x="27243" y="14417"/>
                    </a:lnTo>
                    <a:lnTo>
                      <a:pt x="27201" y="14480"/>
                    </a:lnTo>
                    <a:lnTo>
                      <a:pt x="27117" y="14396"/>
                    </a:lnTo>
                    <a:lnTo>
                      <a:pt x="27117" y="14312"/>
                    </a:lnTo>
                    <a:lnTo>
                      <a:pt x="27222" y="14354"/>
                    </a:lnTo>
                    <a:lnTo>
                      <a:pt x="27494" y="14375"/>
                    </a:lnTo>
                    <a:lnTo>
                      <a:pt x="27640" y="14480"/>
                    </a:lnTo>
                    <a:lnTo>
                      <a:pt x="27870" y="14480"/>
                    </a:lnTo>
                    <a:lnTo>
                      <a:pt x="28017" y="14584"/>
                    </a:lnTo>
                    <a:lnTo>
                      <a:pt x="28142" y="14814"/>
                    </a:lnTo>
                    <a:lnTo>
                      <a:pt x="28247" y="14835"/>
                    </a:lnTo>
                    <a:lnTo>
                      <a:pt x="28289" y="14898"/>
                    </a:lnTo>
                    <a:lnTo>
                      <a:pt x="28247" y="14919"/>
                    </a:lnTo>
                    <a:lnTo>
                      <a:pt x="28184" y="14919"/>
                    </a:lnTo>
                    <a:lnTo>
                      <a:pt x="28184" y="14982"/>
                    </a:lnTo>
                    <a:lnTo>
                      <a:pt x="28372" y="15045"/>
                    </a:lnTo>
                    <a:lnTo>
                      <a:pt x="28435" y="15191"/>
                    </a:lnTo>
                    <a:lnTo>
                      <a:pt x="28498" y="15296"/>
                    </a:lnTo>
                    <a:lnTo>
                      <a:pt x="28875" y="15358"/>
                    </a:lnTo>
                    <a:lnTo>
                      <a:pt x="28979" y="15317"/>
                    </a:lnTo>
                    <a:lnTo>
                      <a:pt x="29021" y="15191"/>
                    </a:lnTo>
                    <a:lnTo>
                      <a:pt x="29105" y="15128"/>
                    </a:lnTo>
                    <a:lnTo>
                      <a:pt x="29189" y="15149"/>
                    </a:lnTo>
                    <a:lnTo>
                      <a:pt x="29314" y="15003"/>
                    </a:lnTo>
                    <a:lnTo>
                      <a:pt x="29335" y="14982"/>
                    </a:lnTo>
                    <a:lnTo>
                      <a:pt x="29502" y="15128"/>
                    </a:lnTo>
                    <a:lnTo>
                      <a:pt x="29481" y="15149"/>
                    </a:lnTo>
                    <a:lnTo>
                      <a:pt x="29377" y="15317"/>
                    </a:lnTo>
                    <a:lnTo>
                      <a:pt x="29377" y="15400"/>
                    </a:lnTo>
                    <a:lnTo>
                      <a:pt x="29293" y="15505"/>
                    </a:lnTo>
                    <a:lnTo>
                      <a:pt x="29293" y="15568"/>
                    </a:lnTo>
                    <a:lnTo>
                      <a:pt x="29189" y="15756"/>
                    </a:lnTo>
                    <a:lnTo>
                      <a:pt x="29230" y="15840"/>
                    </a:lnTo>
                    <a:lnTo>
                      <a:pt x="29189" y="15861"/>
                    </a:lnTo>
                    <a:lnTo>
                      <a:pt x="29168" y="15965"/>
                    </a:lnTo>
                    <a:lnTo>
                      <a:pt x="29168" y="16070"/>
                    </a:lnTo>
                    <a:lnTo>
                      <a:pt x="29000" y="16195"/>
                    </a:lnTo>
                    <a:lnTo>
                      <a:pt x="28958" y="16300"/>
                    </a:lnTo>
                    <a:lnTo>
                      <a:pt x="28958" y="16467"/>
                    </a:lnTo>
                    <a:lnTo>
                      <a:pt x="28916" y="16509"/>
                    </a:lnTo>
                    <a:lnTo>
                      <a:pt x="28916" y="16677"/>
                    </a:lnTo>
                    <a:lnTo>
                      <a:pt x="28854" y="16760"/>
                    </a:lnTo>
                    <a:lnTo>
                      <a:pt x="28707" y="16760"/>
                    </a:lnTo>
                    <a:lnTo>
                      <a:pt x="28540" y="16823"/>
                    </a:lnTo>
                    <a:lnTo>
                      <a:pt x="28540" y="16928"/>
                    </a:lnTo>
                    <a:lnTo>
                      <a:pt x="28477" y="17116"/>
                    </a:lnTo>
                    <a:lnTo>
                      <a:pt x="28498" y="17242"/>
                    </a:lnTo>
                    <a:lnTo>
                      <a:pt x="28561" y="17242"/>
                    </a:lnTo>
                    <a:lnTo>
                      <a:pt x="28582" y="17137"/>
                    </a:lnTo>
                    <a:lnTo>
                      <a:pt x="28644" y="17116"/>
                    </a:lnTo>
                    <a:lnTo>
                      <a:pt x="28686" y="17137"/>
                    </a:lnTo>
                    <a:lnTo>
                      <a:pt x="28770" y="17200"/>
                    </a:lnTo>
                    <a:lnTo>
                      <a:pt x="28854" y="17200"/>
                    </a:lnTo>
                    <a:lnTo>
                      <a:pt x="28896" y="17179"/>
                    </a:lnTo>
                    <a:lnTo>
                      <a:pt x="28958" y="17179"/>
                    </a:lnTo>
                    <a:lnTo>
                      <a:pt x="29000" y="17221"/>
                    </a:lnTo>
                    <a:lnTo>
                      <a:pt x="29021" y="17304"/>
                    </a:lnTo>
                    <a:lnTo>
                      <a:pt x="28958" y="17409"/>
                    </a:lnTo>
                    <a:lnTo>
                      <a:pt x="28979" y="17514"/>
                    </a:lnTo>
                    <a:lnTo>
                      <a:pt x="28896" y="17597"/>
                    </a:lnTo>
                    <a:lnTo>
                      <a:pt x="28896" y="17744"/>
                    </a:lnTo>
                    <a:lnTo>
                      <a:pt x="28916" y="17806"/>
                    </a:lnTo>
                    <a:lnTo>
                      <a:pt x="28979" y="17765"/>
                    </a:lnTo>
                    <a:lnTo>
                      <a:pt x="29021" y="17806"/>
                    </a:lnTo>
                    <a:lnTo>
                      <a:pt x="29105" y="17806"/>
                    </a:lnTo>
                    <a:lnTo>
                      <a:pt x="29168" y="17744"/>
                    </a:lnTo>
                    <a:lnTo>
                      <a:pt x="29272" y="17744"/>
                    </a:lnTo>
                    <a:lnTo>
                      <a:pt x="29293" y="17702"/>
                    </a:lnTo>
                    <a:lnTo>
                      <a:pt x="29377" y="17639"/>
                    </a:lnTo>
                    <a:lnTo>
                      <a:pt x="29440" y="17639"/>
                    </a:lnTo>
                    <a:lnTo>
                      <a:pt x="29544" y="17555"/>
                    </a:lnTo>
                    <a:lnTo>
                      <a:pt x="29586" y="17430"/>
                    </a:lnTo>
                    <a:lnTo>
                      <a:pt x="29649" y="17346"/>
                    </a:lnTo>
                    <a:lnTo>
                      <a:pt x="29712" y="17283"/>
                    </a:lnTo>
                    <a:lnTo>
                      <a:pt x="29753" y="17283"/>
                    </a:lnTo>
                    <a:lnTo>
                      <a:pt x="29816" y="17325"/>
                    </a:lnTo>
                    <a:lnTo>
                      <a:pt x="29900" y="17283"/>
                    </a:lnTo>
                    <a:lnTo>
                      <a:pt x="29942" y="17242"/>
                    </a:lnTo>
                    <a:lnTo>
                      <a:pt x="30025" y="17242"/>
                    </a:lnTo>
                    <a:lnTo>
                      <a:pt x="30067" y="17095"/>
                    </a:lnTo>
                    <a:lnTo>
                      <a:pt x="30067" y="16970"/>
                    </a:lnTo>
                    <a:lnTo>
                      <a:pt x="30172" y="16886"/>
                    </a:lnTo>
                    <a:lnTo>
                      <a:pt x="30214" y="16802"/>
                    </a:lnTo>
                    <a:lnTo>
                      <a:pt x="30277" y="16802"/>
                    </a:lnTo>
                    <a:lnTo>
                      <a:pt x="30339" y="16865"/>
                    </a:lnTo>
                    <a:lnTo>
                      <a:pt x="30381" y="16802"/>
                    </a:lnTo>
                    <a:lnTo>
                      <a:pt x="30444" y="16781"/>
                    </a:lnTo>
                    <a:lnTo>
                      <a:pt x="30486" y="16802"/>
                    </a:lnTo>
                    <a:lnTo>
                      <a:pt x="30528" y="16907"/>
                    </a:lnTo>
                    <a:lnTo>
                      <a:pt x="30444" y="16970"/>
                    </a:lnTo>
                    <a:lnTo>
                      <a:pt x="30381" y="17011"/>
                    </a:lnTo>
                    <a:lnTo>
                      <a:pt x="30465" y="17074"/>
                    </a:lnTo>
                    <a:lnTo>
                      <a:pt x="30632" y="17074"/>
                    </a:lnTo>
                    <a:lnTo>
                      <a:pt x="30695" y="17095"/>
                    </a:lnTo>
                    <a:lnTo>
                      <a:pt x="30737" y="17179"/>
                    </a:lnTo>
                    <a:lnTo>
                      <a:pt x="30653" y="17283"/>
                    </a:lnTo>
                    <a:lnTo>
                      <a:pt x="30569" y="17304"/>
                    </a:lnTo>
                    <a:lnTo>
                      <a:pt x="30569" y="17430"/>
                    </a:lnTo>
                    <a:lnTo>
                      <a:pt x="30653" y="17451"/>
                    </a:lnTo>
                    <a:lnTo>
                      <a:pt x="30695" y="17430"/>
                    </a:lnTo>
                    <a:lnTo>
                      <a:pt x="30779" y="17430"/>
                    </a:lnTo>
                    <a:lnTo>
                      <a:pt x="30800" y="17451"/>
                    </a:lnTo>
                    <a:lnTo>
                      <a:pt x="30883" y="17430"/>
                    </a:lnTo>
                    <a:lnTo>
                      <a:pt x="30904" y="17514"/>
                    </a:lnTo>
                    <a:lnTo>
                      <a:pt x="31009" y="17514"/>
                    </a:lnTo>
                    <a:lnTo>
                      <a:pt x="31072" y="17555"/>
                    </a:lnTo>
                    <a:lnTo>
                      <a:pt x="31113" y="17555"/>
                    </a:lnTo>
                    <a:lnTo>
                      <a:pt x="31260" y="17639"/>
                    </a:lnTo>
                    <a:lnTo>
                      <a:pt x="31302" y="17618"/>
                    </a:lnTo>
                    <a:lnTo>
                      <a:pt x="31365" y="17493"/>
                    </a:lnTo>
                    <a:lnTo>
                      <a:pt x="31406" y="17451"/>
                    </a:lnTo>
                    <a:lnTo>
                      <a:pt x="31490" y="17346"/>
                    </a:lnTo>
                    <a:lnTo>
                      <a:pt x="31595" y="17346"/>
                    </a:lnTo>
                    <a:lnTo>
                      <a:pt x="31616" y="17304"/>
                    </a:lnTo>
                    <a:lnTo>
                      <a:pt x="31532" y="17283"/>
                    </a:lnTo>
                    <a:lnTo>
                      <a:pt x="31490" y="17200"/>
                    </a:lnTo>
                    <a:lnTo>
                      <a:pt x="31574" y="17179"/>
                    </a:lnTo>
                    <a:lnTo>
                      <a:pt x="31595" y="17095"/>
                    </a:lnTo>
                    <a:lnTo>
                      <a:pt x="31511" y="17053"/>
                    </a:lnTo>
                    <a:lnTo>
                      <a:pt x="31469" y="16990"/>
                    </a:lnTo>
                    <a:lnTo>
                      <a:pt x="31406" y="17011"/>
                    </a:lnTo>
                    <a:lnTo>
                      <a:pt x="31406" y="17095"/>
                    </a:lnTo>
                    <a:lnTo>
                      <a:pt x="31365" y="17116"/>
                    </a:lnTo>
                    <a:lnTo>
                      <a:pt x="31302" y="17095"/>
                    </a:lnTo>
                    <a:lnTo>
                      <a:pt x="31197" y="17032"/>
                    </a:lnTo>
                    <a:lnTo>
                      <a:pt x="31197" y="16970"/>
                    </a:lnTo>
                    <a:lnTo>
                      <a:pt x="31155" y="16990"/>
                    </a:lnTo>
                    <a:lnTo>
                      <a:pt x="31072" y="17074"/>
                    </a:lnTo>
                    <a:lnTo>
                      <a:pt x="30883" y="17074"/>
                    </a:lnTo>
                    <a:lnTo>
                      <a:pt x="30800" y="17011"/>
                    </a:lnTo>
                    <a:lnTo>
                      <a:pt x="30904" y="16970"/>
                    </a:lnTo>
                    <a:lnTo>
                      <a:pt x="30988" y="16970"/>
                    </a:lnTo>
                    <a:lnTo>
                      <a:pt x="31072" y="16907"/>
                    </a:lnTo>
                    <a:lnTo>
                      <a:pt x="31072" y="16823"/>
                    </a:lnTo>
                    <a:lnTo>
                      <a:pt x="31051" y="16802"/>
                    </a:lnTo>
                    <a:lnTo>
                      <a:pt x="31051" y="16677"/>
                    </a:lnTo>
                    <a:lnTo>
                      <a:pt x="31072" y="16593"/>
                    </a:lnTo>
                    <a:lnTo>
                      <a:pt x="31072" y="16551"/>
                    </a:lnTo>
                    <a:lnTo>
                      <a:pt x="31009" y="16488"/>
                    </a:lnTo>
                    <a:lnTo>
                      <a:pt x="31009" y="16405"/>
                    </a:lnTo>
                    <a:lnTo>
                      <a:pt x="30862" y="16258"/>
                    </a:lnTo>
                    <a:lnTo>
                      <a:pt x="30737" y="16195"/>
                    </a:lnTo>
                    <a:lnTo>
                      <a:pt x="30737" y="16153"/>
                    </a:lnTo>
                    <a:lnTo>
                      <a:pt x="30695" y="16028"/>
                    </a:lnTo>
                    <a:lnTo>
                      <a:pt x="30632" y="16028"/>
                    </a:lnTo>
                    <a:lnTo>
                      <a:pt x="30590" y="15944"/>
                    </a:lnTo>
                    <a:lnTo>
                      <a:pt x="30632" y="15819"/>
                    </a:lnTo>
                    <a:lnTo>
                      <a:pt x="30590" y="15735"/>
                    </a:lnTo>
                    <a:lnTo>
                      <a:pt x="30465" y="15735"/>
                    </a:lnTo>
                    <a:lnTo>
                      <a:pt x="30277" y="15651"/>
                    </a:lnTo>
                    <a:lnTo>
                      <a:pt x="30235" y="15547"/>
                    </a:lnTo>
                    <a:lnTo>
                      <a:pt x="30277" y="15505"/>
                    </a:lnTo>
                    <a:lnTo>
                      <a:pt x="30277" y="15442"/>
                    </a:lnTo>
                    <a:lnTo>
                      <a:pt x="30214" y="15358"/>
                    </a:lnTo>
                    <a:lnTo>
                      <a:pt x="30172" y="15296"/>
                    </a:lnTo>
                    <a:lnTo>
                      <a:pt x="30151" y="15296"/>
                    </a:lnTo>
                    <a:lnTo>
                      <a:pt x="30046" y="15421"/>
                    </a:lnTo>
                    <a:lnTo>
                      <a:pt x="30025" y="15526"/>
                    </a:lnTo>
                    <a:lnTo>
                      <a:pt x="29963" y="15568"/>
                    </a:lnTo>
                    <a:lnTo>
                      <a:pt x="29921" y="15526"/>
                    </a:lnTo>
                    <a:lnTo>
                      <a:pt x="29921" y="15400"/>
                    </a:lnTo>
                    <a:lnTo>
                      <a:pt x="29858" y="15296"/>
                    </a:lnTo>
                    <a:lnTo>
                      <a:pt x="29900" y="15212"/>
                    </a:lnTo>
                    <a:lnTo>
                      <a:pt x="30025" y="15212"/>
                    </a:lnTo>
                    <a:lnTo>
                      <a:pt x="30005" y="15128"/>
                    </a:lnTo>
                    <a:lnTo>
                      <a:pt x="30025" y="15024"/>
                    </a:lnTo>
                    <a:lnTo>
                      <a:pt x="30005" y="14919"/>
                    </a:lnTo>
                    <a:lnTo>
                      <a:pt x="29900" y="14940"/>
                    </a:lnTo>
                    <a:lnTo>
                      <a:pt x="29900" y="14877"/>
                    </a:lnTo>
                    <a:lnTo>
                      <a:pt x="29963" y="14773"/>
                    </a:lnTo>
                    <a:lnTo>
                      <a:pt x="29921" y="14731"/>
                    </a:lnTo>
                    <a:lnTo>
                      <a:pt x="29712" y="14814"/>
                    </a:lnTo>
                    <a:cubicBezTo>
                      <a:pt x="29691" y="14773"/>
                      <a:pt x="29628" y="14731"/>
                      <a:pt x="29607" y="14689"/>
                    </a:cubicBezTo>
                    <a:lnTo>
                      <a:pt x="29712" y="14605"/>
                    </a:lnTo>
                    <a:lnTo>
                      <a:pt x="29795" y="14584"/>
                    </a:lnTo>
                    <a:lnTo>
                      <a:pt x="29858" y="14417"/>
                    </a:lnTo>
                    <a:lnTo>
                      <a:pt x="29816" y="14312"/>
                    </a:lnTo>
                    <a:lnTo>
                      <a:pt x="29691" y="14291"/>
                    </a:lnTo>
                    <a:lnTo>
                      <a:pt x="29628" y="14208"/>
                    </a:lnTo>
                    <a:lnTo>
                      <a:pt x="29628" y="14103"/>
                    </a:lnTo>
                    <a:lnTo>
                      <a:pt x="29691" y="14082"/>
                    </a:lnTo>
                    <a:lnTo>
                      <a:pt x="29649" y="13998"/>
                    </a:lnTo>
                    <a:lnTo>
                      <a:pt x="29691" y="13915"/>
                    </a:lnTo>
                    <a:lnTo>
                      <a:pt x="29816" y="13998"/>
                    </a:lnTo>
                    <a:lnTo>
                      <a:pt x="29921" y="13977"/>
                    </a:lnTo>
                    <a:lnTo>
                      <a:pt x="30025" y="14061"/>
                    </a:lnTo>
                    <a:lnTo>
                      <a:pt x="30151" y="14061"/>
                    </a:lnTo>
                    <a:lnTo>
                      <a:pt x="30318" y="13977"/>
                    </a:lnTo>
                    <a:lnTo>
                      <a:pt x="30318" y="14019"/>
                    </a:lnTo>
                    <a:lnTo>
                      <a:pt x="30360" y="14061"/>
                    </a:lnTo>
                    <a:lnTo>
                      <a:pt x="30339" y="14082"/>
                    </a:lnTo>
                    <a:lnTo>
                      <a:pt x="30277" y="14249"/>
                    </a:lnTo>
                    <a:lnTo>
                      <a:pt x="30277" y="14312"/>
                    </a:lnTo>
                    <a:lnTo>
                      <a:pt x="30360" y="14291"/>
                    </a:lnTo>
                    <a:lnTo>
                      <a:pt x="30381" y="14354"/>
                    </a:lnTo>
                    <a:lnTo>
                      <a:pt x="30465" y="14375"/>
                    </a:lnTo>
                    <a:lnTo>
                      <a:pt x="30590" y="14459"/>
                    </a:lnTo>
                    <a:lnTo>
                      <a:pt x="30632" y="14354"/>
                    </a:lnTo>
                    <a:lnTo>
                      <a:pt x="30528" y="14249"/>
                    </a:lnTo>
                    <a:lnTo>
                      <a:pt x="30590" y="14145"/>
                    </a:lnTo>
                    <a:lnTo>
                      <a:pt x="30632" y="14208"/>
                    </a:lnTo>
                    <a:lnTo>
                      <a:pt x="30695" y="14249"/>
                    </a:lnTo>
                    <a:lnTo>
                      <a:pt x="30737" y="14354"/>
                    </a:lnTo>
                    <a:lnTo>
                      <a:pt x="30904" y="14501"/>
                    </a:lnTo>
                    <a:lnTo>
                      <a:pt x="30967" y="14501"/>
                    </a:lnTo>
                    <a:lnTo>
                      <a:pt x="30967" y="14417"/>
                    </a:lnTo>
                    <a:lnTo>
                      <a:pt x="30946" y="14375"/>
                    </a:lnTo>
                    <a:lnTo>
                      <a:pt x="30988" y="14291"/>
                    </a:lnTo>
                    <a:lnTo>
                      <a:pt x="30967" y="14145"/>
                    </a:lnTo>
                    <a:lnTo>
                      <a:pt x="30904" y="14103"/>
                    </a:lnTo>
                    <a:lnTo>
                      <a:pt x="30946" y="13957"/>
                    </a:lnTo>
                    <a:lnTo>
                      <a:pt x="30862" y="13768"/>
                    </a:lnTo>
                    <a:lnTo>
                      <a:pt x="30758" y="13726"/>
                    </a:lnTo>
                    <a:lnTo>
                      <a:pt x="30758" y="13622"/>
                    </a:lnTo>
                    <a:lnTo>
                      <a:pt x="30695" y="13580"/>
                    </a:lnTo>
                    <a:lnTo>
                      <a:pt x="30549" y="13685"/>
                    </a:lnTo>
                    <a:lnTo>
                      <a:pt x="30486" y="13685"/>
                    </a:lnTo>
                    <a:lnTo>
                      <a:pt x="30590" y="13538"/>
                    </a:lnTo>
                    <a:lnTo>
                      <a:pt x="30695" y="13538"/>
                    </a:lnTo>
                    <a:lnTo>
                      <a:pt x="30737" y="13559"/>
                    </a:lnTo>
                    <a:lnTo>
                      <a:pt x="30841" y="13517"/>
                    </a:lnTo>
                    <a:lnTo>
                      <a:pt x="30925" y="13622"/>
                    </a:lnTo>
                    <a:lnTo>
                      <a:pt x="30967" y="13643"/>
                    </a:lnTo>
                    <a:lnTo>
                      <a:pt x="30967" y="13873"/>
                    </a:lnTo>
                    <a:lnTo>
                      <a:pt x="31009" y="13873"/>
                    </a:lnTo>
                    <a:lnTo>
                      <a:pt x="31155" y="13768"/>
                    </a:lnTo>
                    <a:lnTo>
                      <a:pt x="31051" y="13936"/>
                    </a:lnTo>
                    <a:lnTo>
                      <a:pt x="31051" y="13998"/>
                    </a:lnTo>
                    <a:lnTo>
                      <a:pt x="30967" y="14040"/>
                    </a:lnTo>
                    <a:lnTo>
                      <a:pt x="30967" y="14082"/>
                    </a:lnTo>
                    <a:lnTo>
                      <a:pt x="31051" y="14166"/>
                    </a:lnTo>
                    <a:lnTo>
                      <a:pt x="31072" y="14291"/>
                    </a:lnTo>
                    <a:lnTo>
                      <a:pt x="31009" y="14375"/>
                    </a:lnTo>
                    <a:lnTo>
                      <a:pt x="31072" y="14417"/>
                    </a:lnTo>
                    <a:lnTo>
                      <a:pt x="31365" y="14354"/>
                    </a:lnTo>
                    <a:lnTo>
                      <a:pt x="31406" y="14249"/>
                    </a:lnTo>
                    <a:lnTo>
                      <a:pt x="31511" y="14249"/>
                    </a:lnTo>
                    <a:lnTo>
                      <a:pt x="31574" y="14270"/>
                    </a:lnTo>
                    <a:lnTo>
                      <a:pt x="31720" y="14082"/>
                    </a:lnTo>
                    <a:lnTo>
                      <a:pt x="31804" y="14082"/>
                    </a:lnTo>
                    <a:lnTo>
                      <a:pt x="31846" y="13998"/>
                    </a:lnTo>
                    <a:lnTo>
                      <a:pt x="31950" y="13936"/>
                    </a:lnTo>
                    <a:lnTo>
                      <a:pt x="31992" y="13789"/>
                    </a:lnTo>
                    <a:lnTo>
                      <a:pt x="32055" y="13747"/>
                    </a:lnTo>
                    <a:lnTo>
                      <a:pt x="32243" y="13747"/>
                    </a:lnTo>
                    <a:lnTo>
                      <a:pt x="32348" y="13789"/>
                    </a:lnTo>
                    <a:lnTo>
                      <a:pt x="32411" y="13726"/>
                    </a:lnTo>
                    <a:lnTo>
                      <a:pt x="32369" y="13622"/>
                    </a:lnTo>
                    <a:lnTo>
                      <a:pt x="32536" y="13475"/>
                    </a:lnTo>
                    <a:lnTo>
                      <a:pt x="32557" y="13413"/>
                    </a:lnTo>
                    <a:lnTo>
                      <a:pt x="32620" y="13371"/>
                    </a:lnTo>
                    <a:lnTo>
                      <a:pt x="32641" y="13245"/>
                    </a:lnTo>
                    <a:lnTo>
                      <a:pt x="32515" y="13015"/>
                    </a:lnTo>
                    <a:lnTo>
                      <a:pt x="32536" y="12931"/>
                    </a:lnTo>
                    <a:lnTo>
                      <a:pt x="32411" y="12827"/>
                    </a:lnTo>
                    <a:lnTo>
                      <a:pt x="32369" y="12701"/>
                    </a:lnTo>
                    <a:lnTo>
                      <a:pt x="32432" y="12596"/>
                    </a:lnTo>
                    <a:lnTo>
                      <a:pt x="32557" y="12534"/>
                    </a:lnTo>
                    <a:lnTo>
                      <a:pt x="32578" y="12471"/>
                    </a:lnTo>
                    <a:lnTo>
                      <a:pt x="32557" y="12471"/>
                    </a:lnTo>
                    <a:lnTo>
                      <a:pt x="32474" y="12534"/>
                    </a:lnTo>
                    <a:lnTo>
                      <a:pt x="32453" y="12534"/>
                    </a:lnTo>
                    <a:lnTo>
                      <a:pt x="32453" y="12471"/>
                    </a:lnTo>
                    <a:lnTo>
                      <a:pt x="32536" y="12366"/>
                    </a:lnTo>
                    <a:lnTo>
                      <a:pt x="32432" y="12366"/>
                    </a:lnTo>
                    <a:lnTo>
                      <a:pt x="32515" y="12283"/>
                    </a:lnTo>
                    <a:lnTo>
                      <a:pt x="32536" y="12199"/>
                    </a:lnTo>
                    <a:lnTo>
                      <a:pt x="32453" y="12157"/>
                    </a:lnTo>
                    <a:lnTo>
                      <a:pt x="32348" y="12115"/>
                    </a:lnTo>
                    <a:lnTo>
                      <a:pt x="32411" y="12094"/>
                    </a:lnTo>
                    <a:lnTo>
                      <a:pt x="32411" y="11990"/>
                    </a:lnTo>
                    <a:lnTo>
                      <a:pt x="32474" y="11990"/>
                    </a:lnTo>
                    <a:lnTo>
                      <a:pt x="32515" y="12052"/>
                    </a:lnTo>
                    <a:lnTo>
                      <a:pt x="32620" y="12052"/>
                    </a:lnTo>
                    <a:lnTo>
                      <a:pt x="32683" y="12157"/>
                    </a:lnTo>
                    <a:lnTo>
                      <a:pt x="32766" y="12178"/>
                    </a:lnTo>
                    <a:lnTo>
                      <a:pt x="32829" y="12094"/>
                    </a:lnTo>
                    <a:lnTo>
                      <a:pt x="32892" y="12115"/>
                    </a:lnTo>
                    <a:lnTo>
                      <a:pt x="33059" y="12073"/>
                    </a:lnTo>
                    <a:lnTo>
                      <a:pt x="33185" y="11990"/>
                    </a:lnTo>
                    <a:lnTo>
                      <a:pt x="33143" y="11948"/>
                    </a:lnTo>
                    <a:lnTo>
                      <a:pt x="33206" y="11843"/>
                    </a:lnTo>
                    <a:lnTo>
                      <a:pt x="33185" y="11801"/>
                    </a:lnTo>
                    <a:lnTo>
                      <a:pt x="33143" y="11801"/>
                    </a:lnTo>
                    <a:lnTo>
                      <a:pt x="33143" y="11739"/>
                    </a:lnTo>
                    <a:lnTo>
                      <a:pt x="33080" y="11697"/>
                    </a:lnTo>
                    <a:lnTo>
                      <a:pt x="32934" y="11697"/>
                    </a:lnTo>
                    <a:lnTo>
                      <a:pt x="32997" y="11655"/>
                    </a:lnTo>
                    <a:lnTo>
                      <a:pt x="33101" y="11634"/>
                    </a:lnTo>
                    <a:lnTo>
                      <a:pt x="33290" y="11488"/>
                    </a:lnTo>
                    <a:lnTo>
                      <a:pt x="33373" y="11383"/>
                    </a:lnTo>
                    <a:lnTo>
                      <a:pt x="33352" y="11341"/>
                    </a:lnTo>
                    <a:lnTo>
                      <a:pt x="33290" y="11320"/>
                    </a:lnTo>
                    <a:lnTo>
                      <a:pt x="33269" y="11236"/>
                    </a:lnTo>
                    <a:lnTo>
                      <a:pt x="33080" y="11174"/>
                    </a:lnTo>
                    <a:lnTo>
                      <a:pt x="32976" y="11216"/>
                    </a:lnTo>
                    <a:lnTo>
                      <a:pt x="32934" y="11174"/>
                    </a:lnTo>
                    <a:lnTo>
                      <a:pt x="33038" y="11153"/>
                    </a:lnTo>
                    <a:lnTo>
                      <a:pt x="33038" y="11027"/>
                    </a:lnTo>
                    <a:lnTo>
                      <a:pt x="32808" y="10860"/>
                    </a:lnTo>
                    <a:lnTo>
                      <a:pt x="32808" y="10818"/>
                    </a:lnTo>
                    <a:lnTo>
                      <a:pt x="32871" y="10818"/>
                    </a:lnTo>
                    <a:lnTo>
                      <a:pt x="32955" y="10902"/>
                    </a:lnTo>
                    <a:lnTo>
                      <a:pt x="33038" y="10860"/>
                    </a:lnTo>
                    <a:lnTo>
                      <a:pt x="32955" y="10797"/>
                    </a:lnTo>
                    <a:lnTo>
                      <a:pt x="33018" y="10755"/>
                    </a:lnTo>
                    <a:lnTo>
                      <a:pt x="33018" y="10713"/>
                    </a:lnTo>
                    <a:lnTo>
                      <a:pt x="32871" y="10651"/>
                    </a:lnTo>
                    <a:lnTo>
                      <a:pt x="32766" y="10588"/>
                    </a:lnTo>
                    <a:lnTo>
                      <a:pt x="32662" y="10651"/>
                    </a:lnTo>
                    <a:lnTo>
                      <a:pt x="32515" y="10588"/>
                    </a:lnTo>
                    <a:cubicBezTo>
                      <a:pt x="32536" y="10546"/>
                      <a:pt x="32536" y="10525"/>
                      <a:pt x="32536" y="10504"/>
                    </a:cubicBezTo>
                    <a:lnTo>
                      <a:pt x="32599" y="10504"/>
                    </a:lnTo>
                    <a:lnTo>
                      <a:pt x="32620" y="10483"/>
                    </a:lnTo>
                    <a:lnTo>
                      <a:pt x="32599" y="10420"/>
                    </a:lnTo>
                    <a:lnTo>
                      <a:pt x="32536" y="10420"/>
                    </a:lnTo>
                    <a:cubicBezTo>
                      <a:pt x="32536" y="10400"/>
                      <a:pt x="32536" y="10339"/>
                      <a:pt x="32517" y="10317"/>
                    </a:cubicBezTo>
                    <a:lnTo>
                      <a:pt x="32517" y="10317"/>
                    </a:lnTo>
                    <a:cubicBezTo>
                      <a:pt x="32518" y="10308"/>
                      <a:pt x="32523" y="10287"/>
                      <a:pt x="32536" y="10274"/>
                    </a:cubicBezTo>
                    <a:cubicBezTo>
                      <a:pt x="32536" y="10274"/>
                      <a:pt x="32536" y="10232"/>
                      <a:pt x="32557" y="10232"/>
                    </a:cubicBezTo>
                    <a:lnTo>
                      <a:pt x="32641" y="10316"/>
                    </a:lnTo>
                    <a:lnTo>
                      <a:pt x="32746" y="10274"/>
                    </a:lnTo>
                    <a:lnTo>
                      <a:pt x="32934" y="10232"/>
                    </a:lnTo>
                    <a:lnTo>
                      <a:pt x="32976" y="10337"/>
                    </a:lnTo>
                    <a:lnTo>
                      <a:pt x="33080" y="10379"/>
                    </a:lnTo>
                    <a:lnTo>
                      <a:pt x="33143" y="10441"/>
                    </a:lnTo>
                    <a:lnTo>
                      <a:pt x="33185" y="10420"/>
                    </a:lnTo>
                    <a:lnTo>
                      <a:pt x="33352" y="10525"/>
                    </a:lnTo>
                    <a:lnTo>
                      <a:pt x="33394" y="10483"/>
                    </a:lnTo>
                    <a:lnTo>
                      <a:pt x="33457" y="10504"/>
                    </a:lnTo>
                    <a:lnTo>
                      <a:pt x="33499" y="10420"/>
                    </a:lnTo>
                    <a:lnTo>
                      <a:pt x="33478" y="10337"/>
                    </a:lnTo>
                    <a:lnTo>
                      <a:pt x="33394" y="10295"/>
                    </a:lnTo>
                    <a:lnTo>
                      <a:pt x="33310" y="10190"/>
                    </a:lnTo>
                    <a:lnTo>
                      <a:pt x="33269" y="10107"/>
                    </a:lnTo>
                    <a:lnTo>
                      <a:pt x="33059" y="9918"/>
                    </a:lnTo>
                    <a:lnTo>
                      <a:pt x="33038" y="9855"/>
                    </a:lnTo>
                    <a:lnTo>
                      <a:pt x="33038" y="9855"/>
                    </a:lnTo>
                    <a:lnTo>
                      <a:pt x="33101" y="9897"/>
                    </a:lnTo>
                    <a:lnTo>
                      <a:pt x="33143" y="9960"/>
                    </a:lnTo>
                    <a:lnTo>
                      <a:pt x="33206" y="9981"/>
                    </a:lnTo>
                    <a:lnTo>
                      <a:pt x="33310" y="10107"/>
                    </a:lnTo>
                    <a:lnTo>
                      <a:pt x="33394" y="10127"/>
                    </a:lnTo>
                    <a:lnTo>
                      <a:pt x="33415" y="10190"/>
                    </a:lnTo>
                    <a:lnTo>
                      <a:pt x="33499" y="10295"/>
                    </a:lnTo>
                    <a:lnTo>
                      <a:pt x="33603" y="10400"/>
                    </a:lnTo>
                    <a:lnTo>
                      <a:pt x="33624" y="10462"/>
                    </a:lnTo>
                    <a:lnTo>
                      <a:pt x="33687" y="10504"/>
                    </a:lnTo>
                    <a:lnTo>
                      <a:pt x="33792" y="10609"/>
                    </a:lnTo>
                    <a:lnTo>
                      <a:pt x="33834" y="10713"/>
                    </a:lnTo>
                    <a:lnTo>
                      <a:pt x="33938" y="10713"/>
                    </a:lnTo>
                    <a:lnTo>
                      <a:pt x="33980" y="10672"/>
                    </a:lnTo>
                    <a:lnTo>
                      <a:pt x="33917" y="10546"/>
                    </a:lnTo>
                    <a:lnTo>
                      <a:pt x="33834" y="10337"/>
                    </a:lnTo>
                    <a:lnTo>
                      <a:pt x="34001" y="10358"/>
                    </a:lnTo>
                    <a:lnTo>
                      <a:pt x="34189" y="10462"/>
                    </a:lnTo>
                    <a:lnTo>
                      <a:pt x="34357" y="10462"/>
                    </a:lnTo>
                    <a:lnTo>
                      <a:pt x="34357" y="10567"/>
                    </a:lnTo>
                    <a:lnTo>
                      <a:pt x="34336" y="10630"/>
                    </a:lnTo>
                    <a:lnTo>
                      <a:pt x="34440" y="10713"/>
                    </a:lnTo>
                    <a:lnTo>
                      <a:pt x="34545" y="10713"/>
                    </a:lnTo>
                    <a:lnTo>
                      <a:pt x="34566" y="10734"/>
                    </a:lnTo>
                    <a:lnTo>
                      <a:pt x="34838" y="10734"/>
                    </a:lnTo>
                    <a:lnTo>
                      <a:pt x="34922" y="10672"/>
                    </a:lnTo>
                    <a:lnTo>
                      <a:pt x="34984" y="10546"/>
                    </a:lnTo>
                    <a:lnTo>
                      <a:pt x="34984" y="10441"/>
                    </a:lnTo>
                    <a:lnTo>
                      <a:pt x="35026" y="10337"/>
                    </a:lnTo>
                    <a:lnTo>
                      <a:pt x="34963" y="10295"/>
                    </a:lnTo>
                    <a:lnTo>
                      <a:pt x="34880" y="10086"/>
                    </a:lnTo>
                    <a:lnTo>
                      <a:pt x="34838" y="10086"/>
                    </a:lnTo>
                    <a:lnTo>
                      <a:pt x="34754" y="9939"/>
                    </a:lnTo>
                    <a:lnTo>
                      <a:pt x="34775" y="9814"/>
                    </a:lnTo>
                    <a:lnTo>
                      <a:pt x="34838" y="9793"/>
                    </a:lnTo>
                    <a:lnTo>
                      <a:pt x="34838" y="9709"/>
                    </a:lnTo>
                    <a:lnTo>
                      <a:pt x="34859" y="9688"/>
                    </a:lnTo>
                    <a:lnTo>
                      <a:pt x="34922" y="9730"/>
                    </a:lnTo>
                    <a:lnTo>
                      <a:pt x="34943" y="9835"/>
                    </a:lnTo>
                    <a:lnTo>
                      <a:pt x="34984" y="9730"/>
                    </a:lnTo>
                    <a:lnTo>
                      <a:pt x="34984" y="9583"/>
                    </a:lnTo>
                    <a:lnTo>
                      <a:pt x="35047" y="9542"/>
                    </a:lnTo>
                    <a:lnTo>
                      <a:pt x="35089" y="9500"/>
                    </a:lnTo>
                    <a:lnTo>
                      <a:pt x="35089" y="9604"/>
                    </a:lnTo>
                    <a:lnTo>
                      <a:pt x="35131" y="9667"/>
                    </a:lnTo>
                    <a:lnTo>
                      <a:pt x="35089" y="9709"/>
                    </a:lnTo>
                    <a:lnTo>
                      <a:pt x="34984" y="9772"/>
                    </a:lnTo>
                    <a:lnTo>
                      <a:pt x="34963" y="9897"/>
                    </a:lnTo>
                    <a:lnTo>
                      <a:pt x="35026" y="9918"/>
                    </a:lnTo>
                    <a:lnTo>
                      <a:pt x="35068" y="10002"/>
                    </a:lnTo>
                    <a:lnTo>
                      <a:pt x="35068" y="10086"/>
                    </a:lnTo>
                    <a:lnTo>
                      <a:pt x="35194" y="10232"/>
                    </a:lnTo>
                    <a:lnTo>
                      <a:pt x="35256" y="10274"/>
                    </a:lnTo>
                    <a:lnTo>
                      <a:pt x="35256" y="10190"/>
                    </a:lnTo>
                    <a:lnTo>
                      <a:pt x="35298" y="10169"/>
                    </a:lnTo>
                    <a:lnTo>
                      <a:pt x="35361" y="10211"/>
                    </a:lnTo>
                    <a:lnTo>
                      <a:pt x="35466" y="10169"/>
                    </a:lnTo>
                    <a:lnTo>
                      <a:pt x="35487" y="10211"/>
                    </a:lnTo>
                    <a:lnTo>
                      <a:pt x="35466" y="10253"/>
                    </a:lnTo>
                    <a:lnTo>
                      <a:pt x="35466" y="10358"/>
                    </a:lnTo>
                    <a:lnTo>
                      <a:pt x="35403" y="10525"/>
                    </a:lnTo>
                    <a:lnTo>
                      <a:pt x="35403" y="10567"/>
                    </a:lnTo>
                    <a:lnTo>
                      <a:pt x="35298" y="10734"/>
                    </a:lnTo>
                    <a:lnTo>
                      <a:pt x="35235" y="10923"/>
                    </a:lnTo>
                    <a:lnTo>
                      <a:pt x="35235" y="10964"/>
                    </a:lnTo>
                    <a:lnTo>
                      <a:pt x="35256" y="10964"/>
                    </a:lnTo>
                    <a:lnTo>
                      <a:pt x="35298" y="10860"/>
                    </a:lnTo>
                    <a:lnTo>
                      <a:pt x="35403" y="10902"/>
                    </a:lnTo>
                    <a:lnTo>
                      <a:pt x="35403" y="10923"/>
                    </a:lnTo>
                    <a:lnTo>
                      <a:pt x="35487" y="10923"/>
                    </a:lnTo>
                    <a:lnTo>
                      <a:pt x="35549" y="11006"/>
                    </a:lnTo>
                    <a:lnTo>
                      <a:pt x="35696" y="11027"/>
                    </a:lnTo>
                    <a:lnTo>
                      <a:pt x="35591" y="11069"/>
                    </a:lnTo>
                    <a:lnTo>
                      <a:pt x="35570" y="11132"/>
                    </a:lnTo>
                    <a:lnTo>
                      <a:pt x="35507" y="11153"/>
                    </a:lnTo>
                    <a:lnTo>
                      <a:pt x="35466" y="11111"/>
                    </a:lnTo>
                    <a:lnTo>
                      <a:pt x="35382" y="11132"/>
                    </a:lnTo>
                    <a:lnTo>
                      <a:pt x="35403" y="11216"/>
                    </a:lnTo>
                    <a:lnTo>
                      <a:pt x="35466" y="11236"/>
                    </a:lnTo>
                    <a:lnTo>
                      <a:pt x="35487" y="11257"/>
                    </a:lnTo>
                    <a:lnTo>
                      <a:pt x="35591" y="11257"/>
                    </a:lnTo>
                    <a:lnTo>
                      <a:pt x="35591" y="11341"/>
                    </a:lnTo>
                    <a:lnTo>
                      <a:pt x="35612" y="11383"/>
                    </a:lnTo>
                    <a:lnTo>
                      <a:pt x="35612" y="11467"/>
                    </a:lnTo>
                    <a:lnTo>
                      <a:pt x="35675" y="11550"/>
                    </a:lnTo>
                    <a:lnTo>
                      <a:pt x="35779" y="11571"/>
                    </a:lnTo>
                    <a:lnTo>
                      <a:pt x="35821" y="11655"/>
                    </a:lnTo>
                    <a:lnTo>
                      <a:pt x="35863" y="11739"/>
                    </a:lnTo>
                    <a:lnTo>
                      <a:pt x="35821" y="11843"/>
                    </a:lnTo>
                    <a:lnTo>
                      <a:pt x="35759" y="11906"/>
                    </a:lnTo>
                    <a:lnTo>
                      <a:pt x="35675" y="11906"/>
                    </a:lnTo>
                    <a:lnTo>
                      <a:pt x="35612" y="11948"/>
                    </a:lnTo>
                    <a:lnTo>
                      <a:pt x="35570" y="11906"/>
                    </a:lnTo>
                    <a:lnTo>
                      <a:pt x="35487" y="11885"/>
                    </a:lnTo>
                    <a:lnTo>
                      <a:pt x="35445" y="11906"/>
                    </a:lnTo>
                    <a:lnTo>
                      <a:pt x="35361" y="12011"/>
                    </a:lnTo>
                    <a:lnTo>
                      <a:pt x="35403" y="12052"/>
                    </a:lnTo>
                    <a:lnTo>
                      <a:pt x="35403" y="12094"/>
                    </a:lnTo>
                    <a:lnTo>
                      <a:pt x="35361" y="12178"/>
                    </a:lnTo>
                    <a:lnTo>
                      <a:pt x="35382" y="12220"/>
                    </a:lnTo>
                    <a:lnTo>
                      <a:pt x="35445" y="12220"/>
                    </a:lnTo>
                    <a:lnTo>
                      <a:pt x="35466" y="12199"/>
                    </a:lnTo>
                    <a:lnTo>
                      <a:pt x="35549" y="12178"/>
                    </a:lnTo>
                    <a:lnTo>
                      <a:pt x="35654" y="12178"/>
                    </a:lnTo>
                    <a:lnTo>
                      <a:pt x="35717" y="12115"/>
                    </a:lnTo>
                    <a:lnTo>
                      <a:pt x="35800" y="12115"/>
                    </a:lnTo>
                    <a:lnTo>
                      <a:pt x="35863" y="12011"/>
                    </a:lnTo>
                    <a:lnTo>
                      <a:pt x="35905" y="11990"/>
                    </a:lnTo>
                    <a:lnTo>
                      <a:pt x="35926" y="12115"/>
                    </a:lnTo>
                    <a:lnTo>
                      <a:pt x="35989" y="12157"/>
                    </a:lnTo>
                    <a:lnTo>
                      <a:pt x="36072" y="12094"/>
                    </a:lnTo>
                    <a:lnTo>
                      <a:pt x="36135" y="11969"/>
                    </a:lnTo>
                    <a:lnTo>
                      <a:pt x="36240" y="11885"/>
                    </a:lnTo>
                    <a:lnTo>
                      <a:pt x="36303" y="11948"/>
                    </a:lnTo>
                    <a:lnTo>
                      <a:pt x="36303" y="11990"/>
                    </a:lnTo>
                    <a:lnTo>
                      <a:pt x="36219" y="12011"/>
                    </a:lnTo>
                    <a:lnTo>
                      <a:pt x="36177" y="12073"/>
                    </a:lnTo>
                    <a:lnTo>
                      <a:pt x="36219" y="12094"/>
                    </a:lnTo>
                    <a:lnTo>
                      <a:pt x="36219" y="12157"/>
                    </a:lnTo>
                    <a:lnTo>
                      <a:pt x="36093" y="12199"/>
                    </a:lnTo>
                    <a:lnTo>
                      <a:pt x="36072" y="12220"/>
                    </a:lnTo>
                    <a:lnTo>
                      <a:pt x="36219" y="12199"/>
                    </a:lnTo>
                    <a:lnTo>
                      <a:pt x="36240" y="12283"/>
                    </a:lnTo>
                    <a:lnTo>
                      <a:pt x="36135" y="12366"/>
                    </a:lnTo>
                    <a:lnTo>
                      <a:pt x="36177" y="12492"/>
                    </a:lnTo>
                    <a:lnTo>
                      <a:pt x="36219" y="12513"/>
                    </a:lnTo>
                    <a:lnTo>
                      <a:pt x="36282" y="12617"/>
                    </a:lnTo>
                    <a:lnTo>
                      <a:pt x="36407" y="12596"/>
                    </a:lnTo>
                    <a:lnTo>
                      <a:pt x="36428" y="12534"/>
                    </a:lnTo>
                    <a:lnTo>
                      <a:pt x="36407" y="12471"/>
                    </a:lnTo>
                    <a:lnTo>
                      <a:pt x="36407" y="12387"/>
                    </a:lnTo>
                    <a:lnTo>
                      <a:pt x="36449" y="12366"/>
                    </a:lnTo>
                    <a:lnTo>
                      <a:pt x="36595" y="12471"/>
                    </a:lnTo>
                    <a:lnTo>
                      <a:pt x="36595" y="12534"/>
                    </a:lnTo>
                    <a:lnTo>
                      <a:pt x="36533" y="12638"/>
                    </a:lnTo>
                    <a:lnTo>
                      <a:pt x="36616" y="12701"/>
                    </a:lnTo>
                    <a:lnTo>
                      <a:pt x="36637" y="12743"/>
                    </a:lnTo>
                    <a:lnTo>
                      <a:pt x="36491" y="12827"/>
                    </a:lnTo>
                    <a:lnTo>
                      <a:pt x="36449" y="12889"/>
                    </a:lnTo>
                    <a:lnTo>
                      <a:pt x="36533" y="12952"/>
                    </a:lnTo>
                    <a:lnTo>
                      <a:pt x="36763" y="12952"/>
                    </a:lnTo>
                    <a:lnTo>
                      <a:pt x="36826" y="12994"/>
                    </a:lnTo>
                    <a:lnTo>
                      <a:pt x="36826" y="13099"/>
                    </a:lnTo>
                    <a:lnTo>
                      <a:pt x="36826" y="13161"/>
                    </a:lnTo>
                    <a:lnTo>
                      <a:pt x="36867" y="13140"/>
                    </a:lnTo>
                    <a:lnTo>
                      <a:pt x="36867" y="13057"/>
                    </a:lnTo>
                    <a:lnTo>
                      <a:pt x="36930" y="12994"/>
                    </a:lnTo>
                    <a:lnTo>
                      <a:pt x="36972" y="12994"/>
                    </a:lnTo>
                    <a:lnTo>
                      <a:pt x="36972" y="13057"/>
                    </a:lnTo>
                    <a:lnTo>
                      <a:pt x="36930" y="13161"/>
                    </a:lnTo>
                    <a:lnTo>
                      <a:pt x="36930" y="13245"/>
                    </a:lnTo>
                    <a:lnTo>
                      <a:pt x="36847" y="13266"/>
                    </a:lnTo>
                    <a:lnTo>
                      <a:pt x="36805" y="13433"/>
                    </a:lnTo>
                    <a:lnTo>
                      <a:pt x="36805" y="13475"/>
                    </a:lnTo>
                    <a:lnTo>
                      <a:pt x="36867" y="13517"/>
                    </a:lnTo>
                    <a:lnTo>
                      <a:pt x="36867" y="13622"/>
                    </a:lnTo>
                    <a:lnTo>
                      <a:pt x="36826" y="13726"/>
                    </a:lnTo>
                    <a:lnTo>
                      <a:pt x="36826" y="13831"/>
                    </a:lnTo>
                    <a:lnTo>
                      <a:pt x="36847" y="13852"/>
                    </a:lnTo>
                    <a:lnTo>
                      <a:pt x="36847" y="13873"/>
                    </a:lnTo>
                    <a:lnTo>
                      <a:pt x="36826" y="14082"/>
                    </a:lnTo>
                    <a:lnTo>
                      <a:pt x="36763" y="14166"/>
                    </a:lnTo>
                    <a:lnTo>
                      <a:pt x="36826" y="14270"/>
                    </a:lnTo>
                    <a:lnTo>
                      <a:pt x="36805" y="14354"/>
                    </a:lnTo>
                    <a:lnTo>
                      <a:pt x="36637" y="14396"/>
                    </a:lnTo>
                    <a:lnTo>
                      <a:pt x="36491" y="14375"/>
                    </a:lnTo>
                    <a:lnTo>
                      <a:pt x="36428" y="14396"/>
                    </a:lnTo>
                    <a:lnTo>
                      <a:pt x="36407" y="14480"/>
                    </a:lnTo>
                    <a:lnTo>
                      <a:pt x="36198" y="14626"/>
                    </a:lnTo>
                    <a:lnTo>
                      <a:pt x="36198" y="14710"/>
                    </a:lnTo>
                    <a:lnTo>
                      <a:pt x="36344" y="14793"/>
                    </a:lnTo>
                    <a:lnTo>
                      <a:pt x="36303" y="14793"/>
                    </a:lnTo>
                    <a:lnTo>
                      <a:pt x="36219" y="14814"/>
                    </a:lnTo>
                    <a:lnTo>
                      <a:pt x="36303" y="14814"/>
                    </a:lnTo>
                    <a:lnTo>
                      <a:pt x="36177" y="14982"/>
                    </a:lnTo>
                    <a:lnTo>
                      <a:pt x="36093" y="15024"/>
                    </a:lnTo>
                    <a:lnTo>
                      <a:pt x="35884" y="15149"/>
                    </a:lnTo>
                    <a:lnTo>
                      <a:pt x="35738" y="15296"/>
                    </a:lnTo>
                    <a:lnTo>
                      <a:pt x="35675" y="15296"/>
                    </a:lnTo>
                    <a:lnTo>
                      <a:pt x="35633" y="15337"/>
                    </a:lnTo>
                    <a:lnTo>
                      <a:pt x="35591" y="15463"/>
                    </a:lnTo>
                    <a:lnTo>
                      <a:pt x="35675" y="15568"/>
                    </a:lnTo>
                    <a:lnTo>
                      <a:pt x="35696" y="15672"/>
                    </a:lnTo>
                    <a:lnTo>
                      <a:pt x="35800" y="15840"/>
                    </a:lnTo>
                    <a:lnTo>
                      <a:pt x="35842" y="16133"/>
                    </a:lnTo>
                    <a:lnTo>
                      <a:pt x="35779" y="16174"/>
                    </a:lnTo>
                    <a:lnTo>
                      <a:pt x="35738" y="16153"/>
                    </a:lnTo>
                    <a:lnTo>
                      <a:pt x="35675" y="16195"/>
                    </a:lnTo>
                    <a:lnTo>
                      <a:pt x="35654" y="16300"/>
                    </a:lnTo>
                    <a:lnTo>
                      <a:pt x="35633" y="16195"/>
                    </a:lnTo>
                    <a:lnTo>
                      <a:pt x="35633" y="16049"/>
                    </a:lnTo>
                    <a:lnTo>
                      <a:pt x="35570" y="15986"/>
                    </a:lnTo>
                    <a:lnTo>
                      <a:pt x="35466" y="16049"/>
                    </a:lnTo>
                    <a:lnTo>
                      <a:pt x="35424" y="16153"/>
                    </a:lnTo>
                    <a:lnTo>
                      <a:pt x="35319" y="16216"/>
                    </a:lnTo>
                    <a:lnTo>
                      <a:pt x="35235" y="16174"/>
                    </a:lnTo>
                    <a:lnTo>
                      <a:pt x="35256" y="16112"/>
                    </a:lnTo>
                    <a:lnTo>
                      <a:pt x="35256" y="16070"/>
                    </a:lnTo>
                    <a:lnTo>
                      <a:pt x="35047" y="16070"/>
                    </a:lnTo>
                    <a:lnTo>
                      <a:pt x="35005" y="16174"/>
                    </a:lnTo>
                    <a:lnTo>
                      <a:pt x="34922" y="16258"/>
                    </a:lnTo>
                    <a:lnTo>
                      <a:pt x="34796" y="16216"/>
                    </a:lnTo>
                    <a:lnTo>
                      <a:pt x="34712" y="16216"/>
                    </a:lnTo>
                    <a:lnTo>
                      <a:pt x="34650" y="16174"/>
                    </a:lnTo>
                    <a:lnTo>
                      <a:pt x="34587" y="16174"/>
                    </a:lnTo>
                    <a:lnTo>
                      <a:pt x="34503" y="16258"/>
                    </a:lnTo>
                    <a:lnTo>
                      <a:pt x="34357" y="16195"/>
                    </a:lnTo>
                    <a:lnTo>
                      <a:pt x="34315" y="16174"/>
                    </a:lnTo>
                    <a:lnTo>
                      <a:pt x="34231" y="16070"/>
                    </a:lnTo>
                    <a:lnTo>
                      <a:pt x="34106" y="15986"/>
                    </a:lnTo>
                    <a:lnTo>
                      <a:pt x="33980" y="15965"/>
                    </a:lnTo>
                    <a:lnTo>
                      <a:pt x="33834" y="15777"/>
                    </a:lnTo>
                    <a:lnTo>
                      <a:pt x="33813" y="15840"/>
                    </a:lnTo>
                    <a:lnTo>
                      <a:pt x="33813" y="15902"/>
                    </a:lnTo>
                    <a:lnTo>
                      <a:pt x="33792" y="15965"/>
                    </a:lnTo>
                    <a:lnTo>
                      <a:pt x="33750" y="15944"/>
                    </a:lnTo>
                    <a:lnTo>
                      <a:pt x="33708" y="15965"/>
                    </a:lnTo>
                    <a:lnTo>
                      <a:pt x="33708" y="16049"/>
                    </a:lnTo>
                    <a:lnTo>
                      <a:pt x="33771" y="16112"/>
                    </a:lnTo>
                    <a:lnTo>
                      <a:pt x="33750" y="16195"/>
                    </a:lnTo>
                    <a:lnTo>
                      <a:pt x="33687" y="16195"/>
                    </a:lnTo>
                    <a:lnTo>
                      <a:pt x="33582" y="16216"/>
                    </a:lnTo>
                    <a:lnTo>
                      <a:pt x="33499" y="16300"/>
                    </a:lnTo>
                    <a:lnTo>
                      <a:pt x="33373" y="16300"/>
                    </a:lnTo>
                    <a:lnTo>
                      <a:pt x="33290" y="16384"/>
                    </a:lnTo>
                    <a:lnTo>
                      <a:pt x="33290" y="16488"/>
                    </a:lnTo>
                    <a:lnTo>
                      <a:pt x="33206" y="16530"/>
                    </a:lnTo>
                    <a:lnTo>
                      <a:pt x="33164" y="16677"/>
                    </a:lnTo>
                    <a:lnTo>
                      <a:pt x="33248" y="16886"/>
                    </a:lnTo>
                    <a:lnTo>
                      <a:pt x="33352" y="16990"/>
                    </a:lnTo>
                    <a:lnTo>
                      <a:pt x="33394" y="16949"/>
                    </a:lnTo>
                    <a:lnTo>
                      <a:pt x="33499" y="17095"/>
                    </a:lnTo>
                    <a:lnTo>
                      <a:pt x="33478" y="17158"/>
                    </a:lnTo>
                    <a:lnTo>
                      <a:pt x="33666" y="17158"/>
                    </a:lnTo>
                    <a:lnTo>
                      <a:pt x="33771" y="17200"/>
                    </a:lnTo>
                    <a:lnTo>
                      <a:pt x="33813" y="17137"/>
                    </a:lnTo>
                    <a:lnTo>
                      <a:pt x="33917" y="17137"/>
                    </a:lnTo>
                    <a:lnTo>
                      <a:pt x="33980" y="17095"/>
                    </a:lnTo>
                    <a:lnTo>
                      <a:pt x="34106" y="17095"/>
                    </a:lnTo>
                    <a:lnTo>
                      <a:pt x="34189" y="17053"/>
                    </a:lnTo>
                    <a:lnTo>
                      <a:pt x="34273" y="17095"/>
                    </a:lnTo>
                    <a:lnTo>
                      <a:pt x="34315" y="17032"/>
                    </a:lnTo>
                    <a:lnTo>
                      <a:pt x="34315" y="16928"/>
                    </a:lnTo>
                    <a:lnTo>
                      <a:pt x="34336" y="16865"/>
                    </a:lnTo>
                    <a:lnTo>
                      <a:pt x="34398" y="16865"/>
                    </a:lnTo>
                    <a:lnTo>
                      <a:pt x="34503" y="17032"/>
                    </a:lnTo>
                    <a:lnTo>
                      <a:pt x="34587" y="17032"/>
                    </a:lnTo>
                    <a:lnTo>
                      <a:pt x="34650" y="17116"/>
                    </a:lnTo>
                    <a:lnTo>
                      <a:pt x="34796" y="17137"/>
                    </a:lnTo>
                    <a:lnTo>
                      <a:pt x="34817" y="17074"/>
                    </a:lnTo>
                    <a:lnTo>
                      <a:pt x="34901" y="16970"/>
                    </a:lnTo>
                    <a:lnTo>
                      <a:pt x="34943" y="16970"/>
                    </a:lnTo>
                    <a:lnTo>
                      <a:pt x="35026" y="16886"/>
                    </a:lnTo>
                    <a:lnTo>
                      <a:pt x="35131" y="16865"/>
                    </a:lnTo>
                    <a:lnTo>
                      <a:pt x="35110" y="16928"/>
                    </a:lnTo>
                    <a:lnTo>
                      <a:pt x="35110" y="17032"/>
                    </a:lnTo>
                    <a:lnTo>
                      <a:pt x="35026" y="17137"/>
                    </a:lnTo>
                    <a:lnTo>
                      <a:pt x="35026" y="17262"/>
                    </a:lnTo>
                    <a:lnTo>
                      <a:pt x="35131" y="17221"/>
                    </a:lnTo>
                    <a:lnTo>
                      <a:pt x="35173" y="17032"/>
                    </a:lnTo>
                    <a:lnTo>
                      <a:pt x="35215" y="17074"/>
                    </a:lnTo>
                    <a:lnTo>
                      <a:pt x="35256" y="17032"/>
                    </a:lnTo>
                    <a:lnTo>
                      <a:pt x="35340" y="17074"/>
                    </a:lnTo>
                    <a:lnTo>
                      <a:pt x="35256" y="17200"/>
                    </a:lnTo>
                    <a:lnTo>
                      <a:pt x="35277" y="17283"/>
                    </a:lnTo>
                    <a:lnTo>
                      <a:pt x="35277" y="17179"/>
                    </a:lnTo>
                    <a:lnTo>
                      <a:pt x="35466" y="17011"/>
                    </a:lnTo>
                    <a:lnTo>
                      <a:pt x="35487" y="17074"/>
                    </a:lnTo>
                    <a:lnTo>
                      <a:pt x="35361" y="17179"/>
                    </a:lnTo>
                    <a:lnTo>
                      <a:pt x="35361" y="17242"/>
                    </a:lnTo>
                    <a:lnTo>
                      <a:pt x="35445" y="17304"/>
                    </a:lnTo>
                    <a:lnTo>
                      <a:pt x="35487" y="17451"/>
                    </a:lnTo>
                    <a:lnTo>
                      <a:pt x="35487" y="17555"/>
                    </a:lnTo>
                    <a:lnTo>
                      <a:pt x="35507" y="17660"/>
                    </a:lnTo>
                    <a:lnTo>
                      <a:pt x="35612" y="17639"/>
                    </a:lnTo>
                    <a:lnTo>
                      <a:pt x="35612" y="17765"/>
                    </a:lnTo>
                    <a:lnTo>
                      <a:pt x="35675" y="17827"/>
                    </a:lnTo>
                    <a:lnTo>
                      <a:pt x="35759" y="17681"/>
                    </a:lnTo>
                    <a:lnTo>
                      <a:pt x="35717" y="17869"/>
                    </a:lnTo>
                    <a:lnTo>
                      <a:pt x="35654" y="17953"/>
                    </a:lnTo>
                    <a:lnTo>
                      <a:pt x="35759" y="18058"/>
                    </a:lnTo>
                    <a:lnTo>
                      <a:pt x="35759" y="17974"/>
                    </a:lnTo>
                    <a:lnTo>
                      <a:pt x="35800" y="17869"/>
                    </a:lnTo>
                    <a:lnTo>
                      <a:pt x="35863" y="17848"/>
                    </a:lnTo>
                    <a:lnTo>
                      <a:pt x="35863" y="17848"/>
                    </a:lnTo>
                    <a:lnTo>
                      <a:pt x="35821" y="17890"/>
                    </a:lnTo>
                    <a:lnTo>
                      <a:pt x="35863" y="18037"/>
                    </a:lnTo>
                    <a:lnTo>
                      <a:pt x="35926" y="18162"/>
                    </a:lnTo>
                    <a:lnTo>
                      <a:pt x="36093" y="18141"/>
                    </a:lnTo>
                    <a:lnTo>
                      <a:pt x="36031" y="18183"/>
                    </a:lnTo>
                    <a:lnTo>
                      <a:pt x="35821" y="18309"/>
                    </a:lnTo>
                    <a:lnTo>
                      <a:pt x="35675" y="18309"/>
                    </a:lnTo>
                    <a:lnTo>
                      <a:pt x="35654" y="18371"/>
                    </a:lnTo>
                    <a:lnTo>
                      <a:pt x="35759" y="18413"/>
                    </a:lnTo>
                    <a:lnTo>
                      <a:pt x="35759" y="18560"/>
                    </a:lnTo>
                    <a:lnTo>
                      <a:pt x="35821" y="18664"/>
                    </a:lnTo>
                    <a:lnTo>
                      <a:pt x="35905" y="18727"/>
                    </a:lnTo>
                    <a:lnTo>
                      <a:pt x="35989" y="18727"/>
                    </a:lnTo>
                    <a:lnTo>
                      <a:pt x="35989" y="18790"/>
                    </a:lnTo>
                    <a:lnTo>
                      <a:pt x="36093" y="18874"/>
                    </a:lnTo>
                    <a:lnTo>
                      <a:pt x="36156" y="18915"/>
                    </a:lnTo>
                    <a:lnTo>
                      <a:pt x="36219" y="18915"/>
                    </a:lnTo>
                    <a:lnTo>
                      <a:pt x="36407" y="19041"/>
                    </a:lnTo>
                    <a:lnTo>
                      <a:pt x="36512" y="19041"/>
                    </a:lnTo>
                    <a:lnTo>
                      <a:pt x="36512" y="19104"/>
                    </a:lnTo>
                    <a:lnTo>
                      <a:pt x="36575" y="19125"/>
                    </a:lnTo>
                    <a:lnTo>
                      <a:pt x="36595" y="19083"/>
                    </a:lnTo>
                    <a:lnTo>
                      <a:pt x="36616" y="19041"/>
                    </a:lnTo>
                    <a:lnTo>
                      <a:pt x="36721" y="19104"/>
                    </a:lnTo>
                    <a:lnTo>
                      <a:pt x="36679" y="19125"/>
                    </a:lnTo>
                    <a:lnTo>
                      <a:pt x="36616" y="19187"/>
                    </a:lnTo>
                    <a:lnTo>
                      <a:pt x="36679" y="19292"/>
                    </a:lnTo>
                    <a:lnTo>
                      <a:pt x="36742" y="19334"/>
                    </a:lnTo>
                    <a:lnTo>
                      <a:pt x="36805" y="19334"/>
                    </a:lnTo>
                    <a:lnTo>
                      <a:pt x="36805" y="19418"/>
                    </a:lnTo>
                    <a:lnTo>
                      <a:pt x="36930" y="19543"/>
                    </a:lnTo>
                    <a:lnTo>
                      <a:pt x="37014" y="19543"/>
                    </a:lnTo>
                    <a:lnTo>
                      <a:pt x="37056" y="19606"/>
                    </a:lnTo>
                    <a:lnTo>
                      <a:pt x="37098" y="19648"/>
                    </a:lnTo>
                    <a:lnTo>
                      <a:pt x="37265" y="19731"/>
                    </a:lnTo>
                    <a:lnTo>
                      <a:pt x="37328" y="19711"/>
                    </a:lnTo>
                    <a:lnTo>
                      <a:pt x="37370" y="19731"/>
                    </a:lnTo>
                    <a:lnTo>
                      <a:pt x="37453" y="19731"/>
                    </a:lnTo>
                    <a:lnTo>
                      <a:pt x="37537" y="19773"/>
                    </a:lnTo>
                    <a:lnTo>
                      <a:pt x="37558" y="19857"/>
                    </a:lnTo>
                    <a:lnTo>
                      <a:pt x="37725" y="19983"/>
                    </a:lnTo>
                    <a:lnTo>
                      <a:pt x="37788" y="19983"/>
                    </a:lnTo>
                    <a:lnTo>
                      <a:pt x="37872" y="20045"/>
                    </a:lnTo>
                    <a:lnTo>
                      <a:pt x="38060" y="20087"/>
                    </a:lnTo>
                    <a:lnTo>
                      <a:pt x="38165" y="20150"/>
                    </a:lnTo>
                    <a:lnTo>
                      <a:pt x="38269" y="20150"/>
                    </a:lnTo>
                    <a:lnTo>
                      <a:pt x="38290" y="20129"/>
                    </a:lnTo>
                    <a:lnTo>
                      <a:pt x="38290" y="20066"/>
                    </a:lnTo>
                    <a:lnTo>
                      <a:pt x="38207" y="19983"/>
                    </a:lnTo>
                    <a:lnTo>
                      <a:pt x="38165" y="19920"/>
                    </a:lnTo>
                    <a:lnTo>
                      <a:pt x="38207" y="19857"/>
                    </a:lnTo>
                    <a:lnTo>
                      <a:pt x="38290" y="19878"/>
                    </a:lnTo>
                    <a:lnTo>
                      <a:pt x="38311" y="19815"/>
                    </a:lnTo>
                    <a:lnTo>
                      <a:pt x="38290" y="19752"/>
                    </a:lnTo>
                    <a:lnTo>
                      <a:pt x="38248" y="19773"/>
                    </a:lnTo>
                    <a:lnTo>
                      <a:pt x="38207" y="19731"/>
                    </a:lnTo>
                    <a:lnTo>
                      <a:pt x="38248" y="19606"/>
                    </a:lnTo>
                    <a:lnTo>
                      <a:pt x="38207" y="19564"/>
                    </a:lnTo>
                    <a:lnTo>
                      <a:pt x="38102" y="19669"/>
                    </a:lnTo>
                    <a:lnTo>
                      <a:pt x="38102" y="19627"/>
                    </a:lnTo>
                    <a:lnTo>
                      <a:pt x="38081" y="19543"/>
                    </a:lnTo>
                    <a:lnTo>
                      <a:pt x="38018" y="19543"/>
                    </a:lnTo>
                    <a:lnTo>
                      <a:pt x="38123" y="19439"/>
                    </a:lnTo>
                    <a:lnTo>
                      <a:pt x="38102" y="19313"/>
                    </a:lnTo>
                    <a:lnTo>
                      <a:pt x="38060" y="19292"/>
                    </a:lnTo>
                    <a:lnTo>
                      <a:pt x="37956" y="19292"/>
                    </a:lnTo>
                    <a:lnTo>
                      <a:pt x="37976" y="19187"/>
                    </a:lnTo>
                    <a:lnTo>
                      <a:pt x="37935" y="19083"/>
                    </a:lnTo>
                    <a:lnTo>
                      <a:pt x="37893" y="18999"/>
                    </a:lnTo>
                    <a:lnTo>
                      <a:pt x="37788" y="18999"/>
                    </a:lnTo>
                    <a:lnTo>
                      <a:pt x="37851" y="18915"/>
                    </a:lnTo>
                    <a:lnTo>
                      <a:pt x="37767" y="18894"/>
                    </a:lnTo>
                    <a:lnTo>
                      <a:pt x="37725" y="18894"/>
                    </a:lnTo>
                    <a:lnTo>
                      <a:pt x="37746" y="18832"/>
                    </a:lnTo>
                    <a:lnTo>
                      <a:pt x="37663" y="18727"/>
                    </a:lnTo>
                    <a:lnTo>
                      <a:pt x="37663" y="18748"/>
                    </a:lnTo>
                    <a:lnTo>
                      <a:pt x="37621" y="18748"/>
                    </a:lnTo>
                    <a:lnTo>
                      <a:pt x="37621" y="18602"/>
                    </a:lnTo>
                    <a:lnTo>
                      <a:pt x="37621" y="18539"/>
                    </a:lnTo>
                    <a:lnTo>
                      <a:pt x="37621" y="18476"/>
                    </a:lnTo>
                    <a:lnTo>
                      <a:pt x="37453" y="18350"/>
                    </a:lnTo>
                    <a:lnTo>
                      <a:pt x="37432" y="18225"/>
                    </a:lnTo>
                    <a:lnTo>
                      <a:pt x="37432" y="18120"/>
                    </a:lnTo>
                    <a:lnTo>
                      <a:pt x="37516" y="18162"/>
                    </a:lnTo>
                    <a:lnTo>
                      <a:pt x="37558" y="18078"/>
                    </a:lnTo>
                    <a:lnTo>
                      <a:pt x="37663" y="18120"/>
                    </a:lnTo>
                    <a:lnTo>
                      <a:pt x="37663" y="18225"/>
                    </a:lnTo>
                    <a:lnTo>
                      <a:pt x="37746" y="18371"/>
                    </a:lnTo>
                    <a:lnTo>
                      <a:pt x="37872" y="18434"/>
                    </a:lnTo>
                    <a:lnTo>
                      <a:pt x="37935" y="18476"/>
                    </a:lnTo>
                    <a:lnTo>
                      <a:pt x="37935" y="18560"/>
                    </a:lnTo>
                    <a:lnTo>
                      <a:pt x="37976" y="18602"/>
                    </a:lnTo>
                    <a:lnTo>
                      <a:pt x="37976" y="18539"/>
                    </a:lnTo>
                    <a:lnTo>
                      <a:pt x="37935" y="18392"/>
                    </a:lnTo>
                    <a:lnTo>
                      <a:pt x="37935" y="18350"/>
                    </a:lnTo>
                    <a:lnTo>
                      <a:pt x="37976" y="18309"/>
                    </a:lnTo>
                    <a:lnTo>
                      <a:pt x="38018" y="18392"/>
                    </a:lnTo>
                    <a:lnTo>
                      <a:pt x="38018" y="18455"/>
                    </a:lnTo>
                    <a:lnTo>
                      <a:pt x="38081" y="18497"/>
                    </a:lnTo>
                    <a:lnTo>
                      <a:pt x="38123" y="18685"/>
                    </a:lnTo>
                    <a:lnTo>
                      <a:pt x="38207" y="18706"/>
                    </a:lnTo>
                    <a:lnTo>
                      <a:pt x="38207" y="18769"/>
                    </a:lnTo>
                    <a:lnTo>
                      <a:pt x="38290" y="18832"/>
                    </a:lnTo>
                    <a:lnTo>
                      <a:pt x="38374" y="19020"/>
                    </a:lnTo>
                    <a:lnTo>
                      <a:pt x="38416" y="18936"/>
                    </a:lnTo>
                    <a:lnTo>
                      <a:pt x="38395" y="18832"/>
                    </a:lnTo>
                    <a:lnTo>
                      <a:pt x="38395" y="18664"/>
                    </a:lnTo>
                    <a:lnTo>
                      <a:pt x="38416" y="18560"/>
                    </a:lnTo>
                    <a:lnTo>
                      <a:pt x="38416" y="18643"/>
                    </a:lnTo>
                    <a:lnTo>
                      <a:pt x="38479" y="18811"/>
                    </a:lnTo>
                    <a:lnTo>
                      <a:pt x="38479" y="18915"/>
                    </a:lnTo>
                    <a:lnTo>
                      <a:pt x="38479" y="18999"/>
                    </a:lnTo>
                    <a:lnTo>
                      <a:pt x="38520" y="19020"/>
                    </a:lnTo>
                    <a:lnTo>
                      <a:pt x="38604" y="19083"/>
                    </a:lnTo>
                    <a:lnTo>
                      <a:pt x="38625" y="18999"/>
                    </a:lnTo>
                    <a:lnTo>
                      <a:pt x="38583" y="18957"/>
                    </a:lnTo>
                    <a:lnTo>
                      <a:pt x="38583" y="18894"/>
                    </a:lnTo>
                    <a:lnTo>
                      <a:pt x="38667" y="18915"/>
                    </a:lnTo>
                    <a:lnTo>
                      <a:pt x="38688" y="19020"/>
                    </a:lnTo>
                    <a:lnTo>
                      <a:pt x="38688" y="19104"/>
                    </a:lnTo>
                    <a:lnTo>
                      <a:pt x="38709" y="19125"/>
                    </a:lnTo>
                    <a:lnTo>
                      <a:pt x="38709" y="19062"/>
                    </a:lnTo>
                    <a:lnTo>
                      <a:pt x="38772" y="19020"/>
                    </a:lnTo>
                    <a:lnTo>
                      <a:pt x="38772" y="19187"/>
                    </a:lnTo>
                    <a:lnTo>
                      <a:pt x="38813" y="19271"/>
                    </a:lnTo>
                    <a:lnTo>
                      <a:pt x="38897" y="19271"/>
                    </a:lnTo>
                    <a:lnTo>
                      <a:pt x="38939" y="19208"/>
                    </a:lnTo>
                    <a:lnTo>
                      <a:pt x="38939" y="19313"/>
                    </a:lnTo>
                    <a:lnTo>
                      <a:pt x="38918" y="19376"/>
                    </a:lnTo>
                    <a:lnTo>
                      <a:pt x="38981" y="19543"/>
                    </a:lnTo>
                    <a:lnTo>
                      <a:pt x="39023" y="19627"/>
                    </a:lnTo>
                    <a:lnTo>
                      <a:pt x="39127" y="19627"/>
                    </a:lnTo>
                    <a:lnTo>
                      <a:pt x="39127" y="19543"/>
                    </a:lnTo>
                    <a:lnTo>
                      <a:pt x="39106" y="19522"/>
                    </a:lnTo>
                    <a:lnTo>
                      <a:pt x="39106" y="19397"/>
                    </a:lnTo>
                    <a:lnTo>
                      <a:pt x="39044" y="19187"/>
                    </a:lnTo>
                    <a:lnTo>
                      <a:pt x="39127" y="19187"/>
                    </a:lnTo>
                    <a:lnTo>
                      <a:pt x="39169" y="19271"/>
                    </a:lnTo>
                    <a:lnTo>
                      <a:pt x="39274" y="19292"/>
                    </a:lnTo>
                    <a:lnTo>
                      <a:pt x="39316" y="19271"/>
                    </a:lnTo>
                    <a:lnTo>
                      <a:pt x="39253" y="19166"/>
                    </a:lnTo>
                    <a:lnTo>
                      <a:pt x="39295" y="19083"/>
                    </a:lnTo>
                    <a:lnTo>
                      <a:pt x="39295" y="18894"/>
                    </a:lnTo>
                    <a:lnTo>
                      <a:pt x="39211" y="18706"/>
                    </a:lnTo>
                    <a:lnTo>
                      <a:pt x="39232" y="18560"/>
                    </a:lnTo>
                    <a:lnTo>
                      <a:pt x="39232" y="18392"/>
                    </a:lnTo>
                    <a:lnTo>
                      <a:pt x="39253" y="18560"/>
                    </a:lnTo>
                    <a:lnTo>
                      <a:pt x="39232" y="18664"/>
                    </a:lnTo>
                    <a:lnTo>
                      <a:pt x="39253" y="18790"/>
                    </a:lnTo>
                    <a:lnTo>
                      <a:pt x="39420" y="18957"/>
                    </a:lnTo>
                    <a:lnTo>
                      <a:pt x="39441" y="18894"/>
                    </a:lnTo>
                    <a:lnTo>
                      <a:pt x="39420" y="18769"/>
                    </a:lnTo>
                    <a:lnTo>
                      <a:pt x="39462" y="18664"/>
                    </a:lnTo>
                    <a:lnTo>
                      <a:pt x="39462" y="18497"/>
                    </a:lnTo>
                    <a:lnTo>
                      <a:pt x="39546" y="18455"/>
                    </a:lnTo>
                    <a:lnTo>
                      <a:pt x="39525" y="18434"/>
                    </a:lnTo>
                    <a:lnTo>
                      <a:pt x="39399" y="18246"/>
                    </a:lnTo>
                    <a:lnTo>
                      <a:pt x="39357" y="18120"/>
                    </a:lnTo>
                    <a:lnTo>
                      <a:pt x="39316" y="18078"/>
                    </a:lnTo>
                    <a:lnTo>
                      <a:pt x="39336" y="18016"/>
                    </a:lnTo>
                    <a:lnTo>
                      <a:pt x="39253" y="17869"/>
                    </a:lnTo>
                    <a:lnTo>
                      <a:pt x="39190" y="17786"/>
                    </a:lnTo>
                    <a:lnTo>
                      <a:pt x="39316" y="17765"/>
                    </a:lnTo>
                    <a:lnTo>
                      <a:pt x="39336" y="17723"/>
                    </a:lnTo>
                    <a:lnTo>
                      <a:pt x="39420" y="17639"/>
                    </a:lnTo>
                    <a:lnTo>
                      <a:pt x="39357" y="17576"/>
                    </a:lnTo>
                    <a:lnTo>
                      <a:pt x="39295" y="17618"/>
                    </a:lnTo>
                    <a:lnTo>
                      <a:pt x="39148" y="17639"/>
                    </a:lnTo>
                    <a:lnTo>
                      <a:pt x="39106" y="17597"/>
                    </a:lnTo>
                    <a:lnTo>
                      <a:pt x="39127" y="17555"/>
                    </a:lnTo>
                    <a:lnTo>
                      <a:pt x="39148" y="17514"/>
                    </a:lnTo>
                    <a:lnTo>
                      <a:pt x="39232" y="17430"/>
                    </a:lnTo>
                    <a:lnTo>
                      <a:pt x="39253" y="17325"/>
                    </a:lnTo>
                    <a:lnTo>
                      <a:pt x="39211" y="17242"/>
                    </a:lnTo>
                    <a:lnTo>
                      <a:pt x="39148" y="17242"/>
                    </a:lnTo>
                    <a:lnTo>
                      <a:pt x="39148" y="17304"/>
                    </a:lnTo>
                    <a:lnTo>
                      <a:pt x="39106" y="17388"/>
                    </a:lnTo>
                    <a:lnTo>
                      <a:pt x="39106" y="17304"/>
                    </a:lnTo>
                    <a:lnTo>
                      <a:pt x="39085" y="17325"/>
                    </a:lnTo>
                    <a:lnTo>
                      <a:pt x="38939" y="17346"/>
                    </a:lnTo>
                    <a:lnTo>
                      <a:pt x="38918" y="17304"/>
                    </a:lnTo>
                    <a:lnTo>
                      <a:pt x="39002" y="17242"/>
                    </a:lnTo>
                    <a:lnTo>
                      <a:pt x="39023" y="17200"/>
                    </a:lnTo>
                    <a:lnTo>
                      <a:pt x="38981" y="17137"/>
                    </a:lnTo>
                    <a:lnTo>
                      <a:pt x="38939" y="17032"/>
                    </a:lnTo>
                    <a:lnTo>
                      <a:pt x="38876" y="16990"/>
                    </a:lnTo>
                    <a:lnTo>
                      <a:pt x="38813" y="17011"/>
                    </a:lnTo>
                    <a:lnTo>
                      <a:pt x="38813" y="17116"/>
                    </a:lnTo>
                    <a:lnTo>
                      <a:pt x="38792" y="17179"/>
                    </a:lnTo>
                    <a:lnTo>
                      <a:pt x="38772" y="17137"/>
                    </a:lnTo>
                    <a:lnTo>
                      <a:pt x="38772" y="17011"/>
                    </a:lnTo>
                    <a:lnTo>
                      <a:pt x="38730" y="16928"/>
                    </a:lnTo>
                    <a:lnTo>
                      <a:pt x="38688" y="16928"/>
                    </a:lnTo>
                    <a:lnTo>
                      <a:pt x="38709" y="16865"/>
                    </a:lnTo>
                    <a:lnTo>
                      <a:pt x="38667" y="16865"/>
                    </a:lnTo>
                    <a:lnTo>
                      <a:pt x="38667" y="16823"/>
                    </a:lnTo>
                    <a:lnTo>
                      <a:pt x="38688" y="16823"/>
                    </a:lnTo>
                    <a:lnTo>
                      <a:pt x="38667" y="16760"/>
                    </a:lnTo>
                    <a:lnTo>
                      <a:pt x="38604" y="16718"/>
                    </a:lnTo>
                    <a:lnTo>
                      <a:pt x="38625" y="16677"/>
                    </a:lnTo>
                    <a:lnTo>
                      <a:pt x="38730" y="16677"/>
                    </a:lnTo>
                    <a:lnTo>
                      <a:pt x="38792" y="16656"/>
                    </a:lnTo>
                    <a:lnTo>
                      <a:pt x="38730" y="16593"/>
                    </a:lnTo>
                    <a:lnTo>
                      <a:pt x="38625" y="16593"/>
                    </a:lnTo>
                    <a:lnTo>
                      <a:pt x="38583" y="16572"/>
                    </a:lnTo>
                    <a:lnTo>
                      <a:pt x="38625" y="16488"/>
                    </a:lnTo>
                    <a:lnTo>
                      <a:pt x="38730" y="16446"/>
                    </a:lnTo>
                    <a:lnTo>
                      <a:pt x="38730" y="16405"/>
                    </a:lnTo>
                    <a:lnTo>
                      <a:pt x="38688" y="16363"/>
                    </a:lnTo>
                    <a:lnTo>
                      <a:pt x="38520" y="16363"/>
                    </a:lnTo>
                    <a:lnTo>
                      <a:pt x="38500" y="16405"/>
                    </a:lnTo>
                    <a:lnTo>
                      <a:pt x="38458" y="16488"/>
                    </a:lnTo>
                    <a:lnTo>
                      <a:pt x="38248" y="16530"/>
                    </a:lnTo>
                    <a:lnTo>
                      <a:pt x="38353" y="16467"/>
                    </a:lnTo>
                    <a:lnTo>
                      <a:pt x="38500" y="16321"/>
                    </a:lnTo>
                    <a:lnTo>
                      <a:pt x="38562" y="16216"/>
                    </a:lnTo>
                    <a:lnTo>
                      <a:pt x="38562" y="16174"/>
                    </a:lnTo>
                    <a:lnTo>
                      <a:pt x="38458" y="16174"/>
                    </a:lnTo>
                    <a:lnTo>
                      <a:pt x="38395" y="16153"/>
                    </a:lnTo>
                    <a:lnTo>
                      <a:pt x="38458" y="16091"/>
                    </a:lnTo>
                    <a:lnTo>
                      <a:pt x="38416" y="16049"/>
                    </a:lnTo>
                    <a:lnTo>
                      <a:pt x="38374" y="16070"/>
                    </a:lnTo>
                    <a:lnTo>
                      <a:pt x="38374" y="15986"/>
                    </a:lnTo>
                    <a:lnTo>
                      <a:pt x="38416" y="15923"/>
                    </a:lnTo>
                    <a:lnTo>
                      <a:pt x="38416" y="15819"/>
                    </a:lnTo>
                    <a:lnTo>
                      <a:pt x="38290" y="15777"/>
                    </a:lnTo>
                    <a:lnTo>
                      <a:pt x="38207" y="15756"/>
                    </a:lnTo>
                    <a:lnTo>
                      <a:pt x="38081" y="15756"/>
                    </a:lnTo>
                    <a:lnTo>
                      <a:pt x="38039" y="15693"/>
                    </a:lnTo>
                    <a:lnTo>
                      <a:pt x="38165" y="15693"/>
                    </a:lnTo>
                    <a:lnTo>
                      <a:pt x="38269" y="15672"/>
                    </a:lnTo>
                    <a:lnTo>
                      <a:pt x="38311" y="15630"/>
                    </a:lnTo>
                    <a:lnTo>
                      <a:pt x="38374" y="15693"/>
                    </a:lnTo>
                    <a:lnTo>
                      <a:pt x="38395" y="15756"/>
                    </a:lnTo>
                    <a:lnTo>
                      <a:pt x="38500" y="15756"/>
                    </a:lnTo>
                    <a:lnTo>
                      <a:pt x="38604" y="15798"/>
                    </a:lnTo>
                    <a:lnTo>
                      <a:pt x="38625" y="15881"/>
                    </a:lnTo>
                    <a:lnTo>
                      <a:pt x="38604" y="15965"/>
                    </a:lnTo>
                    <a:lnTo>
                      <a:pt x="38625" y="16049"/>
                    </a:lnTo>
                    <a:lnTo>
                      <a:pt x="38730" y="16174"/>
                    </a:lnTo>
                    <a:lnTo>
                      <a:pt x="38772" y="16174"/>
                    </a:lnTo>
                    <a:lnTo>
                      <a:pt x="38792" y="16070"/>
                    </a:lnTo>
                    <a:lnTo>
                      <a:pt x="38834" y="16133"/>
                    </a:lnTo>
                    <a:lnTo>
                      <a:pt x="38981" y="16153"/>
                    </a:lnTo>
                    <a:lnTo>
                      <a:pt x="39023" y="16133"/>
                    </a:lnTo>
                    <a:lnTo>
                      <a:pt x="39023" y="16070"/>
                    </a:lnTo>
                    <a:lnTo>
                      <a:pt x="38981" y="16049"/>
                    </a:lnTo>
                    <a:lnTo>
                      <a:pt x="38981" y="15965"/>
                    </a:lnTo>
                    <a:lnTo>
                      <a:pt x="38939" y="15861"/>
                    </a:lnTo>
                    <a:lnTo>
                      <a:pt x="38876" y="15777"/>
                    </a:lnTo>
                    <a:lnTo>
                      <a:pt x="38792" y="15756"/>
                    </a:lnTo>
                    <a:lnTo>
                      <a:pt x="38813" y="15672"/>
                    </a:lnTo>
                    <a:lnTo>
                      <a:pt x="38813" y="15589"/>
                    </a:lnTo>
                    <a:lnTo>
                      <a:pt x="38772" y="15547"/>
                    </a:lnTo>
                    <a:lnTo>
                      <a:pt x="38792" y="15526"/>
                    </a:lnTo>
                    <a:lnTo>
                      <a:pt x="38834" y="15547"/>
                    </a:lnTo>
                    <a:lnTo>
                      <a:pt x="38876" y="15651"/>
                    </a:lnTo>
                    <a:lnTo>
                      <a:pt x="38918" y="15693"/>
                    </a:lnTo>
                    <a:lnTo>
                      <a:pt x="39002" y="15672"/>
                    </a:lnTo>
                    <a:lnTo>
                      <a:pt x="38981" y="15651"/>
                    </a:lnTo>
                    <a:lnTo>
                      <a:pt x="39002" y="15630"/>
                    </a:lnTo>
                    <a:lnTo>
                      <a:pt x="39085" y="15651"/>
                    </a:lnTo>
                    <a:lnTo>
                      <a:pt x="39044" y="15547"/>
                    </a:lnTo>
                    <a:lnTo>
                      <a:pt x="39002" y="15442"/>
                    </a:lnTo>
                    <a:lnTo>
                      <a:pt x="38897" y="15379"/>
                    </a:lnTo>
                    <a:lnTo>
                      <a:pt x="39002" y="15379"/>
                    </a:lnTo>
                    <a:lnTo>
                      <a:pt x="39044" y="15442"/>
                    </a:lnTo>
                    <a:lnTo>
                      <a:pt x="39106" y="15484"/>
                    </a:lnTo>
                    <a:lnTo>
                      <a:pt x="39190" y="15463"/>
                    </a:lnTo>
                    <a:lnTo>
                      <a:pt x="39148" y="15421"/>
                    </a:lnTo>
                    <a:lnTo>
                      <a:pt x="39148" y="15337"/>
                    </a:lnTo>
                    <a:lnTo>
                      <a:pt x="39190" y="15337"/>
                    </a:lnTo>
                    <a:lnTo>
                      <a:pt x="39232" y="15379"/>
                    </a:lnTo>
                    <a:lnTo>
                      <a:pt x="39295" y="15421"/>
                    </a:lnTo>
                    <a:lnTo>
                      <a:pt x="39295" y="15463"/>
                    </a:lnTo>
                    <a:lnTo>
                      <a:pt x="39232" y="15484"/>
                    </a:lnTo>
                    <a:lnTo>
                      <a:pt x="39232" y="15589"/>
                    </a:lnTo>
                    <a:lnTo>
                      <a:pt x="39232" y="15630"/>
                    </a:lnTo>
                    <a:lnTo>
                      <a:pt x="39295" y="15630"/>
                    </a:lnTo>
                    <a:lnTo>
                      <a:pt x="39336" y="15651"/>
                    </a:lnTo>
                    <a:lnTo>
                      <a:pt x="39336" y="15693"/>
                    </a:lnTo>
                    <a:lnTo>
                      <a:pt x="39295" y="15735"/>
                    </a:lnTo>
                    <a:lnTo>
                      <a:pt x="39253" y="15777"/>
                    </a:lnTo>
                    <a:lnTo>
                      <a:pt x="39316" y="15798"/>
                    </a:lnTo>
                    <a:lnTo>
                      <a:pt x="39357" y="15777"/>
                    </a:lnTo>
                    <a:lnTo>
                      <a:pt x="39399" y="15798"/>
                    </a:lnTo>
                    <a:lnTo>
                      <a:pt x="39357" y="15881"/>
                    </a:lnTo>
                    <a:lnTo>
                      <a:pt x="39399" y="15944"/>
                    </a:lnTo>
                    <a:lnTo>
                      <a:pt x="39441" y="15965"/>
                    </a:lnTo>
                    <a:lnTo>
                      <a:pt x="39525" y="15944"/>
                    </a:lnTo>
                    <a:lnTo>
                      <a:pt x="39734" y="15798"/>
                    </a:lnTo>
                    <a:lnTo>
                      <a:pt x="39818" y="15672"/>
                    </a:lnTo>
                    <a:lnTo>
                      <a:pt x="39818" y="15756"/>
                    </a:lnTo>
                    <a:lnTo>
                      <a:pt x="39755" y="15798"/>
                    </a:lnTo>
                    <a:lnTo>
                      <a:pt x="39734" y="15861"/>
                    </a:lnTo>
                    <a:lnTo>
                      <a:pt x="39629" y="15902"/>
                    </a:lnTo>
                    <a:lnTo>
                      <a:pt x="39462" y="16070"/>
                    </a:lnTo>
                    <a:lnTo>
                      <a:pt x="39462" y="16112"/>
                    </a:lnTo>
                    <a:lnTo>
                      <a:pt x="39546" y="16153"/>
                    </a:lnTo>
                    <a:lnTo>
                      <a:pt x="39650" y="16112"/>
                    </a:lnTo>
                    <a:lnTo>
                      <a:pt x="39818" y="16007"/>
                    </a:lnTo>
                    <a:lnTo>
                      <a:pt x="39880" y="16007"/>
                    </a:lnTo>
                    <a:lnTo>
                      <a:pt x="40027" y="15965"/>
                    </a:lnTo>
                    <a:lnTo>
                      <a:pt x="40069" y="15881"/>
                    </a:lnTo>
                    <a:lnTo>
                      <a:pt x="40132" y="15861"/>
                    </a:lnTo>
                    <a:lnTo>
                      <a:pt x="40236" y="15777"/>
                    </a:lnTo>
                    <a:lnTo>
                      <a:pt x="40278" y="15777"/>
                    </a:lnTo>
                    <a:lnTo>
                      <a:pt x="40278" y="15840"/>
                    </a:lnTo>
                    <a:lnTo>
                      <a:pt x="40236" y="15861"/>
                    </a:lnTo>
                    <a:lnTo>
                      <a:pt x="40152" y="15965"/>
                    </a:lnTo>
                    <a:lnTo>
                      <a:pt x="40090" y="16070"/>
                    </a:lnTo>
                    <a:lnTo>
                      <a:pt x="40027" y="16112"/>
                    </a:lnTo>
                    <a:lnTo>
                      <a:pt x="39943" y="16195"/>
                    </a:lnTo>
                    <a:lnTo>
                      <a:pt x="39839" y="16216"/>
                    </a:lnTo>
                    <a:lnTo>
                      <a:pt x="39776" y="16258"/>
                    </a:lnTo>
                    <a:lnTo>
                      <a:pt x="39713" y="16384"/>
                    </a:lnTo>
                    <a:lnTo>
                      <a:pt x="39713" y="16426"/>
                    </a:lnTo>
                    <a:lnTo>
                      <a:pt x="39734" y="16467"/>
                    </a:lnTo>
                    <a:lnTo>
                      <a:pt x="39776" y="16426"/>
                    </a:lnTo>
                    <a:lnTo>
                      <a:pt x="39860" y="16426"/>
                    </a:lnTo>
                    <a:lnTo>
                      <a:pt x="39943" y="16467"/>
                    </a:lnTo>
                    <a:lnTo>
                      <a:pt x="39860" y="16488"/>
                    </a:lnTo>
                    <a:lnTo>
                      <a:pt x="39776" y="16509"/>
                    </a:lnTo>
                    <a:lnTo>
                      <a:pt x="39734" y="16551"/>
                    </a:lnTo>
                    <a:lnTo>
                      <a:pt x="39734" y="16593"/>
                    </a:lnTo>
                    <a:lnTo>
                      <a:pt x="39776" y="16614"/>
                    </a:lnTo>
                    <a:lnTo>
                      <a:pt x="39860" y="16593"/>
                    </a:lnTo>
                    <a:lnTo>
                      <a:pt x="39922" y="16572"/>
                    </a:lnTo>
                    <a:lnTo>
                      <a:pt x="39839" y="16677"/>
                    </a:lnTo>
                    <a:lnTo>
                      <a:pt x="39755" y="16698"/>
                    </a:lnTo>
                    <a:lnTo>
                      <a:pt x="39734" y="16739"/>
                    </a:lnTo>
                    <a:lnTo>
                      <a:pt x="39755" y="16781"/>
                    </a:lnTo>
                    <a:lnTo>
                      <a:pt x="39839" y="16802"/>
                    </a:lnTo>
                    <a:lnTo>
                      <a:pt x="39922" y="16781"/>
                    </a:lnTo>
                    <a:lnTo>
                      <a:pt x="39985" y="16781"/>
                    </a:lnTo>
                    <a:lnTo>
                      <a:pt x="40027" y="16802"/>
                    </a:lnTo>
                    <a:lnTo>
                      <a:pt x="39964" y="16823"/>
                    </a:lnTo>
                    <a:lnTo>
                      <a:pt x="39964" y="16865"/>
                    </a:lnTo>
                    <a:lnTo>
                      <a:pt x="39860" y="16907"/>
                    </a:lnTo>
                    <a:lnTo>
                      <a:pt x="39839" y="16970"/>
                    </a:lnTo>
                    <a:lnTo>
                      <a:pt x="39860" y="17032"/>
                    </a:lnTo>
                    <a:lnTo>
                      <a:pt x="39922" y="17116"/>
                    </a:lnTo>
                    <a:lnTo>
                      <a:pt x="39922" y="17200"/>
                    </a:lnTo>
                    <a:lnTo>
                      <a:pt x="39943" y="17221"/>
                    </a:lnTo>
                    <a:lnTo>
                      <a:pt x="39985" y="17137"/>
                    </a:lnTo>
                    <a:lnTo>
                      <a:pt x="40048" y="17032"/>
                    </a:lnTo>
                    <a:lnTo>
                      <a:pt x="40090" y="16990"/>
                    </a:lnTo>
                    <a:lnTo>
                      <a:pt x="40132" y="16990"/>
                    </a:lnTo>
                    <a:lnTo>
                      <a:pt x="40090" y="17032"/>
                    </a:lnTo>
                    <a:lnTo>
                      <a:pt x="40090" y="17095"/>
                    </a:lnTo>
                    <a:lnTo>
                      <a:pt x="40048" y="17116"/>
                    </a:lnTo>
                    <a:lnTo>
                      <a:pt x="40048" y="17137"/>
                    </a:lnTo>
                    <a:lnTo>
                      <a:pt x="40090" y="17200"/>
                    </a:lnTo>
                    <a:lnTo>
                      <a:pt x="40069" y="17242"/>
                    </a:lnTo>
                    <a:lnTo>
                      <a:pt x="40132" y="17304"/>
                    </a:lnTo>
                    <a:lnTo>
                      <a:pt x="40152" y="17304"/>
                    </a:lnTo>
                    <a:lnTo>
                      <a:pt x="40173" y="17242"/>
                    </a:lnTo>
                    <a:lnTo>
                      <a:pt x="40257" y="17221"/>
                    </a:lnTo>
                    <a:lnTo>
                      <a:pt x="40278" y="17221"/>
                    </a:lnTo>
                    <a:lnTo>
                      <a:pt x="40278" y="17283"/>
                    </a:lnTo>
                    <a:lnTo>
                      <a:pt x="40236" y="17325"/>
                    </a:lnTo>
                    <a:lnTo>
                      <a:pt x="40236" y="17346"/>
                    </a:lnTo>
                    <a:lnTo>
                      <a:pt x="40278" y="17388"/>
                    </a:lnTo>
                    <a:lnTo>
                      <a:pt x="40278" y="17430"/>
                    </a:lnTo>
                    <a:lnTo>
                      <a:pt x="40299" y="17451"/>
                    </a:lnTo>
                    <a:lnTo>
                      <a:pt x="40299" y="17514"/>
                    </a:lnTo>
                    <a:lnTo>
                      <a:pt x="40362" y="17534"/>
                    </a:lnTo>
                    <a:lnTo>
                      <a:pt x="40383" y="17493"/>
                    </a:lnTo>
                    <a:lnTo>
                      <a:pt x="40487" y="17451"/>
                    </a:lnTo>
                    <a:lnTo>
                      <a:pt x="40508" y="17388"/>
                    </a:lnTo>
                    <a:lnTo>
                      <a:pt x="40508" y="17325"/>
                    </a:lnTo>
                    <a:lnTo>
                      <a:pt x="40445" y="17242"/>
                    </a:lnTo>
                    <a:lnTo>
                      <a:pt x="40466" y="17242"/>
                    </a:lnTo>
                    <a:lnTo>
                      <a:pt x="40508" y="17283"/>
                    </a:lnTo>
                    <a:lnTo>
                      <a:pt x="40550" y="17283"/>
                    </a:lnTo>
                    <a:lnTo>
                      <a:pt x="40550" y="17221"/>
                    </a:lnTo>
                    <a:lnTo>
                      <a:pt x="40508" y="17137"/>
                    </a:lnTo>
                    <a:lnTo>
                      <a:pt x="40508" y="17095"/>
                    </a:lnTo>
                    <a:lnTo>
                      <a:pt x="40571" y="17074"/>
                    </a:lnTo>
                    <a:lnTo>
                      <a:pt x="40571" y="16990"/>
                    </a:lnTo>
                    <a:lnTo>
                      <a:pt x="40571" y="16928"/>
                    </a:lnTo>
                    <a:lnTo>
                      <a:pt x="40508" y="16928"/>
                    </a:lnTo>
                    <a:lnTo>
                      <a:pt x="40466" y="16886"/>
                    </a:lnTo>
                    <a:lnTo>
                      <a:pt x="40466" y="16865"/>
                    </a:lnTo>
                    <a:lnTo>
                      <a:pt x="40487" y="16886"/>
                    </a:lnTo>
                    <a:lnTo>
                      <a:pt x="40571" y="16907"/>
                    </a:lnTo>
                    <a:lnTo>
                      <a:pt x="40613" y="16865"/>
                    </a:lnTo>
                    <a:lnTo>
                      <a:pt x="40592" y="16802"/>
                    </a:lnTo>
                    <a:lnTo>
                      <a:pt x="40550" y="16802"/>
                    </a:lnTo>
                    <a:lnTo>
                      <a:pt x="40508" y="16781"/>
                    </a:lnTo>
                    <a:lnTo>
                      <a:pt x="40592" y="16781"/>
                    </a:lnTo>
                    <a:lnTo>
                      <a:pt x="40655" y="16718"/>
                    </a:lnTo>
                    <a:lnTo>
                      <a:pt x="40655" y="16572"/>
                    </a:lnTo>
                    <a:lnTo>
                      <a:pt x="40676" y="16509"/>
                    </a:lnTo>
                    <a:lnTo>
                      <a:pt x="40696" y="16572"/>
                    </a:lnTo>
                    <a:lnTo>
                      <a:pt x="40696" y="16656"/>
                    </a:lnTo>
                    <a:lnTo>
                      <a:pt x="40717" y="16718"/>
                    </a:lnTo>
                    <a:lnTo>
                      <a:pt x="40696" y="16802"/>
                    </a:lnTo>
                    <a:lnTo>
                      <a:pt x="40759" y="16823"/>
                    </a:lnTo>
                    <a:lnTo>
                      <a:pt x="40822" y="16802"/>
                    </a:lnTo>
                    <a:lnTo>
                      <a:pt x="40864" y="16760"/>
                    </a:lnTo>
                    <a:lnTo>
                      <a:pt x="40906" y="16718"/>
                    </a:lnTo>
                    <a:lnTo>
                      <a:pt x="40906" y="16823"/>
                    </a:lnTo>
                    <a:lnTo>
                      <a:pt x="40927" y="16865"/>
                    </a:lnTo>
                    <a:lnTo>
                      <a:pt x="40989" y="16865"/>
                    </a:lnTo>
                    <a:lnTo>
                      <a:pt x="41010" y="16823"/>
                    </a:lnTo>
                    <a:lnTo>
                      <a:pt x="41010" y="16698"/>
                    </a:lnTo>
                    <a:lnTo>
                      <a:pt x="41010" y="16593"/>
                    </a:lnTo>
                    <a:lnTo>
                      <a:pt x="40969" y="16572"/>
                    </a:lnTo>
                    <a:lnTo>
                      <a:pt x="40927" y="16551"/>
                    </a:lnTo>
                    <a:lnTo>
                      <a:pt x="41010" y="16572"/>
                    </a:lnTo>
                    <a:lnTo>
                      <a:pt x="41094" y="16614"/>
                    </a:lnTo>
                    <a:lnTo>
                      <a:pt x="41115" y="16698"/>
                    </a:lnTo>
                    <a:lnTo>
                      <a:pt x="41178" y="16698"/>
                    </a:lnTo>
                    <a:lnTo>
                      <a:pt x="41199" y="16656"/>
                    </a:lnTo>
                    <a:lnTo>
                      <a:pt x="41199" y="16509"/>
                    </a:lnTo>
                    <a:lnTo>
                      <a:pt x="41136" y="16446"/>
                    </a:lnTo>
                    <a:lnTo>
                      <a:pt x="41031" y="16363"/>
                    </a:lnTo>
                    <a:lnTo>
                      <a:pt x="41010" y="16300"/>
                    </a:lnTo>
                    <a:lnTo>
                      <a:pt x="41031" y="16300"/>
                    </a:lnTo>
                    <a:lnTo>
                      <a:pt x="41094" y="16363"/>
                    </a:lnTo>
                    <a:lnTo>
                      <a:pt x="41199" y="16446"/>
                    </a:lnTo>
                    <a:lnTo>
                      <a:pt x="41220" y="16509"/>
                    </a:lnTo>
                    <a:lnTo>
                      <a:pt x="41387" y="16509"/>
                    </a:lnTo>
                    <a:lnTo>
                      <a:pt x="41408" y="16446"/>
                    </a:lnTo>
                    <a:lnTo>
                      <a:pt x="41387" y="16384"/>
                    </a:lnTo>
                    <a:lnTo>
                      <a:pt x="41324" y="16363"/>
                    </a:lnTo>
                    <a:lnTo>
                      <a:pt x="41282" y="16300"/>
                    </a:lnTo>
                    <a:lnTo>
                      <a:pt x="41178" y="16300"/>
                    </a:lnTo>
                    <a:lnTo>
                      <a:pt x="41115" y="16258"/>
                    </a:lnTo>
                    <a:lnTo>
                      <a:pt x="41136" y="16153"/>
                    </a:lnTo>
                    <a:lnTo>
                      <a:pt x="41178" y="16195"/>
                    </a:lnTo>
                    <a:lnTo>
                      <a:pt x="41241" y="16258"/>
                    </a:lnTo>
                    <a:lnTo>
                      <a:pt x="41324" y="16258"/>
                    </a:lnTo>
                    <a:lnTo>
                      <a:pt x="41345" y="16195"/>
                    </a:lnTo>
                    <a:lnTo>
                      <a:pt x="41324" y="16133"/>
                    </a:lnTo>
                    <a:lnTo>
                      <a:pt x="41282" y="16091"/>
                    </a:lnTo>
                    <a:lnTo>
                      <a:pt x="41282" y="16049"/>
                    </a:lnTo>
                    <a:lnTo>
                      <a:pt x="41324" y="16028"/>
                    </a:lnTo>
                    <a:lnTo>
                      <a:pt x="41345" y="16049"/>
                    </a:lnTo>
                    <a:lnTo>
                      <a:pt x="41429" y="16091"/>
                    </a:lnTo>
                    <a:lnTo>
                      <a:pt x="41429" y="16153"/>
                    </a:lnTo>
                    <a:lnTo>
                      <a:pt x="41408" y="16237"/>
                    </a:lnTo>
                    <a:lnTo>
                      <a:pt x="41513" y="16258"/>
                    </a:lnTo>
                    <a:lnTo>
                      <a:pt x="41617" y="16279"/>
                    </a:lnTo>
                    <a:lnTo>
                      <a:pt x="41701" y="16258"/>
                    </a:lnTo>
                    <a:lnTo>
                      <a:pt x="41764" y="16258"/>
                    </a:lnTo>
                    <a:lnTo>
                      <a:pt x="41826" y="16174"/>
                    </a:lnTo>
                    <a:lnTo>
                      <a:pt x="41826" y="16133"/>
                    </a:lnTo>
                    <a:lnTo>
                      <a:pt x="41638" y="16133"/>
                    </a:lnTo>
                    <a:lnTo>
                      <a:pt x="41617" y="16091"/>
                    </a:lnTo>
                    <a:lnTo>
                      <a:pt x="41659" y="16049"/>
                    </a:lnTo>
                    <a:lnTo>
                      <a:pt x="41743" y="16070"/>
                    </a:lnTo>
                    <a:lnTo>
                      <a:pt x="41805" y="16049"/>
                    </a:lnTo>
                    <a:lnTo>
                      <a:pt x="41764" y="15986"/>
                    </a:lnTo>
                    <a:lnTo>
                      <a:pt x="41722" y="15965"/>
                    </a:lnTo>
                    <a:lnTo>
                      <a:pt x="41743" y="15944"/>
                    </a:lnTo>
                    <a:lnTo>
                      <a:pt x="41722" y="15881"/>
                    </a:lnTo>
                    <a:lnTo>
                      <a:pt x="41659" y="15861"/>
                    </a:lnTo>
                    <a:lnTo>
                      <a:pt x="41596" y="15881"/>
                    </a:lnTo>
                    <a:lnTo>
                      <a:pt x="41638" y="15819"/>
                    </a:lnTo>
                    <a:lnTo>
                      <a:pt x="41701" y="15756"/>
                    </a:lnTo>
                    <a:lnTo>
                      <a:pt x="41722" y="15777"/>
                    </a:lnTo>
                    <a:lnTo>
                      <a:pt x="41764" y="15819"/>
                    </a:lnTo>
                    <a:lnTo>
                      <a:pt x="41826" y="15881"/>
                    </a:lnTo>
                    <a:lnTo>
                      <a:pt x="41826" y="15965"/>
                    </a:lnTo>
                    <a:lnTo>
                      <a:pt x="41952" y="15965"/>
                    </a:lnTo>
                    <a:lnTo>
                      <a:pt x="42015" y="15944"/>
                    </a:lnTo>
                    <a:lnTo>
                      <a:pt x="42036" y="15923"/>
                    </a:lnTo>
                    <a:lnTo>
                      <a:pt x="42015" y="15840"/>
                    </a:lnTo>
                    <a:lnTo>
                      <a:pt x="41931" y="15777"/>
                    </a:lnTo>
                    <a:lnTo>
                      <a:pt x="41931" y="15714"/>
                    </a:lnTo>
                    <a:lnTo>
                      <a:pt x="41910" y="15651"/>
                    </a:lnTo>
                    <a:lnTo>
                      <a:pt x="41805" y="15651"/>
                    </a:lnTo>
                    <a:lnTo>
                      <a:pt x="41847" y="15547"/>
                    </a:lnTo>
                    <a:lnTo>
                      <a:pt x="41805" y="15463"/>
                    </a:lnTo>
                    <a:lnTo>
                      <a:pt x="41701" y="15463"/>
                    </a:lnTo>
                    <a:lnTo>
                      <a:pt x="41743" y="15400"/>
                    </a:lnTo>
                    <a:lnTo>
                      <a:pt x="41722" y="15358"/>
                    </a:lnTo>
                    <a:lnTo>
                      <a:pt x="41596" y="15442"/>
                    </a:lnTo>
                    <a:lnTo>
                      <a:pt x="41533" y="15526"/>
                    </a:lnTo>
                    <a:lnTo>
                      <a:pt x="41554" y="15651"/>
                    </a:lnTo>
                    <a:lnTo>
                      <a:pt x="41533" y="15651"/>
                    </a:lnTo>
                    <a:lnTo>
                      <a:pt x="41492" y="15609"/>
                    </a:lnTo>
                    <a:lnTo>
                      <a:pt x="41492" y="15442"/>
                    </a:lnTo>
                    <a:lnTo>
                      <a:pt x="41450" y="15421"/>
                    </a:lnTo>
                    <a:lnTo>
                      <a:pt x="41408" y="15442"/>
                    </a:lnTo>
                    <a:lnTo>
                      <a:pt x="41408" y="15526"/>
                    </a:lnTo>
                    <a:lnTo>
                      <a:pt x="41324" y="15651"/>
                    </a:lnTo>
                    <a:lnTo>
                      <a:pt x="41282" y="15714"/>
                    </a:lnTo>
                    <a:lnTo>
                      <a:pt x="41282" y="15714"/>
                    </a:lnTo>
                    <a:lnTo>
                      <a:pt x="41303" y="15630"/>
                    </a:lnTo>
                    <a:lnTo>
                      <a:pt x="41303" y="15505"/>
                    </a:lnTo>
                    <a:lnTo>
                      <a:pt x="41387" y="15358"/>
                    </a:lnTo>
                    <a:lnTo>
                      <a:pt x="41387" y="15296"/>
                    </a:lnTo>
                    <a:lnTo>
                      <a:pt x="41282" y="15317"/>
                    </a:lnTo>
                    <a:lnTo>
                      <a:pt x="41178" y="15442"/>
                    </a:lnTo>
                    <a:lnTo>
                      <a:pt x="41178" y="15505"/>
                    </a:lnTo>
                    <a:lnTo>
                      <a:pt x="41094" y="15568"/>
                    </a:lnTo>
                    <a:lnTo>
                      <a:pt x="41010" y="15568"/>
                    </a:lnTo>
                    <a:lnTo>
                      <a:pt x="41010" y="15505"/>
                    </a:lnTo>
                    <a:lnTo>
                      <a:pt x="41073" y="15400"/>
                    </a:lnTo>
                    <a:lnTo>
                      <a:pt x="41199" y="15337"/>
                    </a:lnTo>
                    <a:lnTo>
                      <a:pt x="41241" y="15233"/>
                    </a:lnTo>
                    <a:lnTo>
                      <a:pt x="41303" y="15149"/>
                    </a:lnTo>
                    <a:lnTo>
                      <a:pt x="41345" y="15149"/>
                    </a:lnTo>
                    <a:lnTo>
                      <a:pt x="41429" y="15086"/>
                    </a:lnTo>
                    <a:lnTo>
                      <a:pt x="41450" y="15024"/>
                    </a:lnTo>
                    <a:lnTo>
                      <a:pt x="41387" y="15003"/>
                    </a:lnTo>
                    <a:lnTo>
                      <a:pt x="41282" y="15086"/>
                    </a:lnTo>
                    <a:lnTo>
                      <a:pt x="41199" y="15149"/>
                    </a:lnTo>
                    <a:lnTo>
                      <a:pt x="41115" y="15191"/>
                    </a:lnTo>
                    <a:lnTo>
                      <a:pt x="41010" y="15296"/>
                    </a:lnTo>
                    <a:lnTo>
                      <a:pt x="41073" y="15191"/>
                    </a:lnTo>
                    <a:lnTo>
                      <a:pt x="41136" y="15086"/>
                    </a:lnTo>
                    <a:lnTo>
                      <a:pt x="41115" y="15086"/>
                    </a:lnTo>
                    <a:lnTo>
                      <a:pt x="41010" y="15107"/>
                    </a:lnTo>
                    <a:lnTo>
                      <a:pt x="40969" y="15149"/>
                    </a:lnTo>
                    <a:lnTo>
                      <a:pt x="40801" y="15128"/>
                    </a:lnTo>
                    <a:lnTo>
                      <a:pt x="40696" y="15128"/>
                    </a:lnTo>
                    <a:lnTo>
                      <a:pt x="40655" y="15086"/>
                    </a:lnTo>
                    <a:lnTo>
                      <a:pt x="40759" y="15086"/>
                    </a:lnTo>
                    <a:lnTo>
                      <a:pt x="40969" y="15024"/>
                    </a:lnTo>
                    <a:lnTo>
                      <a:pt x="40864" y="14982"/>
                    </a:lnTo>
                    <a:lnTo>
                      <a:pt x="40780" y="14919"/>
                    </a:lnTo>
                    <a:lnTo>
                      <a:pt x="40864" y="14919"/>
                    </a:lnTo>
                    <a:lnTo>
                      <a:pt x="40927" y="14898"/>
                    </a:lnTo>
                    <a:lnTo>
                      <a:pt x="40885" y="14793"/>
                    </a:lnTo>
                    <a:lnTo>
                      <a:pt x="40801" y="14773"/>
                    </a:lnTo>
                    <a:lnTo>
                      <a:pt x="40801" y="14731"/>
                    </a:lnTo>
                    <a:lnTo>
                      <a:pt x="40885" y="14689"/>
                    </a:lnTo>
                    <a:lnTo>
                      <a:pt x="40885" y="14605"/>
                    </a:lnTo>
                    <a:lnTo>
                      <a:pt x="40864" y="14480"/>
                    </a:lnTo>
                    <a:lnTo>
                      <a:pt x="40822" y="14417"/>
                    </a:lnTo>
                    <a:lnTo>
                      <a:pt x="40696" y="14480"/>
                    </a:lnTo>
                    <a:lnTo>
                      <a:pt x="40655" y="14521"/>
                    </a:lnTo>
                    <a:lnTo>
                      <a:pt x="40592" y="14501"/>
                    </a:lnTo>
                    <a:lnTo>
                      <a:pt x="40571" y="14521"/>
                    </a:lnTo>
                    <a:lnTo>
                      <a:pt x="40550" y="14501"/>
                    </a:lnTo>
                    <a:lnTo>
                      <a:pt x="40592" y="14417"/>
                    </a:lnTo>
                    <a:lnTo>
                      <a:pt x="40613" y="14312"/>
                    </a:lnTo>
                    <a:lnTo>
                      <a:pt x="40759" y="14291"/>
                    </a:lnTo>
                    <a:lnTo>
                      <a:pt x="40801" y="14249"/>
                    </a:lnTo>
                    <a:lnTo>
                      <a:pt x="40801" y="14103"/>
                    </a:lnTo>
                    <a:lnTo>
                      <a:pt x="40780" y="14061"/>
                    </a:lnTo>
                    <a:lnTo>
                      <a:pt x="40696" y="14145"/>
                    </a:lnTo>
                    <a:lnTo>
                      <a:pt x="40571" y="14249"/>
                    </a:lnTo>
                    <a:lnTo>
                      <a:pt x="40508" y="14312"/>
                    </a:lnTo>
                    <a:lnTo>
                      <a:pt x="40445" y="14375"/>
                    </a:lnTo>
                    <a:lnTo>
                      <a:pt x="40445" y="14480"/>
                    </a:lnTo>
                    <a:lnTo>
                      <a:pt x="40445" y="14563"/>
                    </a:lnTo>
                    <a:lnTo>
                      <a:pt x="40278" y="14291"/>
                    </a:lnTo>
                    <a:lnTo>
                      <a:pt x="40278" y="14187"/>
                    </a:lnTo>
                    <a:lnTo>
                      <a:pt x="40278" y="14082"/>
                    </a:lnTo>
                    <a:lnTo>
                      <a:pt x="40341" y="13998"/>
                    </a:lnTo>
                    <a:lnTo>
                      <a:pt x="40424" y="13873"/>
                    </a:lnTo>
                    <a:lnTo>
                      <a:pt x="40466" y="13789"/>
                    </a:lnTo>
                    <a:lnTo>
                      <a:pt x="40424" y="13768"/>
                    </a:lnTo>
                    <a:lnTo>
                      <a:pt x="40362" y="13831"/>
                    </a:lnTo>
                    <a:lnTo>
                      <a:pt x="40299" y="13894"/>
                    </a:lnTo>
                    <a:lnTo>
                      <a:pt x="40299" y="13936"/>
                    </a:lnTo>
                    <a:lnTo>
                      <a:pt x="40194" y="13977"/>
                    </a:lnTo>
                    <a:lnTo>
                      <a:pt x="40152" y="14061"/>
                    </a:lnTo>
                    <a:lnTo>
                      <a:pt x="40152" y="14103"/>
                    </a:lnTo>
                    <a:lnTo>
                      <a:pt x="40069" y="14249"/>
                    </a:lnTo>
                    <a:lnTo>
                      <a:pt x="40027" y="14270"/>
                    </a:lnTo>
                    <a:lnTo>
                      <a:pt x="40027" y="14187"/>
                    </a:lnTo>
                    <a:lnTo>
                      <a:pt x="40069" y="14082"/>
                    </a:lnTo>
                    <a:lnTo>
                      <a:pt x="40173" y="13894"/>
                    </a:lnTo>
                    <a:lnTo>
                      <a:pt x="40215" y="13852"/>
                    </a:lnTo>
                    <a:lnTo>
                      <a:pt x="40194" y="13768"/>
                    </a:lnTo>
                    <a:lnTo>
                      <a:pt x="40111" y="13768"/>
                    </a:lnTo>
                    <a:lnTo>
                      <a:pt x="40048" y="13852"/>
                    </a:lnTo>
                    <a:lnTo>
                      <a:pt x="40048" y="13936"/>
                    </a:lnTo>
                    <a:lnTo>
                      <a:pt x="40006" y="13957"/>
                    </a:lnTo>
                    <a:lnTo>
                      <a:pt x="40006" y="13873"/>
                    </a:lnTo>
                    <a:lnTo>
                      <a:pt x="40069" y="13747"/>
                    </a:lnTo>
                    <a:lnTo>
                      <a:pt x="40090" y="13685"/>
                    </a:lnTo>
                    <a:lnTo>
                      <a:pt x="40048" y="13622"/>
                    </a:lnTo>
                    <a:lnTo>
                      <a:pt x="39943" y="13580"/>
                    </a:lnTo>
                    <a:lnTo>
                      <a:pt x="39964" y="13559"/>
                    </a:lnTo>
                    <a:lnTo>
                      <a:pt x="39901" y="13517"/>
                    </a:lnTo>
                    <a:lnTo>
                      <a:pt x="39776" y="13517"/>
                    </a:lnTo>
                    <a:lnTo>
                      <a:pt x="39692" y="13538"/>
                    </a:lnTo>
                    <a:lnTo>
                      <a:pt x="39734" y="13454"/>
                    </a:lnTo>
                    <a:lnTo>
                      <a:pt x="39818" y="13433"/>
                    </a:lnTo>
                    <a:lnTo>
                      <a:pt x="39713" y="13413"/>
                    </a:lnTo>
                    <a:lnTo>
                      <a:pt x="39567" y="13413"/>
                    </a:lnTo>
                    <a:lnTo>
                      <a:pt x="39504" y="13517"/>
                    </a:lnTo>
                    <a:lnTo>
                      <a:pt x="39504" y="13433"/>
                    </a:lnTo>
                    <a:lnTo>
                      <a:pt x="39671" y="13350"/>
                    </a:lnTo>
                    <a:lnTo>
                      <a:pt x="39818" y="13329"/>
                    </a:lnTo>
                    <a:lnTo>
                      <a:pt x="39860" y="13371"/>
                    </a:lnTo>
                    <a:lnTo>
                      <a:pt x="39964" y="13392"/>
                    </a:lnTo>
                    <a:lnTo>
                      <a:pt x="39985" y="13350"/>
                    </a:lnTo>
                    <a:lnTo>
                      <a:pt x="40027" y="13266"/>
                    </a:lnTo>
                    <a:lnTo>
                      <a:pt x="39943" y="13266"/>
                    </a:lnTo>
                    <a:lnTo>
                      <a:pt x="39839" y="13245"/>
                    </a:lnTo>
                    <a:lnTo>
                      <a:pt x="39734" y="13182"/>
                    </a:lnTo>
                    <a:lnTo>
                      <a:pt x="39650" y="13182"/>
                    </a:lnTo>
                    <a:lnTo>
                      <a:pt x="39650" y="13287"/>
                    </a:lnTo>
                    <a:lnTo>
                      <a:pt x="39608" y="13287"/>
                    </a:lnTo>
                    <a:lnTo>
                      <a:pt x="39608" y="13245"/>
                    </a:lnTo>
                    <a:lnTo>
                      <a:pt x="39629" y="13182"/>
                    </a:lnTo>
                    <a:lnTo>
                      <a:pt x="39629" y="13140"/>
                    </a:lnTo>
                    <a:lnTo>
                      <a:pt x="39525" y="13140"/>
                    </a:lnTo>
                    <a:lnTo>
                      <a:pt x="39525" y="13182"/>
                    </a:lnTo>
                    <a:lnTo>
                      <a:pt x="39462" y="13224"/>
                    </a:lnTo>
                    <a:lnTo>
                      <a:pt x="39441" y="13161"/>
                    </a:lnTo>
                    <a:lnTo>
                      <a:pt x="39441" y="13078"/>
                    </a:lnTo>
                    <a:lnTo>
                      <a:pt x="39399" y="13057"/>
                    </a:lnTo>
                    <a:lnTo>
                      <a:pt x="39357" y="13078"/>
                    </a:lnTo>
                    <a:lnTo>
                      <a:pt x="39316" y="13036"/>
                    </a:lnTo>
                    <a:lnTo>
                      <a:pt x="39232" y="12994"/>
                    </a:lnTo>
                    <a:lnTo>
                      <a:pt x="39148" y="12994"/>
                    </a:lnTo>
                    <a:lnTo>
                      <a:pt x="39232" y="12910"/>
                    </a:lnTo>
                    <a:lnTo>
                      <a:pt x="39295" y="12868"/>
                    </a:lnTo>
                    <a:lnTo>
                      <a:pt x="39441" y="12973"/>
                    </a:lnTo>
                    <a:lnTo>
                      <a:pt x="39504" y="12973"/>
                    </a:lnTo>
                    <a:lnTo>
                      <a:pt x="39462" y="12931"/>
                    </a:lnTo>
                    <a:lnTo>
                      <a:pt x="39169" y="12764"/>
                    </a:lnTo>
                    <a:lnTo>
                      <a:pt x="39044" y="12743"/>
                    </a:lnTo>
                    <a:lnTo>
                      <a:pt x="39023" y="12722"/>
                    </a:lnTo>
                    <a:lnTo>
                      <a:pt x="39106" y="12722"/>
                    </a:lnTo>
                    <a:lnTo>
                      <a:pt x="39316" y="12806"/>
                    </a:lnTo>
                    <a:lnTo>
                      <a:pt x="39441" y="12806"/>
                    </a:lnTo>
                    <a:lnTo>
                      <a:pt x="39650" y="12848"/>
                    </a:lnTo>
                    <a:lnTo>
                      <a:pt x="39692" y="12848"/>
                    </a:lnTo>
                    <a:lnTo>
                      <a:pt x="39671" y="12806"/>
                    </a:lnTo>
                    <a:lnTo>
                      <a:pt x="39671" y="12722"/>
                    </a:lnTo>
                    <a:lnTo>
                      <a:pt x="39629" y="12659"/>
                    </a:lnTo>
                    <a:lnTo>
                      <a:pt x="39546" y="12638"/>
                    </a:lnTo>
                    <a:lnTo>
                      <a:pt x="39462" y="12596"/>
                    </a:lnTo>
                    <a:lnTo>
                      <a:pt x="39483" y="12555"/>
                    </a:lnTo>
                    <a:lnTo>
                      <a:pt x="39546" y="12555"/>
                    </a:lnTo>
                    <a:lnTo>
                      <a:pt x="39567" y="12617"/>
                    </a:lnTo>
                    <a:lnTo>
                      <a:pt x="39629" y="12638"/>
                    </a:lnTo>
                    <a:lnTo>
                      <a:pt x="39671" y="12617"/>
                    </a:lnTo>
                    <a:lnTo>
                      <a:pt x="39776" y="12617"/>
                    </a:lnTo>
                    <a:lnTo>
                      <a:pt x="39797" y="12596"/>
                    </a:lnTo>
                    <a:lnTo>
                      <a:pt x="39797" y="12534"/>
                    </a:lnTo>
                    <a:lnTo>
                      <a:pt x="39734" y="12513"/>
                    </a:lnTo>
                    <a:lnTo>
                      <a:pt x="39734" y="12450"/>
                    </a:lnTo>
                    <a:lnTo>
                      <a:pt x="39671" y="12387"/>
                    </a:lnTo>
                    <a:lnTo>
                      <a:pt x="39588" y="12408"/>
                    </a:lnTo>
                    <a:lnTo>
                      <a:pt x="39525" y="12450"/>
                    </a:lnTo>
                    <a:lnTo>
                      <a:pt x="39378" y="12450"/>
                    </a:lnTo>
                    <a:lnTo>
                      <a:pt x="39357" y="12513"/>
                    </a:lnTo>
                    <a:lnTo>
                      <a:pt x="39316" y="12513"/>
                    </a:lnTo>
                    <a:lnTo>
                      <a:pt x="39274" y="12429"/>
                    </a:lnTo>
                    <a:lnTo>
                      <a:pt x="39378" y="12387"/>
                    </a:lnTo>
                    <a:lnTo>
                      <a:pt x="39525" y="12387"/>
                    </a:lnTo>
                    <a:lnTo>
                      <a:pt x="39567" y="12345"/>
                    </a:lnTo>
                    <a:lnTo>
                      <a:pt x="39692" y="12345"/>
                    </a:lnTo>
                    <a:lnTo>
                      <a:pt x="39734" y="12304"/>
                    </a:lnTo>
                    <a:lnTo>
                      <a:pt x="39650" y="12283"/>
                    </a:lnTo>
                    <a:lnTo>
                      <a:pt x="39546" y="12241"/>
                    </a:lnTo>
                    <a:lnTo>
                      <a:pt x="39525" y="12199"/>
                    </a:lnTo>
                    <a:lnTo>
                      <a:pt x="39588" y="12241"/>
                    </a:lnTo>
                    <a:lnTo>
                      <a:pt x="39776" y="12241"/>
                    </a:lnTo>
                    <a:lnTo>
                      <a:pt x="39839" y="12283"/>
                    </a:lnTo>
                    <a:lnTo>
                      <a:pt x="39964" y="12429"/>
                    </a:lnTo>
                    <a:lnTo>
                      <a:pt x="40048" y="12450"/>
                    </a:lnTo>
                    <a:lnTo>
                      <a:pt x="40090" y="12429"/>
                    </a:lnTo>
                    <a:lnTo>
                      <a:pt x="40111" y="12492"/>
                    </a:lnTo>
                    <a:lnTo>
                      <a:pt x="40173" y="12513"/>
                    </a:lnTo>
                    <a:lnTo>
                      <a:pt x="40215" y="12450"/>
                    </a:lnTo>
                    <a:lnTo>
                      <a:pt x="40278" y="12450"/>
                    </a:lnTo>
                    <a:lnTo>
                      <a:pt x="40320" y="12555"/>
                    </a:lnTo>
                    <a:lnTo>
                      <a:pt x="40404" y="12555"/>
                    </a:lnTo>
                    <a:lnTo>
                      <a:pt x="40466" y="12534"/>
                    </a:lnTo>
                    <a:lnTo>
                      <a:pt x="40466" y="12408"/>
                    </a:lnTo>
                    <a:lnTo>
                      <a:pt x="40404" y="12324"/>
                    </a:lnTo>
                    <a:lnTo>
                      <a:pt x="40383" y="12241"/>
                    </a:lnTo>
                    <a:lnTo>
                      <a:pt x="40278" y="12199"/>
                    </a:lnTo>
                    <a:lnTo>
                      <a:pt x="40194" y="12136"/>
                    </a:lnTo>
                    <a:lnTo>
                      <a:pt x="40152" y="12115"/>
                    </a:lnTo>
                    <a:lnTo>
                      <a:pt x="40090" y="12136"/>
                    </a:lnTo>
                    <a:lnTo>
                      <a:pt x="40048" y="12178"/>
                    </a:lnTo>
                    <a:lnTo>
                      <a:pt x="39964" y="12115"/>
                    </a:lnTo>
                    <a:lnTo>
                      <a:pt x="39797" y="11990"/>
                    </a:lnTo>
                    <a:lnTo>
                      <a:pt x="39692" y="11969"/>
                    </a:lnTo>
                    <a:lnTo>
                      <a:pt x="39483" y="11990"/>
                    </a:lnTo>
                    <a:lnTo>
                      <a:pt x="39420" y="11969"/>
                    </a:lnTo>
                    <a:lnTo>
                      <a:pt x="39588" y="11927"/>
                    </a:lnTo>
                    <a:lnTo>
                      <a:pt x="39671" y="11864"/>
                    </a:lnTo>
                    <a:lnTo>
                      <a:pt x="39755" y="11864"/>
                    </a:lnTo>
                    <a:lnTo>
                      <a:pt x="39776" y="11885"/>
                    </a:lnTo>
                    <a:lnTo>
                      <a:pt x="39860" y="11885"/>
                    </a:lnTo>
                    <a:lnTo>
                      <a:pt x="39943" y="11822"/>
                    </a:lnTo>
                    <a:lnTo>
                      <a:pt x="40006" y="11780"/>
                    </a:lnTo>
                    <a:lnTo>
                      <a:pt x="40173" y="11780"/>
                    </a:lnTo>
                    <a:lnTo>
                      <a:pt x="40257" y="11822"/>
                    </a:lnTo>
                    <a:lnTo>
                      <a:pt x="40383" y="11822"/>
                    </a:lnTo>
                    <a:lnTo>
                      <a:pt x="40424" y="11760"/>
                    </a:lnTo>
                    <a:lnTo>
                      <a:pt x="40466" y="11676"/>
                    </a:lnTo>
                    <a:lnTo>
                      <a:pt x="40404" y="11592"/>
                    </a:lnTo>
                    <a:lnTo>
                      <a:pt x="40383" y="11467"/>
                    </a:lnTo>
                    <a:lnTo>
                      <a:pt x="40278" y="11236"/>
                    </a:lnTo>
                    <a:lnTo>
                      <a:pt x="40257" y="11090"/>
                    </a:lnTo>
                    <a:lnTo>
                      <a:pt x="40194" y="11132"/>
                    </a:lnTo>
                    <a:lnTo>
                      <a:pt x="40173" y="11090"/>
                    </a:lnTo>
                    <a:lnTo>
                      <a:pt x="40090" y="11132"/>
                    </a:lnTo>
                    <a:lnTo>
                      <a:pt x="40090" y="11174"/>
                    </a:lnTo>
                    <a:lnTo>
                      <a:pt x="40048" y="11278"/>
                    </a:lnTo>
                    <a:lnTo>
                      <a:pt x="40069" y="11299"/>
                    </a:lnTo>
                    <a:lnTo>
                      <a:pt x="40069" y="11383"/>
                    </a:lnTo>
                    <a:lnTo>
                      <a:pt x="40006" y="11404"/>
                    </a:lnTo>
                    <a:lnTo>
                      <a:pt x="39901" y="11467"/>
                    </a:lnTo>
                    <a:lnTo>
                      <a:pt x="39839" y="11550"/>
                    </a:lnTo>
                    <a:lnTo>
                      <a:pt x="39734" y="11508"/>
                    </a:lnTo>
                    <a:lnTo>
                      <a:pt x="39650" y="11488"/>
                    </a:lnTo>
                    <a:lnTo>
                      <a:pt x="39546" y="11508"/>
                    </a:lnTo>
                    <a:lnTo>
                      <a:pt x="39462" y="11613"/>
                    </a:lnTo>
                    <a:lnTo>
                      <a:pt x="39357" y="11718"/>
                    </a:lnTo>
                    <a:lnTo>
                      <a:pt x="39316" y="11697"/>
                    </a:lnTo>
                    <a:lnTo>
                      <a:pt x="39232" y="11676"/>
                    </a:lnTo>
                    <a:lnTo>
                      <a:pt x="39127" y="11697"/>
                    </a:lnTo>
                    <a:lnTo>
                      <a:pt x="39085" y="11697"/>
                    </a:lnTo>
                    <a:lnTo>
                      <a:pt x="39190" y="11592"/>
                    </a:lnTo>
                    <a:lnTo>
                      <a:pt x="39232" y="11571"/>
                    </a:lnTo>
                    <a:lnTo>
                      <a:pt x="39316" y="11613"/>
                    </a:lnTo>
                    <a:lnTo>
                      <a:pt x="39420" y="11571"/>
                    </a:lnTo>
                    <a:lnTo>
                      <a:pt x="39462" y="11467"/>
                    </a:lnTo>
                    <a:lnTo>
                      <a:pt x="39546" y="11404"/>
                    </a:lnTo>
                    <a:lnTo>
                      <a:pt x="39588" y="11404"/>
                    </a:lnTo>
                    <a:lnTo>
                      <a:pt x="39692" y="11362"/>
                    </a:lnTo>
                    <a:lnTo>
                      <a:pt x="39776" y="11299"/>
                    </a:lnTo>
                    <a:lnTo>
                      <a:pt x="39776" y="11174"/>
                    </a:lnTo>
                    <a:lnTo>
                      <a:pt x="39776" y="11132"/>
                    </a:lnTo>
                    <a:lnTo>
                      <a:pt x="39692" y="11132"/>
                    </a:lnTo>
                    <a:lnTo>
                      <a:pt x="39629" y="11153"/>
                    </a:lnTo>
                    <a:lnTo>
                      <a:pt x="39546" y="11132"/>
                    </a:lnTo>
                    <a:lnTo>
                      <a:pt x="39420" y="11132"/>
                    </a:lnTo>
                    <a:lnTo>
                      <a:pt x="39253" y="11278"/>
                    </a:lnTo>
                    <a:lnTo>
                      <a:pt x="39148" y="11383"/>
                    </a:lnTo>
                    <a:lnTo>
                      <a:pt x="38960" y="11404"/>
                    </a:lnTo>
                    <a:lnTo>
                      <a:pt x="39023" y="11362"/>
                    </a:lnTo>
                    <a:lnTo>
                      <a:pt x="39148" y="11341"/>
                    </a:lnTo>
                    <a:lnTo>
                      <a:pt x="39169" y="11257"/>
                    </a:lnTo>
                    <a:lnTo>
                      <a:pt x="39127" y="11236"/>
                    </a:lnTo>
                    <a:lnTo>
                      <a:pt x="39023" y="11236"/>
                    </a:lnTo>
                    <a:lnTo>
                      <a:pt x="39190" y="11153"/>
                    </a:lnTo>
                    <a:lnTo>
                      <a:pt x="39295" y="11153"/>
                    </a:lnTo>
                    <a:lnTo>
                      <a:pt x="39441" y="11048"/>
                    </a:lnTo>
                    <a:lnTo>
                      <a:pt x="39567" y="11048"/>
                    </a:lnTo>
                    <a:lnTo>
                      <a:pt x="39650" y="11027"/>
                    </a:lnTo>
                    <a:lnTo>
                      <a:pt x="39839" y="11027"/>
                    </a:lnTo>
                    <a:lnTo>
                      <a:pt x="39922" y="10944"/>
                    </a:lnTo>
                    <a:lnTo>
                      <a:pt x="39964" y="10881"/>
                    </a:lnTo>
                    <a:lnTo>
                      <a:pt x="39985" y="10839"/>
                    </a:lnTo>
                    <a:lnTo>
                      <a:pt x="40069" y="10818"/>
                    </a:lnTo>
                    <a:lnTo>
                      <a:pt x="40069" y="10923"/>
                    </a:lnTo>
                    <a:lnTo>
                      <a:pt x="40132" y="10944"/>
                    </a:lnTo>
                    <a:lnTo>
                      <a:pt x="40236" y="10839"/>
                    </a:lnTo>
                    <a:lnTo>
                      <a:pt x="40257" y="10734"/>
                    </a:lnTo>
                    <a:lnTo>
                      <a:pt x="40236" y="10672"/>
                    </a:lnTo>
                    <a:lnTo>
                      <a:pt x="40152" y="10630"/>
                    </a:lnTo>
                    <a:lnTo>
                      <a:pt x="40090" y="10525"/>
                    </a:lnTo>
                    <a:lnTo>
                      <a:pt x="39964" y="10400"/>
                    </a:lnTo>
                    <a:lnTo>
                      <a:pt x="39922" y="10295"/>
                    </a:lnTo>
                    <a:lnTo>
                      <a:pt x="39839" y="10295"/>
                    </a:lnTo>
                    <a:lnTo>
                      <a:pt x="39755" y="10337"/>
                    </a:lnTo>
                    <a:lnTo>
                      <a:pt x="39713" y="10400"/>
                    </a:lnTo>
                    <a:lnTo>
                      <a:pt x="39629" y="10420"/>
                    </a:lnTo>
                    <a:lnTo>
                      <a:pt x="39525" y="10504"/>
                    </a:lnTo>
                    <a:lnTo>
                      <a:pt x="39420" y="10504"/>
                    </a:lnTo>
                    <a:lnTo>
                      <a:pt x="39336" y="10567"/>
                    </a:lnTo>
                    <a:lnTo>
                      <a:pt x="39316" y="10546"/>
                    </a:lnTo>
                    <a:lnTo>
                      <a:pt x="39336" y="10441"/>
                    </a:lnTo>
                    <a:lnTo>
                      <a:pt x="39420" y="10400"/>
                    </a:lnTo>
                    <a:lnTo>
                      <a:pt x="39525" y="10400"/>
                    </a:lnTo>
                    <a:lnTo>
                      <a:pt x="39650" y="10253"/>
                    </a:lnTo>
                    <a:lnTo>
                      <a:pt x="39713" y="10190"/>
                    </a:lnTo>
                    <a:lnTo>
                      <a:pt x="39713" y="10127"/>
                    </a:lnTo>
                    <a:lnTo>
                      <a:pt x="39629" y="10148"/>
                    </a:lnTo>
                    <a:lnTo>
                      <a:pt x="39462" y="10211"/>
                    </a:lnTo>
                    <a:lnTo>
                      <a:pt x="39316" y="10316"/>
                    </a:lnTo>
                    <a:lnTo>
                      <a:pt x="39253" y="10316"/>
                    </a:lnTo>
                    <a:lnTo>
                      <a:pt x="39211" y="10358"/>
                    </a:lnTo>
                    <a:lnTo>
                      <a:pt x="39169" y="10441"/>
                    </a:lnTo>
                    <a:lnTo>
                      <a:pt x="39106" y="10630"/>
                    </a:lnTo>
                    <a:lnTo>
                      <a:pt x="38918" y="10839"/>
                    </a:lnTo>
                    <a:lnTo>
                      <a:pt x="38730" y="10944"/>
                    </a:lnTo>
                    <a:lnTo>
                      <a:pt x="38730" y="10923"/>
                    </a:lnTo>
                    <a:lnTo>
                      <a:pt x="38813" y="10839"/>
                    </a:lnTo>
                    <a:lnTo>
                      <a:pt x="38939" y="10713"/>
                    </a:lnTo>
                    <a:lnTo>
                      <a:pt x="39023" y="10567"/>
                    </a:lnTo>
                    <a:lnTo>
                      <a:pt x="39064" y="10525"/>
                    </a:lnTo>
                    <a:lnTo>
                      <a:pt x="39064" y="10462"/>
                    </a:lnTo>
                    <a:lnTo>
                      <a:pt x="39023" y="10462"/>
                    </a:lnTo>
                    <a:lnTo>
                      <a:pt x="39002" y="10441"/>
                    </a:lnTo>
                    <a:lnTo>
                      <a:pt x="38939" y="10462"/>
                    </a:lnTo>
                    <a:lnTo>
                      <a:pt x="38855" y="10609"/>
                    </a:lnTo>
                    <a:lnTo>
                      <a:pt x="38730" y="10734"/>
                    </a:lnTo>
                    <a:lnTo>
                      <a:pt x="38688" y="10734"/>
                    </a:lnTo>
                    <a:lnTo>
                      <a:pt x="38709" y="10651"/>
                    </a:lnTo>
                    <a:lnTo>
                      <a:pt x="38730" y="10567"/>
                    </a:lnTo>
                    <a:lnTo>
                      <a:pt x="38834" y="10462"/>
                    </a:lnTo>
                    <a:lnTo>
                      <a:pt x="38876" y="10400"/>
                    </a:lnTo>
                    <a:lnTo>
                      <a:pt x="38918" y="10316"/>
                    </a:lnTo>
                    <a:lnTo>
                      <a:pt x="39002" y="10316"/>
                    </a:lnTo>
                    <a:lnTo>
                      <a:pt x="39044" y="10337"/>
                    </a:lnTo>
                    <a:lnTo>
                      <a:pt x="39148" y="10337"/>
                    </a:lnTo>
                    <a:lnTo>
                      <a:pt x="39190" y="10295"/>
                    </a:lnTo>
                    <a:lnTo>
                      <a:pt x="39253" y="10211"/>
                    </a:lnTo>
                    <a:lnTo>
                      <a:pt x="39357" y="10148"/>
                    </a:lnTo>
                    <a:lnTo>
                      <a:pt x="39462" y="10023"/>
                    </a:lnTo>
                    <a:lnTo>
                      <a:pt x="39525" y="9918"/>
                    </a:lnTo>
                    <a:lnTo>
                      <a:pt x="39483" y="9814"/>
                    </a:lnTo>
                    <a:lnTo>
                      <a:pt x="39525" y="9730"/>
                    </a:lnTo>
                    <a:lnTo>
                      <a:pt x="39483" y="9709"/>
                    </a:lnTo>
                    <a:lnTo>
                      <a:pt x="39336" y="9793"/>
                    </a:lnTo>
                    <a:lnTo>
                      <a:pt x="39274" y="9876"/>
                    </a:lnTo>
                    <a:lnTo>
                      <a:pt x="39274" y="9981"/>
                    </a:lnTo>
                    <a:lnTo>
                      <a:pt x="39253" y="10107"/>
                    </a:lnTo>
                    <a:lnTo>
                      <a:pt x="39211" y="10127"/>
                    </a:lnTo>
                    <a:lnTo>
                      <a:pt x="39232" y="10086"/>
                    </a:lnTo>
                    <a:lnTo>
                      <a:pt x="39232" y="10023"/>
                    </a:lnTo>
                    <a:lnTo>
                      <a:pt x="39148" y="9981"/>
                    </a:lnTo>
                    <a:lnTo>
                      <a:pt x="39044" y="9981"/>
                    </a:lnTo>
                    <a:lnTo>
                      <a:pt x="38939" y="10044"/>
                    </a:lnTo>
                    <a:lnTo>
                      <a:pt x="38855" y="10023"/>
                    </a:lnTo>
                    <a:lnTo>
                      <a:pt x="38730" y="10044"/>
                    </a:lnTo>
                    <a:lnTo>
                      <a:pt x="38625" y="10107"/>
                    </a:lnTo>
                    <a:lnTo>
                      <a:pt x="38500" y="10107"/>
                    </a:lnTo>
                    <a:lnTo>
                      <a:pt x="38583" y="10044"/>
                    </a:lnTo>
                    <a:lnTo>
                      <a:pt x="38688" y="10002"/>
                    </a:lnTo>
                    <a:lnTo>
                      <a:pt x="38772" y="9897"/>
                    </a:lnTo>
                    <a:lnTo>
                      <a:pt x="38730" y="9814"/>
                    </a:lnTo>
                    <a:lnTo>
                      <a:pt x="38688" y="9814"/>
                    </a:lnTo>
                    <a:lnTo>
                      <a:pt x="38541" y="9835"/>
                    </a:lnTo>
                    <a:lnTo>
                      <a:pt x="38604" y="9772"/>
                    </a:lnTo>
                    <a:lnTo>
                      <a:pt x="38688" y="9772"/>
                    </a:lnTo>
                    <a:lnTo>
                      <a:pt x="38772" y="9709"/>
                    </a:lnTo>
                    <a:lnTo>
                      <a:pt x="38813" y="9604"/>
                    </a:lnTo>
                    <a:lnTo>
                      <a:pt x="38897" y="9583"/>
                    </a:lnTo>
                    <a:lnTo>
                      <a:pt x="38939" y="9521"/>
                    </a:lnTo>
                    <a:lnTo>
                      <a:pt x="39002" y="9521"/>
                    </a:lnTo>
                    <a:lnTo>
                      <a:pt x="39106" y="9604"/>
                    </a:lnTo>
                    <a:lnTo>
                      <a:pt x="39169" y="9667"/>
                    </a:lnTo>
                    <a:lnTo>
                      <a:pt x="39253" y="9667"/>
                    </a:lnTo>
                    <a:lnTo>
                      <a:pt x="39357" y="9521"/>
                    </a:lnTo>
                    <a:lnTo>
                      <a:pt x="39441" y="9458"/>
                    </a:lnTo>
                    <a:lnTo>
                      <a:pt x="39441" y="9395"/>
                    </a:lnTo>
                    <a:lnTo>
                      <a:pt x="39336" y="9270"/>
                    </a:lnTo>
                    <a:lnTo>
                      <a:pt x="39316" y="9165"/>
                    </a:lnTo>
                    <a:lnTo>
                      <a:pt x="39274" y="9060"/>
                    </a:lnTo>
                    <a:lnTo>
                      <a:pt x="39169" y="8956"/>
                    </a:lnTo>
                    <a:lnTo>
                      <a:pt x="39106" y="8893"/>
                    </a:lnTo>
                    <a:lnTo>
                      <a:pt x="39023" y="8726"/>
                    </a:lnTo>
                    <a:lnTo>
                      <a:pt x="38960" y="8747"/>
                    </a:lnTo>
                    <a:lnTo>
                      <a:pt x="38960" y="8830"/>
                    </a:lnTo>
                    <a:lnTo>
                      <a:pt x="38918" y="8893"/>
                    </a:lnTo>
                    <a:lnTo>
                      <a:pt x="38855" y="8935"/>
                    </a:lnTo>
                    <a:lnTo>
                      <a:pt x="38834" y="8977"/>
                    </a:lnTo>
                    <a:lnTo>
                      <a:pt x="38834" y="9060"/>
                    </a:lnTo>
                    <a:lnTo>
                      <a:pt x="38751" y="9102"/>
                    </a:lnTo>
                    <a:lnTo>
                      <a:pt x="38709" y="9186"/>
                    </a:lnTo>
                    <a:lnTo>
                      <a:pt x="38709" y="9291"/>
                    </a:lnTo>
                    <a:lnTo>
                      <a:pt x="38583" y="9353"/>
                    </a:lnTo>
                    <a:lnTo>
                      <a:pt x="38500" y="9458"/>
                    </a:lnTo>
                    <a:lnTo>
                      <a:pt x="38479" y="9542"/>
                    </a:lnTo>
                    <a:lnTo>
                      <a:pt x="38416" y="9604"/>
                    </a:lnTo>
                    <a:lnTo>
                      <a:pt x="38374" y="9583"/>
                    </a:lnTo>
                    <a:lnTo>
                      <a:pt x="38395" y="9458"/>
                    </a:lnTo>
                    <a:lnTo>
                      <a:pt x="38500" y="9291"/>
                    </a:lnTo>
                    <a:lnTo>
                      <a:pt x="38583" y="9270"/>
                    </a:lnTo>
                    <a:lnTo>
                      <a:pt x="38583" y="9228"/>
                    </a:lnTo>
                    <a:lnTo>
                      <a:pt x="38541" y="9186"/>
                    </a:lnTo>
                    <a:lnTo>
                      <a:pt x="38500" y="9123"/>
                    </a:lnTo>
                    <a:lnTo>
                      <a:pt x="38186" y="9332"/>
                    </a:lnTo>
                    <a:lnTo>
                      <a:pt x="38060" y="9500"/>
                    </a:lnTo>
                    <a:lnTo>
                      <a:pt x="37997" y="9583"/>
                    </a:lnTo>
                    <a:lnTo>
                      <a:pt x="37893" y="9604"/>
                    </a:lnTo>
                    <a:lnTo>
                      <a:pt x="37893" y="9583"/>
                    </a:lnTo>
                    <a:lnTo>
                      <a:pt x="37956" y="9542"/>
                    </a:lnTo>
                    <a:lnTo>
                      <a:pt x="38039" y="9374"/>
                    </a:lnTo>
                    <a:lnTo>
                      <a:pt x="38060" y="9291"/>
                    </a:lnTo>
                    <a:lnTo>
                      <a:pt x="38186" y="9165"/>
                    </a:lnTo>
                    <a:lnTo>
                      <a:pt x="38248" y="9081"/>
                    </a:lnTo>
                    <a:lnTo>
                      <a:pt x="38207" y="9019"/>
                    </a:lnTo>
                    <a:lnTo>
                      <a:pt x="38207" y="8935"/>
                    </a:lnTo>
                    <a:lnTo>
                      <a:pt x="38081" y="9019"/>
                    </a:lnTo>
                    <a:lnTo>
                      <a:pt x="37935" y="9144"/>
                    </a:lnTo>
                    <a:lnTo>
                      <a:pt x="37893" y="9249"/>
                    </a:lnTo>
                    <a:lnTo>
                      <a:pt x="37809" y="9353"/>
                    </a:lnTo>
                    <a:lnTo>
                      <a:pt x="37788" y="9332"/>
                    </a:lnTo>
                    <a:lnTo>
                      <a:pt x="37809" y="9228"/>
                    </a:lnTo>
                    <a:lnTo>
                      <a:pt x="37872" y="9123"/>
                    </a:lnTo>
                    <a:lnTo>
                      <a:pt x="37809" y="9081"/>
                    </a:lnTo>
                    <a:lnTo>
                      <a:pt x="37809" y="9039"/>
                    </a:lnTo>
                    <a:lnTo>
                      <a:pt x="37893" y="9019"/>
                    </a:lnTo>
                    <a:lnTo>
                      <a:pt x="38081" y="8872"/>
                    </a:lnTo>
                    <a:lnTo>
                      <a:pt x="38269" y="8726"/>
                    </a:lnTo>
                    <a:lnTo>
                      <a:pt x="38269" y="8642"/>
                    </a:lnTo>
                    <a:lnTo>
                      <a:pt x="38186" y="8642"/>
                    </a:lnTo>
                    <a:lnTo>
                      <a:pt x="38060" y="8726"/>
                    </a:lnTo>
                    <a:lnTo>
                      <a:pt x="38018" y="8809"/>
                    </a:lnTo>
                    <a:lnTo>
                      <a:pt x="37914" y="8851"/>
                    </a:lnTo>
                    <a:lnTo>
                      <a:pt x="37914" y="8809"/>
                    </a:lnTo>
                    <a:lnTo>
                      <a:pt x="37893" y="8747"/>
                    </a:lnTo>
                    <a:lnTo>
                      <a:pt x="37704" y="8872"/>
                    </a:lnTo>
                    <a:lnTo>
                      <a:pt x="37642" y="8977"/>
                    </a:lnTo>
                    <a:lnTo>
                      <a:pt x="37558" y="9165"/>
                    </a:lnTo>
                    <a:lnTo>
                      <a:pt x="37432" y="9249"/>
                    </a:lnTo>
                    <a:lnTo>
                      <a:pt x="37349" y="9249"/>
                    </a:lnTo>
                    <a:lnTo>
                      <a:pt x="37432" y="9165"/>
                    </a:lnTo>
                    <a:lnTo>
                      <a:pt x="37558" y="9060"/>
                    </a:lnTo>
                    <a:lnTo>
                      <a:pt x="37600" y="8956"/>
                    </a:lnTo>
                    <a:lnTo>
                      <a:pt x="37579" y="8935"/>
                    </a:lnTo>
                    <a:lnTo>
                      <a:pt x="37495" y="8935"/>
                    </a:lnTo>
                    <a:lnTo>
                      <a:pt x="37600" y="8851"/>
                    </a:lnTo>
                    <a:lnTo>
                      <a:pt x="37746" y="8830"/>
                    </a:lnTo>
                    <a:lnTo>
                      <a:pt x="37788" y="8767"/>
                    </a:lnTo>
                    <a:lnTo>
                      <a:pt x="37767" y="8726"/>
                    </a:lnTo>
                    <a:lnTo>
                      <a:pt x="37683" y="8747"/>
                    </a:lnTo>
                    <a:lnTo>
                      <a:pt x="37558" y="8767"/>
                    </a:lnTo>
                    <a:lnTo>
                      <a:pt x="37474" y="8851"/>
                    </a:lnTo>
                    <a:lnTo>
                      <a:pt x="37391" y="8830"/>
                    </a:lnTo>
                    <a:lnTo>
                      <a:pt x="37600" y="8726"/>
                    </a:lnTo>
                    <a:lnTo>
                      <a:pt x="37579" y="8663"/>
                    </a:lnTo>
                    <a:lnTo>
                      <a:pt x="37474" y="8663"/>
                    </a:lnTo>
                    <a:lnTo>
                      <a:pt x="37537" y="8600"/>
                    </a:lnTo>
                    <a:lnTo>
                      <a:pt x="37642" y="8600"/>
                    </a:lnTo>
                    <a:lnTo>
                      <a:pt x="37683" y="8642"/>
                    </a:lnTo>
                    <a:lnTo>
                      <a:pt x="37809" y="8642"/>
                    </a:lnTo>
                    <a:lnTo>
                      <a:pt x="37872" y="8537"/>
                    </a:lnTo>
                    <a:lnTo>
                      <a:pt x="37997" y="8495"/>
                    </a:lnTo>
                    <a:lnTo>
                      <a:pt x="37997" y="8412"/>
                    </a:lnTo>
                    <a:lnTo>
                      <a:pt x="38060" y="8328"/>
                    </a:lnTo>
                    <a:lnTo>
                      <a:pt x="38060" y="8286"/>
                    </a:lnTo>
                    <a:lnTo>
                      <a:pt x="37976" y="8286"/>
                    </a:lnTo>
                    <a:lnTo>
                      <a:pt x="37914" y="8223"/>
                    </a:lnTo>
                    <a:lnTo>
                      <a:pt x="37809" y="8203"/>
                    </a:lnTo>
                    <a:lnTo>
                      <a:pt x="37683" y="8307"/>
                    </a:lnTo>
                    <a:lnTo>
                      <a:pt x="37537" y="8349"/>
                    </a:lnTo>
                    <a:lnTo>
                      <a:pt x="37453" y="8495"/>
                    </a:lnTo>
                    <a:lnTo>
                      <a:pt x="37244" y="8705"/>
                    </a:lnTo>
                    <a:lnTo>
                      <a:pt x="37181" y="8705"/>
                    </a:lnTo>
                    <a:lnTo>
                      <a:pt x="37223" y="8621"/>
                    </a:lnTo>
                    <a:lnTo>
                      <a:pt x="37265" y="8621"/>
                    </a:lnTo>
                    <a:lnTo>
                      <a:pt x="37370" y="8537"/>
                    </a:lnTo>
                    <a:lnTo>
                      <a:pt x="37495" y="8349"/>
                    </a:lnTo>
                    <a:lnTo>
                      <a:pt x="37642" y="8286"/>
                    </a:lnTo>
                    <a:lnTo>
                      <a:pt x="37704" y="8203"/>
                    </a:lnTo>
                    <a:lnTo>
                      <a:pt x="37683" y="8140"/>
                    </a:lnTo>
                    <a:lnTo>
                      <a:pt x="37495" y="8140"/>
                    </a:lnTo>
                    <a:lnTo>
                      <a:pt x="37328" y="8286"/>
                    </a:lnTo>
                    <a:lnTo>
                      <a:pt x="37495" y="8119"/>
                    </a:lnTo>
                    <a:lnTo>
                      <a:pt x="37663" y="8077"/>
                    </a:lnTo>
                    <a:lnTo>
                      <a:pt x="37767" y="8098"/>
                    </a:lnTo>
                    <a:lnTo>
                      <a:pt x="37851" y="8119"/>
                    </a:lnTo>
                    <a:lnTo>
                      <a:pt x="37956" y="8014"/>
                    </a:lnTo>
                    <a:lnTo>
                      <a:pt x="37956" y="7931"/>
                    </a:lnTo>
                    <a:lnTo>
                      <a:pt x="37914" y="7889"/>
                    </a:lnTo>
                    <a:lnTo>
                      <a:pt x="37914" y="7805"/>
                    </a:lnTo>
                    <a:lnTo>
                      <a:pt x="37914" y="7721"/>
                    </a:lnTo>
                    <a:lnTo>
                      <a:pt x="37788" y="7679"/>
                    </a:lnTo>
                    <a:lnTo>
                      <a:pt x="37746" y="7596"/>
                    </a:lnTo>
                    <a:lnTo>
                      <a:pt x="37642" y="7575"/>
                    </a:lnTo>
                    <a:lnTo>
                      <a:pt x="37600" y="7617"/>
                    </a:lnTo>
                    <a:lnTo>
                      <a:pt x="37558" y="7617"/>
                    </a:lnTo>
                    <a:lnTo>
                      <a:pt x="37558" y="7533"/>
                    </a:lnTo>
                    <a:lnTo>
                      <a:pt x="37474" y="7512"/>
                    </a:lnTo>
                    <a:lnTo>
                      <a:pt x="37391" y="7428"/>
                    </a:lnTo>
                    <a:lnTo>
                      <a:pt x="37391" y="7366"/>
                    </a:lnTo>
                    <a:lnTo>
                      <a:pt x="37244" y="7282"/>
                    </a:lnTo>
                    <a:lnTo>
                      <a:pt x="37181" y="7282"/>
                    </a:lnTo>
                    <a:lnTo>
                      <a:pt x="37139" y="7219"/>
                    </a:lnTo>
                    <a:lnTo>
                      <a:pt x="37014" y="7219"/>
                    </a:lnTo>
                    <a:lnTo>
                      <a:pt x="36826" y="7261"/>
                    </a:lnTo>
                    <a:lnTo>
                      <a:pt x="36721" y="7366"/>
                    </a:lnTo>
                    <a:lnTo>
                      <a:pt x="36595" y="7366"/>
                    </a:lnTo>
                    <a:lnTo>
                      <a:pt x="36491" y="7533"/>
                    </a:lnTo>
                    <a:lnTo>
                      <a:pt x="36512" y="7596"/>
                    </a:lnTo>
                    <a:lnTo>
                      <a:pt x="36595" y="7617"/>
                    </a:lnTo>
                    <a:lnTo>
                      <a:pt x="36805" y="7805"/>
                    </a:lnTo>
                    <a:lnTo>
                      <a:pt x="36826" y="7847"/>
                    </a:lnTo>
                    <a:lnTo>
                      <a:pt x="36909" y="7889"/>
                    </a:lnTo>
                    <a:lnTo>
                      <a:pt x="36951" y="7993"/>
                    </a:lnTo>
                    <a:lnTo>
                      <a:pt x="36909" y="7993"/>
                    </a:lnTo>
                    <a:lnTo>
                      <a:pt x="36826" y="7931"/>
                    </a:lnTo>
                    <a:lnTo>
                      <a:pt x="36700" y="7931"/>
                    </a:lnTo>
                    <a:lnTo>
                      <a:pt x="36700" y="7847"/>
                    </a:lnTo>
                    <a:lnTo>
                      <a:pt x="36512" y="7679"/>
                    </a:lnTo>
                    <a:lnTo>
                      <a:pt x="36428" y="7700"/>
                    </a:lnTo>
                    <a:lnTo>
                      <a:pt x="36386" y="7721"/>
                    </a:lnTo>
                    <a:lnTo>
                      <a:pt x="36386" y="7721"/>
                    </a:lnTo>
                    <a:lnTo>
                      <a:pt x="36407" y="7638"/>
                    </a:lnTo>
                    <a:lnTo>
                      <a:pt x="36428" y="7533"/>
                    </a:lnTo>
                    <a:lnTo>
                      <a:pt x="36303" y="7491"/>
                    </a:lnTo>
                    <a:lnTo>
                      <a:pt x="36240" y="7512"/>
                    </a:lnTo>
                    <a:lnTo>
                      <a:pt x="36240" y="7721"/>
                    </a:lnTo>
                    <a:lnTo>
                      <a:pt x="36303" y="7826"/>
                    </a:lnTo>
                    <a:lnTo>
                      <a:pt x="36323" y="7951"/>
                    </a:lnTo>
                    <a:lnTo>
                      <a:pt x="36303" y="8035"/>
                    </a:lnTo>
                    <a:lnTo>
                      <a:pt x="36303" y="7931"/>
                    </a:lnTo>
                    <a:lnTo>
                      <a:pt x="36219" y="7784"/>
                    </a:lnTo>
                    <a:lnTo>
                      <a:pt x="36135" y="7889"/>
                    </a:lnTo>
                    <a:lnTo>
                      <a:pt x="36093" y="7993"/>
                    </a:lnTo>
                    <a:lnTo>
                      <a:pt x="36135" y="8056"/>
                    </a:lnTo>
                    <a:lnTo>
                      <a:pt x="36072" y="8119"/>
                    </a:lnTo>
                    <a:lnTo>
                      <a:pt x="35968" y="8056"/>
                    </a:lnTo>
                    <a:lnTo>
                      <a:pt x="35863" y="8035"/>
                    </a:lnTo>
                    <a:lnTo>
                      <a:pt x="35905" y="7951"/>
                    </a:lnTo>
                    <a:lnTo>
                      <a:pt x="36010" y="7889"/>
                    </a:lnTo>
                    <a:lnTo>
                      <a:pt x="36135" y="7700"/>
                    </a:lnTo>
                    <a:lnTo>
                      <a:pt x="36177" y="7596"/>
                    </a:lnTo>
                    <a:lnTo>
                      <a:pt x="36093" y="7512"/>
                    </a:lnTo>
                    <a:lnTo>
                      <a:pt x="36072" y="7407"/>
                    </a:lnTo>
                    <a:lnTo>
                      <a:pt x="35926" y="7533"/>
                    </a:lnTo>
                    <a:lnTo>
                      <a:pt x="35884" y="7596"/>
                    </a:lnTo>
                    <a:lnTo>
                      <a:pt x="35863" y="7533"/>
                    </a:lnTo>
                    <a:lnTo>
                      <a:pt x="35884" y="7407"/>
                    </a:lnTo>
                    <a:lnTo>
                      <a:pt x="35779" y="7387"/>
                    </a:lnTo>
                    <a:lnTo>
                      <a:pt x="35717" y="7407"/>
                    </a:lnTo>
                    <a:lnTo>
                      <a:pt x="35696" y="7491"/>
                    </a:lnTo>
                    <a:lnTo>
                      <a:pt x="35717" y="7617"/>
                    </a:lnTo>
                    <a:lnTo>
                      <a:pt x="35717" y="7742"/>
                    </a:lnTo>
                    <a:lnTo>
                      <a:pt x="35675" y="7700"/>
                    </a:lnTo>
                    <a:lnTo>
                      <a:pt x="35675" y="7533"/>
                    </a:lnTo>
                    <a:lnTo>
                      <a:pt x="35654" y="7512"/>
                    </a:lnTo>
                    <a:lnTo>
                      <a:pt x="35591" y="7617"/>
                    </a:lnTo>
                    <a:lnTo>
                      <a:pt x="35487" y="7638"/>
                    </a:lnTo>
                    <a:lnTo>
                      <a:pt x="35487" y="7721"/>
                    </a:lnTo>
                    <a:lnTo>
                      <a:pt x="35403" y="7826"/>
                    </a:lnTo>
                    <a:lnTo>
                      <a:pt x="35340" y="7847"/>
                    </a:lnTo>
                    <a:lnTo>
                      <a:pt x="35277" y="7931"/>
                    </a:lnTo>
                    <a:lnTo>
                      <a:pt x="35173" y="7931"/>
                    </a:lnTo>
                    <a:lnTo>
                      <a:pt x="35256" y="7847"/>
                    </a:lnTo>
                    <a:lnTo>
                      <a:pt x="35256" y="7784"/>
                    </a:lnTo>
                    <a:lnTo>
                      <a:pt x="35194" y="7721"/>
                    </a:lnTo>
                    <a:lnTo>
                      <a:pt x="35152" y="7721"/>
                    </a:lnTo>
                    <a:lnTo>
                      <a:pt x="35152" y="7679"/>
                    </a:lnTo>
                    <a:lnTo>
                      <a:pt x="35235" y="7679"/>
                    </a:lnTo>
                    <a:lnTo>
                      <a:pt x="35277" y="7700"/>
                    </a:lnTo>
                    <a:lnTo>
                      <a:pt x="35298" y="7638"/>
                    </a:lnTo>
                    <a:lnTo>
                      <a:pt x="35298" y="7596"/>
                    </a:lnTo>
                    <a:lnTo>
                      <a:pt x="35298" y="7554"/>
                    </a:lnTo>
                    <a:lnTo>
                      <a:pt x="35403" y="7491"/>
                    </a:lnTo>
                    <a:lnTo>
                      <a:pt x="35570" y="7345"/>
                    </a:lnTo>
                    <a:lnTo>
                      <a:pt x="35591" y="7261"/>
                    </a:lnTo>
                    <a:lnTo>
                      <a:pt x="35675" y="7177"/>
                    </a:lnTo>
                    <a:lnTo>
                      <a:pt x="35570" y="7177"/>
                    </a:lnTo>
                    <a:lnTo>
                      <a:pt x="35403" y="7282"/>
                    </a:lnTo>
                    <a:lnTo>
                      <a:pt x="35277" y="7407"/>
                    </a:lnTo>
                    <a:lnTo>
                      <a:pt x="35194" y="7407"/>
                    </a:lnTo>
                    <a:lnTo>
                      <a:pt x="35277" y="7324"/>
                    </a:lnTo>
                    <a:lnTo>
                      <a:pt x="35361" y="7219"/>
                    </a:lnTo>
                    <a:lnTo>
                      <a:pt x="35445" y="7156"/>
                    </a:lnTo>
                    <a:lnTo>
                      <a:pt x="35549" y="7114"/>
                    </a:lnTo>
                    <a:lnTo>
                      <a:pt x="35612" y="7052"/>
                    </a:lnTo>
                    <a:lnTo>
                      <a:pt x="35696" y="7052"/>
                    </a:lnTo>
                    <a:lnTo>
                      <a:pt x="35779" y="6905"/>
                    </a:lnTo>
                    <a:lnTo>
                      <a:pt x="35779" y="6863"/>
                    </a:lnTo>
                    <a:lnTo>
                      <a:pt x="35696" y="6780"/>
                    </a:lnTo>
                    <a:lnTo>
                      <a:pt x="35696" y="6675"/>
                    </a:lnTo>
                    <a:lnTo>
                      <a:pt x="35717" y="6591"/>
                    </a:lnTo>
                    <a:lnTo>
                      <a:pt x="35884" y="6424"/>
                    </a:lnTo>
                    <a:lnTo>
                      <a:pt x="35905" y="6361"/>
                    </a:lnTo>
                    <a:lnTo>
                      <a:pt x="35863" y="6257"/>
                    </a:lnTo>
                    <a:lnTo>
                      <a:pt x="35842" y="6194"/>
                    </a:lnTo>
                    <a:lnTo>
                      <a:pt x="35800" y="6131"/>
                    </a:lnTo>
                    <a:lnTo>
                      <a:pt x="35884" y="6006"/>
                    </a:lnTo>
                    <a:lnTo>
                      <a:pt x="35968" y="5922"/>
                    </a:lnTo>
                    <a:lnTo>
                      <a:pt x="35989" y="5838"/>
                    </a:lnTo>
                    <a:lnTo>
                      <a:pt x="36010" y="5587"/>
                    </a:lnTo>
                    <a:lnTo>
                      <a:pt x="36051" y="5524"/>
                    </a:lnTo>
                    <a:lnTo>
                      <a:pt x="36010" y="5462"/>
                    </a:lnTo>
                    <a:lnTo>
                      <a:pt x="35842" y="5399"/>
                    </a:lnTo>
                    <a:lnTo>
                      <a:pt x="35654" y="5399"/>
                    </a:lnTo>
                    <a:lnTo>
                      <a:pt x="35487" y="5357"/>
                    </a:lnTo>
                    <a:lnTo>
                      <a:pt x="35361" y="5420"/>
                    </a:lnTo>
                    <a:lnTo>
                      <a:pt x="35235" y="5420"/>
                    </a:lnTo>
                    <a:lnTo>
                      <a:pt x="35068" y="5503"/>
                    </a:lnTo>
                    <a:lnTo>
                      <a:pt x="34796" y="5587"/>
                    </a:lnTo>
                    <a:lnTo>
                      <a:pt x="34754" y="5671"/>
                    </a:lnTo>
                    <a:lnTo>
                      <a:pt x="34859" y="5796"/>
                    </a:lnTo>
                    <a:lnTo>
                      <a:pt x="34859" y="5880"/>
                    </a:lnTo>
                    <a:lnTo>
                      <a:pt x="34817" y="5922"/>
                    </a:lnTo>
                    <a:lnTo>
                      <a:pt x="34754" y="5775"/>
                    </a:lnTo>
                    <a:lnTo>
                      <a:pt x="34712" y="5713"/>
                    </a:lnTo>
                    <a:lnTo>
                      <a:pt x="34650" y="5587"/>
                    </a:lnTo>
                    <a:lnTo>
                      <a:pt x="34524" y="5587"/>
                    </a:lnTo>
                    <a:lnTo>
                      <a:pt x="34440" y="5671"/>
                    </a:lnTo>
                    <a:lnTo>
                      <a:pt x="34440" y="5734"/>
                    </a:lnTo>
                    <a:lnTo>
                      <a:pt x="34398" y="5796"/>
                    </a:lnTo>
                    <a:lnTo>
                      <a:pt x="34378" y="5713"/>
                    </a:lnTo>
                    <a:lnTo>
                      <a:pt x="34398" y="5608"/>
                    </a:lnTo>
                    <a:lnTo>
                      <a:pt x="34336" y="5587"/>
                    </a:lnTo>
                    <a:lnTo>
                      <a:pt x="34189" y="5608"/>
                    </a:lnTo>
                    <a:lnTo>
                      <a:pt x="34126" y="5713"/>
                    </a:lnTo>
                    <a:lnTo>
                      <a:pt x="34126" y="5796"/>
                    </a:lnTo>
                    <a:lnTo>
                      <a:pt x="34273" y="5901"/>
                    </a:lnTo>
                    <a:lnTo>
                      <a:pt x="34378" y="6047"/>
                    </a:lnTo>
                    <a:lnTo>
                      <a:pt x="34503" y="6131"/>
                    </a:lnTo>
                    <a:lnTo>
                      <a:pt x="34440" y="6131"/>
                    </a:lnTo>
                    <a:lnTo>
                      <a:pt x="34294" y="6047"/>
                    </a:lnTo>
                    <a:lnTo>
                      <a:pt x="34106" y="5880"/>
                    </a:lnTo>
                    <a:lnTo>
                      <a:pt x="34064" y="5880"/>
                    </a:lnTo>
                    <a:lnTo>
                      <a:pt x="34022" y="5922"/>
                    </a:lnTo>
                    <a:lnTo>
                      <a:pt x="33854" y="5922"/>
                    </a:lnTo>
                    <a:lnTo>
                      <a:pt x="33813" y="5943"/>
                    </a:lnTo>
                    <a:lnTo>
                      <a:pt x="33875" y="6006"/>
                    </a:lnTo>
                    <a:lnTo>
                      <a:pt x="34001" y="6006"/>
                    </a:lnTo>
                    <a:lnTo>
                      <a:pt x="34022" y="6047"/>
                    </a:lnTo>
                    <a:lnTo>
                      <a:pt x="34064" y="6152"/>
                    </a:lnTo>
                    <a:lnTo>
                      <a:pt x="34210" y="6257"/>
                    </a:lnTo>
                    <a:lnTo>
                      <a:pt x="34231" y="6340"/>
                    </a:lnTo>
                    <a:lnTo>
                      <a:pt x="34315" y="6424"/>
                    </a:lnTo>
                    <a:lnTo>
                      <a:pt x="34210" y="6424"/>
                    </a:lnTo>
                    <a:lnTo>
                      <a:pt x="34126" y="6319"/>
                    </a:lnTo>
                    <a:lnTo>
                      <a:pt x="33980" y="6236"/>
                    </a:lnTo>
                    <a:lnTo>
                      <a:pt x="33980" y="6152"/>
                    </a:lnTo>
                    <a:lnTo>
                      <a:pt x="33875" y="6047"/>
                    </a:lnTo>
                    <a:lnTo>
                      <a:pt x="33750" y="6047"/>
                    </a:lnTo>
                    <a:lnTo>
                      <a:pt x="33666" y="6131"/>
                    </a:lnTo>
                    <a:lnTo>
                      <a:pt x="33666" y="6215"/>
                    </a:lnTo>
                    <a:lnTo>
                      <a:pt x="33582" y="6361"/>
                    </a:lnTo>
                    <a:lnTo>
                      <a:pt x="33541" y="6529"/>
                    </a:lnTo>
                    <a:lnTo>
                      <a:pt x="33603" y="6633"/>
                    </a:lnTo>
                    <a:lnTo>
                      <a:pt x="33478" y="6675"/>
                    </a:lnTo>
                    <a:lnTo>
                      <a:pt x="33478" y="6759"/>
                    </a:lnTo>
                    <a:lnTo>
                      <a:pt x="33541" y="6822"/>
                    </a:lnTo>
                    <a:lnTo>
                      <a:pt x="33562" y="6926"/>
                    </a:lnTo>
                    <a:lnTo>
                      <a:pt x="33645" y="6926"/>
                    </a:lnTo>
                    <a:lnTo>
                      <a:pt x="33813" y="6780"/>
                    </a:lnTo>
                    <a:lnTo>
                      <a:pt x="33896" y="6780"/>
                    </a:lnTo>
                    <a:lnTo>
                      <a:pt x="33917" y="6842"/>
                    </a:lnTo>
                    <a:lnTo>
                      <a:pt x="33813" y="6863"/>
                    </a:lnTo>
                    <a:lnTo>
                      <a:pt x="33771" y="6884"/>
                    </a:lnTo>
                    <a:lnTo>
                      <a:pt x="33771" y="6947"/>
                    </a:lnTo>
                    <a:lnTo>
                      <a:pt x="33687" y="6947"/>
                    </a:lnTo>
                    <a:lnTo>
                      <a:pt x="33603" y="7052"/>
                    </a:lnTo>
                    <a:lnTo>
                      <a:pt x="33603" y="7156"/>
                    </a:lnTo>
                    <a:lnTo>
                      <a:pt x="33541" y="7240"/>
                    </a:lnTo>
                    <a:lnTo>
                      <a:pt x="33478" y="7177"/>
                    </a:lnTo>
                    <a:lnTo>
                      <a:pt x="33499" y="7094"/>
                    </a:lnTo>
                    <a:lnTo>
                      <a:pt x="33436" y="6947"/>
                    </a:lnTo>
                    <a:lnTo>
                      <a:pt x="33352" y="6926"/>
                    </a:lnTo>
                    <a:lnTo>
                      <a:pt x="33290" y="7031"/>
                    </a:lnTo>
                    <a:lnTo>
                      <a:pt x="33331" y="7094"/>
                    </a:lnTo>
                    <a:lnTo>
                      <a:pt x="33269" y="7177"/>
                    </a:lnTo>
                    <a:lnTo>
                      <a:pt x="33164" y="7198"/>
                    </a:lnTo>
                    <a:lnTo>
                      <a:pt x="33122" y="7261"/>
                    </a:lnTo>
                    <a:lnTo>
                      <a:pt x="33080" y="7177"/>
                    </a:lnTo>
                    <a:lnTo>
                      <a:pt x="33038" y="7198"/>
                    </a:lnTo>
                    <a:lnTo>
                      <a:pt x="33059" y="7303"/>
                    </a:lnTo>
                    <a:lnTo>
                      <a:pt x="33122" y="7407"/>
                    </a:lnTo>
                    <a:lnTo>
                      <a:pt x="33122" y="7554"/>
                    </a:lnTo>
                    <a:lnTo>
                      <a:pt x="33143" y="7575"/>
                    </a:lnTo>
                    <a:lnTo>
                      <a:pt x="33143" y="7700"/>
                    </a:lnTo>
                    <a:lnTo>
                      <a:pt x="33227" y="7721"/>
                    </a:lnTo>
                    <a:lnTo>
                      <a:pt x="33290" y="7784"/>
                    </a:lnTo>
                    <a:lnTo>
                      <a:pt x="33269" y="7868"/>
                    </a:lnTo>
                    <a:lnTo>
                      <a:pt x="33290" y="7931"/>
                    </a:lnTo>
                    <a:lnTo>
                      <a:pt x="33290" y="8035"/>
                    </a:lnTo>
                    <a:lnTo>
                      <a:pt x="33185" y="8119"/>
                    </a:lnTo>
                    <a:lnTo>
                      <a:pt x="33143" y="8203"/>
                    </a:lnTo>
                    <a:lnTo>
                      <a:pt x="33122" y="8412"/>
                    </a:lnTo>
                    <a:lnTo>
                      <a:pt x="33059" y="8454"/>
                    </a:lnTo>
                    <a:lnTo>
                      <a:pt x="32934" y="8663"/>
                    </a:lnTo>
                    <a:lnTo>
                      <a:pt x="32934" y="8747"/>
                    </a:lnTo>
                    <a:lnTo>
                      <a:pt x="32808" y="8872"/>
                    </a:lnTo>
                    <a:lnTo>
                      <a:pt x="32829" y="8830"/>
                    </a:lnTo>
                    <a:lnTo>
                      <a:pt x="32829" y="8726"/>
                    </a:lnTo>
                    <a:lnTo>
                      <a:pt x="32871" y="8558"/>
                    </a:lnTo>
                    <a:lnTo>
                      <a:pt x="32955" y="8495"/>
                    </a:lnTo>
                    <a:lnTo>
                      <a:pt x="32934" y="8433"/>
                    </a:lnTo>
                    <a:lnTo>
                      <a:pt x="32913" y="8454"/>
                    </a:lnTo>
                    <a:lnTo>
                      <a:pt x="32829" y="8454"/>
                    </a:lnTo>
                    <a:lnTo>
                      <a:pt x="32746" y="8391"/>
                    </a:lnTo>
                    <a:lnTo>
                      <a:pt x="32704" y="8349"/>
                    </a:lnTo>
                    <a:lnTo>
                      <a:pt x="32746" y="8328"/>
                    </a:lnTo>
                    <a:lnTo>
                      <a:pt x="32829" y="8307"/>
                    </a:lnTo>
                    <a:lnTo>
                      <a:pt x="32913" y="8307"/>
                    </a:lnTo>
                    <a:lnTo>
                      <a:pt x="32913" y="8244"/>
                    </a:lnTo>
                    <a:lnTo>
                      <a:pt x="32955" y="8244"/>
                    </a:lnTo>
                    <a:lnTo>
                      <a:pt x="32976" y="8349"/>
                    </a:lnTo>
                    <a:lnTo>
                      <a:pt x="33038" y="8244"/>
                    </a:lnTo>
                    <a:lnTo>
                      <a:pt x="33038" y="8140"/>
                    </a:lnTo>
                    <a:lnTo>
                      <a:pt x="32934" y="8098"/>
                    </a:lnTo>
                    <a:lnTo>
                      <a:pt x="32913" y="8035"/>
                    </a:lnTo>
                    <a:lnTo>
                      <a:pt x="32808" y="7910"/>
                    </a:lnTo>
                    <a:lnTo>
                      <a:pt x="32808" y="7763"/>
                    </a:lnTo>
                    <a:lnTo>
                      <a:pt x="32746" y="7679"/>
                    </a:lnTo>
                    <a:lnTo>
                      <a:pt x="32725" y="7512"/>
                    </a:lnTo>
                    <a:lnTo>
                      <a:pt x="32704" y="7491"/>
                    </a:lnTo>
                    <a:lnTo>
                      <a:pt x="32704" y="7407"/>
                    </a:lnTo>
                    <a:lnTo>
                      <a:pt x="32746" y="7366"/>
                    </a:lnTo>
                    <a:lnTo>
                      <a:pt x="32829" y="7198"/>
                    </a:lnTo>
                    <a:lnTo>
                      <a:pt x="32829" y="7094"/>
                    </a:lnTo>
                    <a:lnTo>
                      <a:pt x="32934" y="6989"/>
                    </a:lnTo>
                    <a:lnTo>
                      <a:pt x="33018" y="6884"/>
                    </a:lnTo>
                    <a:lnTo>
                      <a:pt x="33122" y="6842"/>
                    </a:lnTo>
                    <a:lnTo>
                      <a:pt x="33122" y="6738"/>
                    </a:lnTo>
                    <a:lnTo>
                      <a:pt x="33059" y="6654"/>
                    </a:lnTo>
                    <a:lnTo>
                      <a:pt x="33018" y="6550"/>
                    </a:lnTo>
                    <a:lnTo>
                      <a:pt x="33038" y="6424"/>
                    </a:lnTo>
                    <a:lnTo>
                      <a:pt x="33143" y="6215"/>
                    </a:lnTo>
                    <a:lnTo>
                      <a:pt x="33227" y="6173"/>
                    </a:lnTo>
                    <a:lnTo>
                      <a:pt x="33394" y="6068"/>
                    </a:lnTo>
                    <a:lnTo>
                      <a:pt x="33603" y="5817"/>
                    </a:lnTo>
                    <a:lnTo>
                      <a:pt x="33813" y="5608"/>
                    </a:lnTo>
                    <a:lnTo>
                      <a:pt x="33959" y="5587"/>
                    </a:lnTo>
                    <a:lnTo>
                      <a:pt x="34064" y="5441"/>
                    </a:lnTo>
                    <a:lnTo>
                      <a:pt x="34106" y="5378"/>
                    </a:lnTo>
                    <a:lnTo>
                      <a:pt x="34210" y="5378"/>
                    </a:lnTo>
                    <a:lnTo>
                      <a:pt x="34398" y="5294"/>
                    </a:lnTo>
                    <a:lnTo>
                      <a:pt x="34545" y="5231"/>
                    </a:lnTo>
                    <a:lnTo>
                      <a:pt x="34587" y="5169"/>
                    </a:lnTo>
                    <a:lnTo>
                      <a:pt x="34545" y="5085"/>
                    </a:lnTo>
                    <a:lnTo>
                      <a:pt x="34315" y="4980"/>
                    </a:lnTo>
                    <a:lnTo>
                      <a:pt x="34189" y="4897"/>
                    </a:lnTo>
                    <a:lnTo>
                      <a:pt x="34001" y="4897"/>
                    </a:lnTo>
                    <a:lnTo>
                      <a:pt x="33959" y="4876"/>
                    </a:lnTo>
                    <a:lnTo>
                      <a:pt x="33875" y="4897"/>
                    </a:lnTo>
                    <a:lnTo>
                      <a:pt x="33708" y="4876"/>
                    </a:lnTo>
                    <a:lnTo>
                      <a:pt x="33645" y="4897"/>
                    </a:lnTo>
                    <a:lnTo>
                      <a:pt x="33436" y="4897"/>
                    </a:lnTo>
                    <a:lnTo>
                      <a:pt x="33122" y="5001"/>
                    </a:lnTo>
                    <a:lnTo>
                      <a:pt x="32934" y="5190"/>
                    </a:lnTo>
                    <a:lnTo>
                      <a:pt x="32725" y="5273"/>
                    </a:lnTo>
                    <a:lnTo>
                      <a:pt x="32704" y="5378"/>
                    </a:lnTo>
                    <a:lnTo>
                      <a:pt x="32725" y="5482"/>
                    </a:lnTo>
                    <a:lnTo>
                      <a:pt x="32641" y="5441"/>
                    </a:lnTo>
                    <a:lnTo>
                      <a:pt x="32557" y="5441"/>
                    </a:lnTo>
                    <a:lnTo>
                      <a:pt x="32494" y="5545"/>
                    </a:lnTo>
                    <a:lnTo>
                      <a:pt x="32348" y="5545"/>
                    </a:lnTo>
                    <a:lnTo>
                      <a:pt x="32243" y="5692"/>
                    </a:lnTo>
                    <a:lnTo>
                      <a:pt x="32243" y="5796"/>
                    </a:lnTo>
                    <a:lnTo>
                      <a:pt x="32181" y="5796"/>
                    </a:lnTo>
                    <a:lnTo>
                      <a:pt x="32034" y="6006"/>
                    </a:lnTo>
                    <a:lnTo>
                      <a:pt x="32097" y="6068"/>
                    </a:lnTo>
                    <a:lnTo>
                      <a:pt x="32034" y="6152"/>
                    </a:lnTo>
                    <a:lnTo>
                      <a:pt x="31992" y="6068"/>
                    </a:lnTo>
                    <a:lnTo>
                      <a:pt x="31930" y="6068"/>
                    </a:lnTo>
                    <a:lnTo>
                      <a:pt x="31888" y="6257"/>
                    </a:lnTo>
                    <a:lnTo>
                      <a:pt x="31762" y="6257"/>
                    </a:lnTo>
                    <a:lnTo>
                      <a:pt x="31678" y="6361"/>
                    </a:lnTo>
                    <a:lnTo>
                      <a:pt x="31616" y="6424"/>
                    </a:lnTo>
                    <a:lnTo>
                      <a:pt x="31553" y="6570"/>
                    </a:lnTo>
                    <a:lnTo>
                      <a:pt x="31448" y="6759"/>
                    </a:lnTo>
                    <a:lnTo>
                      <a:pt x="31448" y="6863"/>
                    </a:lnTo>
                    <a:lnTo>
                      <a:pt x="31490" y="6842"/>
                    </a:lnTo>
                    <a:lnTo>
                      <a:pt x="31511" y="6842"/>
                    </a:lnTo>
                    <a:lnTo>
                      <a:pt x="31490" y="6905"/>
                    </a:lnTo>
                    <a:lnTo>
                      <a:pt x="31406" y="6905"/>
                    </a:lnTo>
                    <a:lnTo>
                      <a:pt x="31260" y="6989"/>
                    </a:lnTo>
                    <a:lnTo>
                      <a:pt x="31239" y="7094"/>
                    </a:lnTo>
                    <a:lnTo>
                      <a:pt x="31155" y="7114"/>
                    </a:lnTo>
                    <a:lnTo>
                      <a:pt x="31134" y="7198"/>
                    </a:lnTo>
                    <a:lnTo>
                      <a:pt x="31134" y="7407"/>
                    </a:lnTo>
                    <a:lnTo>
                      <a:pt x="31072" y="7512"/>
                    </a:lnTo>
                    <a:lnTo>
                      <a:pt x="30988" y="7512"/>
                    </a:lnTo>
                    <a:lnTo>
                      <a:pt x="30967" y="7659"/>
                    </a:lnTo>
                    <a:lnTo>
                      <a:pt x="30967" y="7721"/>
                    </a:lnTo>
                    <a:lnTo>
                      <a:pt x="30862" y="7784"/>
                    </a:lnTo>
                    <a:lnTo>
                      <a:pt x="30821" y="7972"/>
                    </a:lnTo>
                    <a:lnTo>
                      <a:pt x="30862" y="8077"/>
                    </a:lnTo>
                    <a:lnTo>
                      <a:pt x="31072" y="8182"/>
                    </a:lnTo>
                    <a:lnTo>
                      <a:pt x="31176" y="8182"/>
                    </a:lnTo>
                    <a:lnTo>
                      <a:pt x="31302" y="8244"/>
                    </a:lnTo>
                    <a:lnTo>
                      <a:pt x="31385" y="8244"/>
                    </a:lnTo>
                    <a:lnTo>
                      <a:pt x="31511" y="8328"/>
                    </a:lnTo>
                    <a:lnTo>
                      <a:pt x="31678" y="8328"/>
                    </a:lnTo>
                    <a:lnTo>
                      <a:pt x="31699" y="8495"/>
                    </a:lnTo>
                    <a:lnTo>
                      <a:pt x="31867" y="8558"/>
                    </a:lnTo>
                    <a:lnTo>
                      <a:pt x="31888" y="8642"/>
                    </a:lnTo>
                    <a:lnTo>
                      <a:pt x="31971" y="8705"/>
                    </a:lnTo>
                    <a:lnTo>
                      <a:pt x="31804" y="8705"/>
                    </a:lnTo>
                    <a:lnTo>
                      <a:pt x="31762" y="8726"/>
                    </a:lnTo>
                    <a:lnTo>
                      <a:pt x="31574" y="8726"/>
                    </a:lnTo>
                    <a:lnTo>
                      <a:pt x="31365" y="8642"/>
                    </a:lnTo>
                    <a:lnTo>
                      <a:pt x="31344" y="8537"/>
                    </a:lnTo>
                    <a:lnTo>
                      <a:pt x="31239" y="8454"/>
                    </a:lnTo>
                    <a:lnTo>
                      <a:pt x="31051" y="8454"/>
                    </a:lnTo>
                    <a:lnTo>
                      <a:pt x="30988" y="8412"/>
                    </a:lnTo>
                    <a:lnTo>
                      <a:pt x="30883" y="8391"/>
                    </a:lnTo>
                    <a:lnTo>
                      <a:pt x="30862" y="8433"/>
                    </a:lnTo>
                    <a:lnTo>
                      <a:pt x="30925" y="8558"/>
                    </a:lnTo>
                    <a:lnTo>
                      <a:pt x="30925" y="8642"/>
                    </a:lnTo>
                    <a:lnTo>
                      <a:pt x="30841" y="8642"/>
                    </a:lnTo>
                    <a:lnTo>
                      <a:pt x="30821" y="8726"/>
                    </a:lnTo>
                    <a:lnTo>
                      <a:pt x="30862" y="8914"/>
                    </a:lnTo>
                    <a:lnTo>
                      <a:pt x="30883" y="9039"/>
                    </a:lnTo>
                    <a:lnTo>
                      <a:pt x="30862" y="9165"/>
                    </a:lnTo>
                    <a:lnTo>
                      <a:pt x="30883" y="9270"/>
                    </a:lnTo>
                    <a:lnTo>
                      <a:pt x="31030" y="9353"/>
                    </a:lnTo>
                    <a:lnTo>
                      <a:pt x="31134" y="9458"/>
                    </a:lnTo>
                    <a:lnTo>
                      <a:pt x="31134" y="9500"/>
                    </a:lnTo>
                    <a:lnTo>
                      <a:pt x="31072" y="9458"/>
                    </a:lnTo>
                    <a:lnTo>
                      <a:pt x="31051" y="9458"/>
                    </a:lnTo>
                    <a:lnTo>
                      <a:pt x="31072" y="9563"/>
                    </a:lnTo>
                    <a:lnTo>
                      <a:pt x="31155" y="9667"/>
                    </a:lnTo>
                    <a:lnTo>
                      <a:pt x="31197" y="9667"/>
                    </a:lnTo>
                    <a:lnTo>
                      <a:pt x="31197" y="9583"/>
                    </a:lnTo>
                    <a:lnTo>
                      <a:pt x="31281" y="9563"/>
                    </a:lnTo>
                    <a:lnTo>
                      <a:pt x="31385" y="9583"/>
                    </a:lnTo>
                    <a:lnTo>
                      <a:pt x="31469" y="9667"/>
                    </a:lnTo>
                    <a:lnTo>
                      <a:pt x="31553" y="9688"/>
                    </a:lnTo>
                    <a:lnTo>
                      <a:pt x="31574" y="9646"/>
                    </a:lnTo>
                    <a:lnTo>
                      <a:pt x="31553" y="9583"/>
                    </a:lnTo>
                    <a:lnTo>
                      <a:pt x="31574" y="9500"/>
                    </a:lnTo>
                    <a:lnTo>
                      <a:pt x="31616" y="9479"/>
                    </a:lnTo>
                    <a:lnTo>
                      <a:pt x="31678" y="9542"/>
                    </a:lnTo>
                    <a:lnTo>
                      <a:pt x="31657" y="9646"/>
                    </a:lnTo>
                    <a:lnTo>
                      <a:pt x="31678" y="9709"/>
                    </a:lnTo>
                    <a:lnTo>
                      <a:pt x="31720" y="9709"/>
                    </a:lnTo>
                    <a:lnTo>
                      <a:pt x="31783" y="9583"/>
                    </a:lnTo>
                    <a:lnTo>
                      <a:pt x="31909" y="9563"/>
                    </a:lnTo>
                    <a:lnTo>
                      <a:pt x="31992" y="9479"/>
                    </a:lnTo>
                    <a:lnTo>
                      <a:pt x="32013" y="9500"/>
                    </a:lnTo>
                    <a:lnTo>
                      <a:pt x="31971" y="9583"/>
                    </a:lnTo>
                    <a:lnTo>
                      <a:pt x="31783" y="9688"/>
                    </a:lnTo>
                    <a:lnTo>
                      <a:pt x="31762" y="9793"/>
                    </a:lnTo>
                    <a:lnTo>
                      <a:pt x="31867" y="9876"/>
                    </a:lnTo>
                    <a:lnTo>
                      <a:pt x="31888" y="10023"/>
                    </a:lnTo>
                    <a:lnTo>
                      <a:pt x="32013" y="10169"/>
                    </a:lnTo>
                    <a:lnTo>
                      <a:pt x="32181" y="10169"/>
                    </a:lnTo>
                    <a:lnTo>
                      <a:pt x="32222" y="10107"/>
                    </a:lnTo>
                    <a:lnTo>
                      <a:pt x="32118" y="10023"/>
                    </a:lnTo>
                    <a:lnTo>
                      <a:pt x="32181" y="10002"/>
                    </a:lnTo>
                    <a:lnTo>
                      <a:pt x="32285" y="10023"/>
                    </a:lnTo>
                    <a:lnTo>
                      <a:pt x="32348" y="10107"/>
                    </a:lnTo>
                    <a:lnTo>
                      <a:pt x="32411" y="10086"/>
                    </a:lnTo>
                    <a:lnTo>
                      <a:pt x="32494" y="10002"/>
                    </a:lnTo>
                    <a:lnTo>
                      <a:pt x="32599" y="9897"/>
                    </a:lnTo>
                    <a:lnTo>
                      <a:pt x="32662" y="9897"/>
                    </a:lnTo>
                    <a:lnTo>
                      <a:pt x="32662" y="9960"/>
                    </a:lnTo>
                    <a:lnTo>
                      <a:pt x="32599" y="9981"/>
                    </a:lnTo>
                    <a:lnTo>
                      <a:pt x="32432" y="10127"/>
                    </a:lnTo>
                    <a:lnTo>
                      <a:pt x="32432" y="10211"/>
                    </a:lnTo>
                    <a:lnTo>
                      <a:pt x="32453" y="10232"/>
                    </a:lnTo>
                    <a:cubicBezTo>
                      <a:pt x="32411" y="10295"/>
                      <a:pt x="32390" y="10379"/>
                      <a:pt x="32348" y="10441"/>
                    </a:cubicBezTo>
                    <a:lnTo>
                      <a:pt x="32306" y="10441"/>
                    </a:lnTo>
                    <a:lnTo>
                      <a:pt x="32222" y="10504"/>
                    </a:lnTo>
                    <a:lnTo>
                      <a:pt x="32139" y="10504"/>
                    </a:lnTo>
                    <a:lnTo>
                      <a:pt x="32097" y="10420"/>
                    </a:lnTo>
                    <a:lnTo>
                      <a:pt x="31992" y="10400"/>
                    </a:lnTo>
                    <a:lnTo>
                      <a:pt x="32013" y="10441"/>
                    </a:lnTo>
                    <a:lnTo>
                      <a:pt x="32097" y="10504"/>
                    </a:lnTo>
                    <a:lnTo>
                      <a:pt x="32076" y="10609"/>
                    </a:lnTo>
                    <a:lnTo>
                      <a:pt x="31971" y="10609"/>
                    </a:lnTo>
                    <a:lnTo>
                      <a:pt x="31971" y="10630"/>
                    </a:lnTo>
                    <a:lnTo>
                      <a:pt x="31992" y="10692"/>
                    </a:lnTo>
                    <a:lnTo>
                      <a:pt x="31909" y="10755"/>
                    </a:lnTo>
                    <a:lnTo>
                      <a:pt x="31909" y="10839"/>
                    </a:lnTo>
                    <a:lnTo>
                      <a:pt x="31971" y="10923"/>
                    </a:lnTo>
                    <a:lnTo>
                      <a:pt x="31888" y="10923"/>
                    </a:lnTo>
                    <a:lnTo>
                      <a:pt x="31888" y="11027"/>
                    </a:lnTo>
                    <a:lnTo>
                      <a:pt x="31804" y="11111"/>
                    </a:lnTo>
                    <a:lnTo>
                      <a:pt x="31804" y="11278"/>
                    </a:lnTo>
                    <a:lnTo>
                      <a:pt x="31867" y="11278"/>
                    </a:lnTo>
                    <a:lnTo>
                      <a:pt x="31909" y="11383"/>
                    </a:lnTo>
                    <a:lnTo>
                      <a:pt x="31950" y="11383"/>
                    </a:lnTo>
                    <a:lnTo>
                      <a:pt x="32013" y="11488"/>
                    </a:lnTo>
                    <a:lnTo>
                      <a:pt x="31950" y="11508"/>
                    </a:lnTo>
                    <a:lnTo>
                      <a:pt x="31888" y="11508"/>
                    </a:lnTo>
                    <a:lnTo>
                      <a:pt x="31825" y="11571"/>
                    </a:lnTo>
                    <a:lnTo>
                      <a:pt x="31783" y="11508"/>
                    </a:lnTo>
                    <a:lnTo>
                      <a:pt x="31637" y="11550"/>
                    </a:lnTo>
                    <a:lnTo>
                      <a:pt x="31595" y="11634"/>
                    </a:lnTo>
                    <a:lnTo>
                      <a:pt x="31699" y="11739"/>
                    </a:lnTo>
                    <a:lnTo>
                      <a:pt x="31741" y="11739"/>
                    </a:lnTo>
                    <a:lnTo>
                      <a:pt x="31741" y="11801"/>
                    </a:lnTo>
                    <a:lnTo>
                      <a:pt x="31637" y="11843"/>
                    </a:lnTo>
                    <a:lnTo>
                      <a:pt x="31595" y="11780"/>
                    </a:lnTo>
                    <a:lnTo>
                      <a:pt x="31511" y="11864"/>
                    </a:lnTo>
                    <a:lnTo>
                      <a:pt x="31427" y="11739"/>
                    </a:lnTo>
                    <a:lnTo>
                      <a:pt x="31323" y="11801"/>
                    </a:lnTo>
                    <a:lnTo>
                      <a:pt x="31218" y="12011"/>
                    </a:lnTo>
                    <a:lnTo>
                      <a:pt x="31113" y="12262"/>
                    </a:lnTo>
                    <a:lnTo>
                      <a:pt x="30988" y="12492"/>
                    </a:lnTo>
                    <a:lnTo>
                      <a:pt x="30779" y="12638"/>
                    </a:lnTo>
                    <a:lnTo>
                      <a:pt x="30737" y="12743"/>
                    </a:lnTo>
                    <a:lnTo>
                      <a:pt x="30674" y="12743"/>
                    </a:lnTo>
                    <a:lnTo>
                      <a:pt x="30569" y="12910"/>
                    </a:lnTo>
                    <a:lnTo>
                      <a:pt x="30465" y="12952"/>
                    </a:lnTo>
                    <a:lnTo>
                      <a:pt x="30444" y="13140"/>
                    </a:lnTo>
                    <a:lnTo>
                      <a:pt x="30360" y="13224"/>
                    </a:lnTo>
                    <a:lnTo>
                      <a:pt x="30339" y="13350"/>
                    </a:lnTo>
                    <a:lnTo>
                      <a:pt x="30277" y="13350"/>
                    </a:lnTo>
                    <a:lnTo>
                      <a:pt x="30235" y="13224"/>
                    </a:lnTo>
                    <a:lnTo>
                      <a:pt x="30151" y="13224"/>
                    </a:lnTo>
                    <a:lnTo>
                      <a:pt x="30067" y="13308"/>
                    </a:lnTo>
                    <a:lnTo>
                      <a:pt x="30109" y="13350"/>
                    </a:lnTo>
                    <a:lnTo>
                      <a:pt x="30130" y="13475"/>
                    </a:lnTo>
                    <a:lnTo>
                      <a:pt x="30046" y="13475"/>
                    </a:lnTo>
                    <a:lnTo>
                      <a:pt x="29963" y="13413"/>
                    </a:lnTo>
                    <a:lnTo>
                      <a:pt x="30005" y="13308"/>
                    </a:lnTo>
                    <a:lnTo>
                      <a:pt x="29921" y="13140"/>
                    </a:lnTo>
                    <a:lnTo>
                      <a:pt x="29837" y="12743"/>
                    </a:lnTo>
                    <a:lnTo>
                      <a:pt x="29837" y="12576"/>
                    </a:lnTo>
                    <a:lnTo>
                      <a:pt x="29816" y="12492"/>
                    </a:lnTo>
                    <a:lnTo>
                      <a:pt x="29858" y="12366"/>
                    </a:lnTo>
                    <a:lnTo>
                      <a:pt x="29942" y="12262"/>
                    </a:lnTo>
                    <a:lnTo>
                      <a:pt x="29921" y="12115"/>
                    </a:lnTo>
                    <a:lnTo>
                      <a:pt x="29963" y="12011"/>
                    </a:lnTo>
                    <a:lnTo>
                      <a:pt x="30046" y="11969"/>
                    </a:lnTo>
                    <a:lnTo>
                      <a:pt x="30130" y="12011"/>
                    </a:lnTo>
                    <a:lnTo>
                      <a:pt x="30214" y="11990"/>
                    </a:lnTo>
                    <a:lnTo>
                      <a:pt x="30277" y="11885"/>
                    </a:lnTo>
                    <a:lnTo>
                      <a:pt x="30256" y="11655"/>
                    </a:lnTo>
                    <a:lnTo>
                      <a:pt x="30318" y="11550"/>
                    </a:lnTo>
                    <a:lnTo>
                      <a:pt x="30318" y="11153"/>
                    </a:lnTo>
                    <a:lnTo>
                      <a:pt x="30214" y="11027"/>
                    </a:lnTo>
                    <a:lnTo>
                      <a:pt x="30172" y="10860"/>
                    </a:lnTo>
                    <a:lnTo>
                      <a:pt x="30109" y="10692"/>
                    </a:lnTo>
                    <a:lnTo>
                      <a:pt x="30067" y="10588"/>
                    </a:lnTo>
                    <a:lnTo>
                      <a:pt x="30025" y="10525"/>
                    </a:lnTo>
                    <a:lnTo>
                      <a:pt x="29963" y="10525"/>
                    </a:lnTo>
                    <a:lnTo>
                      <a:pt x="29921" y="10630"/>
                    </a:lnTo>
                    <a:lnTo>
                      <a:pt x="29795" y="10839"/>
                    </a:lnTo>
                    <a:lnTo>
                      <a:pt x="29628" y="10964"/>
                    </a:lnTo>
                    <a:lnTo>
                      <a:pt x="29607" y="11069"/>
                    </a:lnTo>
                    <a:lnTo>
                      <a:pt x="29607" y="11278"/>
                    </a:lnTo>
                    <a:lnTo>
                      <a:pt x="29544" y="11341"/>
                    </a:lnTo>
                    <a:lnTo>
                      <a:pt x="29481" y="11278"/>
                    </a:lnTo>
                    <a:lnTo>
                      <a:pt x="29398" y="11362"/>
                    </a:lnTo>
                    <a:lnTo>
                      <a:pt x="29419" y="11383"/>
                    </a:lnTo>
                    <a:lnTo>
                      <a:pt x="29398" y="11446"/>
                    </a:lnTo>
                    <a:lnTo>
                      <a:pt x="29230" y="11529"/>
                    </a:lnTo>
                    <a:lnTo>
                      <a:pt x="29189" y="11592"/>
                    </a:lnTo>
                    <a:lnTo>
                      <a:pt x="29084" y="11697"/>
                    </a:lnTo>
                    <a:lnTo>
                      <a:pt x="29000" y="11697"/>
                    </a:lnTo>
                    <a:lnTo>
                      <a:pt x="29000" y="11634"/>
                    </a:lnTo>
                    <a:lnTo>
                      <a:pt x="29084" y="11592"/>
                    </a:lnTo>
                    <a:lnTo>
                      <a:pt x="29084" y="11467"/>
                    </a:lnTo>
                    <a:lnTo>
                      <a:pt x="29042" y="11425"/>
                    </a:lnTo>
                    <a:lnTo>
                      <a:pt x="29147" y="11278"/>
                    </a:lnTo>
                    <a:lnTo>
                      <a:pt x="29168" y="11174"/>
                    </a:lnTo>
                    <a:lnTo>
                      <a:pt x="29168" y="11069"/>
                    </a:lnTo>
                    <a:lnTo>
                      <a:pt x="29251" y="11027"/>
                    </a:lnTo>
                    <a:lnTo>
                      <a:pt x="29251" y="10923"/>
                    </a:lnTo>
                    <a:lnTo>
                      <a:pt x="29209" y="10902"/>
                    </a:lnTo>
                    <a:lnTo>
                      <a:pt x="29251" y="10755"/>
                    </a:lnTo>
                    <a:lnTo>
                      <a:pt x="29147" y="10609"/>
                    </a:lnTo>
                    <a:lnTo>
                      <a:pt x="29147" y="10525"/>
                    </a:lnTo>
                    <a:lnTo>
                      <a:pt x="29084" y="10420"/>
                    </a:lnTo>
                    <a:lnTo>
                      <a:pt x="29084" y="10379"/>
                    </a:lnTo>
                    <a:lnTo>
                      <a:pt x="29147" y="10400"/>
                    </a:lnTo>
                    <a:lnTo>
                      <a:pt x="29189" y="10400"/>
                    </a:lnTo>
                    <a:lnTo>
                      <a:pt x="29209" y="10525"/>
                    </a:lnTo>
                    <a:lnTo>
                      <a:pt x="29272" y="10504"/>
                    </a:lnTo>
                    <a:lnTo>
                      <a:pt x="29377" y="10379"/>
                    </a:lnTo>
                    <a:lnTo>
                      <a:pt x="29481" y="10379"/>
                    </a:lnTo>
                    <a:lnTo>
                      <a:pt x="29565" y="10295"/>
                    </a:lnTo>
                    <a:lnTo>
                      <a:pt x="29481" y="10232"/>
                    </a:lnTo>
                    <a:lnTo>
                      <a:pt x="29377" y="10316"/>
                    </a:lnTo>
                    <a:lnTo>
                      <a:pt x="29293" y="10232"/>
                    </a:lnTo>
                    <a:lnTo>
                      <a:pt x="29189" y="10211"/>
                    </a:lnTo>
                    <a:lnTo>
                      <a:pt x="29189" y="10107"/>
                    </a:lnTo>
                    <a:lnTo>
                      <a:pt x="29230" y="10065"/>
                    </a:lnTo>
                    <a:lnTo>
                      <a:pt x="29209" y="10002"/>
                    </a:lnTo>
                    <a:lnTo>
                      <a:pt x="29126" y="10023"/>
                    </a:lnTo>
                    <a:lnTo>
                      <a:pt x="29105" y="10107"/>
                    </a:lnTo>
                    <a:lnTo>
                      <a:pt x="28958" y="10169"/>
                    </a:lnTo>
                    <a:lnTo>
                      <a:pt x="28854" y="10065"/>
                    </a:lnTo>
                    <a:lnTo>
                      <a:pt x="28854" y="9939"/>
                    </a:lnTo>
                    <a:lnTo>
                      <a:pt x="28770" y="9918"/>
                    </a:lnTo>
                    <a:lnTo>
                      <a:pt x="28665" y="9939"/>
                    </a:lnTo>
                    <a:lnTo>
                      <a:pt x="28603" y="9897"/>
                    </a:lnTo>
                    <a:lnTo>
                      <a:pt x="28644" y="9793"/>
                    </a:lnTo>
                    <a:lnTo>
                      <a:pt x="28707" y="9772"/>
                    </a:lnTo>
                    <a:lnTo>
                      <a:pt x="28749" y="9709"/>
                    </a:lnTo>
                    <a:lnTo>
                      <a:pt x="28812" y="9709"/>
                    </a:lnTo>
                    <a:lnTo>
                      <a:pt x="29126" y="9500"/>
                    </a:lnTo>
                    <a:lnTo>
                      <a:pt x="29168" y="9458"/>
                    </a:lnTo>
                    <a:lnTo>
                      <a:pt x="29042" y="9332"/>
                    </a:lnTo>
                    <a:lnTo>
                      <a:pt x="28875" y="9353"/>
                    </a:lnTo>
                    <a:lnTo>
                      <a:pt x="28875" y="9332"/>
                    </a:lnTo>
                    <a:lnTo>
                      <a:pt x="28979" y="9270"/>
                    </a:lnTo>
                    <a:lnTo>
                      <a:pt x="29042" y="9144"/>
                    </a:lnTo>
                    <a:lnTo>
                      <a:pt x="29168" y="9081"/>
                    </a:lnTo>
                    <a:lnTo>
                      <a:pt x="29147" y="9228"/>
                    </a:lnTo>
                    <a:lnTo>
                      <a:pt x="29189" y="9332"/>
                    </a:lnTo>
                    <a:lnTo>
                      <a:pt x="29293" y="9291"/>
                    </a:lnTo>
                    <a:lnTo>
                      <a:pt x="29377" y="9332"/>
                    </a:lnTo>
                    <a:lnTo>
                      <a:pt x="29461" y="9249"/>
                    </a:lnTo>
                    <a:lnTo>
                      <a:pt x="29461" y="9144"/>
                    </a:lnTo>
                    <a:lnTo>
                      <a:pt x="29377" y="9039"/>
                    </a:lnTo>
                    <a:lnTo>
                      <a:pt x="29293" y="9019"/>
                    </a:lnTo>
                    <a:lnTo>
                      <a:pt x="29293" y="8935"/>
                    </a:lnTo>
                    <a:lnTo>
                      <a:pt x="29314" y="8830"/>
                    </a:lnTo>
                    <a:lnTo>
                      <a:pt x="29293" y="8726"/>
                    </a:lnTo>
                    <a:lnTo>
                      <a:pt x="29314" y="8663"/>
                    </a:lnTo>
                    <a:lnTo>
                      <a:pt x="29314" y="8600"/>
                    </a:lnTo>
                    <a:lnTo>
                      <a:pt x="29209" y="8454"/>
                    </a:lnTo>
                    <a:lnTo>
                      <a:pt x="29272" y="8349"/>
                    </a:lnTo>
                    <a:lnTo>
                      <a:pt x="29209" y="8244"/>
                    </a:lnTo>
                    <a:lnTo>
                      <a:pt x="29272" y="8223"/>
                    </a:lnTo>
                    <a:lnTo>
                      <a:pt x="29272" y="8077"/>
                    </a:lnTo>
                    <a:lnTo>
                      <a:pt x="29356" y="7931"/>
                    </a:lnTo>
                    <a:lnTo>
                      <a:pt x="29356" y="7847"/>
                    </a:lnTo>
                    <a:lnTo>
                      <a:pt x="29419" y="7742"/>
                    </a:lnTo>
                    <a:lnTo>
                      <a:pt x="29419" y="7700"/>
                    </a:lnTo>
                    <a:lnTo>
                      <a:pt x="29356" y="7659"/>
                    </a:lnTo>
                    <a:lnTo>
                      <a:pt x="29377" y="7449"/>
                    </a:lnTo>
                    <a:lnTo>
                      <a:pt x="29356" y="7324"/>
                    </a:lnTo>
                    <a:lnTo>
                      <a:pt x="29251" y="7261"/>
                    </a:lnTo>
                    <a:lnTo>
                      <a:pt x="29272" y="7177"/>
                    </a:lnTo>
                    <a:lnTo>
                      <a:pt x="29251" y="7073"/>
                    </a:lnTo>
                    <a:lnTo>
                      <a:pt x="29293" y="7052"/>
                    </a:lnTo>
                    <a:lnTo>
                      <a:pt x="29335" y="6947"/>
                    </a:lnTo>
                    <a:lnTo>
                      <a:pt x="29272" y="6884"/>
                    </a:lnTo>
                    <a:lnTo>
                      <a:pt x="29230" y="6863"/>
                    </a:lnTo>
                    <a:cubicBezTo>
                      <a:pt x="29272" y="6842"/>
                      <a:pt x="29293" y="6801"/>
                      <a:pt x="29293" y="6759"/>
                    </a:cubicBezTo>
                    <a:cubicBezTo>
                      <a:pt x="29314" y="6696"/>
                      <a:pt x="29335" y="6654"/>
                      <a:pt x="29335" y="6591"/>
                    </a:cubicBezTo>
                    <a:lnTo>
                      <a:pt x="29377" y="6550"/>
                    </a:lnTo>
                    <a:lnTo>
                      <a:pt x="29377" y="6445"/>
                    </a:lnTo>
                    <a:lnTo>
                      <a:pt x="29440" y="6445"/>
                    </a:lnTo>
                    <a:lnTo>
                      <a:pt x="29523" y="6361"/>
                    </a:lnTo>
                    <a:lnTo>
                      <a:pt x="29586" y="6257"/>
                    </a:lnTo>
                    <a:lnTo>
                      <a:pt x="29649" y="6215"/>
                    </a:lnTo>
                    <a:lnTo>
                      <a:pt x="29753" y="6215"/>
                    </a:lnTo>
                    <a:lnTo>
                      <a:pt x="29816" y="6131"/>
                    </a:lnTo>
                    <a:lnTo>
                      <a:pt x="29900" y="6068"/>
                    </a:lnTo>
                    <a:lnTo>
                      <a:pt x="29942" y="5964"/>
                    </a:lnTo>
                    <a:lnTo>
                      <a:pt x="29942" y="5838"/>
                    </a:lnTo>
                    <a:lnTo>
                      <a:pt x="29900" y="5796"/>
                    </a:lnTo>
                    <a:lnTo>
                      <a:pt x="29963" y="5713"/>
                    </a:lnTo>
                    <a:lnTo>
                      <a:pt x="30005" y="5629"/>
                    </a:lnTo>
                    <a:lnTo>
                      <a:pt x="29795" y="5629"/>
                    </a:lnTo>
                    <a:lnTo>
                      <a:pt x="29733" y="5587"/>
                    </a:lnTo>
                    <a:lnTo>
                      <a:pt x="29753" y="5503"/>
                    </a:lnTo>
                    <a:lnTo>
                      <a:pt x="29837" y="5503"/>
                    </a:lnTo>
                    <a:lnTo>
                      <a:pt x="29921" y="5545"/>
                    </a:lnTo>
                    <a:lnTo>
                      <a:pt x="30025" y="5545"/>
                    </a:lnTo>
                    <a:lnTo>
                      <a:pt x="30130" y="5587"/>
                    </a:lnTo>
                    <a:lnTo>
                      <a:pt x="30214" y="5524"/>
                    </a:lnTo>
                    <a:lnTo>
                      <a:pt x="30297" y="5545"/>
                    </a:lnTo>
                    <a:lnTo>
                      <a:pt x="30318" y="5650"/>
                    </a:lnTo>
                    <a:lnTo>
                      <a:pt x="30465" y="5796"/>
                    </a:lnTo>
                    <a:lnTo>
                      <a:pt x="30549" y="5796"/>
                    </a:lnTo>
                    <a:lnTo>
                      <a:pt x="30569" y="5838"/>
                    </a:lnTo>
                    <a:lnTo>
                      <a:pt x="30653" y="5859"/>
                    </a:lnTo>
                    <a:lnTo>
                      <a:pt x="30779" y="5817"/>
                    </a:lnTo>
                    <a:lnTo>
                      <a:pt x="30988" y="5692"/>
                    </a:lnTo>
                    <a:lnTo>
                      <a:pt x="31134" y="5524"/>
                    </a:lnTo>
                    <a:lnTo>
                      <a:pt x="31302" y="5399"/>
                    </a:lnTo>
                    <a:lnTo>
                      <a:pt x="31365" y="5315"/>
                    </a:lnTo>
                    <a:lnTo>
                      <a:pt x="31302" y="5294"/>
                    </a:lnTo>
                    <a:lnTo>
                      <a:pt x="31344" y="5231"/>
                    </a:lnTo>
                    <a:lnTo>
                      <a:pt x="31469" y="5231"/>
                    </a:lnTo>
                    <a:lnTo>
                      <a:pt x="31595" y="5085"/>
                    </a:lnTo>
                    <a:lnTo>
                      <a:pt x="31825" y="4897"/>
                    </a:lnTo>
                    <a:lnTo>
                      <a:pt x="31825" y="4855"/>
                    </a:lnTo>
                    <a:lnTo>
                      <a:pt x="31930" y="4834"/>
                    </a:lnTo>
                    <a:lnTo>
                      <a:pt x="32013" y="4687"/>
                    </a:lnTo>
                    <a:lnTo>
                      <a:pt x="32181" y="4541"/>
                    </a:lnTo>
                    <a:lnTo>
                      <a:pt x="32222" y="4415"/>
                    </a:lnTo>
                    <a:lnTo>
                      <a:pt x="32285" y="4415"/>
                    </a:lnTo>
                    <a:lnTo>
                      <a:pt x="32327" y="4436"/>
                    </a:lnTo>
                    <a:lnTo>
                      <a:pt x="32327" y="4436"/>
                    </a:lnTo>
                    <a:lnTo>
                      <a:pt x="32306" y="4353"/>
                    </a:lnTo>
                    <a:lnTo>
                      <a:pt x="32222" y="4311"/>
                    </a:lnTo>
                    <a:lnTo>
                      <a:pt x="32222" y="4227"/>
                    </a:lnTo>
                    <a:lnTo>
                      <a:pt x="32076" y="4122"/>
                    </a:lnTo>
                    <a:lnTo>
                      <a:pt x="31804" y="4081"/>
                    </a:lnTo>
                    <a:lnTo>
                      <a:pt x="31657" y="4060"/>
                    </a:lnTo>
                    <a:lnTo>
                      <a:pt x="31574" y="4081"/>
                    </a:lnTo>
                    <a:lnTo>
                      <a:pt x="31511" y="4060"/>
                    </a:lnTo>
                    <a:lnTo>
                      <a:pt x="31511" y="3976"/>
                    </a:lnTo>
                    <a:lnTo>
                      <a:pt x="31469" y="3871"/>
                    </a:lnTo>
                    <a:lnTo>
                      <a:pt x="31406" y="3871"/>
                    </a:lnTo>
                    <a:lnTo>
                      <a:pt x="31385" y="3850"/>
                    </a:lnTo>
                    <a:lnTo>
                      <a:pt x="31281" y="3829"/>
                    </a:lnTo>
                    <a:lnTo>
                      <a:pt x="31197" y="3704"/>
                    </a:lnTo>
                    <a:lnTo>
                      <a:pt x="31051" y="3704"/>
                    </a:lnTo>
                    <a:lnTo>
                      <a:pt x="30967" y="3788"/>
                    </a:lnTo>
                    <a:lnTo>
                      <a:pt x="30946" y="3704"/>
                    </a:lnTo>
                    <a:lnTo>
                      <a:pt x="30841" y="3704"/>
                    </a:lnTo>
                    <a:lnTo>
                      <a:pt x="30779" y="3641"/>
                    </a:lnTo>
                    <a:lnTo>
                      <a:pt x="30674" y="3662"/>
                    </a:lnTo>
                    <a:lnTo>
                      <a:pt x="30507" y="3662"/>
                    </a:lnTo>
                    <a:lnTo>
                      <a:pt x="30235" y="3725"/>
                    </a:lnTo>
                    <a:lnTo>
                      <a:pt x="30130" y="3871"/>
                    </a:lnTo>
                    <a:lnTo>
                      <a:pt x="30214" y="3976"/>
                    </a:lnTo>
                    <a:lnTo>
                      <a:pt x="30130" y="4018"/>
                    </a:lnTo>
                    <a:lnTo>
                      <a:pt x="30109" y="4060"/>
                    </a:lnTo>
                    <a:lnTo>
                      <a:pt x="30193" y="4164"/>
                    </a:lnTo>
                    <a:lnTo>
                      <a:pt x="30214" y="4290"/>
                    </a:lnTo>
                    <a:lnTo>
                      <a:pt x="30088" y="4290"/>
                    </a:lnTo>
                    <a:lnTo>
                      <a:pt x="30046" y="4185"/>
                    </a:lnTo>
                    <a:lnTo>
                      <a:pt x="29984" y="4060"/>
                    </a:lnTo>
                    <a:lnTo>
                      <a:pt x="29900" y="4039"/>
                    </a:lnTo>
                    <a:lnTo>
                      <a:pt x="29816" y="4164"/>
                    </a:lnTo>
                    <a:lnTo>
                      <a:pt x="29837" y="4227"/>
                    </a:lnTo>
                    <a:lnTo>
                      <a:pt x="29837" y="4290"/>
                    </a:lnTo>
                    <a:lnTo>
                      <a:pt x="29733" y="4332"/>
                    </a:lnTo>
                    <a:lnTo>
                      <a:pt x="29712" y="4478"/>
                    </a:lnTo>
                    <a:lnTo>
                      <a:pt x="29565" y="4646"/>
                    </a:lnTo>
                    <a:lnTo>
                      <a:pt x="29523" y="4771"/>
                    </a:lnTo>
                    <a:lnTo>
                      <a:pt x="29502" y="4855"/>
                    </a:lnTo>
                    <a:lnTo>
                      <a:pt x="29565" y="4876"/>
                    </a:lnTo>
                    <a:lnTo>
                      <a:pt x="29461" y="4959"/>
                    </a:lnTo>
                    <a:lnTo>
                      <a:pt x="29461" y="5064"/>
                    </a:lnTo>
                    <a:lnTo>
                      <a:pt x="29377" y="5106"/>
                    </a:lnTo>
                    <a:lnTo>
                      <a:pt x="29272" y="5357"/>
                    </a:lnTo>
                    <a:lnTo>
                      <a:pt x="29272" y="5482"/>
                    </a:lnTo>
                    <a:lnTo>
                      <a:pt x="29209" y="5566"/>
                    </a:lnTo>
                    <a:lnTo>
                      <a:pt x="29293" y="5629"/>
                    </a:lnTo>
                    <a:lnTo>
                      <a:pt x="29293" y="5713"/>
                    </a:lnTo>
                    <a:lnTo>
                      <a:pt x="29251" y="5734"/>
                    </a:lnTo>
                    <a:lnTo>
                      <a:pt x="29251" y="5838"/>
                    </a:lnTo>
                    <a:lnTo>
                      <a:pt x="29189" y="6026"/>
                    </a:lnTo>
                    <a:lnTo>
                      <a:pt x="29063" y="6215"/>
                    </a:lnTo>
                    <a:lnTo>
                      <a:pt x="29084" y="6257"/>
                    </a:lnTo>
                    <a:lnTo>
                      <a:pt x="29189" y="6257"/>
                    </a:lnTo>
                    <a:lnTo>
                      <a:pt x="29209" y="6319"/>
                    </a:lnTo>
                    <a:cubicBezTo>
                      <a:pt x="29189" y="6319"/>
                      <a:pt x="29168" y="6340"/>
                      <a:pt x="29168" y="6340"/>
                    </a:cubicBezTo>
                    <a:lnTo>
                      <a:pt x="29105" y="6319"/>
                    </a:lnTo>
                    <a:lnTo>
                      <a:pt x="29042" y="6361"/>
                    </a:lnTo>
                    <a:lnTo>
                      <a:pt x="28958" y="6508"/>
                    </a:lnTo>
                    <a:lnTo>
                      <a:pt x="29042" y="6508"/>
                    </a:lnTo>
                    <a:cubicBezTo>
                      <a:pt x="29000" y="6529"/>
                      <a:pt x="28979" y="6550"/>
                      <a:pt x="28979" y="6612"/>
                    </a:cubicBezTo>
                    <a:lnTo>
                      <a:pt x="28875" y="6570"/>
                    </a:lnTo>
                    <a:lnTo>
                      <a:pt x="28791" y="6633"/>
                    </a:lnTo>
                    <a:lnTo>
                      <a:pt x="28791" y="6738"/>
                    </a:lnTo>
                    <a:lnTo>
                      <a:pt x="28644" y="6842"/>
                    </a:lnTo>
                    <a:lnTo>
                      <a:pt x="28582" y="6884"/>
                    </a:lnTo>
                    <a:cubicBezTo>
                      <a:pt x="28665" y="6612"/>
                      <a:pt x="28728" y="6257"/>
                      <a:pt x="28749" y="5943"/>
                    </a:cubicBezTo>
                    <a:lnTo>
                      <a:pt x="28937" y="5838"/>
                    </a:lnTo>
                    <a:lnTo>
                      <a:pt x="28937" y="5734"/>
                    </a:lnTo>
                    <a:lnTo>
                      <a:pt x="29000" y="5566"/>
                    </a:lnTo>
                    <a:lnTo>
                      <a:pt x="29000" y="5399"/>
                    </a:lnTo>
                    <a:lnTo>
                      <a:pt x="29063" y="5315"/>
                    </a:lnTo>
                    <a:lnTo>
                      <a:pt x="28979" y="5315"/>
                    </a:lnTo>
                    <a:lnTo>
                      <a:pt x="28937" y="5378"/>
                    </a:lnTo>
                    <a:lnTo>
                      <a:pt x="28791" y="5420"/>
                    </a:lnTo>
                    <a:lnTo>
                      <a:pt x="28728" y="5545"/>
                    </a:lnTo>
                    <a:lnTo>
                      <a:pt x="28686" y="5503"/>
                    </a:lnTo>
                    <a:lnTo>
                      <a:pt x="28686" y="5399"/>
                    </a:lnTo>
                    <a:lnTo>
                      <a:pt x="28770" y="5357"/>
                    </a:lnTo>
                    <a:lnTo>
                      <a:pt x="28770" y="5231"/>
                    </a:lnTo>
                    <a:lnTo>
                      <a:pt x="28749" y="5169"/>
                    </a:lnTo>
                    <a:lnTo>
                      <a:pt x="28665" y="5127"/>
                    </a:lnTo>
                    <a:lnTo>
                      <a:pt x="28749" y="5127"/>
                    </a:lnTo>
                    <a:lnTo>
                      <a:pt x="28791" y="5106"/>
                    </a:lnTo>
                    <a:lnTo>
                      <a:pt x="28770" y="4980"/>
                    </a:lnTo>
                    <a:lnTo>
                      <a:pt x="28582" y="4876"/>
                    </a:lnTo>
                    <a:lnTo>
                      <a:pt x="28540" y="4897"/>
                    </a:lnTo>
                    <a:lnTo>
                      <a:pt x="28352" y="4918"/>
                    </a:lnTo>
                    <a:lnTo>
                      <a:pt x="28331" y="4980"/>
                    </a:lnTo>
                    <a:lnTo>
                      <a:pt x="28247" y="4980"/>
                    </a:lnTo>
                    <a:lnTo>
                      <a:pt x="28247" y="4897"/>
                    </a:lnTo>
                    <a:lnTo>
                      <a:pt x="28331" y="4771"/>
                    </a:lnTo>
                    <a:lnTo>
                      <a:pt x="28414" y="4771"/>
                    </a:lnTo>
                    <a:lnTo>
                      <a:pt x="28540" y="4666"/>
                    </a:lnTo>
                    <a:lnTo>
                      <a:pt x="28749" y="4604"/>
                    </a:lnTo>
                    <a:lnTo>
                      <a:pt x="28791" y="4562"/>
                    </a:lnTo>
                    <a:lnTo>
                      <a:pt x="28937" y="4541"/>
                    </a:lnTo>
                    <a:lnTo>
                      <a:pt x="29000" y="4541"/>
                    </a:lnTo>
                    <a:lnTo>
                      <a:pt x="29063" y="4583"/>
                    </a:lnTo>
                    <a:lnTo>
                      <a:pt x="29105" y="4562"/>
                    </a:lnTo>
                    <a:lnTo>
                      <a:pt x="29147" y="4394"/>
                    </a:lnTo>
                    <a:lnTo>
                      <a:pt x="29189" y="4332"/>
                    </a:lnTo>
                    <a:lnTo>
                      <a:pt x="29063" y="4248"/>
                    </a:lnTo>
                    <a:lnTo>
                      <a:pt x="29042" y="4185"/>
                    </a:lnTo>
                    <a:lnTo>
                      <a:pt x="29105" y="4164"/>
                    </a:lnTo>
                    <a:lnTo>
                      <a:pt x="29168" y="4122"/>
                    </a:lnTo>
                    <a:lnTo>
                      <a:pt x="29189" y="4164"/>
                    </a:lnTo>
                    <a:lnTo>
                      <a:pt x="29272" y="4185"/>
                    </a:lnTo>
                    <a:lnTo>
                      <a:pt x="29419" y="4122"/>
                    </a:lnTo>
                    <a:lnTo>
                      <a:pt x="29481" y="4039"/>
                    </a:lnTo>
                    <a:lnTo>
                      <a:pt x="29461" y="3955"/>
                    </a:lnTo>
                    <a:lnTo>
                      <a:pt x="29481" y="3913"/>
                    </a:lnTo>
                    <a:lnTo>
                      <a:pt x="29461" y="3829"/>
                    </a:lnTo>
                    <a:lnTo>
                      <a:pt x="29377" y="3850"/>
                    </a:lnTo>
                    <a:lnTo>
                      <a:pt x="29293" y="3746"/>
                    </a:lnTo>
                    <a:lnTo>
                      <a:pt x="29042" y="3746"/>
                    </a:lnTo>
                    <a:lnTo>
                      <a:pt x="28958" y="3725"/>
                    </a:lnTo>
                    <a:lnTo>
                      <a:pt x="28896" y="3767"/>
                    </a:lnTo>
                    <a:lnTo>
                      <a:pt x="28770" y="3767"/>
                    </a:lnTo>
                    <a:lnTo>
                      <a:pt x="28665" y="3725"/>
                    </a:lnTo>
                    <a:lnTo>
                      <a:pt x="28582" y="3746"/>
                    </a:lnTo>
                    <a:lnTo>
                      <a:pt x="28519" y="3641"/>
                    </a:lnTo>
                    <a:lnTo>
                      <a:pt x="28435" y="3599"/>
                    </a:lnTo>
                    <a:lnTo>
                      <a:pt x="28435" y="3516"/>
                    </a:lnTo>
                    <a:lnTo>
                      <a:pt x="28477" y="3453"/>
                    </a:lnTo>
                    <a:lnTo>
                      <a:pt x="28456" y="3411"/>
                    </a:lnTo>
                    <a:lnTo>
                      <a:pt x="28310" y="3390"/>
                    </a:lnTo>
                    <a:lnTo>
                      <a:pt x="28226" y="3432"/>
                    </a:lnTo>
                    <a:lnTo>
                      <a:pt x="28163" y="3495"/>
                    </a:lnTo>
                    <a:lnTo>
                      <a:pt x="28226" y="3537"/>
                    </a:lnTo>
                    <a:lnTo>
                      <a:pt x="28331" y="3537"/>
                    </a:lnTo>
                    <a:lnTo>
                      <a:pt x="28268" y="3641"/>
                    </a:lnTo>
                    <a:lnTo>
                      <a:pt x="28142" y="3620"/>
                    </a:lnTo>
                    <a:lnTo>
                      <a:pt x="28059" y="3495"/>
                    </a:lnTo>
                    <a:lnTo>
                      <a:pt x="28017" y="3516"/>
                    </a:lnTo>
                    <a:lnTo>
                      <a:pt x="27954" y="3495"/>
                    </a:lnTo>
                    <a:lnTo>
                      <a:pt x="27849" y="3537"/>
                    </a:lnTo>
                    <a:lnTo>
                      <a:pt x="27828" y="3641"/>
                    </a:lnTo>
                    <a:lnTo>
                      <a:pt x="27787" y="3662"/>
                    </a:lnTo>
                    <a:lnTo>
                      <a:pt x="27808" y="3767"/>
                    </a:lnTo>
                    <a:lnTo>
                      <a:pt x="27808" y="3871"/>
                    </a:lnTo>
                    <a:lnTo>
                      <a:pt x="27891" y="3934"/>
                    </a:lnTo>
                    <a:lnTo>
                      <a:pt x="27891" y="4060"/>
                    </a:lnTo>
                    <a:lnTo>
                      <a:pt x="27828" y="4122"/>
                    </a:lnTo>
                    <a:lnTo>
                      <a:pt x="27808" y="4248"/>
                    </a:lnTo>
                    <a:lnTo>
                      <a:pt x="27787" y="4248"/>
                    </a:lnTo>
                    <a:lnTo>
                      <a:pt x="27745" y="4018"/>
                    </a:lnTo>
                    <a:lnTo>
                      <a:pt x="27703" y="3913"/>
                    </a:lnTo>
                    <a:lnTo>
                      <a:pt x="27619" y="3850"/>
                    </a:lnTo>
                    <a:lnTo>
                      <a:pt x="27598" y="3934"/>
                    </a:lnTo>
                    <a:lnTo>
                      <a:pt x="27515" y="3934"/>
                    </a:lnTo>
                    <a:lnTo>
                      <a:pt x="27431" y="4018"/>
                    </a:lnTo>
                    <a:lnTo>
                      <a:pt x="27431" y="4143"/>
                    </a:lnTo>
                    <a:lnTo>
                      <a:pt x="27515" y="4248"/>
                    </a:lnTo>
                    <a:lnTo>
                      <a:pt x="27515" y="4332"/>
                    </a:lnTo>
                    <a:lnTo>
                      <a:pt x="27619" y="4457"/>
                    </a:lnTo>
                    <a:lnTo>
                      <a:pt x="27745" y="4457"/>
                    </a:lnTo>
                    <a:lnTo>
                      <a:pt x="27808" y="4353"/>
                    </a:lnTo>
                    <a:lnTo>
                      <a:pt x="27828" y="4353"/>
                    </a:lnTo>
                    <a:lnTo>
                      <a:pt x="27849" y="4457"/>
                    </a:lnTo>
                    <a:lnTo>
                      <a:pt x="27933" y="4583"/>
                    </a:lnTo>
                    <a:lnTo>
                      <a:pt x="27933" y="4666"/>
                    </a:lnTo>
                    <a:lnTo>
                      <a:pt x="27849" y="4666"/>
                    </a:lnTo>
                    <a:lnTo>
                      <a:pt x="27808" y="4562"/>
                    </a:lnTo>
                    <a:lnTo>
                      <a:pt x="27724" y="4541"/>
                    </a:lnTo>
                    <a:lnTo>
                      <a:pt x="27619" y="4562"/>
                    </a:lnTo>
                    <a:lnTo>
                      <a:pt x="27577" y="4604"/>
                    </a:lnTo>
                    <a:lnTo>
                      <a:pt x="27619" y="4708"/>
                    </a:lnTo>
                    <a:lnTo>
                      <a:pt x="27598" y="4792"/>
                    </a:lnTo>
                    <a:lnTo>
                      <a:pt x="27515" y="4876"/>
                    </a:lnTo>
                    <a:lnTo>
                      <a:pt x="27536" y="4959"/>
                    </a:lnTo>
                    <a:lnTo>
                      <a:pt x="27473" y="5085"/>
                    </a:lnTo>
                    <a:lnTo>
                      <a:pt x="27410" y="5127"/>
                    </a:lnTo>
                    <a:lnTo>
                      <a:pt x="27431" y="5231"/>
                    </a:lnTo>
                    <a:lnTo>
                      <a:pt x="27389" y="5294"/>
                    </a:lnTo>
                    <a:lnTo>
                      <a:pt x="27284" y="5273"/>
                    </a:lnTo>
                    <a:lnTo>
                      <a:pt x="27201" y="5169"/>
                    </a:lnTo>
                    <a:lnTo>
                      <a:pt x="27201" y="5064"/>
                    </a:lnTo>
                    <a:lnTo>
                      <a:pt x="27075" y="4897"/>
                    </a:lnTo>
                    <a:lnTo>
                      <a:pt x="27075" y="4792"/>
                    </a:lnTo>
                    <a:lnTo>
                      <a:pt x="27054" y="4708"/>
                    </a:lnTo>
                    <a:lnTo>
                      <a:pt x="26950" y="4687"/>
                    </a:lnTo>
                    <a:lnTo>
                      <a:pt x="26950" y="4646"/>
                    </a:lnTo>
                    <a:lnTo>
                      <a:pt x="26992" y="4604"/>
                    </a:lnTo>
                    <a:lnTo>
                      <a:pt x="27033" y="4562"/>
                    </a:lnTo>
                    <a:lnTo>
                      <a:pt x="26992" y="4478"/>
                    </a:lnTo>
                    <a:lnTo>
                      <a:pt x="26887" y="4457"/>
                    </a:lnTo>
                    <a:lnTo>
                      <a:pt x="26740" y="4499"/>
                    </a:lnTo>
                    <a:lnTo>
                      <a:pt x="26699" y="4457"/>
                    </a:lnTo>
                    <a:lnTo>
                      <a:pt x="26657" y="4478"/>
                    </a:lnTo>
                    <a:lnTo>
                      <a:pt x="26594" y="4562"/>
                    </a:lnTo>
                    <a:lnTo>
                      <a:pt x="26489" y="4604"/>
                    </a:lnTo>
                    <a:lnTo>
                      <a:pt x="26364" y="4792"/>
                    </a:lnTo>
                    <a:lnTo>
                      <a:pt x="26427" y="4876"/>
                    </a:lnTo>
                    <a:lnTo>
                      <a:pt x="26427" y="5064"/>
                    </a:lnTo>
                    <a:lnTo>
                      <a:pt x="26385" y="5127"/>
                    </a:lnTo>
                    <a:lnTo>
                      <a:pt x="26448" y="5210"/>
                    </a:lnTo>
                    <a:lnTo>
                      <a:pt x="26427" y="5378"/>
                    </a:lnTo>
                    <a:lnTo>
                      <a:pt x="26322" y="5420"/>
                    </a:lnTo>
                    <a:lnTo>
                      <a:pt x="26322" y="5545"/>
                    </a:lnTo>
                    <a:lnTo>
                      <a:pt x="26364" y="5608"/>
                    </a:lnTo>
                    <a:lnTo>
                      <a:pt x="26448" y="5587"/>
                    </a:lnTo>
                    <a:lnTo>
                      <a:pt x="26489" y="5629"/>
                    </a:lnTo>
                    <a:lnTo>
                      <a:pt x="26573" y="5587"/>
                    </a:lnTo>
                    <a:lnTo>
                      <a:pt x="26636" y="5608"/>
                    </a:lnTo>
                    <a:lnTo>
                      <a:pt x="26636" y="5734"/>
                    </a:lnTo>
                    <a:lnTo>
                      <a:pt x="26657" y="5796"/>
                    </a:lnTo>
                    <a:lnTo>
                      <a:pt x="26699" y="5796"/>
                    </a:lnTo>
                    <a:lnTo>
                      <a:pt x="26782" y="5922"/>
                    </a:lnTo>
                    <a:lnTo>
                      <a:pt x="26782" y="6110"/>
                    </a:lnTo>
                    <a:lnTo>
                      <a:pt x="26887" y="6236"/>
                    </a:lnTo>
                    <a:lnTo>
                      <a:pt x="26887" y="6319"/>
                    </a:lnTo>
                    <a:lnTo>
                      <a:pt x="26929" y="6424"/>
                    </a:lnTo>
                    <a:lnTo>
                      <a:pt x="27012" y="6466"/>
                    </a:lnTo>
                    <a:lnTo>
                      <a:pt x="26992" y="6550"/>
                    </a:lnTo>
                    <a:lnTo>
                      <a:pt x="27012" y="6696"/>
                    </a:lnTo>
                    <a:lnTo>
                      <a:pt x="26929" y="6842"/>
                    </a:lnTo>
                    <a:lnTo>
                      <a:pt x="27012" y="6905"/>
                    </a:lnTo>
                    <a:lnTo>
                      <a:pt x="27033" y="7052"/>
                    </a:lnTo>
                    <a:lnTo>
                      <a:pt x="27012" y="7156"/>
                    </a:lnTo>
                    <a:lnTo>
                      <a:pt x="27033" y="7198"/>
                    </a:lnTo>
                    <a:lnTo>
                      <a:pt x="27117" y="7156"/>
                    </a:lnTo>
                    <a:lnTo>
                      <a:pt x="27180" y="7198"/>
                    </a:lnTo>
                    <a:lnTo>
                      <a:pt x="27180" y="7324"/>
                    </a:lnTo>
                    <a:lnTo>
                      <a:pt x="27264" y="7387"/>
                    </a:lnTo>
                    <a:lnTo>
                      <a:pt x="27410" y="7324"/>
                    </a:lnTo>
                    <a:lnTo>
                      <a:pt x="27452" y="7198"/>
                    </a:lnTo>
                    <a:lnTo>
                      <a:pt x="27598" y="7114"/>
                    </a:lnTo>
                    <a:lnTo>
                      <a:pt x="27619" y="7010"/>
                    </a:lnTo>
                    <a:lnTo>
                      <a:pt x="27556" y="6968"/>
                    </a:lnTo>
                    <a:lnTo>
                      <a:pt x="27494" y="6759"/>
                    </a:lnTo>
                    <a:lnTo>
                      <a:pt x="27515" y="6654"/>
                    </a:lnTo>
                    <a:lnTo>
                      <a:pt x="27703" y="6466"/>
                    </a:lnTo>
                    <a:lnTo>
                      <a:pt x="27703" y="6550"/>
                    </a:lnTo>
                    <a:lnTo>
                      <a:pt x="27598" y="6675"/>
                    </a:lnTo>
                    <a:lnTo>
                      <a:pt x="27640" y="6905"/>
                    </a:lnTo>
                    <a:lnTo>
                      <a:pt x="27724" y="6947"/>
                    </a:lnTo>
                    <a:lnTo>
                      <a:pt x="27828" y="6884"/>
                    </a:lnTo>
                    <a:lnTo>
                      <a:pt x="27954" y="6968"/>
                    </a:lnTo>
                    <a:lnTo>
                      <a:pt x="28121" y="6905"/>
                    </a:lnTo>
                    <a:lnTo>
                      <a:pt x="28121" y="6842"/>
                    </a:lnTo>
                    <a:lnTo>
                      <a:pt x="28247" y="6780"/>
                    </a:lnTo>
                    <a:lnTo>
                      <a:pt x="28352" y="6780"/>
                    </a:lnTo>
                    <a:lnTo>
                      <a:pt x="28435" y="6738"/>
                    </a:lnTo>
                    <a:lnTo>
                      <a:pt x="28477" y="6780"/>
                    </a:lnTo>
                    <a:lnTo>
                      <a:pt x="28498" y="6759"/>
                    </a:lnTo>
                    <a:lnTo>
                      <a:pt x="28498" y="6759"/>
                    </a:lnTo>
                    <a:cubicBezTo>
                      <a:pt x="28477" y="6863"/>
                      <a:pt x="28456" y="6989"/>
                      <a:pt x="28456" y="7094"/>
                    </a:cubicBezTo>
                    <a:lnTo>
                      <a:pt x="28435" y="7114"/>
                    </a:lnTo>
                    <a:lnTo>
                      <a:pt x="28456" y="7156"/>
                    </a:lnTo>
                    <a:lnTo>
                      <a:pt x="28456" y="7219"/>
                    </a:lnTo>
                    <a:cubicBezTo>
                      <a:pt x="28456" y="7283"/>
                      <a:pt x="28503" y="7308"/>
                      <a:pt x="28554" y="7308"/>
                    </a:cubicBezTo>
                    <a:cubicBezTo>
                      <a:pt x="28586" y="7308"/>
                      <a:pt x="28620" y="7298"/>
                      <a:pt x="28644" y="7282"/>
                    </a:cubicBezTo>
                    <a:lnTo>
                      <a:pt x="28707" y="7282"/>
                    </a:lnTo>
                    <a:lnTo>
                      <a:pt x="28707" y="7324"/>
                    </a:lnTo>
                    <a:lnTo>
                      <a:pt x="28582" y="7533"/>
                    </a:lnTo>
                    <a:lnTo>
                      <a:pt x="28561" y="7617"/>
                    </a:lnTo>
                    <a:lnTo>
                      <a:pt x="28456" y="7679"/>
                    </a:lnTo>
                    <a:lnTo>
                      <a:pt x="28477" y="7596"/>
                    </a:lnTo>
                    <a:lnTo>
                      <a:pt x="28435" y="7533"/>
                    </a:lnTo>
                    <a:lnTo>
                      <a:pt x="28477" y="7407"/>
                    </a:lnTo>
                    <a:lnTo>
                      <a:pt x="28393" y="7324"/>
                    </a:lnTo>
                    <a:lnTo>
                      <a:pt x="28268" y="7387"/>
                    </a:lnTo>
                    <a:lnTo>
                      <a:pt x="28184" y="7512"/>
                    </a:lnTo>
                    <a:lnTo>
                      <a:pt x="28121" y="7512"/>
                    </a:lnTo>
                    <a:lnTo>
                      <a:pt x="28038" y="7679"/>
                    </a:lnTo>
                    <a:lnTo>
                      <a:pt x="27954" y="7700"/>
                    </a:lnTo>
                    <a:lnTo>
                      <a:pt x="27870" y="7910"/>
                    </a:lnTo>
                    <a:lnTo>
                      <a:pt x="27724" y="8056"/>
                    </a:lnTo>
                    <a:lnTo>
                      <a:pt x="27703" y="8203"/>
                    </a:lnTo>
                    <a:lnTo>
                      <a:pt x="27745" y="8328"/>
                    </a:lnTo>
                    <a:lnTo>
                      <a:pt x="27745" y="8412"/>
                    </a:lnTo>
                    <a:lnTo>
                      <a:pt x="27808" y="8433"/>
                    </a:lnTo>
                    <a:lnTo>
                      <a:pt x="27870" y="8370"/>
                    </a:lnTo>
                    <a:lnTo>
                      <a:pt x="27933" y="8370"/>
                    </a:lnTo>
                    <a:lnTo>
                      <a:pt x="27933" y="8454"/>
                    </a:lnTo>
                    <a:lnTo>
                      <a:pt x="27828" y="8537"/>
                    </a:lnTo>
                    <a:lnTo>
                      <a:pt x="27828" y="8579"/>
                    </a:lnTo>
                    <a:lnTo>
                      <a:pt x="27724" y="8579"/>
                    </a:lnTo>
                    <a:lnTo>
                      <a:pt x="27619" y="8642"/>
                    </a:lnTo>
                    <a:lnTo>
                      <a:pt x="27431" y="8830"/>
                    </a:lnTo>
                    <a:lnTo>
                      <a:pt x="27347" y="8935"/>
                    </a:lnTo>
                    <a:lnTo>
                      <a:pt x="27326" y="9207"/>
                    </a:lnTo>
                    <a:lnTo>
                      <a:pt x="27389" y="9311"/>
                    </a:lnTo>
                    <a:lnTo>
                      <a:pt x="27389" y="9395"/>
                    </a:lnTo>
                    <a:lnTo>
                      <a:pt x="27326" y="9500"/>
                    </a:lnTo>
                    <a:lnTo>
                      <a:pt x="27347" y="9563"/>
                    </a:lnTo>
                    <a:lnTo>
                      <a:pt x="27389" y="9625"/>
                    </a:lnTo>
                    <a:lnTo>
                      <a:pt x="27452" y="9625"/>
                    </a:lnTo>
                    <a:lnTo>
                      <a:pt x="27515" y="9667"/>
                    </a:lnTo>
                    <a:lnTo>
                      <a:pt x="27536" y="9793"/>
                    </a:lnTo>
                    <a:lnTo>
                      <a:pt x="27640" y="9835"/>
                    </a:lnTo>
                    <a:lnTo>
                      <a:pt x="27703" y="9939"/>
                    </a:lnTo>
                    <a:lnTo>
                      <a:pt x="27745" y="9939"/>
                    </a:lnTo>
                    <a:lnTo>
                      <a:pt x="27828" y="9814"/>
                    </a:lnTo>
                    <a:lnTo>
                      <a:pt x="27808" y="9939"/>
                    </a:lnTo>
                    <a:lnTo>
                      <a:pt x="27849" y="10107"/>
                    </a:lnTo>
                    <a:lnTo>
                      <a:pt x="28017" y="10127"/>
                    </a:lnTo>
                    <a:lnTo>
                      <a:pt x="28080" y="10190"/>
                    </a:lnTo>
                    <a:lnTo>
                      <a:pt x="28184" y="10190"/>
                    </a:lnTo>
                    <a:lnTo>
                      <a:pt x="28331" y="10211"/>
                    </a:lnTo>
                    <a:lnTo>
                      <a:pt x="28331" y="10295"/>
                    </a:lnTo>
                    <a:lnTo>
                      <a:pt x="28226" y="10504"/>
                    </a:lnTo>
                    <a:lnTo>
                      <a:pt x="28121" y="10546"/>
                    </a:lnTo>
                    <a:lnTo>
                      <a:pt x="28080" y="10525"/>
                    </a:lnTo>
                    <a:lnTo>
                      <a:pt x="28121" y="10420"/>
                    </a:lnTo>
                    <a:lnTo>
                      <a:pt x="28226" y="10379"/>
                    </a:lnTo>
                    <a:lnTo>
                      <a:pt x="28080" y="10337"/>
                    </a:lnTo>
                    <a:lnTo>
                      <a:pt x="27954" y="10379"/>
                    </a:lnTo>
                    <a:lnTo>
                      <a:pt x="27849" y="10504"/>
                    </a:lnTo>
                    <a:lnTo>
                      <a:pt x="27912" y="10546"/>
                    </a:lnTo>
                    <a:lnTo>
                      <a:pt x="27912" y="10630"/>
                    </a:lnTo>
                    <a:lnTo>
                      <a:pt x="27745" y="10713"/>
                    </a:lnTo>
                    <a:lnTo>
                      <a:pt x="27661" y="10797"/>
                    </a:lnTo>
                    <a:lnTo>
                      <a:pt x="27598" y="10797"/>
                    </a:lnTo>
                    <a:lnTo>
                      <a:pt x="27515" y="10944"/>
                    </a:lnTo>
                    <a:lnTo>
                      <a:pt x="27536" y="11006"/>
                    </a:lnTo>
                    <a:lnTo>
                      <a:pt x="27619" y="11006"/>
                    </a:lnTo>
                    <a:lnTo>
                      <a:pt x="27661" y="11048"/>
                    </a:lnTo>
                    <a:lnTo>
                      <a:pt x="27766" y="11027"/>
                    </a:lnTo>
                    <a:lnTo>
                      <a:pt x="27828" y="10923"/>
                    </a:lnTo>
                    <a:lnTo>
                      <a:pt x="27808" y="10860"/>
                    </a:lnTo>
                    <a:lnTo>
                      <a:pt x="27870" y="10839"/>
                    </a:lnTo>
                    <a:lnTo>
                      <a:pt x="27954" y="10797"/>
                    </a:lnTo>
                    <a:lnTo>
                      <a:pt x="28017" y="10839"/>
                    </a:lnTo>
                    <a:lnTo>
                      <a:pt x="27975" y="10944"/>
                    </a:lnTo>
                    <a:lnTo>
                      <a:pt x="27912" y="11069"/>
                    </a:lnTo>
                    <a:lnTo>
                      <a:pt x="27870" y="11236"/>
                    </a:lnTo>
                    <a:lnTo>
                      <a:pt x="27870" y="11320"/>
                    </a:lnTo>
                    <a:lnTo>
                      <a:pt x="27808" y="11383"/>
                    </a:lnTo>
                    <a:lnTo>
                      <a:pt x="27640" y="11425"/>
                    </a:lnTo>
                    <a:lnTo>
                      <a:pt x="27536" y="11529"/>
                    </a:lnTo>
                    <a:lnTo>
                      <a:pt x="27452" y="11550"/>
                    </a:lnTo>
                    <a:lnTo>
                      <a:pt x="27452" y="11592"/>
                    </a:lnTo>
                    <a:lnTo>
                      <a:pt x="27410" y="11697"/>
                    </a:lnTo>
                    <a:lnTo>
                      <a:pt x="27138" y="11801"/>
                    </a:lnTo>
                    <a:lnTo>
                      <a:pt x="27075" y="11906"/>
                    </a:lnTo>
                    <a:lnTo>
                      <a:pt x="26971" y="11948"/>
                    </a:lnTo>
                    <a:lnTo>
                      <a:pt x="26929" y="11885"/>
                    </a:lnTo>
                    <a:lnTo>
                      <a:pt x="26887" y="11885"/>
                    </a:lnTo>
                    <a:lnTo>
                      <a:pt x="26866" y="11843"/>
                    </a:lnTo>
                    <a:lnTo>
                      <a:pt x="26803" y="11906"/>
                    </a:lnTo>
                    <a:lnTo>
                      <a:pt x="26720" y="11948"/>
                    </a:lnTo>
                    <a:lnTo>
                      <a:pt x="26720" y="11948"/>
                    </a:lnTo>
                    <a:lnTo>
                      <a:pt x="26761" y="11885"/>
                    </a:lnTo>
                    <a:lnTo>
                      <a:pt x="26720" y="11843"/>
                    </a:lnTo>
                    <a:lnTo>
                      <a:pt x="26615" y="11948"/>
                    </a:lnTo>
                    <a:lnTo>
                      <a:pt x="26573" y="12094"/>
                    </a:lnTo>
                    <a:lnTo>
                      <a:pt x="26468" y="12262"/>
                    </a:lnTo>
                    <a:lnTo>
                      <a:pt x="26448" y="12304"/>
                    </a:lnTo>
                    <a:lnTo>
                      <a:pt x="26489" y="12387"/>
                    </a:lnTo>
                    <a:lnTo>
                      <a:pt x="26489" y="12471"/>
                    </a:lnTo>
                    <a:lnTo>
                      <a:pt x="26406" y="12617"/>
                    </a:lnTo>
                    <a:lnTo>
                      <a:pt x="26406" y="12701"/>
                    </a:lnTo>
                    <a:lnTo>
                      <a:pt x="26468" y="12785"/>
                    </a:lnTo>
                    <a:lnTo>
                      <a:pt x="26385" y="12827"/>
                    </a:lnTo>
                    <a:lnTo>
                      <a:pt x="26343" y="12952"/>
                    </a:lnTo>
                    <a:lnTo>
                      <a:pt x="26364" y="12952"/>
                    </a:lnTo>
                    <a:lnTo>
                      <a:pt x="26448" y="12931"/>
                    </a:lnTo>
                    <a:lnTo>
                      <a:pt x="26489" y="12848"/>
                    </a:lnTo>
                    <a:lnTo>
                      <a:pt x="26594" y="12889"/>
                    </a:lnTo>
                    <a:lnTo>
                      <a:pt x="26699" y="12806"/>
                    </a:lnTo>
                    <a:lnTo>
                      <a:pt x="26615" y="12910"/>
                    </a:lnTo>
                    <a:lnTo>
                      <a:pt x="26510" y="12910"/>
                    </a:lnTo>
                    <a:lnTo>
                      <a:pt x="26406" y="13015"/>
                    </a:lnTo>
                    <a:lnTo>
                      <a:pt x="26259" y="13057"/>
                    </a:lnTo>
                    <a:lnTo>
                      <a:pt x="26259" y="13203"/>
                    </a:lnTo>
                    <a:lnTo>
                      <a:pt x="26176" y="13266"/>
                    </a:lnTo>
                    <a:lnTo>
                      <a:pt x="26071" y="13203"/>
                    </a:lnTo>
                    <a:lnTo>
                      <a:pt x="25945" y="13203"/>
                    </a:lnTo>
                    <a:lnTo>
                      <a:pt x="25862" y="13120"/>
                    </a:lnTo>
                    <a:lnTo>
                      <a:pt x="25778" y="13161"/>
                    </a:lnTo>
                    <a:lnTo>
                      <a:pt x="25820" y="13350"/>
                    </a:lnTo>
                    <a:lnTo>
                      <a:pt x="25631" y="13245"/>
                    </a:lnTo>
                    <a:lnTo>
                      <a:pt x="25694" y="12994"/>
                    </a:lnTo>
                    <a:lnTo>
                      <a:pt x="25631" y="12827"/>
                    </a:lnTo>
                    <a:lnTo>
                      <a:pt x="25548" y="12722"/>
                    </a:lnTo>
                    <a:lnTo>
                      <a:pt x="25590" y="12555"/>
                    </a:lnTo>
                    <a:lnTo>
                      <a:pt x="25631" y="12555"/>
                    </a:lnTo>
                    <a:lnTo>
                      <a:pt x="25673" y="12722"/>
                    </a:lnTo>
                    <a:lnTo>
                      <a:pt x="25820" y="12638"/>
                    </a:lnTo>
                    <a:lnTo>
                      <a:pt x="25862" y="12743"/>
                    </a:lnTo>
                    <a:lnTo>
                      <a:pt x="25987" y="12806"/>
                    </a:lnTo>
                    <a:lnTo>
                      <a:pt x="26071" y="12722"/>
                    </a:lnTo>
                    <a:lnTo>
                      <a:pt x="26071" y="12638"/>
                    </a:lnTo>
                    <a:lnTo>
                      <a:pt x="26134" y="12492"/>
                    </a:lnTo>
                    <a:lnTo>
                      <a:pt x="26029" y="12513"/>
                    </a:lnTo>
                    <a:lnTo>
                      <a:pt x="25945" y="12492"/>
                    </a:lnTo>
                    <a:lnTo>
                      <a:pt x="26029" y="12429"/>
                    </a:lnTo>
                    <a:lnTo>
                      <a:pt x="26092" y="12304"/>
                    </a:lnTo>
                    <a:lnTo>
                      <a:pt x="26029" y="12304"/>
                    </a:lnTo>
                    <a:lnTo>
                      <a:pt x="25945" y="12387"/>
                    </a:lnTo>
                    <a:lnTo>
                      <a:pt x="25778" y="12429"/>
                    </a:lnTo>
                    <a:lnTo>
                      <a:pt x="25778" y="12345"/>
                    </a:lnTo>
                    <a:lnTo>
                      <a:pt x="25924" y="12283"/>
                    </a:lnTo>
                    <a:lnTo>
                      <a:pt x="25924" y="12178"/>
                    </a:lnTo>
                    <a:lnTo>
                      <a:pt x="25841" y="12178"/>
                    </a:lnTo>
                    <a:lnTo>
                      <a:pt x="25736" y="12220"/>
                    </a:lnTo>
                    <a:lnTo>
                      <a:pt x="25736" y="12136"/>
                    </a:lnTo>
                    <a:lnTo>
                      <a:pt x="25778" y="11969"/>
                    </a:lnTo>
                    <a:lnTo>
                      <a:pt x="25862" y="11864"/>
                    </a:lnTo>
                    <a:lnTo>
                      <a:pt x="25883" y="11969"/>
                    </a:lnTo>
                    <a:lnTo>
                      <a:pt x="25945" y="11906"/>
                    </a:lnTo>
                    <a:lnTo>
                      <a:pt x="25945" y="11822"/>
                    </a:lnTo>
                    <a:lnTo>
                      <a:pt x="26092" y="11676"/>
                    </a:lnTo>
                    <a:lnTo>
                      <a:pt x="26092" y="11592"/>
                    </a:lnTo>
                    <a:lnTo>
                      <a:pt x="26280" y="11488"/>
                    </a:lnTo>
                    <a:lnTo>
                      <a:pt x="26280" y="11362"/>
                    </a:lnTo>
                    <a:lnTo>
                      <a:pt x="26364" y="11299"/>
                    </a:lnTo>
                    <a:lnTo>
                      <a:pt x="26448" y="11278"/>
                    </a:lnTo>
                    <a:lnTo>
                      <a:pt x="26448" y="11236"/>
                    </a:lnTo>
                    <a:lnTo>
                      <a:pt x="26343" y="11236"/>
                    </a:lnTo>
                    <a:lnTo>
                      <a:pt x="26196" y="11257"/>
                    </a:lnTo>
                    <a:lnTo>
                      <a:pt x="26155" y="11425"/>
                    </a:lnTo>
                    <a:lnTo>
                      <a:pt x="26029" y="11488"/>
                    </a:lnTo>
                    <a:lnTo>
                      <a:pt x="25945" y="11467"/>
                    </a:lnTo>
                    <a:lnTo>
                      <a:pt x="25966" y="11425"/>
                    </a:lnTo>
                    <a:lnTo>
                      <a:pt x="26113" y="11362"/>
                    </a:lnTo>
                    <a:lnTo>
                      <a:pt x="26134" y="11257"/>
                    </a:lnTo>
                    <a:lnTo>
                      <a:pt x="26050" y="11216"/>
                    </a:lnTo>
                    <a:lnTo>
                      <a:pt x="25966" y="11236"/>
                    </a:lnTo>
                    <a:lnTo>
                      <a:pt x="25883" y="11153"/>
                    </a:lnTo>
                    <a:lnTo>
                      <a:pt x="25924" y="11069"/>
                    </a:lnTo>
                    <a:lnTo>
                      <a:pt x="25945" y="10944"/>
                    </a:lnTo>
                    <a:lnTo>
                      <a:pt x="25862" y="10860"/>
                    </a:lnTo>
                    <a:lnTo>
                      <a:pt x="25820" y="10902"/>
                    </a:lnTo>
                    <a:lnTo>
                      <a:pt x="25778" y="10964"/>
                    </a:lnTo>
                    <a:lnTo>
                      <a:pt x="25778" y="10902"/>
                    </a:lnTo>
                    <a:lnTo>
                      <a:pt x="25820" y="10818"/>
                    </a:lnTo>
                    <a:lnTo>
                      <a:pt x="25757" y="10713"/>
                    </a:lnTo>
                    <a:lnTo>
                      <a:pt x="25652" y="10713"/>
                    </a:lnTo>
                    <a:lnTo>
                      <a:pt x="25631" y="10902"/>
                    </a:lnTo>
                    <a:lnTo>
                      <a:pt x="25527" y="10964"/>
                    </a:lnTo>
                    <a:lnTo>
                      <a:pt x="25506" y="11027"/>
                    </a:lnTo>
                    <a:lnTo>
                      <a:pt x="25443" y="10985"/>
                    </a:lnTo>
                    <a:lnTo>
                      <a:pt x="25443" y="10923"/>
                    </a:lnTo>
                    <a:lnTo>
                      <a:pt x="25401" y="10839"/>
                    </a:lnTo>
                    <a:lnTo>
                      <a:pt x="25318" y="10839"/>
                    </a:lnTo>
                    <a:lnTo>
                      <a:pt x="25297" y="10923"/>
                    </a:lnTo>
                    <a:lnTo>
                      <a:pt x="25318" y="10964"/>
                    </a:lnTo>
                    <a:lnTo>
                      <a:pt x="25297" y="11027"/>
                    </a:lnTo>
                    <a:lnTo>
                      <a:pt x="25339" y="11132"/>
                    </a:lnTo>
                    <a:lnTo>
                      <a:pt x="25339" y="11195"/>
                    </a:lnTo>
                    <a:lnTo>
                      <a:pt x="25297" y="11257"/>
                    </a:lnTo>
                    <a:lnTo>
                      <a:pt x="25234" y="11195"/>
                    </a:lnTo>
                    <a:lnTo>
                      <a:pt x="25234" y="11132"/>
                    </a:lnTo>
                    <a:lnTo>
                      <a:pt x="25192" y="11132"/>
                    </a:lnTo>
                    <a:lnTo>
                      <a:pt x="25171" y="11195"/>
                    </a:lnTo>
                    <a:lnTo>
                      <a:pt x="25213" y="11446"/>
                    </a:lnTo>
                    <a:lnTo>
                      <a:pt x="25234" y="11592"/>
                    </a:lnTo>
                    <a:lnTo>
                      <a:pt x="25401" y="11676"/>
                    </a:lnTo>
                    <a:lnTo>
                      <a:pt x="25443" y="11760"/>
                    </a:lnTo>
                    <a:lnTo>
                      <a:pt x="25443" y="11990"/>
                    </a:lnTo>
                    <a:lnTo>
                      <a:pt x="25422" y="11864"/>
                    </a:lnTo>
                    <a:lnTo>
                      <a:pt x="25339" y="11801"/>
                    </a:lnTo>
                    <a:lnTo>
                      <a:pt x="25192" y="11613"/>
                    </a:lnTo>
                    <a:lnTo>
                      <a:pt x="25171" y="11467"/>
                    </a:lnTo>
                    <a:lnTo>
                      <a:pt x="25108" y="11278"/>
                    </a:lnTo>
                    <a:lnTo>
                      <a:pt x="25025" y="11278"/>
                    </a:lnTo>
                    <a:lnTo>
                      <a:pt x="24983" y="11341"/>
                    </a:lnTo>
                    <a:lnTo>
                      <a:pt x="25004" y="11488"/>
                    </a:lnTo>
                    <a:lnTo>
                      <a:pt x="25087" y="11592"/>
                    </a:lnTo>
                    <a:lnTo>
                      <a:pt x="25108" y="11718"/>
                    </a:lnTo>
                    <a:lnTo>
                      <a:pt x="25067" y="11760"/>
                    </a:lnTo>
                    <a:lnTo>
                      <a:pt x="24983" y="11655"/>
                    </a:lnTo>
                    <a:lnTo>
                      <a:pt x="24774" y="11697"/>
                    </a:lnTo>
                    <a:lnTo>
                      <a:pt x="24711" y="11760"/>
                    </a:lnTo>
                    <a:lnTo>
                      <a:pt x="24648" y="11676"/>
                    </a:lnTo>
                    <a:lnTo>
                      <a:pt x="24564" y="11655"/>
                    </a:lnTo>
                    <a:lnTo>
                      <a:pt x="24376" y="11488"/>
                    </a:lnTo>
                    <a:lnTo>
                      <a:pt x="24146" y="11488"/>
                    </a:lnTo>
                    <a:lnTo>
                      <a:pt x="24125" y="11404"/>
                    </a:lnTo>
                    <a:lnTo>
                      <a:pt x="24083" y="11404"/>
                    </a:lnTo>
                    <a:lnTo>
                      <a:pt x="23937" y="11488"/>
                    </a:lnTo>
                    <a:lnTo>
                      <a:pt x="23874" y="11571"/>
                    </a:lnTo>
                    <a:lnTo>
                      <a:pt x="23707" y="11571"/>
                    </a:lnTo>
                    <a:lnTo>
                      <a:pt x="23560" y="11655"/>
                    </a:lnTo>
                    <a:lnTo>
                      <a:pt x="23435" y="11550"/>
                    </a:lnTo>
                    <a:lnTo>
                      <a:pt x="23414" y="11550"/>
                    </a:lnTo>
                    <a:lnTo>
                      <a:pt x="23393" y="11446"/>
                    </a:lnTo>
                    <a:lnTo>
                      <a:pt x="23330" y="11404"/>
                    </a:lnTo>
                    <a:lnTo>
                      <a:pt x="23204" y="11488"/>
                    </a:lnTo>
                    <a:lnTo>
                      <a:pt x="23204" y="11404"/>
                    </a:lnTo>
                    <a:lnTo>
                      <a:pt x="23037" y="11257"/>
                    </a:lnTo>
                    <a:lnTo>
                      <a:pt x="23016" y="11174"/>
                    </a:lnTo>
                    <a:lnTo>
                      <a:pt x="22974" y="11153"/>
                    </a:lnTo>
                    <a:lnTo>
                      <a:pt x="22974" y="11069"/>
                    </a:lnTo>
                    <a:lnTo>
                      <a:pt x="22995" y="11027"/>
                    </a:lnTo>
                    <a:lnTo>
                      <a:pt x="22932" y="10944"/>
                    </a:lnTo>
                    <a:lnTo>
                      <a:pt x="22890" y="10964"/>
                    </a:lnTo>
                    <a:lnTo>
                      <a:pt x="22870" y="10944"/>
                    </a:lnTo>
                    <a:lnTo>
                      <a:pt x="22870" y="10860"/>
                    </a:lnTo>
                    <a:lnTo>
                      <a:pt x="22807" y="10839"/>
                    </a:lnTo>
                    <a:lnTo>
                      <a:pt x="22702" y="10881"/>
                    </a:lnTo>
                    <a:lnTo>
                      <a:pt x="22577" y="10881"/>
                    </a:lnTo>
                    <a:lnTo>
                      <a:pt x="22493" y="10818"/>
                    </a:lnTo>
                    <a:lnTo>
                      <a:pt x="22451" y="10818"/>
                    </a:lnTo>
                    <a:lnTo>
                      <a:pt x="22409" y="10755"/>
                    </a:lnTo>
                    <a:lnTo>
                      <a:pt x="22305" y="10713"/>
                    </a:lnTo>
                    <a:lnTo>
                      <a:pt x="22200" y="10713"/>
                    </a:lnTo>
                    <a:lnTo>
                      <a:pt x="22263" y="10630"/>
                    </a:lnTo>
                    <a:lnTo>
                      <a:pt x="22263" y="10546"/>
                    </a:lnTo>
                    <a:lnTo>
                      <a:pt x="22346" y="10462"/>
                    </a:lnTo>
                    <a:lnTo>
                      <a:pt x="22346" y="10420"/>
                    </a:lnTo>
                    <a:lnTo>
                      <a:pt x="22263" y="10400"/>
                    </a:lnTo>
                    <a:lnTo>
                      <a:pt x="22179" y="10400"/>
                    </a:lnTo>
                    <a:lnTo>
                      <a:pt x="22158" y="10148"/>
                    </a:lnTo>
                    <a:lnTo>
                      <a:pt x="22095" y="10127"/>
                    </a:lnTo>
                    <a:lnTo>
                      <a:pt x="22095" y="10086"/>
                    </a:lnTo>
                    <a:lnTo>
                      <a:pt x="22179" y="10023"/>
                    </a:lnTo>
                    <a:lnTo>
                      <a:pt x="22200" y="9981"/>
                    </a:lnTo>
                    <a:lnTo>
                      <a:pt x="22158" y="9939"/>
                    </a:lnTo>
                    <a:lnTo>
                      <a:pt x="22179" y="9876"/>
                    </a:lnTo>
                    <a:lnTo>
                      <a:pt x="22179" y="9772"/>
                    </a:lnTo>
                    <a:cubicBezTo>
                      <a:pt x="22284" y="9709"/>
                      <a:pt x="22388" y="9688"/>
                      <a:pt x="22493" y="9604"/>
                    </a:cubicBezTo>
                    <a:lnTo>
                      <a:pt x="22514" y="9625"/>
                    </a:lnTo>
                    <a:lnTo>
                      <a:pt x="22598" y="9604"/>
                    </a:lnTo>
                    <a:lnTo>
                      <a:pt x="22681" y="9500"/>
                    </a:lnTo>
                    <a:lnTo>
                      <a:pt x="22702" y="9500"/>
                    </a:lnTo>
                    <a:lnTo>
                      <a:pt x="22702" y="9604"/>
                    </a:lnTo>
                    <a:lnTo>
                      <a:pt x="22765" y="9709"/>
                    </a:lnTo>
                    <a:lnTo>
                      <a:pt x="22828" y="9730"/>
                    </a:lnTo>
                    <a:lnTo>
                      <a:pt x="22911" y="9688"/>
                    </a:lnTo>
                    <a:lnTo>
                      <a:pt x="22995" y="9709"/>
                    </a:lnTo>
                    <a:lnTo>
                      <a:pt x="23037" y="9793"/>
                    </a:lnTo>
                    <a:lnTo>
                      <a:pt x="23121" y="9793"/>
                    </a:lnTo>
                    <a:lnTo>
                      <a:pt x="23183" y="9835"/>
                    </a:lnTo>
                    <a:lnTo>
                      <a:pt x="23225" y="9835"/>
                    </a:lnTo>
                    <a:lnTo>
                      <a:pt x="23225" y="9730"/>
                    </a:lnTo>
                    <a:lnTo>
                      <a:pt x="23288" y="9730"/>
                    </a:lnTo>
                    <a:lnTo>
                      <a:pt x="23351" y="9709"/>
                    </a:lnTo>
                    <a:lnTo>
                      <a:pt x="23414" y="9730"/>
                    </a:lnTo>
                    <a:lnTo>
                      <a:pt x="23414" y="9814"/>
                    </a:lnTo>
                    <a:lnTo>
                      <a:pt x="23455" y="9835"/>
                    </a:lnTo>
                    <a:lnTo>
                      <a:pt x="23539" y="9814"/>
                    </a:lnTo>
                    <a:lnTo>
                      <a:pt x="23602" y="9730"/>
                    </a:lnTo>
                    <a:lnTo>
                      <a:pt x="23644" y="9772"/>
                    </a:lnTo>
                    <a:lnTo>
                      <a:pt x="23665" y="9835"/>
                    </a:lnTo>
                    <a:lnTo>
                      <a:pt x="23727" y="9835"/>
                    </a:lnTo>
                    <a:lnTo>
                      <a:pt x="23748" y="9793"/>
                    </a:lnTo>
                    <a:lnTo>
                      <a:pt x="23769" y="9793"/>
                    </a:lnTo>
                    <a:lnTo>
                      <a:pt x="23832" y="9709"/>
                    </a:lnTo>
                    <a:lnTo>
                      <a:pt x="23916" y="9709"/>
                    </a:lnTo>
                    <a:lnTo>
                      <a:pt x="23937" y="9772"/>
                    </a:lnTo>
                    <a:lnTo>
                      <a:pt x="23979" y="9793"/>
                    </a:lnTo>
                    <a:lnTo>
                      <a:pt x="24041" y="9772"/>
                    </a:lnTo>
                    <a:lnTo>
                      <a:pt x="24041" y="9709"/>
                    </a:lnTo>
                    <a:lnTo>
                      <a:pt x="24020" y="9667"/>
                    </a:lnTo>
                    <a:lnTo>
                      <a:pt x="24083" y="9583"/>
                    </a:lnTo>
                    <a:lnTo>
                      <a:pt x="24083" y="9521"/>
                    </a:lnTo>
                    <a:lnTo>
                      <a:pt x="24146" y="9458"/>
                    </a:lnTo>
                    <a:lnTo>
                      <a:pt x="24146" y="9374"/>
                    </a:lnTo>
                    <a:lnTo>
                      <a:pt x="24062" y="9374"/>
                    </a:lnTo>
                    <a:lnTo>
                      <a:pt x="24041" y="9291"/>
                    </a:lnTo>
                    <a:lnTo>
                      <a:pt x="24062" y="9186"/>
                    </a:lnTo>
                    <a:lnTo>
                      <a:pt x="24146" y="9165"/>
                    </a:lnTo>
                    <a:lnTo>
                      <a:pt x="24146" y="9060"/>
                    </a:lnTo>
                    <a:lnTo>
                      <a:pt x="24041" y="8998"/>
                    </a:lnTo>
                    <a:lnTo>
                      <a:pt x="23958" y="9039"/>
                    </a:lnTo>
                    <a:lnTo>
                      <a:pt x="23958" y="9102"/>
                    </a:lnTo>
                    <a:lnTo>
                      <a:pt x="23916" y="9165"/>
                    </a:lnTo>
                    <a:lnTo>
                      <a:pt x="23832" y="9102"/>
                    </a:lnTo>
                    <a:lnTo>
                      <a:pt x="23707" y="9102"/>
                    </a:lnTo>
                    <a:lnTo>
                      <a:pt x="23560" y="9249"/>
                    </a:lnTo>
                    <a:lnTo>
                      <a:pt x="23455" y="9311"/>
                    </a:lnTo>
                    <a:lnTo>
                      <a:pt x="23455" y="9270"/>
                    </a:lnTo>
                    <a:lnTo>
                      <a:pt x="23602" y="9186"/>
                    </a:lnTo>
                    <a:lnTo>
                      <a:pt x="23644" y="9102"/>
                    </a:lnTo>
                    <a:lnTo>
                      <a:pt x="23644" y="8977"/>
                    </a:lnTo>
                    <a:lnTo>
                      <a:pt x="23602" y="9060"/>
                    </a:lnTo>
                    <a:lnTo>
                      <a:pt x="23539" y="9039"/>
                    </a:lnTo>
                    <a:lnTo>
                      <a:pt x="23539" y="8935"/>
                    </a:lnTo>
                    <a:lnTo>
                      <a:pt x="23644" y="8851"/>
                    </a:lnTo>
                    <a:lnTo>
                      <a:pt x="23560" y="8726"/>
                    </a:lnTo>
                    <a:lnTo>
                      <a:pt x="23644" y="8642"/>
                    </a:lnTo>
                    <a:lnTo>
                      <a:pt x="23727" y="8642"/>
                    </a:lnTo>
                    <a:lnTo>
                      <a:pt x="23707" y="8684"/>
                    </a:lnTo>
                    <a:lnTo>
                      <a:pt x="23748" y="8851"/>
                    </a:lnTo>
                    <a:lnTo>
                      <a:pt x="23832" y="8935"/>
                    </a:lnTo>
                    <a:lnTo>
                      <a:pt x="23874" y="8893"/>
                    </a:lnTo>
                    <a:lnTo>
                      <a:pt x="23979" y="8893"/>
                    </a:lnTo>
                    <a:lnTo>
                      <a:pt x="24041" y="8767"/>
                    </a:lnTo>
                    <a:lnTo>
                      <a:pt x="23979" y="8726"/>
                    </a:lnTo>
                    <a:lnTo>
                      <a:pt x="23979" y="8663"/>
                    </a:lnTo>
                    <a:lnTo>
                      <a:pt x="24062" y="8663"/>
                    </a:lnTo>
                    <a:lnTo>
                      <a:pt x="24083" y="8726"/>
                    </a:lnTo>
                    <a:lnTo>
                      <a:pt x="24146" y="8684"/>
                    </a:lnTo>
                    <a:lnTo>
                      <a:pt x="24251" y="8621"/>
                    </a:lnTo>
                    <a:lnTo>
                      <a:pt x="24271" y="8475"/>
                    </a:lnTo>
                    <a:lnTo>
                      <a:pt x="24292" y="8579"/>
                    </a:lnTo>
                    <a:lnTo>
                      <a:pt x="24355" y="8579"/>
                    </a:lnTo>
                    <a:lnTo>
                      <a:pt x="24460" y="8516"/>
                    </a:lnTo>
                    <a:lnTo>
                      <a:pt x="24376" y="8684"/>
                    </a:lnTo>
                    <a:lnTo>
                      <a:pt x="24376" y="8851"/>
                    </a:lnTo>
                    <a:lnTo>
                      <a:pt x="24439" y="8830"/>
                    </a:lnTo>
                    <a:lnTo>
                      <a:pt x="24481" y="8851"/>
                    </a:lnTo>
                    <a:lnTo>
                      <a:pt x="24439" y="8935"/>
                    </a:lnTo>
                    <a:lnTo>
                      <a:pt x="24502" y="8935"/>
                    </a:lnTo>
                    <a:lnTo>
                      <a:pt x="24564" y="8788"/>
                    </a:lnTo>
                    <a:lnTo>
                      <a:pt x="24606" y="8747"/>
                    </a:lnTo>
                    <a:lnTo>
                      <a:pt x="24690" y="8579"/>
                    </a:lnTo>
                    <a:lnTo>
                      <a:pt x="24774" y="8558"/>
                    </a:lnTo>
                    <a:lnTo>
                      <a:pt x="24753" y="8684"/>
                    </a:lnTo>
                    <a:lnTo>
                      <a:pt x="24648" y="8788"/>
                    </a:lnTo>
                    <a:lnTo>
                      <a:pt x="24669" y="8977"/>
                    </a:lnTo>
                    <a:lnTo>
                      <a:pt x="24753" y="8977"/>
                    </a:lnTo>
                    <a:lnTo>
                      <a:pt x="24815" y="9039"/>
                    </a:lnTo>
                    <a:lnTo>
                      <a:pt x="24878" y="8956"/>
                    </a:lnTo>
                    <a:lnTo>
                      <a:pt x="25004" y="8851"/>
                    </a:lnTo>
                    <a:lnTo>
                      <a:pt x="25067" y="8684"/>
                    </a:lnTo>
                    <a:lnTo>
                      <a:pt x="25108" y="8558"/>
                    </a:lnTo>
                    <a:lnTo>
                      <a:pt x="25087" y="8433"/>
                    </a:lnTo>
                    <a:lnTo>
                      <a:pt x="25129" y="8370"/>
                    </a:lnTo>
                    <a:lnTo>
                      <a:pt x="25108" y="8328"/>
                    </a:lnTo>
                    <a:lnTo>
                      <a:pt x="25025" y="8328"/>
                    </a:lnTo>
                    <a:lnTo>
                      <a:pt x="24983" y="8307"/>
                    </a:lnTo>
                    <a:lnTo>
                      <a:pt x="24899" y="8349"/>
                    </a:lnTo>
                    <a:lnTo>
                      <a:pt x="24899" y="8223"/>
                    </a:lnTo>
                    <a:lnTo>
                      <a:pt x="24941" y="8203"/>
                    </a:lnTo>
                    <a:lnTo>
                      <a:pt x="24920" y="8140"/>
                    </a:lnTo>
                    <a:lnTo>
                      <a:pt x="24815" y="8140"/>
                    </a:lnTo>
                    <a:lnTo>
                      <a:pt x="24795" y="8098"/>
                    </a:lnTo>
                    <a:lnTo>
                      <a:pt x="24690" y="8014"/>
                    </a:lnTo>
                    <a:lnTo>
                      <a:pt x="24690" y="7931"/>
                    </a:lnTo>
                    <a:lnTo>
                      <a:pt x="24606" y="7742"/>
                    </a:lnTo>
                    <a:lnTo>
                      <a:pt x="24585" y="7617"/>
                    </a:lnTo>
                    <a:lnTo>
                      <a:pt x="24627" y="7491"/>
                    </a:lnTo>
                    <a:lnTo>
                      <a:pt x="24585" y="7324"/>
                    </a:lnTo>
                    <a:lnTo>
                      <a:pt x="24502" y="7470"/>
                    </a:lnTo>
                    <a:lnTo>
                      <a:pt x="24502" y="7575"/>
                    </a:lnTo>
                    <a:lnTo>
                      <a:pt x="24418" y="7428"/>
                    </a:lnTo>
                    <a:lnTo>
                      <a:pt x="24292" y="7366"/>
                    </a:lnTo>
                    <a:lnTo>
                      <a:pt x="24271" y="7114"/>
                    </a:lnTo>
                    <a:lnTo>
                      <a:pt x="24188" y="7073"/>
                    </a:lnTo>
                    <a:lnTo>
                      <a:pt x="24167" y="6884"/>
                    </a:lnTo>
                    <a:lnTo>
                      <a:pt x="24083" y="6780"/>
                    </a:lnTo>
                    <a:lnTo>
                      <a:pt x="24083" y="6675"/>
                    </a:lnTo>
                    <a:lnTo>
                      <a:pt x="24041" y="6591"/>
                    </a:lnTo>
                    <a:lnTo>
                      <a:pt x="24041" y="6529"/>
                    </a:lnTo>
                    <a:lnTo>
                      <a:pt x="24146" y="6529"/>
                    </a:lnTo>
                    <a:lnTo>
                      <a:pt x="24167" y="6382"/>
                    </a:lnTo>
                    <a:lnTo>
                      <a:pt x="24251" y="6382"/>
                    </a:lnTo>
                    <a:lnTo>
                      <a:pt x="24271" y="6424"/>
                    </a:lnTo>
                    <a:lnTo>
                      <a:pt x="24355" y="6361"/>
                    </a:lnTo>
                    <a:lnTo>
                      <a:pt x="24355" y="6257"/>
                    </a:lnTo>
                    <a:lnTo>
                      <a:pt x="24460" y="6026"/>
                    </a:lnTo>
                    <a:lnTo>
                      <a:pt x="24460" y="5922"/>
                    </a:lnTo>
                    <a:lnTo>
                      <a:pt x="24481" y="5880"/>
                    </a:lnTo>
                    <a:lnTo>
                      <a:pt x="24397" y="5692"/>
                    </a:lnTo>
                    <a:lnTo>
                      <a:pt x="24460" y="5566"/>
                    </a:lnTo>
                    <a:lnTo>
                      <a:pt x="24523" y="5566"/>
                    </a:lnTo>
                    <a:lnTo>
                      <a:pt x="24523" y="5399"/>
                    </a:lnTo>
                    <a:lnTo>
                      <a:pt x="24627" y="5252"/>
                    </a:lnTo>
                    <a:lnTo>
                      <a:pt x="24627" y="5148"/>
                    </a:lnTo>
                    <a:lnTo>
                      <a:pt x="24690" y="5064"/>
                    </a:lnTo>
                    <a:lnTo>
                      <a:pt x="24690" y="4855"/>
                    </a:lnTo>
                    <a:lnTo>
                      <a:pt x="24774" y="4834"/>
                    </a:lnTo>
                    <a:lnTo>
                      <a:pt x="24774" y="4729"/>
                    </a:lnTo>
                    <a:lnTo>
                      <a:pt x="24899" y="4583"/>
                    </a:lnTo>
                    <a:lnTo>
                      <a:pt x="24899" y="4478"/>
                    </a:lnTo>
                    <a:cubicBezTo>
                      <a:pt x="24918" y="4516"/>
                      <a:pt x="24966" y="4536"/>
                      <a:pt x="25020" y="4536"/>
                    </a:cubicBezTo>
                    <a:cubicBezTo>
                      <a:pt x="25085" y="4536"/>
                      <a:pt x="25158" y="4505"/>
                      <a:pt x="25192" y="4436"/>
                    </a:cubicBezTo>
                    <a:lnTo>
                      <a:pt x="25255" y="4122"/>
                    </a:lnTo>
                    <a:lnTo>
                      <a:pt x="25359" y="4122"/>
                    </a:lnTo>
                    <a:lnTo>
                      <a:pt x="25506" y="3955"/>
                    </a:lnTo>
                    <a:lnTo>
                      <a:pt x="25652" y="3892"/>
                    </a:lnTo>
                    <a:lnTo>
                      <a:pt x="25820" y="3725"/>
                    </a:lnTo>
                    <a:lnTo>
                      <a:pt x="25862" y="3725"/>
                    </a:lnTo>
                    <a:lnTo>
                      <a:pt x="25987" y="3599"/>
                    </a:lnTo>
                    <a:lnTo>
                      <a:pt x="25987" y="3516"/>
                    </a:lnTo>
                    <a:lnTo>
                      <a:pt x="26050" y="3474"/>
                    </a:lnTo>
                    <a:lnTo>
                      <a:pt x="26050" y="3390"/>
                    </a:lnTo>
                    <a:lnTo>
                      <a:pt x="25966" y="3285"/>
                    </a:lnTo>
                    <a:lnTo>
                      <a:pt x="25987" y="3223"/>
                    </a:lnTo>
                    <a:lnTo>
                      <a:pt x="25987" y="3160"/>
                    </a:lnTo>
                    <a:lnTo>
                      <a:pt x="25883" y="2993"/>
                    </a:lnTo>
                    <a:lnTo>
                      <a:pt x="25820" y="2993"/>
                    </a:lnTo>
                    <a:lnTo>
                      <a:pt x="25736" y="3013"/>
                    </a:lnTo>
                    <a:lnTo>
                      <a:pt x="25631" y="2972"/>
                    </a:lnTo>
                    <a:lnTo>
                      <a:pt x="25548" y="2993"/>
                    </a:lnTo>
                    <a:lnTo>
                      <a:pt x="25443" y="2909"/>
                    </a:lnTo>
                    <a:lnTo>
                      <a:pt x="25359" y="2909"/>
                    </a:lnTo>
                    <a:lnTo>
                      <a:pt x="25297" y="2846"/>
                    </a:lnTo>
                    <a:lnTo>
                      <a:pt x="25129" y="2867"/>
                    </a:lnTo>
                    <a:lnTo>
                      <a:pt x="25025" y="2972"/>
                    </a:lnTo>
                    <a:lnTo>
                      <a:pt x="24941" y="2993"/>
                    </a:lnTo>
                    <a:lnTo>
                      <a:pt x="24774" y="3118"/>
                    </a:lnTo>
                    <a:lnTo>
                      <a:pt x="24774" y="3181"/>
                    </a:lnTo>
                    <a:lnTo>
                      <a:pt x="24878" y="3265"/>
                    </a:lnTo>
                    <a:lnTo>
                      <a:pt x="24941" y="3390"/>
                    </a:lnTo>
                    <a:lnTo>
                      <a:pt x="24941" y="3516"/>
                    </a:lnTo>
                    <a:lnTo>
                      <a:pt x="24983" y="3641"/>
                    </a:lnTo>
                    <a:lnTo>
                      <a:pt x="24941" y="3704"/>
                    </a:lnTo>
                    <a:lnTo>
                      <a:pt x="24941" y="3809"/>
                    </a:lnTo>
                    <a:lnTo>
                      <a:pt x="25025" y="3913"/>
                    </a:lnTo>
                    <a:lnTo>
                      <a:pt x="25025" y="3934"/>
                    </a:lnTo>
                    <a:lnTo>
                      <a:pt x="25004" y="3955"/>
                    </a:lnTo>
                    <a:cubicBezTo>
                      <a:pt x="24983" y="4018"/>
                      <a:pt x="24941" y="4081"/>
                      <a:pt x="24920" y="4143"/>
                    </a:cubicBezTo>
                    <a:lnTo>
                      <a:pt x="24899" y="4081"/>
                    </a:lnTo>
                    <a:lnTo>
                      <a:pt x="24920" y="4018"/>
                    </a:lnTo>
                    <a:lnTo>
                      <a:pt x="24920" y="3934"/>
                    </a:lnTo>
                    <a:lnTo>
                      <a:pt x="24815" y="3871"/>
                    </a:lnTo>
                    <a:lnTo>
                      <a:pt x="24774" y="3725"/>
                    </a:lnTo>
                    <a:lnTo>
                      <a:pt x="24795" y="3662"/>
                    </a:lnTo>
                    <a:lnTo>
                      <a:pt x="24711" y="3495"/>
                    </a:lnTo>
                    <a:lnTo>
                      <a:pt x="24606" y="3474"/>
                    </a:lnTo>
                    <a:lnTo>
                      <a:pt x="24564" y="3411"/>
                    </a:lnTo>
                    <a:lnTo>
                      <a:pt x="24502" y="3411"/>
                    </a:lnTo>
                    <a:lnTo>
                      <a:pt x="24481" y="3578"/>
                    </a:lnTo>
                    <a:lnTo>
                      <a:pt x="24418" y="3578"/>
                    </a:lnTo>
                    <a:lnTo>
                      <a:pt x="24292" y="3369"/>
                    </a:lnTo>
                    <a:lnTo>
                      <a:pt x="24209" y="3369"/>
                    </a:lnTo>
                    <a:lnTo>
                      <a:pt x="24146" y="3285"/>
                    </a:lnTo>
                    <a:lnTo>
                      <a:pt x="24062" y="3327"/>
                    </a:lnTo>
                    <a:lnTo>
                      <a:pt x="24083" y="3495"/>
                    </a:lnTo>
                    <a:lnTo>
                      <a:pt x="24041" y="3516"/>
                    </a:lnTo>
                    <a:lnTo>
                      <a:pt x="23958" y="3495"/>
                    </a:lnTo>
                    <a:lnTo>
                      <a:pt x="23895" y="3620"/>
                    </a:lnTo>
                    <a:lnTo>
                      <a:pt x="23895" y="3704"/>
                    </a:lnTo>
                    <a:lnTo>
                      <a:pt x="23832" y="3746"/>
                    </a:lnTo>
                    <a:lnTo>
                      <a:pt x="23748" y="4039"/>
                    </a:lnTo>
                    <a:lnTo>
                      <a:pt x="23748" y="4143"/>
                    </a:lnTo>
                    <a:lnTo>
                      <a:pt x="23686" y="4227"/>
                    </a:lnTo>
                    <a:lnTo>
                      <a:pt x="23686" y="4353"/>
                    </a:lnTo>
                    <a:lnTo>
                      <a:pt x="23665" y="4374"/>
                    </a:lnTo>
                    <a:lnTo>
                      <a:pt x="23665" y="4478"/>
                    </a:lnTo>
                    <a:lnTo>
                      <a:pt x="23581" y="4541"/>
                    </a:lnTo>
                    <a:lnTo>
                      <a:pt x="23581" y="4771"/>
                    </a:lnTo>
                    <a:lnTo>
                      <a:pt x="23518" y="4813"/>
                    </a:lnTo>
                    <a:lnTo>
                      <a:pt x="23455" y="4792"/>
                    </a:lnTo>
                    <a:lnTo>
                      <a:pt x="23372" y="4980"/>
                    </a:lnTo>
                    <a:lnTo>
                      <a:pt x="23414" y="5064"/>
                    </a:lnTo>
                    <a:lnTo>
                      <a:pt x="23372" y="5169"/>
                    </a:lnTo>
                    <a:lnTo>
                      <a:pt x="23372" y="5273"/>
                    </a:lnTo>
                    <a:lnTo>
                      <a:pt x="23309" y="5378"/>
                    </a:lnTo>
                    <a:lnTo>
                      <a:pt x="23351" y="5462"/>
                    </a:lnTo>
                    <a:lnTo>
                      <a:pt x="23330" y="5524"/>
                    </a:lnTo>
                    <a:lnTo>
                      <a:pt x="23204" y="5524"/>
                    </a:lnTo>
                    <a:lnTo>
                      <a:pt x="23246" y="5587"/>
                    </a:lnTo>
                    <a:lnTo>
                      <a:pt x="23351" y="5629"/>
                    </a:lnTo>
                    <a:lnTo>
                      <a:pt x="23351" y="5734"/>
                    </a:lnTo>
                    <a:lnTo>
                      <a:pt x="23267" y="5713"/>
                    </a:lnTo>
                    <a:lnTo>
                      <a:pt x="23204" y="5734"/>
                    </a:lnTo>
                    <a:lnTo>
                      <a:pt x="23121" y="5796"/>
                    </a:lnTo>
                    <a:lnTo>
                      <a:pt x="23037" y="5754"/>
                    </a:lnTo>
                    <a:lnTo>
                      <a:pt x="22995" y="5817"/>
                    </a:lnTo>
                    <a:lnTo>
                      <a:pt x="22995" y="5922"/>
                    </a:lnTo>
                    <a:lnTo>
                      <a:pt x="22932" y="5964"/>
                    </a:lnTo>
                    <a:lnTo>
                      <a:pt x="22849" y="5922"/>
                    </a:lnTo>
                    <a:lnTo>
                      <a:pt x="22849" y="5817"/>
                    </a:lnTo>
                    <a:lnTo>
                      <a:pt x="22890" y="5734"/>
                    </a:lnTo>
                    <a:lnTo>
                      <a:pt x="22828" y="5650"/>
                    </a:lnTo>
                    <a:lnTo>
                      <a:pt x="22828" y="5482"/>
                    </a:lnTo>
                    <a:lnTo>
                      <a:pt x="22911" y="5294"/>
                    </a:lnTo>
                    <a:lnTo>
                      <a:pt x="22932" y="5169"/>
                    </a:lnTo>
                    <a:lnTo>
                      <a:pt x="23016" y="5085"/>
                    </a:lnTo>
                    <a:lnTo>
                      <a:pt x="23016" y="4980"/>
                    </a:lnTo>
                    <a:lnTo>
                      <a:pt x="23037" y="4876"/>
                    </a:lnTo>
                    <a:lnTo>
                      <a:pt x="23100" y="4646"/>
                    </a:lnTo>
                    <a:lnTo>
                      <a:pt x="23225" y="4562"/>
                    </a:lnTo>
                    <a:lnTo>
                      <a:pt x="23225" y="4436"/>
                    </a:lnTo>
                    <a:lnTo>
                      <a:pt x="23100" y="4436"/>
                    </a:lnTo>
                    <a:lnTo>
                      <a:pt x="23100" y="4353"/>
                    </a:lnTo>
                    <a:lnTo>
                      <a:pt x="23163" y="4269"/>
                    </a:lnTo>
                    <a:lnTo>
                      <a:pt x="23163" y="4039"/>
                    </a:lnTo>
                    <a:lnTo>
                      <a:pt x="23121" y="3976"/>
                    </a:lnTo>
                    <a:lnTo>
                      <a:pt x="23058" y="3850"/>
                    </a:lnTo>
                    <a:lnTo>
                      <a:pt x="23100" y="3809"/>
                    </a:lnTo>
                    <a:lnTo>
                      <a:pt x="23100" y="3662"/>
                    </a:lnTo>
                    <a:lnTo>
                      <a:pt x="23016" y="3662"/>
                    </a:lnTo>
                    <a:lnTo>
                      <a:pt x="22911" y="3537"/>
                    </a:lnTo>
                    <a:lnTo>
                      <a:pt x="22744" y="3599"/>
                    </a:lnTo>
                    <a:lnTo>
                      <a:pt x="22723" y="3725"/>
                    </a:lnTo>
                    <a:lnTo>
                      <a:pt x="22828" y="3809"/>
                    </a:lnTo>
                    <a:lnTo>
                      <a:pt x="22828" y="3913"/>
                    </a:lnTo>
                    <a:lnTo>
                      <a:pt x="22890" y="3976"/>
                    </a:lnTo>
                    <a:lnTo>
                      <a:pt x="22890" y="4060"/>
                    </a:lnTo>
                    <a:lnTo>
                      <a:pt x="22807" y="4060"/>
                    </a:lnTo>
                    <a:lnTo>
                      <a:pt x="22786" y="3955"/>
                    </a:lnTo>
                    <a:lnTo>
                      <a:pt x="22702" y="3955"/>
                    </a:lnTo>
                    <a:lnTo>
                      <a:pt x="22639" y="4081"/>
                    </a:lnTo>
                    <a:lnTo>
                      <a:pt x="22702" y="4122"/>
                    </a:lnTo>
                    <a:lnTo>
                      <a:pt x="22723" y="4227"/>
                    </a:lnTo>
                    <a:lnTo>
                      <a:pt x="22786" y="4353"/>
                    </a:lnTo>
                    <a:lnTo>
                      <a:pt x="22723" y="4394"/>
                    </a:lnTo>
                    <a:lnTo>
                      <a:pt x="22702" y="4353"/>
                    </a:lnTo>
                    <a:lnTo>
                      <a:pt x="22639" y="4290"/>
                    </a:lnTo>
                    <a:lnTo>
                      <a:pt x="22618" y="4436"/>
                    </a:lnTo>
                    <a:lnTo>
                      <a:pt x="22514" y="4353"/>
                    </a:lnTo>
                    <a:lnTo>
                      <a:pt x="22514" y="4248"/>
                    </a:lnTo>
                    <a:lnTo>
                      <a:pt x="22430" y="4248"/>
                    </a:lnTo>
                    <a:lnTo>
                      <a:pt x="22388" y="4353"/>
                    </a:lnTo>
                    <a:lnTo>
                      <a:pt x="22326" y="4332"/>
                    </a:lnTo>
                    <a:lnTo>
                      <a:pt x="22326" y="4185"/>
                    </a:lnTo>
                    <a:lnTo>
                      <a:pt x="22409" y="4122"/>
                    </a:lnTo>
                    <a:lnTo>
                      <a:pt x="22388" y="4081"/>
                    </a:lnTo>
                    <a:lnTo>
                      <a:pt x="22221" y="4143"/>
                    </a:lnTo>
                    <a:lnTo>
                      <a:pt x="22095" y="4269"/>
                    </a:lnTo>
                    <a:lnTo>
                      <a:pt x="22012" y="4143"/>
                    </a:lnTo>
                    <a:lnTo>
                      <a:pt x="21949" y="4143"/>
                    </a:lnTo>
                    <a:lnTo>
                      <a:pt x="21865" y="4227"/>
                    </a:lnTo>
                    <a:lnTo>
                      <a:pt x="21740" y="4227"/>
                    </a:lnTo>
                    <a:lnTo>
                      <a:pt x="21698" y="4164"/>
                    </a:lnTo>
                    <a:lnTo>
                      <a:pt x="21572" y="4185"/>
                    </a:lnTo>
                    <a:lnTo>
                      <a:pt x="21530" y="4143"/>
                    </a:lnTo>
                    <a:lnTo>
                      <a:pt x="21635" y="4060"/>
                    </a:lnTo>
                    <a:lnTo>
                      <a:pt x="21782" y="4039"/>
                    </a:lnTo>
                    <a:lnTo>
                      <a:pt x="21865" y="4060"/>
                    </a:lnTo>
                    <a:lnTo>
                      <a:pt x="21991" y="4039"/>
                    </a:lnTo>
                    <a:lnTo>
                      <a:pt x="21991" y="3955"/>
                    </a:lnTo>
                    <a:lnTo>
                      <a:pt x="22074" y="3934"/>
                    </a:lnTo>
                    <a:lnTo>
                      <a:pt x="22158" y="3955"/>
                    </a:lnTo>
                    <a:lnTo>
                      <a:pt x="22263" y="3850"/>
                    </a:lnTo>
                    <a:lnTo>
                      <a:pt x="22263" y="3746"/>
                    </a:lnTo>
                    <a:lnTo>
                      <a:pt x="22284" y="3662"/>
                    </a:lnTo>
                    <a:lnTo>
                      <a:pt x="22200" y="3599"/>
                    </a:lnTo>
                    <a:lnTo>
                      <a:pt x="22095" y="3411"/>
                    </a:lnTo>
                    <a:lnTo>
                      <a:pt x="21970" y="3348"/>
                    </a:lnTo>
                    <a:lnTo>
                      <a:pt x="21949" y="3285"/>
                    </a:lnTo>
                    <a:lnTo>
                      <a:pt x="21761" y="3118"/>
                    </a:lnTo>
                    <a:lnTo>
                      <a:pt x="21740" y="3076"/>
                    </a:lnTo>
                    <a:lnTo>
                      <a:pt x="21635" y="3076"/>
                    </a:lnTo>
                    <a:lnTo>
                      <a:pt x="21489" y="3139"/>
                    </a:lnTo>
                    <a:lnTo>
                      <a:pt x="21426" y="3139"/>
                    </a:lnTo>
                    <a:lnTo>
                      <a:pt x="21238" y="3327"/>
                    </a:lnTo>
                    <a:lnTo>
                      <a:pt x="21279" y="3390"/>
                    </a:lnTo>
                    <a:lnTo>
                      <a:pt x="21279" y="3453"/>
                    </a:lnTo>
                    <a:lnTo>
                      <a:pt x="21217" y="3495"/>
                    </a:lnTo>
                    <a:lnTo>
                      <a:pt x="21133" y="3516"/>
                    </a:lnTo>
                    <a:lnTo>
                      <a:pt x="21133" y="3453"/>
                    </a:lnTo>
                    <a:lnTo>
                      <a:pt x="21049" y="3495"/>
                    </a:lnTo>
                    <a:lnTo>
                      <a:pt x="20966" y="3432"/>
                    </a:lnTo>
                    <a:lnTo>
                      <a:pt x="20861" y="3432"/>
                    </a:lnTo>
                    <a:lnTo>
                      <a:pt x="20819" y="3495"/>
                    </a:lnTo>
                    <a:lnTo>
                      <a:pt x="20714" y="3495"/>
                    </a:lnTo>
                    <a:lnTo>
                      <a:pt x="20652" y="3432"/>
                    </a:lnTo>
                    <a:lnTo>
                      <a:pt x="20714" y="3390"/>
                    </a:lnTo>
                    <a:lnTo>
                      <a:pt x="20861" y="3348"/>
                    </a:lnTo>
                    <a:lnTo>
                      <a:pt x="20924" y="3244"/>
                    </a:lnTo>
                    <a:lnTo>
                      <a:pt x="21028" y="3223"/>
                    </a:lnTo>
                    <a:lnTo>
                      <a:pt x="21112" y="3244"/>
                    </a:lnTo>
                    <a:lnTo>
                      <a:pt x="21175" y="3139"/>
                    </a:lnTo>
                    <a:lnTo>
                      <a:pt x="21175" y="3013"/>
                    </a:lnTo>
                    <a:lnTo>
                      <a:pt x="21238" y="2972"/>
                    </a:lnTo>
                    <a:lnTo>
                      <a:pt x="21321" y="2972"/>
                    </a:lnTo>
                    <a:lnTo>
                      <a:pt x="21384" y="2804"/>
                    </a:lnTo>
                    <a:lnTo>
                      <a:pt x="21384" y="2616"/>
                    </a:lnTo>
                    <a:lnTo>
                      <a:pt x="21426" y="2553"/>
                    </a:lnTo>
                    <a:lnTo>
                      <a:pt x="21384" y="2449"/>
                    </a:lnTo>
                    <a:lnTo>
                      <a:pt x="21279" y="2449"/>
                    </a:lnTo>
                    <a:lnTo>
                      <a:pt x="21112" y="2490"/>
                    </a:lnTo>
                    <a:lnTo>
                      <a:pt x="20903" y="2553"/>
                    </a:lnTo>
                    <a:lnTo>
                      <a:pt x="20694" y="2616"/>
                    </a:lnTo>
                    <a:lnTo>
                      <a:pt x="20547" y="2658"/>
                    </a:lnTo>
                    <a:cubicBezTo>
                      <a:pt x="20652" y="2616"/>
                      <a:pt x="20798" y="2574"/>
                      <a:pt x="20903" y="2511"/>
                    </a:cubicBezTo>
                    <a:cubicBezTo>
                      <a:pt x="20945" y="2511"/>
                      <a:pt x="21028" y="2490"/>
                      <a:pt x="21070" y="2490"/>
                    </a:cubicBezTo>
                    <a:cubicBezTo>
                      <a:pt x="21217" y="2469"/>
                      <a:pt x="21238" y="2344"/>
                      <a:pt x="21175" y="2239"/>
                    </a:cubicBezTo>
                    <a:lnTo>
                      <a:pt x="21238" y="2177"/>
                    </a:lnTo>
                    <a:lnTo>
                      <a:pt x="21217" y="2072"/>
                    </a:lnTo>
                    <a:lnTo>
                      <a:pt x="21217" y="1967"/>
                    </a:lnTo>
                    <a:lnTo>
                      <a:pt x="21154" y="1884"/>
                    </a:lnTo>
                    <a:lnTo>
                      <a:pt x="21217" y="1842"/>
                    </a:lnTo>
                    <a:lnTo>
                      <a:pt x="21217" y="1674"/>
                    </a:lnTo>
                    <a:lnTo>
                      <a:pt x="21133" y="1507"/>
                    </a:lnTo>
                    <a:lnTo>
                      <a:pt x="21175" y="1402"/>
                    </a:lnTo>
                    <a:lnTo>
                      <a:pt x="21154" y="1109"/>
                    </a:lnTo>
                    <a:lnTo>
                      <a:pt x="20945" y="879"/>
                    </a:lnTo>
                    <a:lnTo>
                      <a:pt x="20924" y="775"/>
                    </a:lnTo>
                    <a:lnTo>
                      <a:pt x="20840" y="733"/>
                    </a:lnTo>
                    <a:lnTo>
                      <a:pt x="20694" y="796"/>
                    </a:lnTo>
                    <a:lnTo>
                      <a:pt x="20526" y="775"/>
                    </a:lnTo>
                    <a:lnTo>
                      <a:pt x="20442" y="837"/>
                    </a:lnTo>
                    <a:lnTo>
                      <a:pt x="20442" y="984"/>
                    </a:lnTo>
                    <a:lnTo>
                      <a:pt x="20212" y="1109"/>
                    </a:lnTo>
                    <a:lnTo>
                      <a:pt x="20212" y="1047"/>
                    </a:lnTo>
                    <a:lnTo>
                      <a:pt x="20380" y="900"/>
                    </a:lnTo>
                    <a:lnTo>
                      <a:pt x="20422" y="754"/>
                    </a:lnTo>
                    <a:lnTo>
                      <a:pt x="20317" y="670"/>
                    </a:lnTo>
                    <a:lnTo>
                      <a:pt x="20212" y="712"/>
                    </a:lnTo>
                    <a:lnTo>
                      <a:pt x="20129" y="733"/>
                    </a:lnTo>
                    <a:lnTo>
                      <a:pt x="20212" y="670"/>
                    </a:lnTo>
                    <a:lnTo>
                      <a:pt x="20191" y="586"/>
                    </a:lnTo>
                    <a:lnTo>
                      <a:pt x="19898" y="419"/>
                    </a:lnTo>
                    <a:lnTo>
                      <a:pt x="19815" y="293"/>
                    </a:lnTo>
                    <a:lnTo>
                      <a:pt x="19752" y="252"/>
                    </a:lnTo>
                    <a:lnTo>
                      <a:pt x="19773" y="105"/>
                    </a:lnTo>
                    <a:lnTo>
                      <a:pt x="1945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grpSp>
        <p:sp>
          <p:nvSpPr>
            <p:cNvPr id="1121" name="Google Shape;5884;p93">
              <a:extLst>
                <a:ext uri="{FF2B5EF4-FFF2-40B4-BE49-F238E27FC236}">
                  <a16:creationId xmlns:a16="http://schemas.microsoft.com/office/drawing/2014/main" id="{46F733A1-69A9-45C1-9B6A-6EFF83FA4231}"/>
                </a:ext>
              </a:extLst>
            </p:cNvPr>
            <p:cNvSpPr/>
            <p:nvPr/>
          </p:nvSpPr>
          <p:spPr>
            <a:xfrm>
              <a:off x="3216902" y="3020658"/>
              <a:ext cx="15456" cy="5959"/>
            </a:xfrm>
            <a:custGeom>
              <a:avLst/>
              <a:gdLst/>
              <a:ahLst/>
              <a:cxnLst/>
              <a:rect l="l" t="t" r="r" b="b"/>
              <a:pathLst>
                <a:path w="1298" h="524" extrusionOk="0">
                  <a:moveTo>
                    <a:pt x="503" y="0"/>
                  </a:moveTo>
                  <a:lnTo>
                    <a:pt x="293" y="42"/>
                  </a:lnTo>
                  <a:lnTo>
                    <a:pt x="168" y="21"/>
                  </a:lnTo>
                  <a:lnTo>
                    <a:pt x="63" y="42"/>
                  </a:lnTo>
                  <a:lnTo>
                    <a:pt x="1" y="147"/>
                  </a:lnTo>
                  <a:lnTo>
                    <a:pt x="105" y="230"/>
                  </a:lnTo>
                  <a:lnTo>
                    <a:pt x="189" y="209"/>
                  </a:lnTo>
                  <a:lnTo>
                    <a:pt x="252" y="230"/>
                  </a:lnTo>
                  <a:lnTo>
                    <a:pt x="314" y="377"/>
                  </a:lnTo>
                  <a:lnTo>
                    <a:pt x="398" y="439"/>
                  </a:lnTo>
                  <a:lnTo>
                    <a:pt x="524" y="439"/>
                  </a:lnTo>
                  <a:lnTo>
                    <a:pt x="607" y="523"/>
                  </a:lnTo>
                  <a:lnTo>
                    <a:pt x="775" y="523"/>
                  </a:lnTo>
                  <a:lnTo>
                    <a:pt x="775" y="377"/>
                  </a:lnTo>
                  <a:lnTo>
                    <a:pt x="879" y="377"/>
                  </a:lnTo>
                  <a:lnTo>
                    <a:pt x="900" y="439"/>
                  </a:lnTo>
                  <a:lnTo>
                    <a:pt x="984" y="439"/>
                  </a:lnTo>
                  <a:lnTo>
                    <a:pt x="1005" y="335"/>
                  </a:lnTo>
                  <a:lnTo>
                    <a:pt x="1089" y="377"/>
                  </a:lnTo>
                  <a:lnTo>
                    <a:pt x="1298" y="377"/>
                  </a:lnTo>
                  <a:lnTo>
                    <a:pt x="1298" y="335"/>
                  </a:lnTo>
                  <a:lnTo>
                    <a:pt x="1193" y="230"/>
                  </a:lnTo>
                  <a:lnTo>
                    <a:pt x="1047" y="209"/>
                  </a:lnTo>
                  <a:lnTo>
                    <a:pt x="942" y="21"/>
                  </a:lnTo>
                  <a:lnTo>
                    <a:pt x="50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 name="Google Shape;5885;p93">
              <a:extLst>
                <a:ext uri="{FF2B5EF4-FFF2-40B4-BE49-F238E27FC236}">
                  <a16:creationId xmlns:a16="http://schemas.microsoft.com/office/drawing/2014/main" id="{CD7BC417-86AE-4408-85FB-FFB11096309F}"/>
                </a:ext>
              </a:extLst>
            </p:cNvPr>
            <p:cNvSpPr/>
            <p:nvPr/>
          </p:nvSpPr>
          <p:spPr>
            <a:xfrm>
              <a:off x="3243063" y="3010423"/>
              <a:ext cx="19695" cy="13340"/>
            </a:xfrm>
            <a:custGeom>
              <a:avLst/>
              <a:gdLst/>
              <a:ahLst/>
              <a:cxnLst/>
              <a:rect l="l" t="t" r="r" b="b"/>
              <a:pathLst>
                <a:path w="1654" h="1173" extrusionOk="0">
                  <a:moveTo>
                    <a:pt x="1089" y="0"/>
                  </a:moveTo>
                  <a:lnTo>
                    <a:pt x="1005" y="63"/>
                  </a:lnTo>
                  <a:lnTo>
                    <a:pt x="900" y="21"/>
                  </a:lnTo>
                  <a:lnTo>
                    <a:pt x="691" y="21"/>
                  </a:lnTo>
                  <a:lnTo>
                    <a:pt x="649" y="84"/>
                  </a:lnTo>
                  <a:lnTo>
                    <a:pt x="754" y="168"/>
                  </a:lnTo>
                  <a:lnTo>
                    <a:pt x="1068" y="272"/>
                  </a:lnTo>
                  <a:lnTo>
                    <a:pt x="1047" y="314"/>
                  </a:lnTo>
                  <a:lnTo>
                    <a:pt x="1109" y="398"/>
                  </a:lnTo>
                  <a:lnTo>
                    <a:pt x="1047" y="544"/>
                  </a:lnTo>
                  <a:lnTo>
                    <a:pt x="1109" y="649"/>
                  </a:lnTo>
                  <a:lnTo>
                    <a:pt x="1214" y="691"/>
                  </a:lnTo>
                  <a:lnTo>
                    <a:pt x="1340" y="795"/>
                  </a:lnTo>
                  <a:lnTo>
                    <a:pt x="1319" y="858"/>
                  </a:lnTo>
                  <a:lnTo>
                    <a:pt x="1068" y="858"/>
                  </a:lnTo>
                  <a:lnTo>
                    <a:pt x="1026" y="900"/>
                  </a:lnTo>
                  <a:lnTo>
                    <a:pt x="921" y="858"/>
                  </a:lnTo>
                  <a:lnTo>
                    <a:pt x="796" y="858"/>
                  </a:lnTo>
                  <a:lnTo>
                    <a:pt x="649" y="816"/>
                  </a:lnTo>
                  <a:lnTo>
                    <a:pt x="524" y="858"/>
                  </a:lnTo>
                  <a:lnTo>
                    <a:pt x="524" y="816"/>
                  </a:lnTo>
                  <a:lnTo>
                    <a:pt x="482" y="795"/>
                  </a:lnTo>
                  <a:lnTo>
                    <a:pt x="293" y="837"/>
                  </a:lnTo>
                  <a:lnTo>
                    <a:pt x="189" y="733"/>
                  </a:lnTo>
                  <a:lnTo>
                    <a:pt x="63" y="795"/>
                  </a:lnTo>
                  <a:lnTo>
                    <a:pt x="0" y="858"/>
                  </a:lnTo>
                  <a:lnTo>
                    <a:pt x="63" y="963"/>
                  </a:lnTo>
                  <a:lnTo>
                    <a:pt x="189" y="1005"/>
                  </a:lnTo>
                  <a:lnTo>
                    <a:pt x="314" y="1151"/>
                  </a:lnTo>
                  <a:lnTo>
                    <a:pt x="377" y="1172"/>
                  </a:lnTo>
                  <a:lnTo>
                    <a:pt x="377" y="1067"/>
                  </a:lnTo>
                  <a:lnTo>
                    <a:pt x="419" y="1026"/>
                  </a:lnTo>
                  <a:lnTo>
                    <a:pt x="691" y="1026"/>
                  </a:lnTo>
                  <a:lnTo>
                    <a:pt x="796" y="1067"/>
                  </a:lnTo>
                  <a:lnTo>
                    <a:pt x="1109" y="1067"/>
                  </a:lnTo>
                  <a:lnTo>
                    <a:pt x="1151" y="1047"/>
                  </a:lnTo>
                  <a:lnTo>
                    <a:pt x="1256" y="1109"/>
                  </a:lnTo>
                  <a:lnTo>
                    <a:pt x="1340" y="1109"/>
                  </a:lnTo>
                  <a:lnTo>
                    <a:pt x="1340" y="1047"/>
                  </a:lnTo>
                  <a:lnTo>
                    <a:pt x="1570" y="921"/>
                  </a:lnTo>
                  <a:lnTo>
                    <a:pt x="1570" y="837"/>
                  </a:lnTo>
                  <a:lnTo>
                    <a:pt x="1570" y="733"/>
                  </a:lnTo>
                  <a:lnTo>
                    <a:pt x="1528" y="607"/>
                  </a:lnTo>
                  <a:lnTo>
                    <a:pt x="1549" y="544"/>
                  </a:lnTo>
                  <a:lnTo>
                    <a:pt x="1633" y="502"/>
                  </a:lnTo>
                  <a:lnTo>
                    <a:pt x="1653" y="377"/>
                  </a:lnTo>
                  <a:lnTo>
                    <a:pt x="1612" y="293"/>
                  </a:lnTo>
                  <a:lnTo>
                    <a:pt x="1653" y="189"/>
                  </a:lnTo>
                  <a:lnTo>
                    <a:pt x="1633" y="126"/>
                  </a:lnTo>
                  <a:lnTo>
                    <a:pt x="1528" y="105"/>
                  </a:lnTo>
                  <a:lnTo>
                    <a:pt x="1423" y="126"/>
                  </a:lnTo>
                  <a:lnTo>
                    <a:pt x="1319" y="21"/>
                  </a:lnTo>
                  <a:lnTo>
                    <a:pt x="10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 name="Google Shape;5886;p93">
              <a:extLst>
                <a:ext uri="{FF2B5EF4-FFF2-40B4-BE49-F238E27FC236}">
                  <a16:creationId xmlns:a16="http://schemas.microsoft.com/office/drawing/2014/main" id="{77367507-3DB2-4E9D-BE55-3466151D2083}"/>
                </a:ext>
              </a:extLst>
            </p:cNvPr>
            <p:cNvSpPr/>
            <p:nvPr/>
          </p:nvSpPr>
          <p:spPr>
            <a:xfrm>
              <a:off x="3173297" y="2986859"/>
              <a:ext cx="73267" cy="24997"/>
            </a:xfrm>
            <a:custGeom>
              <a:avLst/>
              <a:gdLst/>
              <a:ahLst/>
              <a:cxnLst/>
              <a:rect l="l" t="t" r="r" b="b"/>
              <a:pathLst>
                <a:path w="6153" h="2198" extrusionOk="0">
                  <a:moveTo>
                    <a:pt x="1570" y="1"/>
                  </a:moveTo>
                  <a:lnTo>
                    <a:pt x="1445" y="106"/>
                  </a:lnTo>
                  <a:lnTo>
                    <a:pt x="1131" y="106"/>
                  </a:lnTo>
                  <a:lnTo>
                    <a:pt x="901" y="168"/>
                  </a:lnTo>
                  <a:lnTo>
                    <a:pt x="817" y="252"/>
                  </a:lnTo>
                  <a:lnTo>
                    <a:pt x="566" y="315"/>
                  </a:lnTo>
                  <a:lnTo>
                    <a:pt x="482" y="419"/>
                  </a:lnTo>
                  <a:lnTo>
                    <a:pt x="377" y="482"/>
                  </a:lnTo>
                  <a:lnTo>
                    <a:pt x="357" y="608"/>
                  </a:lnTo>
                  <a:lnTo>
                    <a:pt x="419" y="712"/>
                  </a:lnTo>
                  <a:lnTo>
                    <a:pt x="398" y="775"/>
                  </a:lnTo>
                  <a:lnTo>
                    <a:pt x="294" y="712"/>
                  </a:lnTo>
                  <a:lnTo>
                    <a:pt x="85" y="817"/>
                  </a:lnTo>
                  <a:lnTo>
                    <a:pt x="1" y="796"/>
                  </a:lnTo>
                  <a:lnTo>
                    <a:pt x="1" y="880"/>
                  </a:lnTo>
                  <a:lnTo>
                    <a:pt x="105" y="922"/>
                  </a:lnTo>
                  <a:lnTo>
                    <a:pt x="252" y="796"/>
                  </a:lnTo>
                  <a:lnTo>
                    <a:pt x="273" y="817"/>
                  </a:lnTo>
                  <a:lnTo>
                    <a:pt x="273" y="922"/>
                  </a:lnTo>
                  <a:lnTo>
                    <a:pt x="419" y="817"/>
                  </a:lnTo>
                  <a:lnTo>
                    <a:pt x="524" y="817"/>
                  </a:lnTo>
                  <a:lnTo>
                    <a:pt x="629" y="629"/>
                  </a:lnTo>
                  <a:lnTo>
                    <a:pt x="796" y="670"/>
                  </a:lnTo>
                  <a:lnTo>
                    <a:pt x="838" y="608"/>
                  </a:lnTo>
                  <a:lnTo>
                    <a:pt x="922" y="691"/>
                  </a:lnTo>
                  <a:lnTo>
                    <a:pt x="1026" y="670"/>
                  </a:lnTo>
                  <a:lnTo>
                    <a:pt x="1214" y="461"/>
                  </a:lnTo>
                  <a:lnTo>
                    <a:pt x="1319" y="419"/>
                  </a:lnTo>
                  <a:lnTo>
                    <a:pt x="1361" y="357"/>
                  </a:lnTo>
                  <a:lnTo>
                    <a:pt x="1528" y="378"/>
                  </a:lnTo>
                  <a:lnTo>
                    <a:pt x="1654" y="378"/>
                  </a:lnTo>
                  <a:lnTo>
                    <a:pt x="1884" y="398"/>
                  </a:lnTo>
                  <a:lnTo>
                    <a:pt x="1968" y="461"/>
                  </a:lnTo>
                  <a:lnTo>
                    <a:pt x="1884" y="503"/>
                  </a:lnTo>
                  <a:lnTo>
                    <a:pt x="1758" y="503"/>
                  </a:lnTo>
                  <a:lnTo>
                    <a:pt x="1675" y="566"/>
                  </a:lnTo>
                  <a:lnTo>
                    <a:pt x="1758" y="629"/>
                  </a:lnTo>
                  <a:lnTo>
                    <a:pt x="2093" y="691"/>
                  </a:lnTo>
                  <a:lnTo>
                    <a:pt x="2177" y="670"/>
                  </a:lnTo>
                  <a:lnTo>
                    <a:pt x="2282" y="670"/>
                  </a:lnTo>
                  <a:lnTo>
                    <a:pt x="2386" y="733"/>
                  </a:lnTo>
                  <a:lnTo>
                    <a:pt x="2554" y="775"/>
                  </a:lnTo>
                  <a:lnTo>
                    <a:pt x="2616" y="775"/>
                  </a:lnTo>
                  <a:lnTo>
                    <a:pt x="2658" y="691"/>
                  </a:lnTo>
                  <a:lnTo>
                    <a:pt x="2721" y="775"/>
                  </a:lnTo>
                  <a:lnTo>
                    <a:pt x="2763" y="817"/>
                  </a:lnTo>
                  <a:lnTo>
                    <a:pt x="2930" y="942"/>
                  </a:lnTo>
                  <a:lnTo>
                    <a:pt x="3077" y="984"/>
                  </a:lnTo>
                  <a:lnTo>
                    <a:pt x="3139" y="942"/>
                  </a:lnTo>
                  <a:lnTo>
                    <a:pt x="3244" y="1026"/>
                  </a:lnTo>
                  <a:lnTo>
                    <a:pt x="3349" y="1005"/>
                  </a:lnTo>
                  <a:lnTo>
                    <a:pt x="3432" y="1047"/>
                  </a:lnTo>
                  <a:lnTo>
                    <a:pt x="3600" y="1005"/>
                  </a:lnTo>
                  <a:lnTo>
                    <a:pt x="3663" y="1026"/>
                  </a:lnTo>
                  <a:lnTo>
                    <a:pt x="3746" y="1361"/>
                  </a:lnTo>
                  <a:lnTo>
                    <a:pt x="3955" y="1570"/>
                  </a:lnTo>
                  <a:lnTo>
                    <a:pt x="4039" y="1612"/>
                  </a:lnTo>
                  <a:lnTo>
                    <a:pt x="4081" y="1549"/>
                  </a:lnTo>
                  <a:lnTo>
                    <a:pt x="4227" y="1633"/>
                  </a:lnTo>
                  <a:lnTo>
                    <a:pt x="4437" y="1633"/>
                  </a:lnTo>
                  <a:lnTo>
                    <a:pt x="4458" y="1675"/>
                  </a:lnTo>
                  <a:lnTo>
                    <a:pt x="4541" y="1738"/>
                  </a:lnTo>
                  <a:lnTo>
                    <a:pt x="4541" y="1842"/>
                  </a:lnTo>
                  <a:lnTo>
                    <a:pt x="4374" y="1863"/>
                  </a:lnTo>
                  <a:lnTo>
                    <a:pt x="4186" y="2051"/>
                  </a:lnTo>
                  <a:lnTo>
                    <a:pt x="4186" y="2156"/>
                  </a:lnTo>
                  <a:lnTo>
                    <a:pt x="4374" y="2177"/>
                  </a:lnTo>
                  <a:lnTo>
                    <a:pt x="4541" y="2135"/>
                  </a:lnTo>
                  <a:lnTo>
                    <a:pt x="4604" y="2156"/>
                  </a:lnTo>
                  <a:lnTo>
                    <a:pt x="4897" y="2093"/>
                  </a:lnTo>
                  <a:lnTo>
                    <a:pt x="5064" y="2093"/>
                  </a:lnTo>
                  <a:lnTo>
                    <a:pt x="5274" y="2198"/>
                  </a:lnTo>
                  <a:lnTo>
                    <a:pt x="5546" y="2135"/>
                  </a:lnTo>
                  <a:lnTo>
                    <a:pt x="5587" y="2072"/>
                  </a:lnTo>
                  <a:lnTo>
                    <a:pt x="5650" y="2072"/>
                  </a:lnTo>
                  <a:lnTo>
                    <a:pt x="5734" y="2030"/>
                  </a:lnTo>
                  <a:lnTo>
                    <a:pt x="5943" y="2051"/>
                  </a:lnTo>
                  <a:lnTo>
                    <a:pt x="6069" y="1989"/>
                  </a:lnTo>
                  <a:lnTo>
                    <a:pt x="6152" y="1884"/>
                  </a:lnTo>
                  <a:lnTo>
                    <a:pt x="6111" y="1842"/>
                  </a:lnTo>
                  <a:lnTo>
                    <a:pt x="6006" y="1821"/>
                  </a:lnTo>
                  <a:lnTo>
                    <a:pt x="5922" y="1654"/>
                  </a:lnTo>
                  <a:lnTo>
                    <a:pt x="5692" y="1549"/>
                  </a:lnTo>
                  <a:lnTo>
                    <a:pt x="5378" y="1549"/>
                  </a:lnTo>
                  <a:lnTo>
                    <a:pt x="5295" y="1528"/>
                  </a:lnTo>
                  <a:lnTo>
                    <a:pt x="5336" y="1466"/>
                  </a:lnTo>
                  <a:lnTo>
                    <a:pt x="5399" y="1319"/>
                  </a:lnTo>
                  <a:lnTo>
                    <a:pt x="5315" y="1298"/>
                  </a:lnTo>
                  <a:lnTo>
                    <a:pt x="5232" y="1340"/>
                  </a:lnTo>
                  <a:lnTo>
                    <a:pt x="5127" y="1340"/>
                  </a:lnTo>
                  <a:lnTo>
                    <a:pt x="4918" y="1194"/>
                  </a:lnTo>
                  <a:lnTo>
                    <a:pt x="4855" y="1235"/>
                  </a:lnTo>
                  <a:lnTo>
                    <a:pt x="4771" y="1152"/>
                  </a:lnTo>
                  <a:lnTo>
                    <a:pt x="4604" y="1026"/>
                  </a:lnTo>
                  <a:lnTo>
                    <a:pt x="4541" y="1131"/>
                  </a:lnTo>
                  <a:lnTo>
                    <a:pt x="4479" y="1089"/>
                  </a:lnTo>
                  <a:lnTo>
                    <a:pt x="4499" y="1005"/>
                  </a:lnTo>
                  <a:lnTo>
                    <a:pt x="4437" y="984"/>
                  </a:lnTo>
                  <a:lnTo>
                    <a:pt x="4395" y="1047"/>
                  </a:lnTo>
                  <a:lnTo>
                    <a:pt x="4332" y="984"/>
                  </a:lnTo>
                  <a:lnTo>
                    <a:pt x="4123" y="922"/>
                  </a:lnTo>
                  <a:lnTo>
                    <a:pt x="3955" y="796"/>
                  </a:lnTo>
                  <a:lnTo>
                    <a:pt x="3830" y="712"/>
                  </a:lnTo>
                  <a:lnTo>
                    <a:pt x="3704" y="587"/>
                  </a:lnTo>
                  <a:lnTo>
                    <a:pt x="3349" y="587"/>
                  </a:lnTo>
                  <a:lnTo>
                    <a:pt x="3244" y="524"/>
                  </a:lnTo>
                  <a:lnTo>
                    <a:pt x="3202" y="398"/>
                  </a:lnTo>
                  <a:lnTo>
                    <a:pt x="3077" y="252"/>
                  </a:lnTo>
                  <a:lnTo>
                    <a:pt x="2972" y="273"/>
                  </a:lnTo>
                  <a:lnTo>
                    <a:pt x="2909" y="210"/>
                  </a:lnTo>
                  <a:lnTo>
                    <a:pt x="2491" y="147"/>
                  </a:lnTo>
                  <a:lnTo>
                    <a:pt x="2365" y="210"/>
                  </a:lnTo>
                  <a:lnTo>
                    <a:pt x="2177" y="168"/>
                  </a:lnTo>
                  <a:lnTo>
                    <a:pt x="2072" y="43"/>
                  </a:lnTo>
                  <a:lnTo>
                    <a:pt x="182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 name="Google Shape;5887;p93">
              <a:extLst>
                <a:ext uri="{FF2B5EF4-FFF2-40B4-BE49-F238E27FC236}">
                  <a16:creationId xmlns:a16="http://schemas.microsoft.com/office/drawing/2014/main" id="{5FC7BA3A-C5BA-46CF-A7FF-C0B0F1FA5C43}"/>
                </a:ext>
              </a:extLst>
            </p:cNvPr>
            <p:cNvSpPr/>
            <p:nvPr/>
          </p:nvSpPr>
          <p:spPr>
            <a:xfrm>
              <a:off x="3371128" y="3527019"/>
              <a:ext cx="18695" cy="10247"/>
            </a:xfrm>
            <a:custGeom>
              <a:avLst/>
              <a:gdLst/>
              <a:ahLst/>
              <a:cxnLst/>
              <a:rect l="l" t="t" r="r" b="b"/>
              <a:pathLst>
                <a:path w="1570" h="901" extrusionOk="0">
                  <a:moveTo>
                    <a:pt x="1025" y="0"/>
                  </a:moveTo>
                  <a:lnTo>
                    <a:pt x="984" y="84"/>
                  </a:lnTo>
                  <a:lnTo>
                    <a:pt x="921" y="105"/>
                  </a:lnTo>
                  <a:lnTo>
                    <a:pt x="942" y="189"/>
                  </a:lnTo>
                  <a:lnTo>
                    <a:pt x="921" y="252"/>
                  </a:lnTo>
                  <a:lnTo>
                    <a:pt x="691" y="314"/>
                  </a:lnTo>
                  <a:lnTo>
                    <a:pt x="733" y="273"/>
                  </a:lnTo>
                  <a:lnTo>
                    <a:pt x="774" y="126"/>
                  </a:lnTo>
                  <a:lnTo>
                    <a:pt x="733" y="63"/>
                  </a:lnTo>
                  <a:lnTo>
                    <a:pt x="649" y="84"/>
                  </a:lnTo>
                  <a:lnTo>
                    <a:pt x="607" y="168"/>
                  </a:lnTo>
                  <a:lnTo>
                    <a:pt x="544" y="168"/>
                  </a:lnTo>
                  <a:lnTo>
                    <a:pt x="461" y="84"/>
                  </a:lnTo>
                  <a:lnTo>
                    <a:pt x="377" y="84"/>
                  </a:lnTo>
                  <a:lnTo>
                    <a:pt x="377" y="252"/>
                  </a:lnTo>
                  <a:lnTo>
                    <a:pt x="272" y="210"/>
                  </a:lnTo>
                  <a:lnTo>
                    <a:pt x="168" y="105"/>
                  </a:lnTo>
                  <a:lnTo>
                    <a:pt x="105" y="168"/>
                  </a:lnTo>
                  <a:lnTo>
                    <a:pt x="230" y="356"/>
                  </a:lnTo>
                  <a:lnTo>
                    <a:pt x="377" y="377"/>
                  </a:lnTo>
                  <a:lnTo>
                    <a:pt x="377" y="419"/>
                  </a:lnTo>
                  <a:lnTo>
                    <a:pt x="230" y="419"/>
                  </a:lnTo>
                  <a:lnTo>
                    <a:pt x="168" y="482"/>
                  </a:lnTo>
                  <a:lnTo>
                    <a:pt x="189" y="565"/>
                  </a:lnTo>
                  <a:lnTo>
                    <a:pt x="84" y="670"/>
                  </a:lnTo>
                  <a:lnTo>
                    <a:pt x="0" y="670"/>
                  </a:lnTo>
                  <a:lnTo>
                    <a:pt x="0" y="712"/>
                  </a:lnTo>
                  <a:lnTo>
                    <a:pt x="126" y="796"/>
                  </a:lnTo>
                  <a:lnTo>
                    <a:pt x="189" y="712"/>
                  </a:lnTo>
                  <a:lnTo>
                    <a:pt x="293" y="796"/>
                  </a:lnTo>
                  <a:lnTo>
                    <a:pt x="377" y="691"/>
                  </a:lnTo>
                  <a:lnTo>
                    <a:pt x="230" y="628"/>
                  </a:lnTo>
                  <a:lnTo>
                    <a:pt x="335" y="586"/>
                  </a:lnTo>
                  <a:lnTo>
                    <a:pt x="523" y="607"/>
                  </a:lnTo>
                  <a:lnTo>
                    <a:pt x="649" y="565"/>
                  </a:lnTo>
                  <a:lnTo>
                    <a:pt x="649" y="461"/>
                  </a:lnTo>
                  <a:cubicBezTo>
                    <a:pt x="649" y="461"/>
                    <a:pt x="667" y="470"/>
                    <a:pt x="680" y="470"/>
                  </a:cubicBezTo>
                  <a:cubicBezTo>
                    <a:pt x="686" y="470"/>
                    <a:pt x="691" y="468"/>
                    <a:pt x="691" y="461"/>
                  </a:cubicBezTo>
                  <a:cubicBezTo>
                    <a:pt x="795" y="398"/>
                    <a:pt x="900" y="377"/>
                    <a:pt x="1005" y="314"/>
                  </a:cubicBezTo>
                  <a:lnTo>
                    <a:pt x="1046" y="398"/>
                  </a:lnTo>
                  <a:lnTo>
                    <a:pt x="1025" y="461"/>
                  </a:lnTo>
                  <a:lnTo>
                    <a:pt x="942" y="419"/>
                  </a:lnTo>
                  <a:lnTo>
                    <a:pt x="858" y="461"/>
                  </a:lnTo>
                  <a:lnTo>
                    <a:pt x="691" y="712"/>
                  </a:lnTo>
                  <a:lnTo>
                    <a:pt x="753" y="733"/>
                  </a:lnTo>
                  <a:lnTo>
                    <a:pt x="837" y="879"/>
                  </a:lnTo>
                  <a:lnTo>
                    <a:pt x="921" y="900"/>
                  </a:lnTo>
                  <a:lnTo>
                    <a:pt x="921" y="837"/>
                  </a:lnTo>
                  <a:lnTo>
                    <a:pt x="837" y="733"/>
                  </a:lnTo>
                  <a:lnTo>
                    <a:pt x="858" y="712"/>
                  </a:lnTo>
                  <a:lnTo>
                    <a:pt x="963" y="775"/>
                  </a:lnTo>
                  <a:lnTo>
                    <a:pt x="1025" y="733"/>
                  </a:lnTo>
                  <a:lnTo>
                    <a:pt x="963" y="691"/>
                  </a:lnTo>
                  <a:lnTo>
                    <a:pt x="963" y="607"/>
                  </a:lnTo>
                  <a:lnTo>
                    <a:pt x="1067" y="628"/>
                  </a:lnTo>
                  <a:lnTo>
                    <a:pt x="1172" y="607"/>
                  </a:lnTo>
                  <a:lnTo>
                    <a:pt x="1172" y="586"/>
                  </a:lnTo>
                  <a:lnTo>
                    <a:pt x="1088" y="586"/>
                  </a:lnTo>
                  <a:lnTo>
                    <a:pt x="1046" y="524"/>
                  </a:lnTo>
                  <a:lnTo>
                    <a:pt x="1088" y="503"/>
                  </a:lnTo>
                  <a:lnTo>
                    <a:pt x="1193" y="524"/>
                  </a:lnTo>
                  <a:lnTo>
                    <a:pt x="1339" y="503"/>
                  </a:lnTo>
                  <a:lnTo>
                    <a:pt x="1444" y="419"/>
                  </a:lnTo>
                  <a:lnTo>
                    <a:pt x="1549" y="398"/>
                  </a:lnTo>
                  <a:lnTo>
                    <a:pt x="1507" y="314"/>
                  </a:lnTo>
                  <a:lnTo>
                    <a:pt x="1465" y="293"/>
                  </a:lnTo>
                  <a:lnTo>
                    <a:pt x="1444" y="273"/>
                  </a:lnTo>
                  <a:lnTo>
                    <a:pt x="1486" y="210"/>
                  </a:lnTo>
                  <a:lnTo>
                    <a:pt x="1569" y="189"/>
                  </a:lnTo>
                  <a:lnTo>
                    <a:pt x="1528" y="126"/>
                  </a:lnTo>
                  <a:lnTo>
                    <a:pt x="1381" y="105"/>
                  </a:lnTo>
                  <a:lnTo>
                    <a:pt x="1318" y="126"/>
                  </a:lnTo>
                  <a:lnTo>
                    <a:pt x="1339" y="189"/>
                  </a:lnTo>
                  <a:lnTo>
                    <a:pt x="1256" y="210"/>
                  </a:lnTo>
                  <a:lnTo>
                    <a:pt x="1172" y="105"/>
                  </a:lnTo>
                  <a:lnTo>
                    <a:pt x="1172" y="42"/>
                  </a:lnTo>
                  <a:lnTo>
                    <a:pt x="102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 name="Google Shape;5888;p93">
              <a:extLst>
                <a:ext uri="{FF2B5EF4-FFF2-40B4-BE49-F238E27FC236}">
                  <a16:creationId xmlns:a16="http://schemas.microsoft.com/office/drawing/2014/main" id="{C4A32C26-8D7D-4E77-B9FB-91B0228FAB60}"/>
                </a:ext>
              </a:extLst>
            </p:cNvPr>
            <p:cNvSpPr/>
            <p:nvPr/>
          </p:nvSpPr>
          <p:spPr>
            <a:xfrm>
              <a:off x="3183264" y="3080853"/>
              <a:ext cx="38140" cy="16672"/>
            </a:xfrm>
            <a:custGeom>
              <a:avLst/>
              <a:gdLst/>
              <a:ahLst/>
              <a:cxnLst/>
              <a:rect l="l" t="t" r="r" b="b"/>
              <a:pathLst>
                <a:path w="3203" h="1466" extrusionOk="0">
                  <a:moveTo>
                    <a:pt x="2072" y="1"/>
                  </a:moveTo>
                  <a:lnTo>
                    <a:pt x="2030" y="43"/>
                  </a:lnTo>
                  <a:lnTo>
                    <a:pt x="1863" y="147"/>
                  </a:lnTo>
                  <a:lnTo>
                    <a:pt x="1675" y="189"/>
                  </a:lnTo>
                  <a:lnTo>
                    <a:pt x="1319" y="377"/>
                  </a:lnTo>
                  <a:lnTo>
                    <a:pt x="1214" y="461"/>
                  </a:lnTo>
                  <a:lnTo>
                    <a:pt x="1131" y="482"/>
                  </a:lnTo>
                  <a:lnTo>
                    <a:pt x="921" y="482"/>
                  </a:lnTo>
                  <a:lnTo>
                    <a:pt x="733" y="315"/>
                  </a:lnTo>
                  <a:lnTo>
                    <a:pt x="608" y="273"/>
                  </a:lnTo>
                  <a:lnTo>
                    <a:pt x="566" y="294"/>
                  </a:lnTo>
                  <a:lnTo>
                    <a:pt x="629" y="356"/>
                  </a:lnTo>
                  <a:lnTo>
                    <a:pt x="629" y="398"/>
                  </a:lnTo>
                  <a:lnTo>
                    <a:pt x="566" y="419"/>
                  </a:lnTo>
                  <a:lnTo>
                    <a:pt x="461" y="377"/>
                  </a:lnTo>
                  <a:lnTo>
                    <a:pt x="419" y="315"/>
                  </a:lnTo>
                  <a:lnTo>
                    <a:pt x="461" y="294"/>
                  </a:lnTo>
                  <a:lnTo>
                    <a:pt x="482" y="294"/>
                  </a:lnTo>
                  <a:lnTo>
                    <a:pt x="461" y="252"/>
                  </a:lnTo>
                  <a:lnTo>
                    <a:pt x="398" y="252"/>
                  </a:lnTo>
                  <a:lnTo>
                    <a:pt x="315" y="210"/>
                  </a:lnTo>
                  <a:lnTo>
                    <a:pt x="273" y="168"/>
                  </a:lnTo>
                  <a:lnTo>
                    <a:pt x="252" y="84"/>
                  </a:lnTo>
                  <a:lnTo>
                    <a:pt x="147" y="84"/>
                  </a:lnTo>
                  <a:lnTo>
                    <a:pt x="85" y="147"/>
                  </a:lnTo>
                  <a:lnTo>
                    <a:pt x="85" y="252"/>
                  </a:lnTo>
                  <a:lnTo>
                    <a:pt x="43" y="315"/>
                  </a:lnTo>
                  <a:lnTo>
                    <a:pt x="1" y="398"/>
                  </a:lnTo>
                  <a:lnTo>
                    <a:pt x="85" y="419"/>
                  </a:lnTo>
                  <a:lnTo>
                    <a:pt x="147" y="524"/>
                  </a:lnTo>
                  <a:lnTo>
                    <a:pt x="64" y="587"/>
                  </a:lnTo>
                  <a:lnTo>
                    <a:pt x="43" y="691"/>
                  </a:lnTo>
                  <a:lnTo>
                    <a:pt x="43" y="733"/>
                  </a:lnTo>
                  <a:lnTo>
                    <a:pt x="64" y="796"/>
                  </a:lnTo>
                  <a:lnTo>
                    <a:pt x="168" y="796"/>
                  </a:lnTo>
                  <a:lnTo>
                    <a:pt x="252" y="817"/>
                  </a:lnTo>
                  <a:lnTo>
                    <a:pt x="357" y="796"/>
                  </a:lnTo>
                  <a:lnTo>
                    <a:pt x="398" y="733"/>
                  </a:lnTo>
                  <a:lnTo>
                    <a:pt x="461" y="796"/>
                  </a:lnTo>
                  <a:lnTo>
                    <a:pt x="461" y="838"/>
                  </a:lnTo>
                  <a:lnTo>
                    <a:pt x="524" y="880"/>
                  </a:lnTo>
                  <a:lnTo>
                    <a:pt x="733" y="900"/>
                  </a:lnTo>
                  <a:lnTo>
                    <a:pt x="775" y="1026"/>
                  </a:lnTo>
                  <a:lnTo>
                    <a:pt x="817" y="1193"/>
                  </a:lnTo>
                  <a:lnTo>
                    <a:pt x="921" y="1235"/>
                  </a:lnTo>
                  <a:lnTo>
                    <a:pt x="1026" y="1235"/>
                  </a:lnTo>
                  <a:lnTo>
                    <a:pt x="1047" y="1152"/>
                  </a:lnTo>
                  <a:lnTo>
                    <a:pt x="1005" y="1131"/>
                  </a:lnTo>
                  <a:lnTo>
                    <a:pt x="1047" y="1047"/>
                  </a:lnTo>
                  <a:lnTo>
                    <a:pt x="1131" y="1089"/>
                  </a:lnTo>
                  <a:lnTo>
                    <a:pt x="1152" y="1131"/>
                  </a:lnTo>
                  <a:lnTo>
                    <a:pt x="1131" y="1193"/>
                  </a:lnTo>
                  <a:lnTo>
                    <a:pt x="1152" y="1319"/>
                  </a:lnTo>
                  <a:lnTo>
                    <a:pt x="1152" y="1403"/>
                  </a:lnTo>
                  <a:lnTo>
                    <a:pt x="1193" y="1444"/>
                  </a:lnTo>
                  <a:lnTo>
                    <a:pt x="1340" y="1465"/>
                  </a:lnTo>
                  <a:lnTo>
                    <a:pt x="1424" y="1361"/>
                  </a:lnTo>
                  <a:lnTo>
                    <a:pt x="1507" y="1298"/>
                  </a:lnTo>
                  <a:lnTo>
                    <a:pt x="1612" y="1319"/>
                  </a:lnTo>
                  <a:lnTo>
                    <a:pt x="1654" y="1298"/>
                  </a:lnTo>
                  <a:lnTo>
                    <a:pt x="1654" y="1152"/>
                  </a:lnTo>
                  <a:lnTo>
                    <a:pt x="1570" y="1089"/>
                  </a:lnTo>
                  <a:lnTo>
                    <a:pt x="1465" y="1026"/>
                  </a:lnTo>
                  <a:lnTo>
                    <a:pt x="1445" y="921"/>
                  </a:lnTo>
                  <a:lnTo>
                    <a:pt x="1445" y="880"/>
                  </a:lnTo>
                  <a:lnTo>
                    <a:pt x="1549" y="817"/>
                  </a:lnTo>
                  <a:lnTo>
                    <a:pt x="1737" y="775"/>
                  </a:lnTo>
                  <a:lnTo>
                    <a:pt x="1884" y="628"/>
                  </a:lnTo>
                  <a:lnTo>
                    <a:pt x="1884" y="587"/>
                  </a:lnTo>
                  <a:lnTo>
                    <a:pt x="1863" y="566"/>
                  </a:lnTo>
                  <a:lnTo>
                    <a:pt x="1863" y="419"/>
                  </a:lnTo>
                  <a:lnTo>
                    <a:pt x="2051" y="356"/>
                  </a:lnTo>
                  <a:lnTo>
                    <a:pt x="2177" y="315"/>
                  </a:lnTo>
                  <a:lnTo>
                    <a:pt x="2261" y="377"/>
                  </a:lnTo>
                  <a:lnTo>
                    <a:pt x="2365" y="482"/>
                  </a:lnTo>
                  <a:lnTo>
                    <a:pt x="2449" y="482"/>
                  </a:lnTo>
                  <a:lnTo>
                    <a:pt x="2553" y="608"/>
                  </a:lnTo>
                  <a:lnTo>
                    <a:pt x="2574" y="712"/>
                  </a:lnTo>
                  <a:lnTo>
                    <a:pt x="2616" y="775"/>
                  </a:lnTo>
                  <a:lnTo>
                    <a:pt x="2679" y="733"/>
                  </a:lnTo>
                  <a:lnTo>
                    <a:pt x="2763" y="670"/>
                  </a:lnTo>
                  <a:lnTo>
                    <a:pt x="2805" y="670"/>
                  </a:lnTo>
                  <a:lnTo>
                    <a:pt x="2826" y="733"/>
                  </a:lnTo>
                  <a:lnTo>
                    <a:pt x="2784" y="796"/>
                  </a:lnTo>
                  <a:lnTo>
                    <a:pt x="2721" y="796"/>
                  </a:lnTo>
                  <a:lnTo>
                    <a:pt x="2616" y="942"/>
                  </a:lnTo>
                  <a:lnTo>
                    <a:pt x="2595" y="984"/>
                  </a:lnTo>
                  <a:lnTo>
                    <a:pt x="2616" y="1131"/>
                  </a:lnTo>
                  <a:lnTo>
                    <a:pt x="2763" y="1319"/>
                  </a:lnTo>
                  <a:lnTo>
                    <a:pt x="2888" y="1424"/>
                  </a:lnTo>
                  <a:lnTo>
                    <a:pt x="2972" y="1235"/>
                  </a:lnTo>
                  <a:lnTo>
                    <a:pt x="3014" y="1235"/>
                  </a:lnTo>
                  <a:lnTo>
                    <a:pt x="3098" y="1193"/>
                  </a:lnTo>
                  <a:lnTo>
                    <a:pt x="3118" y="1047"/>
                  </a:lnTo>
                  <a:lnTo>
                    <a:pt x="3202" y="900"/>
                  </a:lnTo>
                  <a:lnTo>
                    <a:pt x="3139" y="733"/>
                  </a:lnTo>
                  <a:lnTo>
                    <a:pt x="3139" y="691"/>
                  </a:lnTo>
                  <a:lnTo>
                    <a:pt x="3181" y="587"/>
                  </a:lnTo>
                  <a:lnTo>
                    <a:pt x="3118" y="524"/>
                  </a:lnTo>
                  <a:lnTo>
                    <a:pt x="3035" y="482"/>
                  </a:lnTo>
                  <a:lnTo>
                    <a:pt x="3014" y="419"/>
                  </a:lnTo>
                  <a:lnTo>
                    <a:pt x="2909" y="294"/>
                  </a:lnTo>
                  <a:lnTo>
                    <a:pt x="2679" y="168"/>
                  </a:lnTo>
                  <a:lnTo>
                    <a:pt x="2512" y="147"/>
                  </a:lnTo>
                  <a:lnTo>
                    <a:pt x="2281" y="147"/>
                  </a:lnTo>
                  <a:lnTo>
                    <a:pt x="2198" y="105"/>
                  </a:lnTo>
                  <a:lnTo>
                    <a:pt x="2156" y="63"/>
                  </a:lnTo>
                  <a:lnTo>
                    <a:pt x="207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 name="Google Shape;5889;p93">
              <a:extLst>
                <a:ext uri="{FF2B5EF4-FFF2-40B4-BE49-F238E27FC236}">
                  <a16:creationId xmlns:a16="http://schemas.microsoft.com/office/drawing/2014/main" id="{AB783E69-239F-4F39-AE2A-40C4A517C9F3}"/>
                </a:ext>
              </a:extLst>
            </p:cNvPr>
            <p:cNvSpPr/>
            <p:nvPr/>
          </p:nvSpPr>
          <p:spPr>
            <a:xfrm>
              <a:off x="3163092" y="3070629"/>
              <a:ext cx="23172" cy="20709"/>
            </a:xfrm>
            <a:custGeom>
              <a:avLst/>
              <a:gdLst/>
              <a:ahLst/>
              <a:cxnLst/>
              <a:rect l="l" t="t" r="r" b="b"/>
              <a:pathLst>
                <a:path w="1946" h="1821" extrusionOk="0">
                  <a:moveTo>
                    <a:pt x="293" y="0"/>
                  </a:moveTo>
                  <a:lnTo>
                    <a:pt x="105" y="21"/>
                  </a:lnTo>
                  <a:lnTo>
                    <a:pt x="105" y="42"/>
                  </a:lnTo>
                  <a:lnTo>
                    <a:pt x="63" y="63"/>
                  </a:lnTo>
                  <a:lnTo>
                    <a:pt x="84" y="63"/>
                  </a:lnTo>
                  <a:lnTo>
                    <a:pt x="63" y="209"/>
                  </a:lnTo>
                  <a:lnTo>
                    <a:pt x="0" y="230"/>
                  </a:lnTo>
                  <a:lnTo>
                    <a:pt x="63" y="251"/>
                  </a:lnTo>
                  <a:lnTo>
                    <a:pt x="126" y="272"/>
                  </a:lnTo>
                  <a:lnTo>
                    <a:pt x="167" y="377"/>
                  </a:lnTo>
                  <a:lnTo>
                    <a:pt x="63" y="460"/>
                  </a:lnTo>
                  <a:lnTo>
                    <a:pt x="0" y="586"/>
                  </a:lnTo>
                  <a:lnTo>
                    <a:pt x="21" y="690"/>
                  </a:lnTo>
                  <a:lnTo>
                    <a:pt x="188" y="837"/>
                  </a:lnTo>
                  <a:lnTo>
                    <a:pt x="335" y="837"/>
                  </a:lnTo>
                  <a:lnTo>
                    <a:pt x="418" y="879"/>
                  </a:lnTo>
                  <a:lnTo>
                    <a:pt x="481" y="983"/>
                  </a:lnTo>
                  <a:lnTo>
                    <a:pt x="523" y="983"/>
                  </a:lnTo>
                  <a:lnTo>
                    <a:pt x="607" y="879"/>
                  </a:lnTo>
                  <a:lnTo>
                    <a:pt x="586" y="774"/>
                  </a:lnTo>
                  <a:lnTo>
                    <a:pt x="418" y="670"/>
                  </a:lnTo>
                  <a:lnTo>
                    <a:pt x="377" y="586"/>
                  </a:lnTo>
                  <a:lnTo>
                    <a:pt x="418" y="565"/>
                  </a:lnTo>
                  <a:lnTo>
                    <a:pt x="523" y="649"/>
                  </a:lnTo>
                  <a:lnTo>
                    <a:pt x="628" y="690"/>
                  </a:lnTo>
                  <a:lnTo>
                    <a:pt x="649" y="774"/>
                  </a:lnTo>
                  <a:lnTo>
                    <a:pt x="753" y="858"/>
                  </a:lnTo>
                  <a:lnTo>
                    <a:pt x="795" y="983"/>
                  </a:lnTo>
                  <a:lnTo>
                    <a:pt x="921" y="1067"/>
                  </a:lnTo>
                  <a:lnTo>
                    <a:pt x="1025" y="1151"/>
                  </a:lnTo>
                  <a:lnTo>
                    <a:pt x="1109" y="1193"/>
                  </a:lnTo>
                  <a:lnTo>
                    <a:pt x="1234" y="1318"/>
                  </a:lnTo>
                  <a:lnTo>
                    <a:pt x="1255" y="1402"/>
                  </a:lnTo>
                  <a:lnTo>
                    <a:pt x="1172" y="1486"/>
                  </a:lnTo>
                  <a:lnTo>
                    <a:pt x="1172" y="1569"/>
                  </a:lnTo>
                  <a:lnTo>
                    <a:pt x="1234" y="1632"/>
                  </a:lnTo>
                  <a:lnTo>
                    <a:pt x="1360" y="1695"/>
                  </a:lnTo>
                  <a:lnTo>
                    <a:pt x="1444" y="1737"/>
                  </a:lnTo>
                  <a:lnTo>
                    <a:pt x="1486" y="1716"/>
                  </a:lnTo>
                  <a:lnTo>
                    <a:pt x="1527" y="1632"/>
                  </a:lnTo>
                  <a:lnTo>
                    <a:pt x="1465" y="1569"/>
                  </a:lnTo>
                  <a:lnTo>
                    <a:pt x="1360" y="1507"/>
                  </a:lnTo>
                  <a:lnTo>
                    <a:pt x="1360" y="1486"/>
                  </a:lnTo>
                  <a:lnTo>
                    <a:pt x="1381" y="1465"/>
                  </a:lnTo>
                  <a:lnTo>
                    <a:pt x="1465" y="1507"/>
                  </a:lnTo>
                  <a:lnTo>
                    <a:pt x="1548" y="1632"/>
                  </a:lnTo>
                  <a:lnTo>
                    <a:pt x="1548" y="1737"/>
                  </a:lnTo>
                  <a:lnTo>
                    <a:pt x="1590" y="1737"/>
                  </a:lnTo>
                  <a:lnTo>
                    <a:pt x="1632" y="1779"/>
                  </a:lnTo>
                  <a:lnTo>
                    <a:pt x="1674" y="1820"/>
                  </a:lnTo>
                  <a:lnTo>
                    <a:pt x="1737" y="1820"/>
                  </a:lnTo>
                  <a:lnTo>
                    <a:pt x="1758" y="1779"/>
                  </a:lnTo>
                  <a:lnTo>
                    <a:pt x="1758" y="1695"/>
                  </a:lnTo>
                  <a:lnTo>
                    <a:pt x="1737" y="1632"/>
                  </a:lnTo>
                  <a:lnTo>
                    <a:pt x="1737" y="1590"/>
                  </a:lnTo>
                  <a:lnTo>
                    <a:pt x="1758" y="1486"/>
                  </a:lnTo>
                  <a:lnTo>
                    <a:pt x="1841" y="1423"/>
                  </a:lnTo>
                  <a:lnTo>
                    <a:pt x="1779" y="1318"/>
                  </a:lnTo>
                  <a:lnTo>
                    <a:pt x="1695" y="1297"/>
                  </a:lnTo>
                  <a:lnTo>
                    <a:pt x="1737" y="1214"/>
                  </a:lnTo>
                  <a:lnTo>
                    <a:pt x="1779" y="1151"/>
                  </a:lnTo>
                  <a:lnTo>
                    <a:pt x="1779" y="1046"/>
                  </a:lnTo>
                  <a:lnTo>
                    <a:pt x="1841" y="983"/>
                  </a:lnTo>
                  <a:lnTo>
                    <a:pt x="1946" y="983"/>
                  </a:lnTo>
                  <a:lnTo>
                    <a:pt x="1946" y="962"/>
                  </a:lnTo>
                  <a:lnTo>
                    <a:pt x="1862" y="900"/>
                  </a:lnTo>
                  <a:lnTo>
                    <a:pt x="1758" y="879"/>
                  </a:lnTo>
                  <a:lnTo>
                    <a:pt x="1695" y="795"/>
                  </a:lnTo>
                  <a:lnTo>
                    <a:pt x="1653" y="732"/>
                  </a:lnTo>
                  <a:lnTo>
                    <a:pt x="1548" y="586"/>
                  </a:lnTo>
                  <a:lnTo>
                    <a:pt x="1465" y="481"/>
                  </a:lnTo>
                  <a:lnTo>
                    <a:pt x="1465" y="356"/>
                  </a:lnTo>
                  <a:lnTo>
                    <a:pt x="1423" y="251"/>
                  </a:lnTo>
                  <a:lnTo>
                    <a:pt x="1360" y="272"/>
                  </a:lnTo>
                  <a:lnTo>
                    <a:pt x="1339" y="335"/>
                  </a:lnTo>
                  <a:lnTo>
                    <a:pt x="1234" y="335"/>
                  </a:lnTo>
                  <a:lnTo>
                    <a:pt x="1255" y="272"/>
                  </a:lnTo>
                  <a:lnTo>
                    <a:pt x="1172" y="272"/>
                  </a:lnTo>
                  <a:lnTo>
                    <a:pt x="1130" y="314"/>
                  </a:lnTo>
                  <a:lnTo>
                    <a:pt x="1025" y="209"/>
                  </a:lnTo>
                  <a:lnTo>
                    <a:pt x="1025" y="146"/>
                  </a:lnTo>
                  <a:lnTo>
                    <a:pt x="942" y="126"/>
                  </a:lnTo>
                  <a:lnTo>
                    <a:pt x="858" y="42"/>
                  </a:lnTo>
                  <a:lnTo>
                    <a:pt x="711" y="42"/>
                  </a:lnTo>
                  <a:lnTo>
                    <a:pt x="607" y="63"/>
                  </a:lnTo>
                  <a:lnTo>
                    <a:pt x="29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 name="Google Shape;5890;p93">
              <a:extLst>
                <a:ext uri="{FF2B5EF4-FFF2-40B4-BE49-F238E27FC236}">
                  <a16:creationId xmlns:a16="http://schemas.microsoft.com/office/drawing/2014/main" id="{BD96C4D8-707F-4EC3-8B45-52E61097F96D}"/>
                </a:ext>
              </a:extLst>
            </p:cNvPr>
            <p:cNvSpPr/>
            <p:nvPr/>
          </p:nvSpPr>
          <p:spPr>
            <a:xfrm>
              <a:off x="3150875" y="3043494"/>
              <a:ext cx="32150" cy="30467"/>
            </a:xfrm>
            <a:custGeom>
              <a:avLst/>
              <a:gdLst/>
              <a:ahLst/>
              <a:cxnLst/>
              <a:rect l="l" t="t" r="r" b="b"/>
              <a:pathLst>
                <a:path w="2700" h="2679" extrusionOk="0">
                  <a:moveTo>
                    <a:pt x="2470" y="1"/>
                  </a:moveTo>
                  <a:lnTo>
                    <a:pt x="2407" y="22"/>
                  </a:lnTo>
                  <a:lnTo>
                    <a:pt x="2386" y="105"/>
                  </a:lnTo>
                  <a:lnTo>
                    <a:pt x="2302" y="126"/>
                  </a:lnTo>
                  <a:lnTo>
                    <a:pt x="2198" y="210"/>
                  </a:lnTo>
                  <a:lnTo>
                    <a:pt x="2093" y="210"/>
                  </a:lnTo>
                  <a:lnTo>
                    <a:pt x="2072" y="294"/>
                  </a:lnTo>
                  <a:lnTo>
                    <a:pt x="1988" y="252"/>
                  </a:lnTo>
                  <a:lnTo>
                    <a:pt x="1884" y="294"/>
                  </a:lnTo>
                  <a:lnTo>
                    <a:pt x="1863" y="231"/>
                  </a:lnTo>
                  <a:lnTo>
                    <a:pt x="1779" y="189"/>
                  </a:lnTo>
                  <a:lnTo>
                    <a:pt x="1737" y="189"/>
                  </a:lnTo>
                  <a:lnTo>
                    <a:pt x="1696" y="294"/>
                  </a:lnTo>
                  <a:lnTo>
                    <a:pt x="1591" y="294"/>
                  </a:lnTo>
                  <a:lnTo>
                    <a:pt x="1528" y="419"/>
                  </a:lnTo>
                  <a:lnTo>
                    <a:pt x="1528" y="461"/>
                  </a:lnTo>
                  <a:lnTo>
                    <a:pt x="1465" y="503"/>
                  </a:lnTo>
                  <a:lnTo>
                    <a:pt x="1361" y="587"/>
                  </a:lnTo>
                  <a:lnTo>
                    <a:pt x="1235" y="649"/>
                  </a:lnTo>
                  <a:lnTo>
                    <a:pt x="1214" y="691"/>
                  </a:lnTo>
                  <a:lnTo>
                    <a:pt x="1131" y="670"/>
                  </a:lnTo>
                  <a:lnTo>
                    <a:pt x="1068" y="691"/>
                  </a:lnTo>
                  <a:lnTo>
                    <a:pt x="1005" y="649"/>
                  </a:lnTo>
                  <a:lnTo>
                    <a:pt x="859" y="628"/>
                  </a:lnTo>
                  <a:lnTo>
                    <a:pt x="691" y="733"/>
                  </a:lnTo>
                  <a:lnTo>
                    <a:pt x="503" y="754"/>
                  </a:lnTo>
                  <a:lnTo>
                    <a:pt x="503" y="859"/>
                  </a:lnTo>
                  <a:lnTo>
                    <a:pt x="503" y="942"/>
                  </a:lnTo>
                  <a:lnTo>
                    <a:pt x="482" y="1089"/>
                  </a:lnTo>
                  <a:lnTo>
                    <a:pt x="419" y="1172"/>
                  </a:lnTo>
                  <a:lnTo>
                    <a:pt x="294" y="1172"/>
                  </a:lnTo>
                  <a:lnTo>
                    <a:pt x="189" y="1193"/>
                  </a:lnTo>
                  <a:lnTo>
                    <a:pt x="189" y="1256"/>
                  </a:lnTo>
                  <a:lnTo>
                    <a:pt x="126" y="1256"/>
                  </a:lnTo>
                  <a:lnTo>
                    <a:pt x="22" y="1214"/>
                  </a:lnTo>
                  <a:lnTo>
                    <a:pt x="1" y="1256"/>
                  </a:lnTo>
                  <a:lnTo>
                    <a:pt x="210" y="1507"/>
                  </a:lnTo>
                  <a:lnTo>
                    <a:pt x="315" y="1591"/>
                  </a:lnTo>
                  <a:lnTo>
                    <a:pt x="315" y="1675"/>
                  </a:lnTo>
                  <a:lnTo>
                    <a:pt x="482" y="1821"/>
                  </a:lnTo>
                  <a:lnTo>
                    <a:pt x="628" y="2030"/>
                  </a:lnTo>
                  <a:lnTo>
                    <a:pt x="900" y="2323"/>
                  </a:lnTo>
                  <a:lnTo>
                    <a:pt x="963" y="2323"/>
                  </a:lnTo>
                  <a:lnTo>
                    <a:pt x="1026" y="2344"/>
                  </a:lnTo>
                  <a:lnTo>
                    <a:pt x="1068" y="2323"/>
                  </a:lnTo>
                  <a:lnTo>
                    <a:pt x="1068" y="2407"/>
                  </a:lnTo>
                  <a:lnTo>
                    <a:pt x="1131" y="2407"/>
                  </a:lnTo>
                  <a:lnTo>
                    <a:pt x="1319" y="2386"/>
                  </a:lnTo>
                  <a:lnTo>
                    <a:pt x="1633" y="2449"/>
                  </a:lnTo>
                  <a:lnTo>
                    <a:pt x="1737" y="2428"/>
                  </a:lnTo>
                  <a:lnTo>
                    <a:pt x="1884" y="2428"/>
                  </a:lnTo>
                  <a:lnTo>
                    <a:pt x="1947" y="2512"/>
                  </a:lnTo>
                  <a:lnTo>
                    <a:pt x="2009" y="2532"/>
                  </a:lnTo>
                  <a:lnTo>
                    <a:pt x="2009" y="2595"/>
                  </a:lnTo>
                  <a:lnTo>
                    <a:pt x="2156" y="2679"/>
                  </a:lnTo>
                  <a:lnTo>
                    <a:pt x="2198" y="2658"/>
                  </a:lnTo>
                  <a:lnTo>
                    <a:pt x="2260" y="2658"/>
                  </a:lnTo>
                  <a:lnTo>
                    <a:pt x="2302" y="2637"/>
                  </a:lnTo>
                  <a:lnTo>
                    <a:pt x="2281" y="2553"/>
                  </a:lnTo>
                  <a:lnTo>
                    <a:pt x="2219" y="2470"/>
                  </a:lnTo>
                  <a:lnTo>
                    <a:pt x="2198" y="2344"/>
                  </a:lnTo>
                  <a:lnTo>
                    <a:pt x="2281" y="2219"/>
                  </a:lnTo>
                  <a:lnTo>
                    <a:pt x="2302" y="2135"/>
                  </a:lnTo>
                  <a:lnTo>
                    <a:pt x="2302" y="2009"/>
                  </a:lnTo>
                  <a:lnTo>
                    <a:pt x="2281" y="2093"/>
                  </a:lnTo>
                  <a:lnTo>
                    <a:pt x="2260" y="2135"/>
                  </a:lnTo>
                  <a:lnTo>
                    <a:pt x="2198" y="2156"/>
                  </a:lnTo>
                  <a:lnTo>
                    <a:pt x="2198" y="2093"/>
                  </a:lnTo>
                  <a:lnTo>
                    <a:pt x="2219" y="2009"/>
                  </a:lnTo>
                  <a:lnTo>
                    <a:pt x="2281" y="1884"/>
                  </a:lnTo>
                  <a:lnTo>
                    <a:pt x="2260" y="1800"/>
                  </a:lnTo>
                  <a:lnTo>
                    <a:pt x="2260" y="1716"/>
                  </a:lnTo>
                  <a:lnTo>
                    <a:pt x="2344" y="1528"/>
                  </a:lnTo>
                  <a:lnTo>
                    <a:pt x="2386" y="1528"/>
                  </a:lnTo>
                  <a:lnTo>
                    <a:pt x="2365" y="1591"/>
                  </a:lnTo>
                  <a:lnTo>
                    <a:pt x="2365" y="1675"/>
                  </a:lnTo>
                  <a:lnTo>
                    <a:pt x="2365" y="1800"/>
                  </a:lnTo>
                  <a:lnTo>
                    <a:pt x="2386" y="1800"/>
                  </a:lnTo>
                  <a:lnTo>
                    <a:pt x="2428" y="1716"/>
                  </a:lnTo>
                  <a:lnTo>
                    <a:pt x="2470" y="1486"/>
                  </a:lnTo>
                  <a:lnTo>
                    <a:pt x="2470" y="1214"/>
                  </a:lnTo>
                  <a:lnTo>
                    <a:pt x="2491" y="1172"/>
                  </a:lnTo>
                  <a:lnTo>
                    <a:pt x="2428" y="1089"/>
                  </a:lnTo>
                  <a:lnTo>
                    <a:pt x="2407" y="1068"/>
                  </a:lnTo>
                  <a:lnTo>
                    <a:pt x="2407" y="1005"/>
                  </a:lnTo>
                  <a:lnTo>
                    <a:pt x="2470" y="963"/>
                  </a:lnTo>
                  <a:lnTo>
                    <a:pt x="2491" y="963"/>
                  </a:lnTo>
                  <a:lnTo>
                    <a:pt x="2512" y="984"/>
                  </a:lnTo>
                  <a:lnTo>
                    <a:pt x="2533" y="838"/>
                  </a:lnTo>
                  <a:lnTo>
                    <a:pt x="2637" y="691"/>
                  </a:lnTo>
                  <a:lnTo>
                    <a:pt x="2700" y="628"/>
                  </a:lnTo>
                  <a:lnTo>
                    <a:pt x="2700" y="566"/>
                  </a:lnTo>
                  <a:lnTo>
                    <a:pt x="2637" y="524"/>
                  </a:lnTo>
                  <a:lnTo>
                    <a:pt x="2637" y="461"/>
                  </a:lnTo>
                  <a:lnTo>
                    <a:pt x="2679" y="377"/>
                  </a:lnTo>
                  <a:lnTo>
                    <a:pt x="2637" y="273"/>
                  </a:lnTo>
                  <a:lnTo>
                    <a:pt x="2637" y="126"/>
                  </a:lnTo>
                  <a:lnTo>
                    <a:pt x="2679" y="63"/>
                  </a:lnTo>
                  <a:lnTo>
                    <a:pt x="2700" y="43"/>
                  </a:lnTo>
                  <a:lnTo>
                    <a:pt x="2533" y="43"/>
                  </a:lnTo>
                  <a:lnTo>
                    <a:pt x="251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 name="Google Shape;5891;p93">
              <a:extLst>
                <a:ext uri="{FF2B5EF4-FFF2-40B4-BE49-F238E27FC236}">
                  <a16:creationId xmlns:a16="http://schemas.microsoft.com/office/drawing/2014/main" id="{6323E47A-4050-42B3-971D-26C8D03A3EB6}"/>
                </a:ext>
              </a:extLst>
            </p:cNvPr>
            <p:cNvSpPr/>
            <p:nvPr/>
          </p:nvSpPr>
          <p:spPr>
            <a:xfrm>
              <a:off x="3140409" y="3037308"/>
              <a:ext cx="43617" cy="20948"/>
            </a:xfrm>
            <a:custGeom>
              <a:avLst/>
              <a:gdLst/>
              <a:ahLst/>
              <a:cxnLst/>
              <a:rect l="l" t="t" r="r" b="b"/>
              <a:pathLst>
                <a:path w="3663" h="1842" extrusionOk="0">
                  <a:moveTo>
                    <a:pt x="1926" y="1"/>
                  </a:moveTo>
                  <a:lnTo>
                    <a:pt x="1905" y="43"/>
                  </a:lnTo>
                  <a:lnTo>
                    <a:pt x="1968" y="105"/>
                  </a:lnTo>
                  <a:lnTo>
                    <a:pt x="1863" y="126"/>
                  </a:lnTo>
                  <a:lnTo>
                    <a:pt x="1800" y="168"/>
                  </a:lnTo>
                  <a:lnTo>
                    <a:pt x="1696" y="147"/>
                  </a:lnTo>
                  <a:lnTo>
                    <a:pt x="1507" y="168"/>
                  </a:lnTo>
                  <a:lnTo>
                    <a:pt x="943" y="168"/>
                  </a:lnTo>
                  <a:lnTo>
                    <a:pt x="775" y="252"/>
                  </a:lnTo>
                  <a:lnTo>
                    <a:pt x="712" y="210"/>
                  </a:lnTo>
                  <a:lnTo>
                    <a:pt x="712" y="252"/>
                  </a:lnTo>
                  <a:lnTo>
                    <a:pt x="629" y="315"/>
                  </a:lnTo>
                  <a:lnTo>
                    <a:pt x="566" y="419"/>
                  </a:lnTo>
                  <a:lnTo>
                    <a:pt x="419" y="482"/>
                  </a:lnTo>
                  <a:lnTo>
                    <a:pt x="336" y="482"/>
                  </a:lnTo>
                  <a:lnTo>
                    <a:pt x="189" y="649"/>
                  </a:lnTo>
                  <a:lnTo>
                    <a:pt x="106" y="754"/>
                  </a:lnTo>
                  <a:lnTo>
                    <a:pt x="126" y="838"/>
                  </a:lnTo>
                  <a:lnTo>
                    <a:pt x="43" y="984"/>
                  </a:lnTo>
                  <a:lnTo>
                    <a:pt x="1" y="1047"/>
                  </a:lnTo>
                  <a:lnTo>
                    <a:pt x="43" y="1005"/>
                  </a:lnTo>
                  <a:lnTo>
                    <a:pt x="126" y="1047"/>
                  </a:lnTo>
                  <a:lnTo>
                    <a:pt x="147" y="1068"/>
                  </a:lnTo>
                  <a:lnTo>
                    <a:pt x="210" y="1089"/>
                  </a:lnTo>
                  <a:lnTo>
                    <a:pt x="252" y="1151"/>
                  </a:lnTo>
                  <a:lnTo>
                    <a:pt x="399" y="1110"/>
                  </a:lnTo>
                  <a:lnTo>
                    <a:pt x="503" y="1151"/>
                  </a:lnTo>
                  <a:lnTo>
                    <a:pt x="566" y="1256"/>
                  </a:lnTo>
                  <a:lnTo>
                    <a:pt x="608" y="1298"/>
                  </a:lnTo>
                  <a:lnTo>
                    <a:pt x="650" y="1361"/>
                  </a:lnTo>
                  <a:lnTo>
                    <a:pt x="671" y="1298"/>
                  </a:lnTo>
                  <a:lnTo>
                    <a:pt x="712" y="1256"/>
                  </a:lnTo>
                  <a:lnTo>
                    <a:pt x="817" y="1214"/>
                  </a:lnTo>
                  <a:lnTo>
                    <a:pt x="859" y="1256"/>
                  </a:lnTo>
                  <a:lnTo>
                    <a:pt x="943" y="1277"/>
                  </a:lnTo>
                  <a:lnTo>
                    <a:pt x="943" y="1382"/>
                  </a:lnTo>
                  <a:lnTo>
                    <a:pt x="922" y="1486"/>
                  </a:lnTo>
                  <a:lnTo>
                    <a:pt x="922" y="1507"/>
                  </a:lnTo>
                  <a:lnTo>
                    <a:pt x="880" y="1612"/>
                  </a:lnTo>
                  <a:lnTo>
                    <a:pt x="922" y="1675"/>
                  </a:lnTo>
                  <a:lnTo>
                    <a:pt x="963" y="1696"/>
                  </a:lnTo>
                  <a:lnTo>
                    <a:pt x="984" y="1716"/>
                  </a:lnTo>
                  <a:lnTo>
                    <a:pt x="1047" y="1716"/>
                  </a:lnTo>
                  <a:lnTo>
                    <a:pt x="1068" y="1696"/>
                  </a:lnTo>
                  <a:lnTo>
                    <a:pt x="1131" y="1716"/>
                  </a:lnTo>
                  <a:lnTo>
                    <a:pt x="1131" y="1800"/>
                  </a:lnTo>
                  <a:lnTo>
                    <a:pt x="1152" y="1842"/>
                  </a:lnTo>
                  <a:lnTo>
                    <a:pt x="1256" y="1821"/>
                  </a:lnTo>
                  <a:lnTo>
                    <a:pt x="1382" y="1821"/>
                  </a:lnTo>
                  <a:lnTo>
                    <a:pt x="1445" y="1737"/>
                  </a:lnTo>
                  <a:lnTo>
                    <a:pt x="1445" y="1591"/>
                  </a:lnTo>
                  <a:lnTo>
                    <a:pt x="1445" y="1507"/>
                  </a:lnTo>
                  <a:lnTo>
                    <a:pt x="1445" y="1403"/>
                  </a:lnTo>
                  <a:lnTo>
                    <a:pt x="1612" y="1382"/>
                  </a:lnTo>
                  <a:lnTo>
                    <a:pt x="1800" y="1277"/>
                  </a:lnTo>
                  <a:lnTo>
                    <a:pt x="1926" y="1298"/>
                  </a:lnTo>
                  <a:lnTo>
                    <a:pt x="2010" y="1361"/>
                  </a:lnTo>
                  <a:lnTo>
                    <a:pt x="2072" y="1361"/>
                  </a:lnTo>
                  <a:lnTo>
                    <a:pt x="2135" y="1382"/>
                  </a:lnTo>
                  <a:lnTo>
                    <a:pt x="2177" y="1298"/>
                  </a:lnTo>
                  <a:lnTo>
                    <a:pt x="2303" y="1277"/>
                  </a:lnTo>
                  <a:lnTo>
                    <a:pt x="2407" y="1151"/>
                  </a:lnTo>
                  <a:lnTo>
                    <a:pt x="2449" y="1110"/>
                  </a:lnTo>
                  <a:lnTo>
                    <a:pt x="2491" y="1068"/>
                  </a:lnTo>
                  <a:lnTo>
                    <a:pt x="2554" y="900"/>
                  </a:lnTo>
                  <a:lnTo>
                    <a:pt x="2658" y="900"/>
                  </a:lnTo>
                  <a:lnTo>
                    <a:pt x="2700" y="796"/>
                  </a:lnTo>
                  <a:lnTo>
                    <a:pt x="2742" y="796"/>
                  </a:lnTo>
                  <a:lnTo>
                    <a:pt x="2826" y="879"/>
                  </a:lnTo>
                  <a:lnTo>
                    <a:pt x="2847" y="900"/>
                  </a:lnTo>
                  <a:lnTo>
                    <a:pt x="2951" y="900"/>
                  </a:lnTo>
                  <a:lnTo>
                    <a:pt x="3035" y="942"/>
                  </a:lnTo>
                  <a:lnTo>
                    <a:pt x="3056" y="859"/>
                  </a:lnTo>
                  <a:lnTo>
                    <a:pt x="3139" y="859"/>
                  </a:lnTo>
                  <a:lnTo>
                    <a:pt x="3244" y="775"/>
                  </a:lnTo>
                  <a:lnTo>
                    <a:pt x="3328" y="754"/>
                  </a:lnTo>
                  <a:lnTo>
                    <a:pt x="3349" y="670"/>
                  </a:lnTo>
                  <a:lnTo>
                    <a:pt x="3391" y="649"/>
                  </a:lnTo>
                  <a:lnTo>
                    <a:pt x="3453" y="649"/>
                  </a:lnTo>
                  <a:lnTo>
                    <a:pt x="3474" y="670"/>
                  </a:lnTo>
                  <a:lnTo>
                    <a:pt x="3642" y="670"/>
                  </a:lnTo>
                  <a:lnTo>
                    <a:pt x="3663" y="628"/>
                  </a:lnTo>
                  <a:lnTo>
                    <a:pt x="3642" y="566"/>
                  </a:lnTo>
                  <a:lnTo>
                    <a:pt x="3495" y="461"/>
                  </a:lnTo>
                  <a:lnTo>
                    <a:pt x="3370" y="419"/>
                  </a:lnTo>
                  <a:lnTo>
                    <a:pt x="3370" y="419"/>
                  </a:lnTo>
                  <a:lnTo>
                    <a:pt x="3432" y="524"/>
                  </a:lnTo>
                  <a:lnTo>
                    <a:pt x="3286" y="524"/>
                  </a:lnTo>
                  <a:lnTo>
                    <a:pt x="3139" y="482"/>
                  </a:lnTo>
                  <a:lnTo>
                    <a:pt x="3077" y="461"/>
                  </a:lnTo>
                  <a:lnTo>
                    <a:pt x="2972" y="440"/>
                  </a:lnTo>
                  <a:lnTo>
                    <a:pt x="2867" y="440"/>
                  </a:lnTo>
                  <a:lnTo>
                    <a:pt x="2909" y="377"/>
                  </a:lnTo>
                  <a:lnTo>
                    <a:pt x="2972" y="377"/>
                  </a:lnTo>
                  <a:lnTo>
                    <a:pt x="2972" y="315"/>
                  </a:lnTo>
                  <a:lnTo>
                    <a:pt x="3035" y="315"/>
                  </a:lnTo>
                  <a:lnTo>
                    <a:pt x="3119" y="335"/>
                  </a:lnTo>
                  <a:lnTo>
                    <a:pt x="3265" y="377"/>
                  </a:lnTo>
                  <a:lnTo>
                    <a:pt x="3286" y="356"/>
                  </a:lnTo>
                  <a:lnTo>
                    <a:pt x="3181" y="273"/>
                  </a:lnTo>
                  <a:lnTo>
                    <a:pt x="3035" y="210"/>
                  </a:lnTo>
                  <a:lnTo>
                    <a:pt x="2951" y="168"/>
                  </a:lnTo>
                  <a:lnTo>
                    <a:pt x="2847" y="210"/>
                  </a:lnTo>
                  <a:lnTo>
                    <a:pt x="2805" y="168"/>
                  </a:lnTo>
                  <a:lnTo>
                    <a:pt x="2763" y="252"/>
                  </a:lnTo>
                  <a:lnTo>
                    <a:pt x="2700" y="210"/>
                  </a:lnTo>
                  <a:lnTo>
                    <a:pt x="2428" y="168"/>
                  </a:lnTo>
                  <a:lnTo>
                    <a:pt x="2198" y="147"/>
                  </a:lnTo>
                  <a:lnTo>
                    <a:pt x="2072" y="43"/>
                  </a:lnTo>
                  <a:lnTo>
                    <a:pt x="192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 name="Google Shape;5892;p93">
              <a:extLst>
                <a:ext uri="{FF2B5EF4-FFF2-40B4-BE49-F238E27FC236}">
                  <a16:creationId xmlns:a16="http://schemas.microsoft.com/office/drawing/2014/main" id="{EDE61BE1-0DA1-4A3E-8CE1-4849024473C1}"/>
                </a:ext>
              </a:extLst>
            </p:cNvPr>
            <p:cNvSpPr/>
            <p:nvPr/>
          </p:nvSpPr>
          <p:spPr>
            <a:xfrm>
              <a:off x="3134431" y="3048737"/>
              <a:ext cx="17206" cy="9519"/>
            </a:xfrm>
            <a:custGeom>
              <a:avLst/>
              <a:gdLst/>
              <a:ahLst/>
              <a:cxnLst/>
              <a:rect l="l" t="t" r="r" b="b"/>
              <a:pathLst>
                <a:path w="1445" h="837" extrusionOk="0">
                  <a:moveTo>
                    <a:pt x="545" y="0"/>
                  </a:moveTo>
                  <a:lnTo>
                    <a:pt x="503" y="42"/>
                  </a:lnTo>
                  <a:lnTo>
                    <a:pt x="398" y="105"/>
                  </a:lnTo>
                  <a:lnTo>
                    <a:pt x="398" y="167"/>
                  </a:lnTo>
                  <a:lnTo>
                    <a:pt x="294" y="188"/>
                  </a:lnTo>
                  <a:lnTo>
                    <a:pt x="168" y="251"/>
                  </a:lnTo>
                  <a:lnTo>
                    <a:pt x="64" y="356"/>
                  </a:lnTo>
                  <a:lnTo>
                    <a:pt x="64" y="398"/>
                  </a:lnTo>
                  <a:lnTo>
                    <a:pt x="1" y="481"/>
                  </a:lnTo>
                  <a:lnTo>
                    <a:pt x="168" y="481"/>
                  </a:lnTo>
                  <a:lnTo>
                    <a:pt x="273" y="586"/>
                  </a:lnTo>
                  <a:lnTo>
                    <a:pt x="398" y="607"/>
                  </a:lnTo>
                  <a:lnTo>
                    <a:pt x="440" y="607"/>
                  </a:lnTo>
                  <a:lnTo>
                    <a:pt x="649" y="691"/>
                  </a:lnTo>
                  <a:lnTo>
                    <a:pt x="838" y="795"/>
                  </a:lnTo>
                  <a:lnTo>
                    <a:pt x="859" y="732"/>
                  </a:lnTo>
                  <a:lnTo>
                    <a:pt x="796" y="691"/>
                  </a:lnTo>
                  <a:lnTo>
                    <a:pt x="817" y="670"/>
                  </a:lnTo>
                  <a:lnTo>
                    <a:pt x="921" y="670"/>
                  </a:lnTo>
                  <a:lnTo>
                    <a:pt x="1005" y="795"/>
                  </a:lnTo>
                  <a:lnTo>
                    <a:pt x="1068" y="837"/>
                  </a:lnTo>
                  <a:lnTo>
                    <a:pt x="1340" y="837"/>
                  </a:lnTo>
                  <a:lnTo>
                    <a:pt x="1424" y="732"/>
                  </a:lnTo>
                  <a:lnTo>
                    <a:pt x="1382" y="691"/>
                  </a:lnTo>
                  <a:lnTo>
                    <a:pt x="1424" y="670"/>
                  </a:lnTo>
                  <a:lnTo>
                    <a:pt x="1382" y="607"/>
                  </a:lnTo>
                  <a:lnTo>
                    <a:pt x="1424" y="502"/>
                  </a:lnTo>
                  <a:lnTo>
                    <a:pt x="1424" y="481"/>
                  </a:lnTo>
                  <a:lnTo>
                    <a:pt x="1445" y="377"/>
                  </a:lnTo>
                  <a:lnTo>
                    <a:pt x="1445" y="272"/>
                  </a:lnTo>
                  <a:lnTo>
                    <a:pt x="1361" y="251"/>
                  </a:lnTo>
                  <a:lnTo>
                    <a:pt x="1319" y="209"/>
                  </a:lnTo>
                  <a:lnTo>
                    <a:pt x="1214" y="251"/>
                  </a:lnTo>
                  <a:lnTo>
                    <a:pt x="1173" y="293"/>
                  </a:lnTo>
                  <a:lnTo>
                    <a:pt x="1152" y="356"/>
                  </a:lnTo>
                  <a:lnTo>
                    <a:pt x="1110" y="293"/>
                  </a:lnTo>
                  <a:lnTo>
                    <a:pt x="1068" y="251"/>
                  </a:lnTo>
                  <a:lnTo>
                    <a:pt x="1005" y="146"/>
                  </a:lnTo>
                  <a:lnTo>
                    <a:pt x="901" y="105"/>
                  </a:lnTo>
                  <a:lnTo>
                    <a:pt x="754" y="146"/>
                  </a:lnTo>
                  <a:lnTo>
                    <a:pt x="712" y="84"/>
                  </a:lnTo>
                  <a:lnTo>
                    <a:pt x="649" y="63"/>
                  </a:lnTo>
                  <a:lnTo>
                    <a:pt x="628" y="42"/>
                  </a:lnTo>
                  <a:lnTo>
                    <a:pt x="54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 name="Google Shape;5893;p93">
              <a:extLst>
                <a:ext uri="{FF2B5EF4-FFF2-40B4-BE49-F238E27FC236}">
                  <a16:creationId xmlns:a16="http://schemas.microsoft.com/office/drawing/2014/main" id="{5B6FA16D-59F9-4F8B-97FA-7044C3DD9282}"/>
                </a:ext>
              </a:extLst>
            </p:cNvPr>
            <p:cNvSpPr/>
            <p:nvPr/>
          </p:nvSpPr>
          <p:spPr>
            <a:xfrm>
              <a:off x="3142159" y="3021841"/>
              <a:ext cx="7978" cy="16672"/>
            </a:xfrm>
            <a:custGeom>
              <a:avLst/>
              <a:gdLst/>
              <a:ahLst/>
              <a:cxnLst/>
              <a:rect l="l" t="t" r="r" b="b"/>
              <a:pathLst>
                <a:path w="670" h="1466" extrusionOk="0">
                  <a:moveTo>
                    <a:pt x="398" y="1"/>
                  </a:moveTo>
                  <a:lnTo>
                    <a:pt x="377" y="43"/>
                  </a:lnTo>
                  <a:lnTo>
                    <a:pt x="356" y="147"/>
                  </a:lnTo>
                  <a:lnTo>
                    <a:pt x="272" y="231"/>
                  </a:lnTo>
                  <a:lnTo>
                    <a:pt x="272" y="252"/>
                  </a:lnTo>
                  <a:lnTo>
                    <a:pt x="210" y="273"/>
                  </a:lnTo>
                  <a:lnTo>
                    <a:pt x="189" y="315"/>
                  </a:lnTo>
                  <a:lnTo>
                    <a:pt x="168" y="273"/>
                  </a:lnTo>
                  <a:lnTo>
                    <a:pt x="168" y="231"/>
                  </a:lnTo>
                  <a:lnTo>
                    <a:pt x="84" y="231"/>
                  </a:lnTo>
                  <a:lnTo>
                    <a:pt x="42" y="273"/>
                  </a:lnTo>
                  <a:lnTo>
                    <a:pt x="0" y="356"/>
                  </a:lnTo>
                  <a:lnTo>
                    <a:pt x="0" y="1423"/>
                  </a:lnTo>
                  <a:lnTo>
                    <a:pt x="84" y="1423"/>
                  </a:lnTo>
                  <a:lnTo>
                    <a:pt x="105" y="1465"/>
                  </a:lnTo>
                  <a:lnTo>
                    <a:pt x="168" y="1465"/>
                  </a:lnTo>
                  <a:lnTo>
                    <a:pt x="210" y="1361"/>
                  </a:lnTo>
                  <a:lnTo>
                    <a:pt x="314" y="1256"/>
                  </a:lnTo>
                  <a:lnTo>
                    <a:pt x="398" y="1298"/>
                  </a:lnTo>
                  <a:lnTo>
                    <a:pt x="565" y="1068"/>
                  </a:lnTo>
                  <a:lnTo>
                    <a:pt x="607" y="900"/>
                  </a:lnTo>
                  <a:lnTo>
                    <a:pt x="607" y="733"/>
                  </a:lnTo>
                  <a:lnTo>
                    <a:pt x="565" y="670"/>
                  </a:lnTo>
                  <a:lnTo>
                    <a:pt x="586" y="482"/>
                  </a:lnTo>
                  <a:lnTo>
                    <a:pt x="628" y="377"/>
                  </a:lnTo>
                  <a:lnTo>
                    <a:pt x="670" y="105"/>
                  </a:lnTo>
                  <a:lnTo>
                    <a:pt x="670" y="43"/>
                  </a:lnTo>
                  <a:lnTo>
                    <a:pt x="670" y="1"/>
                  </a:lnTo>
                  <a:lnTo>
                    <a:pt x="586" y="1"/>
                  </a:lnTo>
                  <a:lnTo>
                    <a:pt x="524" y="43"/>
                  </a:lnTo>
                  <a:lnTo>
                    <a:pt x="50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 name="Google Shape;5894;p93">
              <a:extLst>
                <a:ext uri="{FF2B5EF4-FFF2-40B4-BE49-F238E27FC236}">
                  <a16:creationId xmlns:a16="http://schemas.microsoft.com/office/drawing/2014/main" id="{03B6BD34-E6F9-4C51-9C0E-6852BBB0DB56}"/>
                </a:ext>
              </a:extLst>
            </p:cNvPr>
            <p:cNvSpPr/>
            <p:nvPr/>
          </p:nvSpPr>
          <p:spPr>
            <a:xfrm>
              <a:off x="3120487" y="3025651"/>
              <a:ext cx="28411" cy="28568"/>
            </a:xfrm>
            <a:custGeom>
              <a:avLst/>
              <a:gdLst/>
              <a:ahLst/>
              <a:cxnLst/>
              <a:rect l="l" t="t" r="r" b="b"/>
              <a:pathLst>
                <a:path w="2386" h="2512" extrusionOk="0">
                  <a:moveTo>
                    <a:pt x="837" y="0"/>
                  </a:moveTo>
                  <a:lnTo>
                    <a:pt x="816" y="314"/>
                  </a:lnTo>
                  <a:lnTo>
                    <a:pt x="565" y="335"/>
                  </a:lnTo>
                  <a:lnTo>
                    <a:pt x="649" y="419"/>
                  </a:lnTo>
                  <a:lnTo>
                    <a:pt x="670" y="461"/>
                  </a:lnTo>
                  <a:lnTo>
                    <a:pt x="774" y="565"/>
                  </a:lnTo>
                  <a:lnTo>
                    <a:pt x="858" y="649"/>
                  </a:lnTo>
                  <a:lnTo>
                    <a:pt x="942" y="649"/>
                  </a:lnTo>
                  <a:lnTo>
                    <a:pt x="963" y="712"/>
                  </a:lnTo>
                  <a:lnTo>
                    <a:pt x="983" y="816"/>
                  </a:lnTo>
                  <a:lnTo>
                    <a:pt x="1025" y="837"/>
                  </a:lnTo>
                  <a:lnTo>
                    <a:pt x="1130" y="858"/>
                  </a:lnTo>
                  <a:lnTo>
                    <a:pt x="1193" y="879"/>
                  </a:lnTo>
                  <a:lnTo>
                    <a:pt x="1193" y="963"/>
                  </a:lnTo>
                  <a:lnTo>
                    <a:pt x="1130" y="1026"/>
                  </a:lnTo>
                  <a:lnTo>
                    <a:pt x="398" y="1026"/>
                  </a:lnTo>
                  <a:lnTo>
                    <a:pt x="42" y="1570"/>
                  </a:lnTo>
                  <a:lnTo>
                    <a:pt x="42" y="1674"/>
                  </a:lnTo>
                  <a:lnTo>
                    <a:pt x="84" y="1695"/>
                  </a:lnTo>
                  <a:lnTo>
                    <a:pt x="42" y="1758"/>
                  </a:lnTo>
                  <a:lnTo>
                    <a:pt x="84" y="1800"/>
                  </a:lnTo>
                  <a:lnTo>
                    <a:pt x="105" y="1821"/>
                  </a:lnTo>
                  <a:lnTo>
                    <a:pt x="105" y="1863"/>
                  </a:lnTo>
                  <a:lnTo>
                    <a:pt x="42" y="1904"/>
                  </a:lnTo>
                  <a:lnTo>
                    <a:pt x="21" y="1967"/>
                  </a:lnTo>
                  <a:lnTo>
                    <a:pt x="0" y="1988"/>
                  </a:lnTo>
                  <a:lnTo>
                    <a:pt x="105" y="2093"/>
                  </a:lnTo>
                  <a:lnTo>
                    <a:pt x="147" y="2218"/>
                  </a:lnTo>
                  <a:lnTo>
                    <a:pt x="251" y="2218"/>
                  </a:lnTo>
                  <a:lnTo>
                    <a:pt x="335" y="2323"/>
                  </a:lnTo>
                  <a:lnTo>
                    <a:pt x="628" y="2428"/>
                  </a:lnTo>
                  <a:lnTo>
                    <a:pt x="942" y="2428"/>
                  </a:lnTo>
                  <a:lnTo>
                    <a:pt x="1172" y="2511"/>
                  </a:lnTo>
                  <a:lnTo>
                    <a:pt x="1235" y="2428"/>
                  </a:lnTo>
                  <a:lnTo>
                    <a:pt x="1235" y="2386"/>
                  </a:lnTo>
                  <a:lnTo>
                    <a:pt x="1339" y="2281"/>
                  </a:lnTo>
                  <a:lnTo>
                    <a:pt x="1465" y="2218"/>
                  </a:lnTo>
                  <a:lnTo>
                    <a:pt x="1569" y="2197"/>
                  </a:lnTo>
                  <a:lnTo>
                    <a:pt x="1569" y="2135"/>
                  </a:lnTo>
                  <a:lnTo>
                    <a:pt x="1716" y="2009"/>
                  </a:lnTo>
                  <a:lnTo>
                    <a:pt x="1799" y="1863"/>
                  </a:lnTo>
                  <a:lnTo>
                    <a:pt x="1779" y="1779"/>
                  </a:lnTo>
                  <a:lnTo>
                    <a:pt x="1862" y="1674"/>
                  </a:lnTo>
                  <a:lnTo>
                    <a:pt x="2009" y="1507"/>
                  </a:lnTo>
                  <a:lnTo>
                    <a:pt x="2092" y="1507"/>
                  </a:lnTo>
                  <a:lnTo>
                    <a:pt x="2239" y="1444"/>
                  </a:lnTo>
                  <a:lnTo>
                    <a:pt x="2302" y="1340"/>
                  </a:lnTo>
                  <a:lnTo>
                    <a:pt x="2385" y="1277"/>
                  </a:lnTo>
                  <a:lnTo>
                    <a:pt x="2385" y="1235"/>
                  </a:lnTo>
                  <a:lnTo>
                    <a:pt x="2344" y="1172"/>
                  </a:lnTo>
                  <a:lnTo>
                    <a:pt x="2239" y="1172"/>
                  </a:lnTo>
                  <a:lnTo>
                    <a:pt x="2218" y="1256"/>
                  </a:lnTo>
                  <a:lnTo>
                    <a:pt x="2113" y="1172"/>
                  </a:lnTo>
                  <a:lnTo>
                    <a:pt x="2030" y="1172"/>
                  </a:lnTo>
                  <a:lnTo>
                    <a:pt x="1988" y="1130"/>
                  </a:lnTo>
                  <a:lnTo>
                    <a:pt x="1925" y="1130"/>
                  </a:lnTo>
                  <a:lnTo>
                    <a:pt x="1904" y="1088"/>
                  </a:lnTo>
                  <a:lnTo>
                    <a:pt x="1820" y="1088"/>
                  </a:lnTo>
                  <a:lnTo>
                    <a:pt x="1820" y="21"/>
                  </a:lnTo>
                  <a:lnTo>
                    <a:pt x="83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 name="Google Shape;5895;p93">
              <a:extLst>
                <a:ext uri="{FF2B5EF4-FFF2-40B4-BE49-F238E27FC236}">
                  <a16:creationId xmlns:a16="http://schemas.microsoft.com/office/drawing/2014/main" id="{34A7E42E-6C51-4507-BB50-5B0317960F1F}"/>
                </a:ext>
              </a:extLst>
            </p:cNvPr>
            <p:cNvSpPr/>
            <p:nvPr/>
          </p:nvSpPr>
          <p:spPr>
            <a:xfrm>
              <a:off x="2965761" y="2909287"/>
              <a:ext cx="196343" cy="138983"/>
            </a:xfrm>
            <a:custGeom>
              <a:avLst/>
              <a:gdLst/>
              <a:ahLst/>
              <a:cxnLst/>
              <a:rect l="l" t="t" r="r" b="b"/>
              <a:pathLst>
                <a:path w="16489" h="12221" extrusionOk="0">
                  <a:moveTo>
                    <a:pt x="1381" y="1"/>
                  </a:moveTo>
                  <a:lnTo>
                    <a:pt x="1" y="22"/>
                  </a:lnTo>
                  <a:lnTo>
                    <a:pt x="21" y="168"/>
                  </a:lnTo>
                  <a:lnTo>
                    <a:pt x="105" y="482"/>
                  </a:lnTo>
                  <a:lnTo>
                    <a:pt x="168" y="587"/>
                  </a:lnTo>
                  <a:lnTo>
                    <a:pt x="231" y="691"/>
                  </a:lnTo>
                  <a:lnTo>
                    <a:pt x="168" y="712"/>
                  </a:lnTo>
                  <a:lnTo>
                    <a:pt x="168" y="796"/>
                  </a:lnTo>
                  <a:lnTo>
                    <a:pt x="189" y="901"/>
                  </a:lnTo>
                  <a:lnTo>
                    <a:pt x="356" y="1110"/>
                  </a:lnTo>
                  <a:lnTo>
                    <a:pt x="356" y="1152"/>
                  </a:lnTo>
                  <a:lnTo>
                    <a:pt x="314" y="1173"/>
                  </a:lnTo>
                  <a:lnTo>
                    <a:pt x="335" y="1256"/>
                  </a:lnTo>
                  <a:lnTo>
                    <a:pt x="461" y="1361"/>
                  </a:lnTo>
                  <a:lnTo>
                    <a:pt x="482" y="1486"/>
                  </a:lnTo>
                  <a:lnTo>
                    <a:pt x="440" y="1549"/>
                  </a:lnTo>
                  <a:lnTo>
                    <a:pt x="440" y="1654"/>
                  </a:lnTo>
                  <a:lnTo>
                    <a:pt x="524" y="1696"/>
                  </a:lnTo>
                  <a:lnTo>
                    <a:pt x="545" y="1779"/>
                  </a:lnTo>
                  <a:lnTo>
                    <a:pt x="545" y="1968"/>
                  </a:lnTo>
                  <a:lnTo>
                    <a:pt x="586" y="2114"/>
                  </a:lnTo>
                  <a:lnTo>
                    <a:pt x="691" y="2219"/>
                  </a:lnTo>
                  <a:lnTo>
                    <a:pt x="754" y="2219"/>
                  </a:lnTo>
                  <a:lnTo>
                    <a:pt x="942" y="2386"/>
                  </a:lnTo>
                  <a:lnTo>
                    <a:pt x="1005" y="2512"/>
                  </a:lnTo>
                  <a:lnTo>
                    <a:pt x="1047" y="2595"/>
                  </a:lnTo>
                  <a:lnTo>
                    <a:pt x="1172" y="2721"/>
                  </a:lnTo>
                  <a:lnTo>
                    <a:pt x="1214" y="2909"/>
                  </a:lnTo>
                  <a:lnTo>
                    <a:pt x="1277" y="2930"/>
                  </a:lnTo>
                  <a:lnTo>
                    <a:pt x="1361" y="3056"/>
                  </a:lnTo>
                  <a:lnTo>
                    <a:pt x="1298" y="3139"/>
                  </a:lnTo>
                  <a:lnTo>
                    <a:pt x="1277" y="3202"/>
                  </a:lnTo>
                  <a:lnTo>
                    <a:pt x="1319" y="3265"/>
                  </a:lnTo>
                  <a:lnTo>
                    <a:pt x="1298" y="3349"/>
                  </a:lnTo>
                  <a:lnTo>
                    <a:pt x="1214" y="3328"/>
                  </a:lnTo>
                  <a:lnTo>
                    <a:pt x="1172" y="3411"/>
                  </a:lnTo>
                  <a:lnTo>
                    <a:pt x="1193" y="3432"/>
                  </a:lnTo>
                  <a:lnTo>
                    <a:pt x="1277" y="3432"/>
                  </a:lnTo>
                  <a:lnTo>
                    <a:pt x="1277" y="3516"/>
                  </a:lnTo>
                  <a:lnTo>
                    <a:pt x="1214" y="3558"/>
                  </a:lnTo>
                  <a:lnTo>
                    <a:pt x="1151" y="3516"/>
                  </a:lnTo>
                  <a:lnTo>
                    <a:pt x="1005" y="3516"/>
                  </a:lnTo>
                  <a:lnTo>
                    <a:pt x="900" y="3453"/>
                  </a:lnTo>
                  <a:lnTo>
                    <a:pt x="775" y="3474"/>
                  </a:lnTo>
                  <a:lnTo>
                    <a:pt x="712" y="3516"/>
                  </a:lnTo>
                  <a:lnTo>
                    <a:pt x="858" y="3662"/>
                  </a:lnTo>
                  <a:lnTo>
                    <a:pt x="963" y="3725"/>
                  </a:lnTo>
                  <a:lnTo>
                    <a:pt x="963" y="3830"/>
                  </a:lnTo>
                  <a:lnTo>
                    <a:pt x="1005" y="3934"/>
                  </a:lnTo>
                  <a:lnTo>
                    <a:pt x="1109" y="3955"/>
                  </a:lnTo>
                  <a:lnTo>
                    <a:pt x="1235" y="4039"/>
                  </a:lnTo>
                  <a:lnTo>
                    <a:pt x="1235" y="4081"/>
                  </a:lnTo>
                  <a:lnTo>
                    <a:pt x="1319" y="4081"/>
                  </a:lnTo>
                  <a:lnTo>
                    <a:pt x="1402" y="4102"/>
                  </a:lnTo>
                  <a:lnTo>
                    <a:pt x="1381" y="4144"/>
                  </a:lnTo>
                  <a:lnTo>
                    <a:pt x="1423" y="4206"/>
                  </a:lnTo>
                  <a:lnTo>
                    <a:pt x="1507" y="4186"/>
                  </a:lnTo>
                  <a:lnTo>
                    <a:pt x="1591" y="4186"/>
                  </a:lnTo>
                  <a:lnTo>
                    <a:pt x="1674" y="4081"/>
                  </a:lnTo>
                  <a:lnTo>
                    <a:pt x="1716" y="4081"/>
                  </a:lnTo>
                  <a:lnTo>
                    <a:pt x="1695" y="4186"/>
                  </a:lnTo>
                  <a:lnTo>
                    <a:pt x="1716" y="4374"/>
                  </a:lnTo>
                  <a:lnTo>
                    <a:pt x="1905" y="4562"/>
                  </a:lnTo>
                  <a:lnTo>
                    <a:pt x="2009" y="4583"/>
                  </a:lnTo>
                  <a:lnTo>
                    <a:pt x="2051" y="4583"/>
                  </a:lnTo>
                  <a:lnTo>
                    <a:pt x="2114" y="4667"/>
                  </a:lnTo>
                  <a:lnTo>
                    <a:pt x="2197" y="4897"/>
                  </a:lnTo>
                  <a:lnTo>
                    <a:pt x="2197" y="5127"/>
                  </a:lnTo>
                  <a:lnTo>
                    <a:pt x="2156" y="5315"/>
                  </a:lnTo>
                  <a:lnTo>
                    <a:pt x="2051" y="5462"/>
                  </a:lnTo>
                  <a:lnTo>
                    <a:pt x="2093" y="5546"/>
                  </a:lnTo>
                  <a:lnTo>
                    <a:pt x="2197" y="5650"/>
                  </a:lnTo>
                  <a:lnTo>
                    <a:pt x="2239" y="5629"/>
                  </a:lnTo>
                  <a:lnTo>
                    <a:pt x="2260" y="5713"/>
                  </a:lnTo>
                  <a:lnTo>
                    <a:pt x="2407" y="5734"/>
                  </a:lnTo>
                  <a:lnTo>
                    <a:pt x="2449" y="5859"/>
                  </a:lnTo>
                  <a:lnTo>
                    <a:pt x="2679" y="6131"/>
                  </a:lnTo>
                  <a:lnTo>
                    <a:pt x="2762" y="6152"/>
                  </a:lnTo>
                  <a:lnTo>
                    <a:pt x="2804" y="6236"/>
                  </a:lnTo>
                  <a:lnTo>
                    <a:pt x="2888" y="6341"/>
                  </a:lnTo>
                  <a:lnTo>
                    <a:pt x="3034" y="6362"/>
                  </a:lnTo>
                  <a:lnTo>
                    <a:pt x="3076" y="6445"/>
                  </a:lnTo>
                  <a:lnTo>
                    <a:pt x="3076" y="6571"/>
                  </a:lnTo>
                  <a:lnTo>
                    <a:pt x="3160" y="6655"/>
                  </a:lnTo>
                  <a:lnTo>
                    <a:pt x="3160" y="6717"/>
                  </a:lnTo>
                  <a:lnTo>
                    <a:pt x="3202" y="6822"/>
                  </a:lnTo>
                  <a:lnTo>
                    <a:pt x="3286" y="6864"/>
                  </a:lnTo>
                  <a:lnTo>
                    <a:pt x="3474" y="6780"/>
                  </a:lnTo>
                  <a:lnTo>
                    <a:pt x="3578" y="6613"/>
                  </a:lnTo>
                  <a:lnTo>
                    <a:pt x="3578" y="6487"/>
                  </a:lnTo>
                  <a:lnTo>
                    <a:pt x="3495" y="6445"/>
                  </a:lnTo>
                  <a:lnTo>
                    <a:pt x="3474" y="6341"/>
                  </a:lnTo>
                  <a:lnTo>
                    <a:pt x="3411" y="6278"/>
                  </a:lnTo>
                  <a:lnTo>
                    <a:pt x="3390" y="6173"/>
                  </a:lnTo>
                  <a:lnTo>
                    <a:pt x="3286" y="6131"/>
                  </a:lnTo>
                  <a:lnTo>
                    <a:pt x="3265" y="6048"/>
                  </a:lnTo>
                  <a:lnTo>
                    <a:pt x="3202" y="5964"/>
                  </a:lnTo>
                  <a:lnTo>
                    <a:pt x="3139" y="5943"/>
                  </a:lnTo>
                  <a:lnTo>
                    <a:pt x="3097" y="5964"/>
                  </a:lnTo>
                  <a:lnTo>
                    <a:pt x="3097" y="6048"/>
                  </a:lnTo>
                  <a:lnTo>
                    <a:pt x="3055" y="6069"/>
                  </a:lnTo>
                  <a:lnTo>
                    <a:pt x="3055" y="5985"/>
                  </a:lnTo>
                  <a:lnTo>
                    <a:pt x="2972" y="5943"/>
                  </a:lnTo>
                  <a:lnTo>
                    <a:pt x="2867" y="5818"/>
                  </a:lnTo>
                  <a:lnTo>
                    <a:pt x="2846" y="5734"/>
                  </a:lnTo>
                  <a:lnTo>
                    <a:pt x="2888" y="5629"/>
                  </a:lnTo>
                  <a:lnTo>
                    <a:pt x="2888" y="5504"/>
                  </a:lnTo>
                  <a:lnTo>
                    <a:pt x="2804" y="5399"/>
                  </a:lnTo>
                  <a:lnTo>
                    <a:pt x="2846" y="5294"/>
                  </a:lnTo>
                  <a:lnTo>
                    <a:pt x="2846" y="5232"/>
                  </a:lnTo>
                  <a:lnTo>
                    <a:pt x="2783" y="5148"/>
                  </a:lnTo>
                  <a:lnTo>
                    <a:pt x="2783" y="5085"/>
                  </a:lnTo>
                  <a:lnTo>
                    <a:pt x="2721" y="5002"/>
                  </a:lnTo>
                  <a:lnTo>
                    <a:pt x="2721" y="4897"/>
                  </a:lnTo>
                  <a:lnTo>
                    <a:pt x="2679" y="4834"/>
                  </a:lnTo>
                  <a:lnTo>
                    <a:pt x="2679" y="4688"/>
                  </a:lnTo>
                  <a:lnTo>
                    <a:pt x="2721" y="4604"/>
                  </a:lnTo>
                  <a:lnTo>
                    <a:pt x="2658" y="4395"/>
                  </a:lnTo>
                  <a:lnTo>
                    <a:pt x="2616" y="4290"/>
                  </a:lnTo>
                  <a:lnTo>
                    <a:pt x="2553" y="4206"/>
                  </a:lnTo>
                  <a:lnTo>
                    <a:pt x="2532" y="4186"/>
                  </a:lnTo>
                  <a:lnTo>
                    <a:pt x="2532" y="4248"/>
                  </a:lnTo>
                  <a:lnTo>
                    <a:pt x="2532" y="4290"/>
                  </a:lnTo>
                  <a:lnTo>
                    <a:pt x="2469" y="4353"/>
                  </a:lnTo>
                  <a:lnTo>
                    <a:pt x="2365" y="4186"/>
                  </a:lnTo>
                  <a:lnTo>
                    <a:pt x="2365" y="4102"/>
                  </a:lnTo>
                  <a:lnTo>
                    <a:pt x="2407" y="4039"/>
                  </a:lnTo>
                  <a:lnTo>
                    <a:pt x="2365" y="3976"/>
                  </a:lnTo>
                  <a:lnTo>
                    <a:pt x="2323" y="3955"/>
                  </a:lnTo>
                  <a:lnTo>
                    <a:pt x="2281" y="3746"/>
                  </a:lnTo>
                  <a:lnTo>
                    <a:pt x="2197" y="3579"/>
                  </a:lnTo>
                  <a:lnTo>
                    <a:pt x="2135" y="3558"/>
                  </a:lnTo>
                  <a:lnTo>
                    <a:pt x="2030" y="3453"/>
                  </a:lnTo>
                  <a:lnTo>
                    <a:pt x="2030" y="3328"/>
                  </a:lnTo>
                  <a:lnTo>
                    <a:pt x="2051" y="3202"/>
                  </a:lnTo>
                  <a:lnTo>
                    <a:pt x="1946" y="3056"/>
                  </a:lnTo>
                  <a:lnTo>
                    <a:pt x="1884" y="3035"/>
                  </a:lnTo>
                  <a:lnTo>
                    <a:pt x="1821" y="2993"/>
                  </a:lnTo>
                  <a:lnTo>
                    <a:pt x="1821" y="2846"/>
                  </a:lnTo>
                  <a:lnTo>
                    <a:pt x="1737" y="2784"/>
                  </a:lnTo>
                  <a:lnTo>
                    <a:pt x="1633" y="2742"/>
                  </a:lnTo>
                  <a:lnTo>
                    <a:pt x="1612" y="2637"/>
                  </a:lnTo>
                  <a:lnTo>
                    <a:pt x="1633" y="2574"/>
                  </a:lnTo>
                  <a:lnTo>
                    <a:pt x="1612" y="2407"/>
                  </a:lnTo>
                  <a:lnTo>
                    <a:pt x="1465" y="2302"/>
                  </a:lnTo>
                  <a:lnTo>
                    <a:pt x="1402" y="2219"/>
                  </a:lnTo>
                  <a:lnTo>
                    <a:pt x="1319" y="2198"/>
                  </a:lnTo>
                  <a:lnTo>
                    <a:pt x="1319" y="2093"/>
                  </a:lnTo>
                  <a:lnTo>
                    <a:pt x="1235" y="1947"/>
                  </a:lnTo>
                  <a:lnTo>
                    <a:pt x="1193" y="1863"/>
                  </a:lnTo>
                  <a:lnTo>
                    <a:pt x="1235" y="1779"/>
                  </a:lnTo>
                  <a:lnTo>
                    <a:pt x="1214" y="1361"/>
                  </a:lnTo>
                  <a:lnTo>
                    <a:pt x="1193" y="1131"/>
                  </a:lnTo>
                  <a:lnTo>
                    <a:pt x="1235" y="1005"/>
                  </a:lnTo>
                  <a:lnTo>
                    <a:pt x="1298" y="796"/>
                  </a:lnTo>
                  <a:lnTo>
                    <a:pt x="1277" y="691"/>
                  </a:lnTo>
                  <a:lnTo>
                    <a:pt x="1235" y="545"/>
                  </a:lnTo>
                  <a:lnTo>
                    <a:pt x="1319" y="691"/>
                  </a:lnTo>
                  <a:lnTo>
                    <a:pt x="1486" y="754"/>
                  </a:lnTo>
                  <a:lnTo>
                    <a:pt x="1570" y="921"/>
                  </a:lnTo>
                  <a:lnTo>
                    <a:pt x="1633" y="963"/>
                  </a:lnTo>
                  <a:lnTo>
                    <a:pt x="1737" y="963"/>
                  </a:lnTo>
                  <a:lnTo>
                    <a:pt x="1800" y="921"/>
                  </a:lnTo>
                  <a:lnTo>
                    <a:pt x="1884" y="1026"/>
                  </a:lnTo>
                  <a:lnTo>
                    <a:pt x="1925" y="1068"/>
                  </a:lnTo>
                  <a:lnTo>
                    <a:pt x="2030" y="1068"/>
                  </a:lnTo>
                  <a:lnTo>
                    <a:pt x="2156" y="1152"/>
                  </a:lnTo>
                  <a:lnTo>
                    <a:pt x="2156" y="1214"/>
                  </a:lnTo>
                  <a:lnTo>
                    <a:pt x="2093" y="1319"/>
                  </a:lnTo>
                  <a:lnTo>
                    <a:pt x="2093" y="1382"/>
                  </a:lnTo>
                  <a:lnTo>
                    <a:pt x="2135" y="1549"/>
                  </a:lnTo>
                  <a:lnTo>
                    <a:pt x="2156" y="1737"/>
                  </a:lnTo>
                  <a:lnTo>
                    <a:pt x="2218" y="1842"/>
                  </a:lnTo>
                  <a:lnTo>
                    <a:pt x="2239" y="1968"/>
                  </a:lnTo>
                  <a:lnTo>
                    <a:pt x="2218" y="2051"/>
                  </a:lnTo>
                  <a:lnTo>
                    <a:pt x="2239" y="2156"/>
                  </a:lnTo>
                  <a:lnTo>
                    <a:pt x="2407" y="2323"/>
                  </a:lnTo>
                  <a:lnTo>
                    <a:pt x="2365" y="2386"/>
                  </a:lnTo>
                  <a:lnTo>
                    <a:pt x="2344" y="2470"/>
                  </a:lnTo>
                  <a:lnTo>
                    <a:pt x="2407" y="2533"/>
                  </a:lnTo>
                  <a:lnTo>
                    <a:pt x="2428" y="2533"/>
                  </a:lnTo>
                  <a:lnTo>
                    <a:pt x="2469" y="2595"/>
                  </a:lnTo>
                  <a:lnTo>
                    <a:pt x="2532" y="2784"/>
                  </a:lnTo>
                  <a:lnTo>
                    <a:pt x="2616" y="2805"/>
                  </a:lnTo>
                  <a:lnTo>
                    <a:pt x="2658" y="2909"/>
                  </a:lnTo>
                  <a:lnTo>
                    <a:pt x="2658" y="3035"/>
                  </a:lnTo>
                  <a:lnTo>
                    <a:pt x="2721" y="3097"/>
                  </a:lnTo>
                  <a:lnTo>
                    <a:pt x="2783" y="3118"/>
                  </a:lnTo>
                  <a:lnTo>
                    <a:pt x="2846" y="3244"/>
                  </a:lnTo>
                  <a:lnTo>
                    <a:pt x="2867" y="3349"/>
                  </a:lnTo>
                  <a:lnTo>
                    <a:pt x="2951" y="3411"/>
                  </a:lnTo>
                  <a:lnTo>
                    <a:pt x="2972" y="3453"/>
                  </a:lnTo>
                  <a:lnTo>
                    <a:pt x="3055" y="3453"/>
                  </a:lnTo>
                  <a:lnTo>
                    <a:pt x="3097" y="3516"/>
                  </a:lnTo>
                  <a:lnTo>
                    <a:pt x="3181" y="3453"/>
                  </a:lnTo>
                  <a:lnTo>
                    <a:pt x="3244" y="3516"/>
                  </a:lnTo>
                  <a:lnTo>
                    <a:pt x="3244" y="3642"/>
                  </a:lnTo>
                  <a:lnTo>
                    <a:pt x="3181" y="3725"/>
                  </a:lnTo>
                  <a:lnTo>
                    <a:pt x="3202" y="3872"/>
                  </a:lnTo>
                  <a:lnTo>
                    <a:pt x="3390" y="4060"/>
                  </a:lnTo>
                  <a:lnTo>
                    <a:pt x="3474" y="4039"/>
                  </a:lnTo>
                  <a:lnTo>
                    <a:pt x="3558" y="4060"/>
                  </a:lnTo>
                  <a:lnTo>
                    <a:pt x="3516" y="4165"/>
                  </a:lnTo>
                  <a:lnTo>
                    <a:pt x="3578" y="4269"/>
                  </a:lnTo>
                  <a:lnTo>
                    <a:pt x="3683" y="4290"/>
                  </a:lnTo>
                  <a:lnTo>
                    <a:pt x="3767" y="4290"/>
                  </a:lnTo>
                  <a:lnTo>
                    <a:pt x="3850" y="4395"/>
                  </a:lnTo>
                  <a:lnTo>
                    <a:pt x="3892" y="4499"/>
                  </a:lnTo>
                  <a:lnTo>
                    <a:pt x="3976" y="4520"/>
                  </a:lnTo>
                  <a:lnTo>
                    <a:pt x="3997" y="4499"/>
                  </a:lnTo>
                  <a:lnTo>
                    <a:pt x="4018" y="4520"/>
                  </a:lnTo>
                  <a:lnTo>
                    <a:pt x="4039" y="4604"/>
                  </a:lnTo>
                  <a:lnTo>
                    <a:pt x="3997" y="4667"/>
                  </a:lnTo>
                  <a:lnTo>
                    <a:pt x="3934" y="4604"/>
                  </a:lnTo>
                  <a:lnTo>
                    <a:pt x="3850" y="4625"/>
                  </a:lnTo>
                  <a:lnTo>
                    <a:pt x="3767" y="4730"/>
                  </a:lnTo>
                  <a:lnTo>
                    <a:pt x="3704" y="4897"/>
                  </a:lnTo>
                  <a:lnTo>
                    <a:pt x="3725" y="5002"/>
                  </a:lnTo>
                  <a:lnTo>
                    <a:pt x="3809" y="5085"/>
                  </a:lnTo>
                  <a:lnTo>
                    <a:pt x="3913" y="5085"/>
                  </a:lnTo>
                  <a:lnTo>
                    <a:pt x="3997" y="5148"/>
                  </a:lnTo>
                  <a:lnTo>
                    <a:pt x="4206" y="5315"/>
                  </a:lnTo>
                  <a:lnTo>
                    <a:pt x="4353" y="5357"/>
                  </a:lnTo>
                  <a:lnTo>
                    <a:pt x="4415" y="5357"/>
                  </a:lnTo>
                  <a:lnTo>
                    <a:pt x="4436" y="5420"/>
                  </a:lnTo>
                  <a:lnTo>
                    <a:pt x="4499" y="5525"/>
                  </a:lnTo>
                  <a:lnTo>
                    <a:pt x="4541" y="5608"/>
                  </a:lnTo>
                  <a:lnTo>
                    <a:pt x="4499" y="5713"/>
                  </a:lnTo>
                  <a:lnTo>
                    <a:pt x="4415" y="5734"/>
                  </a:lnTo>
                  <a:lnTo>
                    <a:pt x="4436" y="5776"/>
                  </a:lnTo>
                  <a:lnTo>
                    <a:pt x="4520" y="5838"/>
                  </a:lnTo>
                  <a:lnTo>
                    <a:pt x="4708" y="5880"/>
                  </a:lnTo>
                  <a:lnTo>
                    <a:pt x="4708" y="5964"/>
                  </a:lnTo>
                  <a:lnTo>
                    <a:pt x="4750" y="5985"/>
                  </a:lnTo>
                  <a:lnTo>
                    <a:pt x="4897" y="6131"/>
                  </a:lnTo>
                  <a:lnTo>
                    <a:pt x="5085" y="6362"/>
                  </a:lnTo>
                  <a:lnTo>
                    <a:pt x="5231" y="6592"/>
                  </a:lnTo>
                  <a:lnTo>
                    <a:pt x="5399" y="6801"/>
                  </a:lnTo>
                  <a:lnTo>
                    <a:pt x="5399" y="6906"/>
                  </a:lnTo>
                  <a:lnTo>
                    <a:pt x="5608" y="7178"/>
                  </a:lnTo>
                  <a:lnTo>
                    <a:pt x="5650" y="7282"/>
                  </a:lnTo>
                  <a:lnTo>
                    <a:pt x="5587" y="7408"/>
                  </a:lnTo>
                  <a:lnTo>
                    <a:pt x="5650" y="7491"/>
                  </a:lnTo>
                  <a:lnTo>
                    <a:pt x="5692" y="7638"/>
                  </a:lnTo>
                  <a:lnTo>
                    <a:pt x="5817" y="7952"/>
                  </a:lnTo>
                  <a:lnTo>
                    <a:pt x="5817" y="8077"/>
                  </a:lnTo>
                  <a:lnTo>
                    <a:pt x="5775" y="8182"/>
                  </a:lnTo>
                  <a:lnTo>
                    <a:pt x="5650" y="8287"/>
                  </a:lnTo>
                  <a:lnTo>
                    <a:pt x="5608" y="8370"/>
                  </a:lnTo>
                  <a:lnTo>
                    <a:pt x="5671" y="8370"/>
                  </a:lnTo>
                  <a:lnTo>
                    <a:pt x="5754" y="8454"/>
                  </a:lnTo>
                  <a:lnTo>
                    <a:pt x="5692" y="8496"/>
                  </a:lnTo>
                  <a:lnTo>
                    <a:pt x="5566" y="8496"/>
                  </a:lnTo>
                  <a:lnTo>
                    <a:pt x="5482" y="8538"/>
                  </a:lnTo>
                  <a:lnTo>
                    <a:pt x="5482" y="8579"/>
                  </a:lnTo>
                  <a:lnTo>
                    <a:pt x="5566" y="8789"/>
                  </a:lnTo>
                  <a:lnTo>
                    <a:pt x="5650" y="8872"/>
                  </a:lnTo>
                  <a:lnTo>
                    <a:pt x="5650" y="8956"/>
                  </a:lnTo>
                  <a:lnTo>
                    <a:pt x="5754" y="9103"/>
                  </a:lnTo>
                  <a:lnTo>
                    <a:pt x="5796" y="9228"/>
                  </a:lnTo>
                  <a:lnTo>
                    <a:pt x="5859" y="9291"/>
                  </a:lnTo>
                  <a:lnTo>
                    <a:pt x="5922" y="9291"/>
                  </a:lnTo>
                  <a:lnTo>
                    <a:pt x="5943" y="9333"/>
                  </a:lnTo>
                  <a:lnTo>
                    <a:pt x="6131" y="9395"/>
                  </a:lnTo>
                  <a:lnTo>
                    <a:pt x="6278" y="9375"/>
                  </a:lnTo>
                  <a:lnTo>
                    <a:pt x="6340" y="9375"/>
                  </a:lnTo>
                  <a:lnTo>
                    <a:pt x="6299" y="9437"/>
                  </a:lnTo>
                  <a:lnTo>
                    <a:pt x="6299" y="9500"/>
                  </a:lnTo>
                  <a:lnTo>
                    <a:pt x="6424" y="9542"/>
                  </a:lnTo>
                  <a:lnTo>
                    <a:pt x="6591" y="9688"/>
                  </a:lnTo>
                  <a:lnTo>
                    <a:pt x="6696" y="9835"/>
                  </a:lnTo>
                  <a:lnTo>
                    <a:pt x="6759" y="9960"/>
                  </a:lnTo>
                  <a:lnTo>
                    <a:pt x="6863" y="10023"/>
                  </a:lnTo>
                  <a:lnTo>
                    <a:pt x="6926" y="10002"/>
                  </a:lnTo>
                  <a:lnTo>
                    <a:pt x="7031" y="10044"/>
                  </a:lnTo>
                  <a:lnTo>
                    <a:pt x="7115" y="10044"/>
                  </a:lnTo>
                  <a:lnTo>
                    <a:pt x="7345" y="10149"/>
                  </a:lnTo>
                  <a:lnTo>
                    <a:pt x="7428" y="10149"/>
                  </a:lnTo>
                  <a:lnTo>
                    <a:pt x="7449" y="10107"/>
                  </a:lnTo>
                  <a:lnTo>
                    <a:pt x="7512" y="10107"/>
                  </a:lnTo>
                  <a:lnTo>
                    <a:pt x="7575" y="10170"/>
                  </a:lnTo>
                  <a:lnTo>
                    <a:pt x="7847" y="10442"/>
                  </a:lnTo>
                  <a:lnTo>
                    <a:pt x="7910" y="10442"/>
                  </a:lnTo>
                  <a:lnTo>
                    <a:pt x="8098" y="10630"/>
                  </a:lnTo>
                  <a:lnTo>
                    <a:pt x="8328" y="10735"/>
                  </a:lnTo>
                  <a:lnTo>
                    <a:pt x="8621" y="10756"/>
                  </a:lnTo>
                  <a:lnTo>
                    <a:pt x="8747" y="10839"/>
                  </a:lnTo>
                  <a:lnTo>
                    <a:pt x="8830" y="10965"/>
                  </a:lnTo>
                  <a:lnTo>
                    <a:pt x="8998" y="10965"/>
                  </a:lnTo>
                  <a:lnTo>
                    <a:pt x="9144" y="11048"/>
                  </a:lnTo>
                  <a:lnTo>
                    <a:pt x="9228" y="10986"/>
                  </a:lnTo>
                  <a:lnTo>
                    <a:pt x="9249" y="11007"/>
                  </a:lnTo>
                  <a:lnTo>
                    <a:pt x="9332" y="11153"/>
                  </a:lnTo>
                  <a:lnTo>
                    <a:pt x="9479" y="11216"/>
                  </a:lnTo>
                  <a:lnTo>
                    <a:pt x="9625" y="11216"/>
                  </a:lnTo>
                  <a:lnTo>
                    <a:pt x="9730" y="11279"/>
                  </a:lnTo>
                  <a:lnTo>
                    <a:pt x="9960" y="11362"/>
                  </a:lnTo>
                  <a:lnTo>
                    <a:pt x="10148" y="11362"/>
                  </a:lnTo>
                  <a:lnTo>
                    <a:pt x="10295" y="11467"/>
                  </a:lnTo>
                  <a:lnTo>
                    <a:pt x="10588" y="11572"/>
                  </a:lnTo>
                  <a:lnTo>
                    <a:pt x="10692" y="11530"/>
                  </a:lnTo>
                  <a:lnTo>
                    <a:pt x="11006" y="11404"/>
                  </a:lnTo>
                  <a:lnTo>
                    <a:pt x="11111" y="11404"/>
                  </a:lnTo>
                  <a:lnTo>
                    <a:pt x="11299" y="11300"/>
                  </a:lnTo>
                  <a:lnTo>
                    <a:pt x="11404" y="11279"/>
                  </a:lnTo>
                  <a:lnTo>
                    <a:pt x="11613" y="11279"/>
                  </a:lnTo>
                  <a:lnTo>
                    <a:pt x="11613" y="11258"/>
                  </a:lnTo>
                  <a:lnTo>
                    <a:pt x="11467" y="11216"/>
                  </a:lnTo>
                  <a:lnTo>
                    <a:pt x="11404" y="11216"/>
                  </a:lnTo>
                  <a:lnTo>
                    <a:pt x="11404" y="11174"/>
                  </a:lnTo>
                  <a:lnTo>
                    <a:pt x="11529" y="11090"/>
                  </a:lnTo>
                  <a:lnTo>
                    <a:pt x="11550" y="11111"/>
                  </a:lnTo>
                  <a:lnTo>
                    <a:pt x="11550" y="11195"/>
                  </a:lnTo>
                  <a:lnTo>
                    <a:pt x="11634" y="11153"/>
                  </a:lnTo>
                  <a:lnTo>
                    <a:pt x="11718" y="11153"/>
                  </a:lnTo>
                  <a:lnTo>
                    <a:pt x="11718" y="11195"/>
                  </a:lnTo>
                  <a:lnTo>
                    <a:pt x="11655" y="11195"/>
                  </a:lnTo>
                  <a:lnTo>
                    <a:pt x="11634" y="11216"/>
                  </a:lnTo>
                  <a:lnTo>
                    <a:pt x="11655" y="11258"/>
                  </a:lnTo>
                  <a:lnTo>
                    <a:pt x="11760" y="11258"/>
                  </a:lnTo>
                  <a:lnTo>
                    <a:pt x="11864" y="11279"/>
                  </a:lnTo>
                  <a:lnTo>
                    <a:pt x="12032" y="11404"/>
                  </a:lnTo>
                  <a:lnTo>
                    <a:pt x="12094" y="11467"/>
                  </a:lnTo>
                  <a:lnTo>
                    <a:pt x="12094" y="11425"/>
                  </a:lnTo>
                  <a:lnTo>
                    <a:pt x="11969" y="11300"/>
                  </a:lnTo>
                  <a:lnTo>
                    <a:pt x="11780" y="11216"/>
                  </a:lnTo>
                  <a:lnTo>
                    <a:pt x="11780" y="11174"/>
                  </a:lnTo>
                  <a:lnTo>
                    <a:pt x="11822" y="11174"/>
                  </a:lnTo>
                  <a:lnTo>
                    <a:pt x="11843" y="11195"/>
                  </a:lnTo>
                  <a:lnTo>
                    <a:pt x="11948" y="11216"/>
                  </a:lnTo>
                  <a:lnTo>
                    <a:pt x="12053" y="11300"/>
                  </a:lnTo>
                  <a:lnTo>
                    <a:pt x="12157" y="11425"/>
                  </a:lnTo>
                  <a:lnTo>
                    <a:pt x="12157" y="11488"/>
                  </a:lnTo>
                  <a:lnTo>
                    <a:pt x="12199" y="11530"/>
                  </a:lnTo>
                  <a:lnTo>
                    <a:pt x="12597" y="11885"/>
                  </a:lnTo>
                  <a:lnTo>
                    <a:pt x="12722" y="11906"/>
                  </a:lnTo>
                  <a:lnTo>
                    <a:pt x="12764" y="11990"/>
                  </a:lnTo>
                  <a:lnTo>
                    <a:pt x="12910" y="12116"/>
                  </a:lnTo>
                  <a:lnTo>
                    <a:pt x="12994" y="12220"/>
                  </a:lnTo>
                  <a:lnTo>
                    <a:pt x="13015" y="12199"/>
                  </a:lnTo>
                  <a:lnTo>
                    <a:pt x="13036" y="12136"/>
                  </a:lnTo>
                  <a:lnTo>
                    <a:pt x="13099" y="12095"/>
                  </a:lnTo>
                  <a:lnTo>
                    <a:pt x="13099" y="12053"/>
                  </a:lnTo>
                  <a:lnTo>
                    <a:pt x="13078" y="12032"/>
                  </a:lnTo>
                  <a:lnTo>
                    <a:pt x="13036" y="11990"/>
                  </a:lnTo>
                  <a:lnTo>
                    <a:pt x="13078" y="11927"/>
                  </a:lnTo>
                  <a:lnTo>
                    <a:pt x="13036" y="11906"/>
                  </a:lnTo>
                  <a:lnTo>
                    <a:pt x="13036" y="11802"/>
                  </a:lnTo>
                  <a:lnTo>
                    <a:pt x="13392" y="11258"/>
                  </a:lnTo>
                  <a:lnTo>
                    <a:pt x="14124" y="11258"/>
                  </a:lnTo>
                  <a:lnTo>
                    <a:pt x="14187" y="11195"/>
                  </a:lnTo>
                  <a:lnTo>
                    <a:pt x="14187" y="11111"/>
                  </a:lnTo>
                  <a:lnTo>
                    <a:pt x="14124" y="11090"/>
                  </a:lnTo>
                  <a:lnTo>
                    <a:pt x="14019" y="11069"/>
                  </a:lnTo>
                  <a:lnTo>
                    <a:pt x="13977" y="11048"/>
                  </a:lnTo>
                  <a:lnTo>
                    <a:pt x="13957" y="10944"/>
                  </a:lnTo>
                  <a:lnTo>
                    <a:pt x="13936" y="10881"/>
                  </a:lnTo>
                  <a:lnTo>
                    <a:pt x="13852" y="10881"/>
                  </a:lnTo>
                  <a:lnTo>
                    <a:pt x="13768" y="10797"/>
                  </a:lnTo>
                  <a:lnTo>
                    <a:pt x="13664" y="10693"/>
                  </a:lnTo>
                  <a:lnTo>
                    <a:pt x="13643" y="10651"/>
                  </a:lnTo>
                  <a:lnTo>
                    <a:pt x="13559" y="10567"/>
                  </a:lnTo>
                  <a:lnTo>
                    <a:pt x="13810" y="10546"/>
                  </a:lnTo>
                  <a:lnTo>
                    <a:pt x="13831" y="10232"/>
                  </a:lnTo>
                  <a:lnTo>
                    <a:pt x="14814" y="10253"/>
                  </a:lnTo>
                  <a:lnTo>
                    <a:pt x="14856" y="10170"/>
                  </a:lnTo>
                  <a:lnTo>
                    <a:pt x="14898" y="10128"/>
                  </a:lnTo>
                  <a:lnTo>
                    <a:pt x="14982" y="10128"/>
                  </a:lnTo>
                  <a:lnTo>
                    <a:pt x="14982" y="10170"/>
                  </a:lnTo>
                  <a:lnTo>
                    <a:pt x="15003" y="10212"/>
                  </a:lnTo>
                  <a:lnTo>
                    <a:pt x="15024" y="10170"/>
                  </a:lnTo>
                  <a:lnTo>
                    <a:pt x="15086" y="10149"/>
                  </a:lnTo>
                  <a:lnTo>
                    <a:pt x="15086" y="10128"/>
                  </a:lnTo>
                  <a:lnTo>
                    <a:pt x="15170" y="10044"/>
                  </a:lnTo>
                  <a:lnTo>
                    <a:pt x="15191" y="9940"/>
                  </a:lnTo>
                  <a:lnTo>
                    <a:pt x="15212" y="9898"/>
                  </a:lnTo>
                  <a:lnTo>
                    <a:pt x="15317" y="9898"/>
                  </a:lnTo>
                  <a:lnTo>
                    <a:pt x="15421" y="9793"/>
                  </a:lnTo>
                  <a:lnTo>
                    <a:pt x="15526" y="9647"/>
                  </a:lnTo>
                  <a:lnTo>
                    <a:pt x="15610" y="9626"/>
                  </a:lnTo>
                  <a:lnTo>
                    <a:pt x="15610" y="9626"/>
                  </a:lnTo>
                  <a:lnTo>
                    <a:pt x="15589" y="9730"/>
                  </a:lnTo>
                  <a:lnTo>
                    <a:pt x="15526" y="9793"/>
                  </a:lnTo>
                  <a:lnTo>
                    <a:pt x="15547" y="9835"/>
                  </a:lnTo>
                  <a:lnTo>
                    <a:pt x="15651" y="9919"/>
                  </a:lnTo>
                  <a:lnTo>
                    <a:pt x="15714" y="10023"/>
                  </a:lnTo>
                  <a:lnTo>
                    <a:pt x="15735" y="10002"/>
                  </a:lnTo>
                  <a:lnTo>
                    <a:pt x="15840" y="9814"/>
                  </a:lnTo>
                  <a:lnTo>
                    <a:pt x="15944" y="9437"/>
                  </a:lnTo>
                  <a:lnTo>
                    <a:pt x="16007" y="9333"/>
                  </a:lnTo>
                  <a:lnTo>
                    <a:pt x="15944" y="9375"/>
                  </a:lnTo>
                  <a:lnTo>
                    <a:pt x="15902" y="9416"/>
                  </a:lnTo>
                  <a:lnTo>
                    <a:pt x="15840" y="9395"/>
                  </a:lnTo>
                  <a:lnTo>
                    <a:pt x="15840" y="9333"/>
                  </a:lnTo>
                  <a:lnTo>
                    <a:pt x="15965" y="9207"/>
                  </a:lnTo>
                  <a:lnTo>
                    <a:pt x="16007" y="9123"/>
                  </a:lnTo>
                  <a:lnTo>
                    <a:pt x="15902" y="9123"/>
                  </a:lnTo>
                  <a:lnTo>
                    <a:pt x="15819" y="9061"/>
                  </a:lnTo>
                  <a:lnTo>
                    <a:pt x="15840" y="9019"/>
                  </a:lnTo>
                  <a:lnTo>
                    <a:pt x="15965" y="8956"/>
                  </a:lnTo>
                  <a:lnTo>
                    <a:pt x="15965" y="8789"/>
                  </a:lnTo>
                  <a:lnTo>
                    <a:pt x="16028" y="8705"/>
                  </a:lnTo>
                  <a:lnTo>
                    <a:pt x="16279" y="8475"/>
                  </a:lnTo>
                  <a:lnTo>
                    <a:pt x="16426" y="8266"/>
                  </a:lnTo>
                  <a:lnTo>
                    <a:pt x="16488" y="8119"/>
                  </a:lnTo>
                  <a:lnTo>
                    <a:pt x="16488" y="8015"/>
                  </a:lnTo>
                  <a:lnTo>
                    <a:pt x="16321" y="7763"/>
                  </a:lnTo>
                  <a:lnTo>
                    <a:pt x="16216" y="7805"/>
                  </a:lnTo>
                  <a:lnTo>
                    <a:pt x="16237" y="7847"/>
                  </a:lnTo>
                  <a:lnTo>
                    <a:pt x="16174" y="7868"/>
                  </a:lnTo>
                  <a:lnTo>
                    <a:pt x="15923" y="7826"/>
                  </a:lnTo>
                  <a:lnTo>
                    <a:pt x="15693" y="7826"/>
                  </a:lnTo>
                  <a:lnTo>
                    <a:pt x="15693" y="7868"/>
                  </a:lnTo>
                  <a:lnTo>
                    <a:pt x="15547" y="7952"/>
                  </a:lnTo>
                  <a:lnTo>
                    <a:pt x="15505" y="7910"/>
                  </a:lnTo>
                  <a:lnTo>
                    <a:pt x="15379" y="7931"/>
                  </a:lnTo>
                  <a:lnTo>
                    <a:pt x="15275" y="8035"/>
                  </a:lnTo>
                  <a:lnTo>
                    <a:pt x="14793" y="8035"/>
                  </a:lnTo>
                  <a:lnTo>
                    <a:pt x="14396" y="8119"/>
                  </a:lnTo>
                  <a:lnTo>
                    <a:pt x="14396" y="8182"/>
                  </a:lnTo>
                  <a:lnTo>
                    <a:pt x="14501" y="8224"/>
                  </a:lnTo>
                  <a:lnTo>
                    <a:pt x="14291" y="8454"/>
                  </a:lnTo>
                  <a:lnTo>
                    <a:pt x="14270" y="8810"/>
                  </a:lnTo>
                  <a:lnTo>
                    <a:pt x="14291" y="8851"/>
                  </a:lnTo>
                  <a:lnTo>
                    <a:pt x="14082" y="9082"/>
                  </a:lnTo>
                  <a:lnTo>
                    <a:pt x="14082" y="9270"/>
                  </a:lnTo>
                  <a:lnTo>
                    <a:pt x="13957" y="9395"/>
                  </a:lnTo>
                  <a:lnTo>
                    <a:pt x="13873" y="9416"/>
                  </a:lnTo>
                  <a:lnTo>
                    <a:pt x="13622" y="9542"/>
                  </a:lnTo>
                  <a:lnTo>
                    <a:pt x="13643" y="9584"/>
                  </a:lnTo>
                  <a:lnTo>
                    <a:pt x="13747" y="9500"/>
                  </a:lnTo>
                  <a:lnTo>
                    <a:pt x="13726" y="9605"/>
                  </a:lnTo>
                  <a:lnTo>
                    <a:pt x="13726" y="9793"/>
                  </a:lnTo>
                  <a:lnTo>
                    <a:pt x="13622" y="9919"/>
                  </a:lnTo>
                  <a:lnTo>
                    <a:pt x="13538" y="9919"/>
                  </a:lnTo>
                  <a:lnTo>
                    <a:pt x="13517" y="9960"/>
                  </a:lnTo>
                  <a:lnTo>
                    <a:pt x="13454" y="9919"/>
                  </a:lnTo>
                  <a:lnTo>
                    <a:pt x="13329" y="9835"/>
                  </a:lnTo>
                  <a:lnTo>
                    <a:pt x="13350" y="9793"/>
                  </a:lnTo>
                  <a:lnTo>
                    <a:pt x="13454" y="9730"/>
                  </a:lnTo>
                  <a:lnTo>
                    <a:pt x="13308" y="9688"/>
                  </a:lnTo>
                  <a:lnTo>
                    <a:pt x="13245" y="9730"/>
                  </a:lnTo>
                  <a:lnTo>
                    <a:pt x="13120" y="9709"/>
                  </a:lnTo>
                  <a:lnTo>
                    <a:pt x="12973" y="9709"/>
                  </a:lnTo>
                  <a:lnTo>
                    <a:pt x="12869" y="9793"/>
                  </a:lnTo>
                  <a:lnTo>
                    <a:pt x="12722" y="9814"/>
                  </a:lnTo>
                  <a:lnTo>
                    <a:pt x="12513" y="9814"/>
                  </a:lnTo>
                  <a:lnTo>
                    <a:pt x="12492" y="9856"/>
                  </a:lnTo>
                  <a:lnTo>
                    <a:pt x="12262" y="10002"/>
                  </a:lnTo>
                  <a:lnTo>
                    <a:pt x="12178" y="10002"/>
                  </a:lnTo>
                  <a:lnTo>
                    <a:pt x="12157" y="9940"/>
                  </a:lnTo>
                  <a:lnTo>
                    <a:pt x="11948" y="10002"/>
                  </a:lnTo>
                  <a:lnTo>
                    <a:pt x="11822" y="10044"/>
                  </a:lnTo>
                  <a:lnTo>
                    <a:pt x="11760" y="9919"/>
                  </a:lnTo>
                  <a:lnTo>
                    <a:pt x="11634" y="9730"/>
                  </a:lnTo>
                  <a:lnTo>
                    <a:pt x="11467" y="9647"/>
                  </a:lnTo>
                  <a:lnTo>
                    <a:pt x="11425" y="9605"/>
                  </a:lnTo>
                  <a:lnTo>
                    <a:pt x="11257" y="9605"/>
                  </a:lnTo>
                  <a:lnTo>
                    <a:pt x="11216" y="9626"/>
                  </a:lnTo>
                  <a:lnTo>
                    <a:pt x="11132" y="9521"/>
                  </a:lnTo>
                  <a:lnTo>
                    <a:pt x="10902" y="9270"/>
                  </a:lnTo>
                  <a:lnTo>
                    <a:pt x="10881" y="9165"/>
                  </a:lnTo>
                  <a:lnTo>
                    <a:pt x="10881" y="9082"/>
                  </a:lnTo>
                  <a:lnTo>
                    <a:pt x="10776" y="8914"/>
                  </a:lnTo>
                  <a:lnTo>
                    <a:pt x="10713" y="8789"/>
                  </a:lnTo>
                  <a:lnTo>
                    <a:pt x="10400" y="8454"/>
                  </a:lnTo>
                  <a:lnTo>
                    <a:pt x="10379" y="8328"/>
                  </a:lnTo>
                  <a:lnTo>
                    <a:pt x="10316" y="8245"/>
                  </a:lnTo>
                  <a:lnTo>
                    <a:pt x="10358" y="8161"/>
                  </a:lnTo>
                  <a:lnTo>
                    <a:pt x="10316" y="8077"/>
                  </a:lnTo>
                  <a:lnTo>
                    <a:pt x="10253" y="7847"/>
                  </a:lnTo>
                  <a:lnTo>
                    <a:pt x="10169" y="7763"/>
                  </a:lnTo>
                  <a:lnTo>
                    <a:pt x="10190" y="7638"/>
                  </a:lnTo>
                  <a:lnTo>
                    <a:pt x="10316" y="7805"/>
                  </a:lnTo>
                  <a:lnTo>
                    <a:pt x="10316" y="8015"/>
                  </a:lnTo>
                  <a:lnTo>
                    <a:pt x="10379" y="7973"/>
                  </a:lnTo>
                  <a:lnTo>
                    <a:pt x="10379" y="7805"/>
                  </a:lnTo>
                  <a:lnTo>
                    <a:pt x="10211" y="7554"/>
                  </a:lnTo>
                  <a:lnTo>
                    <a:pt x="10253" y="7429"/>
                  </a:lnTo>
                  <a:lnTo>
                    <a:pt x="10190" y="7219"/>
                  </a:lnTo>
                  <a:lnTo>
                    <a:pt x="10169" y="7115"/>
                  </a:lnTo>
                  <a:lnTo>
                    <a:pt x="10253" y="7010"/>
                  </a:lnTo>
                  <a:lnTo>
                    <a:pt x="10295" y="6717"/>
                  </a:lnTo>
                  <a:lnTo>
                    <a:pt x="10253" y="6571"/>
                  </a:lnTo>
                  <a:lnTo>
                    <a:pt x="10316" y="6278"/>
                  </a:lnTo>
                  <a:lnTo>
                    <a:pt x="10316" y="6173"/>
                  </a:lnTo>
                  <a:lnTo>
                    <a:pt x="10358" y="6090"/>
                  </a:lnTo>
                  <a:lnTo>
                    <a:pt x="10316" y="6048"/>
                  </a:lnTo>
                  <a:lnTo>
                    <a:pt x="10316" y="5922"/>
                  </a:lnTo>
                  <a:lnTo>
                    <a:pt x="10379" y="5859"/>
                  </a:lnTo>
                  <a:lnTo>
                    <a:pt x="10400" y="5713"/>
                  </a:lnTo>
                  <a:lnTo>
                    <a:pt x="10420" y="5650"/>
                  </a:lnTo>
                  <a:lnTo>
                    <a:pt x="10358" y="5608"/>
                  </a:lnTo>
                  <a:lnTo>
                    <a:pt x="10420" y="5504"/>
                  </a:lnTo>
                  <a:lnTo>
                    <a:pt x="10420" y="5336"/>
                  </a:lnTo>
                  <a:lnTo>
                    <a:pt x="10525" y="5336"/>
                  </a:lnTo>
                  <a:lnTo>
                    <a:pt x="10504" y="5441"/>
                  </a:lnTo>
                  <a:lnTo>
                    <a:pt x="10504" y="5525"/>
                  </a:lnTo>
                  <a:lnTo>
                    <a:pt x="10567" y="5504"/>
                  </a:lnTo>
                  <a:lnTo>
                    <a:pt x="10588" y="5399"/>
                  </a:lnTo>
                  <a:lnTo>
                    <a:pt x="10672" y="5294"/>
                  </a:lnTo>
                  <a:lnTo>
                    <a:pt x="10692" y="5148"/>
                  </a:lnTo>
                  <a:lnTo>
                    <a:pt x="10734" y="5106"/>
                  </a:lnTo>
                  <a:lnTo>
                    <a:pt x="10776" y="4939"/>
                  </a:lnTo>
                  <a:lnTo>
                    <a:pt x="10776" y="4897"/>
                  </a:lnTo>
                  <a:lnTo>
                    <a:pt x="10692" y="4939"/>
                  </a:lnTo>
                  <a:lnTo>
                    <a:pt x="10672" y="5127"/>
                  </a:lnTo>
                  <a:lnTo>
                    <a:pt x="10567" y="5190"/>
                  </a:lnTo>
                  <a:lnTo>
                    <a:pt x="10588" y="5106"/>
                  </a:lnTo>
                  <a:lnTo>
                    <a:pt x="10525" y="5085"/>
                  </a:lnTo>
                  <a:lnTo>
                    <a:pt x="10504" y="5002"/>
                  </a:lnTo>
                  <a:lnTo>
                    <a:pt x="10400" y="5002"/>
                  </a:lnTo>
                  <a:lnTo>
                    <a:pt x="10295" y="4918"/>
                  </a:lnTo>
                  <a:lnTo>
                    <a:pt x="10107" y="4876"/>
                  </a:lnTo>
                  <a:lnTo>
                    <a:pt x="10002" y="4771"/>
                  </a:lnTo>
                  <a:lnTo>
                    <a:pt x="9939" y="4730"/>
                  </a:lnTo>
                  <a:lnTo>
                    <a:pt x="9856" y="4730"/>
                  </a:lnTo>
                  <a:lnTo>
                    <a:pt x="9793" y="4709"/>
                  </a:lnTo>
                  <a:lnTo>
                    <a:pt x="9772" y="4709"/>
                  </a:lnTo>
                  <a:lnTo>
                    <a:pt x="9730" y="4667"/>
                  </a:lnTo>
                  <a:lnTo>
                    <a:pt x="9751" y="4499"/>
                  </a:lnTo>
                  <a:lnTo>
                    <a:pt x="9625" y="4165"/>
                  </a:lnTo>
                  <a:lnTo>
                    <a:pt x="9625" y="4144"/>
                  </a:lnTo>
                  <a:lnTo>
                    <a:pt x="9625" y="4081"/>
                  </a:lnTo>
                  <a:lnTo>
                    <a:pt x="9625" y="3976"/>
                  </a:lnTo>
                  <a:lnTo>
                    <a:pt x="9646" y="3872"/>
                  </a:lnTo>
                  <a:lnTo>
                    <a:pt x="9542" y="3788"/>
                  </a:lnTo>
                  <a:lnTo>
                    <a:pt x="9479" y="3683"/>
                  </a:lnTo>
                  <a:lnTo>
                    <a:pt x="9458" y="3579"/>
                  </a:lnTo>
                  <a:lnTo>
                    <a:pt x="9374" y="3537"/>
                  </a:lnTo>
                  <a:lnTo>
                    <a:pt x="9353" y="3453"/>
                  </a:lnTo>
                  <a:lnTo>
                    <a:pt x="9312" y="3432"/>
                  </a:lnTo>
                  <a:lnTo>
                    <a:pt x="9228" y="3223"/>
                  </a:lnTo>
                  <a:lnTo>
                    <a:pt x="9207" y="3139"/>
                  </a:lnTo>
                  <a:lnTo>
                    <a:pt x="9123" y="3118"/>
                  </a:lnTo>
                  <a:lnTo>
                    <a:pt x="9123" y="2951"/>
                  </a:lnTo>
                  <a:lnTo>
                    <a:pt x="9123" y="2888"/>
                  </a:lnTo>
                  <a:lnTo>
                    <a:pt x="9060" y="2825"/>
                  </a:lnTo>
                  <a:lnTo>
                    <a:pt x="9040" y="2721"/>
                  </a:lnTo>
                  <a:lnTo>
                    <a:pt x="8935" y="2574"/>
                  </a:lnTo>
                  <a:lnTo>
                    <a:pt x="8830" y="2491"/>
                  </a:lnTo>
                  <a:lnTo>
                    <a:pt x="8788" y="2386"/>
                  </a:lnTo>
                  <a:lnTo>
                    <a:pt x="8705" y="2365"/>
                  </a:lnTo>
                  <a:lnTo>
                    <a:pt x="8621" y="2365"/>
                  </a:lnTo>
                  <a:lnTo>
                    <a:pt x="8600" y="2323"/>
                  </a:lnTo>
                  <a:lnTo>
                    <a:pt x="8579" y="2302"/>
                  </a:lnTo>
                  <a:lnTo>
                    <a:pt x="8475" y="2323"/>
                  </a:lnTo>
                  <a:lnTo>
                    <a:pt x="8370" y="2302"/>
                  </a:lnTo>
                  <a:lnTo>
                    <a:pt x="8265" y="2302"/>
                  </a:lnTo>
                  <a:lnTo>
                    <a:pt x="8223" y="2386"/>
                  </a:lnTo>
                  <a:lnTo>
                    <a:pt x="8182" y="2386"/>
                  </a:lnTo>
                  <a:lnTo>
                    <a:pt x="8161" y="2365"/>
                  </a:lnTo>
                  <a:lnTo>
                    <a:pt x="8119" y="2365"/>
                  </a:lnTo>
                  <a:lnTo>
                    <a:pt x="8035" y="2386"/>
                  </a:lnTo>
                  <a:lnTo>
                    <a:pt x="7993" y="2428"/>
                  </a:lnTo>
                  <a:lnTo>
                    <a:pt x="7910" y="2595"/>
                  </a:lnTo>
                  <a:lnTo>
                    <a:pt x="7868" y="2679"/>
                  </a:lnTo>
                  <a:lnTo>
                    <a:pt x="7868" y="2700"/>
                  </a:lnTo>
                  <a:lnTo>
                    <a:pt x="7868" y="2742"/>
                  </a:lnTo>
                  <a:lnTo>
                    <a:pt x="7805" y="2742"/>
                  </a:lnTo>
                  <a:lnTo>
                    <a:pt x="7700" y="2825"/>
                  </a:lnTo>
                  <a:lnTo>
                    <a:pt x="7700" y="2846"/>
                  </a:lnTo>
                  <a:lnTo>
                    <a:pt x="7659" y="2888"/>
                  </a:lnTo>
                  <a:lnTo>
                    <a:pt x="7596" y="2888"/>
                  </a:lnTo>
                  <a:lnTo>
                    <a:pt x="7575" y="2825"/>
                  </a:lnTo>
                  <a:lnTo>
                    <a:pt x="7449" y="2784"/>
                  </a:lnTo>
                  <a:lnTo>
                    <a:pt x="7366" y="2742"/>
                  </a:lnTo>
                  <a:lnTo>
                    <a:pt x="7345" y="2700"/>
                  </a:lnTo>
                  <a:lnTo>
                    <a:pt x="7219" y="2637"/>
                  </a:lnTo>
                  <a:lnTo>
                    <a:pt x="7156" y="2637"/>
                  </a:lnTo>
                  <a:lnTo>
                    <a:pt x="7115" y="2595"/>
                  </a:lnTo>
                  <a:lnTo>
                    <a:pt x="7115" y="2574"/>
                  </a:lnTo>
                  <a:lnTo>
                    <a:pt x="7073" y="2512"/>
                  </a:lnTo>
                  <a:lnTo>
                    <a:pt x="7031" y="2491"/>
                  </a:lnTo>
                  <a:lnTo>
                    <a:pt x="6989" y="2491"/>
                  </a:lnTo>
                  <a:lnTo>
                    <a:pt x="6947" y="2470"/>
                  </a:lnTo>
                  <a:lnTo>
                    <a:pt x="6926" y="2470"/>
                  </a:lnTo>
                  <a:lnTo>
                    <a:pt x="6926" y="2428"/>
                  </a:lnTo>
                  <a:lnTo>
                    <a:pt x="6905" y="2323"/>
                  </a:lnTo>
                  <a:lnTo>
                    <a:pt x="6822" y="2261"/>
                  </a:lnTo>
                  <a:lnTo>
                    <a:pt x="6717" y="2114"/>
                  </a:lnTo>
                  <a:lnTo>
                    <a:pt x="6717" y="2093"/>
                  </a:lnTo>
                  <a:lnTo>
                    <a:pt x="6801" y="2072"/>
                  </a:lnTo>
                  <a:lnTo>
                    <a:pt x="6822" y="2051"/>
                  </a:lnTo>
                  <a:lnTo>
                    <a:pt x="6822" y="1968"/>
                  </a:lnTo>
                  <a:lnTo>
                    <a:pt x="6738" y="1884"/>
                  </a:lnTo>
                  <a:lnTo>
                    <a:pt x="6717" y="1863"/>
                  </a:lnTo>
                  <a:lnTo>
                    <a:pt x="6696" y="1842"/>
                  </a:lnTo>
                  <a:lnTo>
                    <a:pt x="6654" y="1800"/>
                  </a:lnTo>
                  <a:lnTo>
                    <a:pt x="6633" y="1675"/>
                  </a:lnTo>
                  <a:lnTo>
                    <a:pt x="6591" y="1591"/>
                  </a:lnTo>
                  <a:lnTo>
                    <a:pt x="6508" y="1549"/>
                  </a:lnTo>
                  <a:lnTo>
                    <a:pt x="6424" y="1528"/>
                  </a:lnTo>
                  <a:lnTo>
                    <a:pt x="6466" y="1465"/>
                  </a:lnTo>
                  <a:lnTo>
                    <a:pt x="6466" y="1424"/>
                  </a:lnTo>
                  <a:lnTo>
                    <a:pt x="6403" y="1340"/>
                  </a:lnTo>
                  <a:lnTo>
                    <a:pt x="6299" y="1319"/>
                  </a:lnTo>
                  <a:lnTo>
                    <a:pt x="6319" y="1256"/>
                  </a:lnTo>
                  <a:lnTo>
                    <a:pt x="6278" y="1173"/>
                  </a:lnTo>
                  <a:lnTo>
                    <a:pt x="6215" y="1173"/>
                  </a:lnTo>
                  <a:lnTo>
                    <a:pt x="6194" y="1131"/>
                  </a:lnTo>
                  <a:lnTo>
                    <a:pt x="6131" y="1068"/>
                  </a:lnTo>
                  <a:lnTo>
                    <a:pt x="6068" y="942"/>
                  </a:lnTo>
                  <a:lnTo>
                    <a:pt x="5943" y="859"/>
                  </a:lnTo>
                  <a:lnTo>
                    <a:pt x="5022" y="838"/>
                  </a:lnTo>
                  <a:lnTo>
                    <a:pt x="4980" y="1047"/>
                  </a:lnTo>
                  <a:lnTo>
                    <a:pt x="3327" y="1005"/>
                  </a:lnTo>
                  <a:lnTo>
                    <a:pt x="1402" y="105"/>
                  </a:lnTo>
                  <a:lnTo>
                    <a:pt x="1402" y="64"/>
                  </a:lnTo>
                  <a:lnTo>
                    <a:pt x="138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 name="Google Shape;5896;p93">
              <a:extLst>
                <a:ext uri="{FF2B5EF4-FFF2-40B4-BE49-F238E27FC236}">
                  <a16:creationId xmlns:a16="http://schemas.microsoft.com/office/drawing/2014/main" id="{62AFF165-6F9A-4484-B0F7-DB9F1C99D76C}"/>
                </a:ext>
              </a:extLst>
            </p:cNvPr>
            <p:cNvSpPr/>
            <p:nvPr/>
          </p:nvSpPr>
          <p:spPr>
            <a:xfrm>
              <a:off x="3378594" y="3107749"/>
              <a:ext cx="19445" cy="26657"/>
            </a:xfrm>
            <a:custGeom>
              <a:avLst/>
              <a:gdLst/>
              <a:ahLst/>
              <a:cxnLst/>
              <a:rect l="l" t="t" r="r" b="b"/>
              <a:pathLst>
                <a:path w="1633" h="2344" extrusionOk="0">
                  <a:moveTo>
                    <a:pt x="336" y="0"/>
                  </a:moveTo>
                  <a:lnTo>
                    <a:pt x="231" y="84"/>
                  </a:lnTo>
                  <a:lnTo>
                    <a:pt x="126" y="147"/>
                  </a:lnTo>
                  <a:lnTo>
                    <a:pt x="85" y="209"/>
                  </a:lnTo>
                  <a:lnTo>
                    <a:pt x="1" y="314"/>
                  </a:lnTo>
                  <a:lnTo>
                    <a:pt x="1" y="460"/>
                  </a:lnTo>
                  <a:lnTo>
                    <a:pt x="64" y="607"/>
                  </a:lnTo>
                  <a:lnTo>
                    <a:pt x="22" y="732"/>
                  </a:lnTo>
                  <a:lnTo>
                    <a:pt x="22" y="816"/>
                  </a:lnTo>
                  <a:lnTo>
                    <a:pt x="126" y="879"/>
                  </a:lnTo>
                  <a:lnTo>
                    <a:pt x="189" y="963"/>
                  </a:lnTo>
                  <a:lnTo>
                    <a:pt x="231" y="1067"/>
                  </a:lnTo>
                  <a:lnTo>
                    <a:pt x="273" y="1193"/>
                  </a:lnTo>
                  <a:lnTo>
                    <a:pt x="294" y="1256"/>
                  </a:lnTo>
                  <a:lnTo>
                    <a:pt x="273" y="1360"/>
                  </a:lnTo>
                  <a:lnTo>
                    <a:pt x="189" y="1444"/>
                  </a:lnTo>
                  <a:lnTo>
                    <a:pt x="189" y="1590"/>
                  </a:lnTo>
                  <a:lnTo>
                    <a:pt x="231" y="1653"/>
                  </a:lnTo>
                  <a:lnTo>
                    <a:pt x="189" y="1779"/>
                  </a:lnTo>
                  <a:lnTo>
                    <a:pt x="64" y="1883"/>
                  </a:lnTo>
                  <a:lnTo>
                    <a:pt x="1" y="1883"/>
                  </a:lnTo>
                  <a:lnTo>
                    <a:pt x="22" y="1925"/>
                  </a:lnTo>
                  <a:lnTo>
                    <a:pt x="85" y="2009"/>
                  </a:lnTo>
                  <a:lnTo>
                    <a:pt x="106" y="2030"/>
                  </a:lnTo>
                  <a:lnTo>
                    <a:pt x="106" y="2113"/>
                  </a:lnTo>
                  <a:lnTo>
                    <a:pt x="189" y="2197"/>
                  </a:lnTo>
                  <a:lnTo>
                    <a:pt x="294" y="2218"/>
                  </a:lnTo>
                  <a:lnTo>
                    <a:pt x="336" y="2134"/>
                  </a:lnTo>
                  <a:lnTo>
                    <a:pt x="419" y="2113"/>
                  </a:lnTo>
                  <a:lnTo>
                    <a:pt x="503" y="2113"/>
                  </a:lnTo>
                  <a:lnTo>
                    <a:pt x="503" y="2176"/>
                  </a:lnTo>
                  <a:lnTo>
                    <a:pt x="545" y="2197"/>
                  </a:lnTo>
                  <a:lnTo>
                    <a:pt x="545" y="2323"/>
                  </a:lnTo>
                  <a:lnTo>
                    <a:pt x="608" y="2344"/>
                  </a:lnTo>
                  <a:lnTo>
                    <a:pt x="712" y="2281"/>
                  </a:lnTo>
                  <a:lnTo>
                    <a:pt x="733" y="2197"/>
                  </a:lnTo>
                  <a:lnTo>
                    <a:pt x="817" y="2134"/>
                  </a:lnTo>
                  <a:lnTo>
                    <a:pt x="880" y="2113"/>
                  </a:lnTo>
                  <a:lnTo>
                    <a:pt x="963" y="1988"/>
                  </a:lnTo>
                  <a:lnTo>
                    <a:pt x="1068" y="1820"/>
                  </a:lnTo>
                  <a:lnTo>
                    <a:pt x="1173" y="1590"/>
                  </a:lnTo>
                  <a:lnTo>
                    <a:pt x="1173" y="1486"/>
                  </a:lnTo>
                  <a:lnTo>
                    <a:pt x="1340" y="1297"/>
                  </a:lnTo>
                  <a:lnTo>
                    <a:pt x="1466" y="1130"/>
                  </a:lnTo>
                  <a:lnTo>
                    <a:pt x="1528" y="1046"/>
                  </a:lnTo>
                  <a:lnTo>
                    <a:pt x="1633" y="921"/>
                  </a:lnTo>
                  <a:lnTo>
                    <a:pt x="1591" y="774"/>
                  </a:lnTo>
                  <a:lnTo>
                    <a:pt x="1487" y="649"/>
                  </a:lnTo>
                  <a:lnTo>
                    <a:pt x="1466" y="711"/>
                  </a:lnTo>
                  <a:lnTo>
                    <a:pt x="1382" y="649"/>
                  </a:lnTo>
                  <a:lnTo>
                    <a:pt x="1361" y="544"/>
                  </a:lnTo>
                  <a:lnTo>
                    <a:pt x="1173" y="335"/>
                  </a:lnTo>
                  <a:lnTo>
                    <a:pt x="1131" y="335"/>
                  </a:lnTo>
                  <a:lnTo>
                    <a:pt x="963" y="209"/>
                  </a:lnTo>
                  <a:lnTo>
                    <a:pt x="650" y="105"/>
                  </a:lnTo>
                  <a:lnTo>
                    <a:pt x="524" y="21"/>
                  </a:lnTo>
                  <a:lnTo>
                    <a:pt x="33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 name="Google Shape;5897;p93">
              <a:extLst>
                <a:ext uri="{FF2B5EF4-FFF2-40B4-BE49-F238E27FC236}">
                  <a16:creationId xmlns:a16="http://schemas.microsoft.com/office/drawing/2014/main" id="{EEDD9631-D3CD-4E4D-93F0-EB0780CFAFE1}"/>
                </a:ext>
              </a:extLst>
            </p:cNvPr>
            <p:cNvSpPr/>
            <p:nvPr/>
          </p:nvSpPr>
          <p:spPr>
            <a:xfrm>
              <a:off x="3354434" y="3105122"/>
              <a:ext cx="27661" cy="28807"/>
            </a:xfrm>
            <a:custGeom>
              <a:avLst/>
              <a:gdLst/>
              <a:ahLst/>
              <a:cxnLst/>
              <a:rect l="l" t="t" r="r" b="b"/>
              <a:pathLst>
                <a:path w="2323" h="2533" extrusionOk="0">
                  <a:moveTo>
                    <a:pt x="1632" y="1"/>
                  </a:moveTo>
                  <a:lnTo>
                    <a:pt x="1528" y="43"/>
                  </a:lnTo>
                  <a:lnTo>
                    <a:pt x="1339" y="22"/>
                  </a:lnTo>
                  <a:lnTo>
                    <a:pt x="1151" y="64"/>
                  </a:lnTo>
                  <a:lnTo>
                    <a:pt x="963" y="22"/>
                  </a:lnTo>
                  <a:lnTo>
                    <a:pt x="691" y="22"/>
                  </a:lnTo>
                  <a:lnTo>
                    <a:pt x="544" y="64"/>
                  </a:lnTo>
                  <a:lnTo>
                    <a:pt x="544" y="210"/>
                  </a:lnTo>
                  <a:lnTo>
                    <a:pt x="482" y="336"/>
                  </a:lnTo>
                  <a:lnTo>
                    <a:pt x="523" y="419"/>
                  </a:lnTo>
                  <a:lnTo>
                    <a:pt x="440" y="524"/>
                  </a:lnTo>
                  <a:lnTo>
                    <a:pt x="335" y="566"/>
                  </a:lnTo>
                  <a:lnTo>
                    <a:pt x="168" y="566"/>
                  </a:lnTo>
                  <a:lnTo>
                    <a:pt x="105" y="691"/>
                  </a:lnTo>
                  <a:lnTo>
                    <a:pt x="105" y="838"/>
                  </a:lnTo>
                  <a:lnTo>
                    <a:pt x="0" y="1068"/>
                  </a:lnTo>
                  <a:lnTo>
                    <a:pt x="21" y="1152"/>
                  </a:lnTo>
                  <a:lnTo>
                    <a:pt x="126" y="1194"/>
                  </a:lnTo>
                  <a:lnTo>
                    <a:pt x="168" y="1277"/>
                  </a:lnTo>
                  <a:lnTo>
                    <a:pt x="210" y="1319"/>
                  </a:lnTo>
                  <a:lnTo>
                    <a:pt x="272" y="1424"/>
                  </a:lnTo>
                  <a:lnTo>
                    <a:pt x="272" y="1507"/>
                  </a:lnTo>
                  <a:lnTo>
                    <a:pt x="335" y="1570"/>
                  </a:lnTo>
                  <a:lnTo>
                    <a:pt x="419" y="1570"/>
                  </a:lnTo>
                  <a:lnTo>
                    <a:pt x="461" y="1591"/>
                  </a:lnTo>
                  <a:lnTo>
                    <a:pt x="482" y="1696"/>
                  </a:lnTo>
                  <a:lnTo>
                    <a:pt x="523" y="1842"/>
                  </a:lnTo>
                  <a:lnTo>
                    <a:pt x="523" y="1989"/>
                  </a:lnTo>
                  <a:lnTo>
                    <a:pt x="586" y="2010"/>
                  </a:lnTo>
                  <a:lnTo>
                    <a:pt x="670" y="2135"/>
                  </a:lnTo>
                  <a:lnTo>
                    <a:pt x="691" y="2219"/>
                  </a:lnTo>
                  <a:lnTo>
                    <a:pt x="795" y="2261"/>
                  </a:lnTo>
                  <a:lnTo>
                    <a:pt x="795" y="2323"/>
                  </a:lnTo>
                  <a:lnTo>
                    <a:pt x="858" y="2407"/>
                  </a:lnTo>
                  <a:lnTo>
                    <a:pt x="942" y="2449"/>
                  </a:lnTo>
                  <a:lnTo>
                    <a:pt x="984" y="2449"/>
                  </a:lnTo>
                  <a:lnTo>
                    <a:pt x="1005" y="2470"/>
                  </a:lnTo>
                  <a:lnTo>
                    <a:pt x="1172" y="2533"/>
                  </a:lnTo>
                  <a:lnTo>
                    <a:pt x="1256" y="2533"/>
                  </a:lnTo>
                  <a:lnTo>
                    <a:pt x="1277" y="2470"/>
                  </a:lnTo>
                  <a:lnTo>
                    <a:pt x="1214" y="2344"/>
                  </a:lnTo>
                  <a:lnTo>
                    <a:pt x="1193" y="2303"/>
                  </a:lnTo>
                  <a:lnTo>
                    <a:pt x="1088" y="2198"/>
                  </a:lnTo>
                  <a:lnTo>
                    <a:pt x="1109" y="2093"/>
                  </a:lnTo>
                  <a:lnTo>
                    <a:pt x="1214" y="2010"/>
                  </a:lnTo>
                  <a:lnTo>
                    <a:pt x="1339" y="2031"/>
                  </a:lnTo>
                  <a:lnTo>
                    <a:pt x="1591" y="2031"/>
                  </a:lnTo>
                  <a:lnTo>
                    <a:pt x="1695" y="1989"/>
                  </a:lnTo>
                  <a:lnTo>
                    <a:pt x="1842" y="1989"/>
                  </a:lnTo>
                  <a:lnTo>
                    <a:pt x="1946" y="2093"/>
                  </a:lnTo>
                  <a:lnTo>
                    <a:pt x="2030" y="2114"/>
                  </a:lnTo>
                  <a:lnTo>
                    <a:pt x="2093" y="2114"/>
                  </a:lnTo>
                  <a:lnTo>
                    <a:pt x="2218" y="2010"/>
                  </a:lnTo>
                  <a:lnTo>
                    <a:pt x="2260" y="1884"/>
                  </a:lnTo>
                  <a:lnTo>
                    <a:pt x="2218" y="1821"/>
                  </a:lnTo>
                  <a:lnTo>
                    <a:pt x="2218" y="1675"/>
                  </a:lnTo>
                  <a:lnTo>
                    <a:pt x="2302" y="1591"/>
                  </a:lnTo>
                  <a:lnTo>
                    <a:pt x="2323" y="1487"/>
                  </a:lnTo>
                  <a:lnTo>
                    <a:pt x="2302" y="1424"/>
                  </a:lnTo>
                  <a:lnTo>
                    <a:pt x="2260" y="1298"/>
                  </a:lnTo>
                  <a:lnTo>
                    <a:pt x="2218" y="1194"/>
                  </a:lnTo>
                  <a:lnTo>
                    <a:pt x="2155" y="1110"/>
                  </a:lnTo>
                  <a:lnTo>
                    <a:pt x="2051" y="1047"/>
                  </a:lnTo>
                  <a:lnTo>
                    <a:pt x="2051" y="963"/>
                  </a:lnTo>
                  <a:lnTo>
                    <a:pt x="2093" y="838"/>
                  </a:lnTo>
                  <a:lnTo>
                    <a:pt x="2030" y="691"/>
                  </a:lnTo>
                  <a:lnTo>
                    <a:pt x="2030" y="545"/>
                  </a:lnTo>
                  <a:lnTo>
                    <a:pt x="2114" y="440"/>
                  </a:lnTo>
                  <a:lnTo>
                    <a:pt x="2155" y="378"/>
                  </a:lnTo>
                  <a:lnTo>
                    <a:pt x="2260" y="231"/>
                  </a:lnTo>
                  <a:lnTo>
                    <a:pt x="2260" y="147"/>
                  </a:lnTo>
                  <a:lnTo>
                    <a:pt x="2135" y="106"/>
                  </a:lnTo>
                  <a:lnTo>
                    <a:pt x="1946" y="64"/>
                  </a:lnTo>
                  <a:lnTo>
                    <a:pt x="171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 name="Google Shape;5898;p93">
              <a:extLst>
                <a:ext uri="{FF2B5EF4-FFF2-40B4-BE49-F238E27FC236}">
                  <a16:creationId xmlns:a16="http://schemas.microsoft.com/office/drawing/2014/main" id="{8F1ABA6C-FB3A-45D9-AE94-CA93419DA3B0}"/>
                </a:ext>
              </a:extLst>
            </p:cNvPr>
            <p:cNvSpPr/>
            <p:nvPr/>
          </p:nvSpPr>
          <p:spPr>
            <a:xfrm>
              <a:off x="3331012" y="3088711"/>
              <a:ext cx="34639" cy="49743"/>
            </a:xfrm>
            <a:custGeom>
              <a:avLst/>
              <a:gdLst/>
              <a:ahLst/>
              <a:cxnLst/>
              <a:rect l="l" t="t" r="r" b="b"/>
              <a:pathLst>
                <a:path w="2909" h="4374" extrusionOk="0">
                  <a:moveTo>
                    <a:pt x="879" y="0"/>
                  </a:moveTo>
                  <a:lnTo>
                    <a:pt x="858" y="84"/>
                  </a:lnTo>
                  <a:lnTo>
                    <a:pt x="712" y="251"/>
                  </a:lnTo>
                  <a:lnTo>
                    <a:pt x="565" y="356"/>
                  </a:lnTo>
                  <a:lnTo>
                    <a:pt x="503" y="335"/>
                  </a:lnTo>
                  <a:lnTo>
                    <a:pt x="335" y="544"/>
                  </a:lnTo>
                  <a:lnTo>
                    <a:pt x="356" y="628"/>
                  </a:lnTo>
                  <a:lnTo>
                    <a:pt x="419" y="733"/>
                  </a:lnTo>
                  <a:lnTo>
                    <a:pt x="565" y="753"/>
                  </a:lnTo>
                  <a:lnTo>
                    <a:pt x="649" y="837"/>
                  </a:lnTo>
                  <a:lnTo>
                    <a:pt x="649" y="963"/>
                  </a:lnTo>
                  <a:lnTo>
                    <a:pt x="461" y="1046"/>
                  </a:lnTo>
                  <a:lnTo>
                    <a:pt x="398" y="1025"/>
                  </a:lnTo>
                  <a:lnTo>
                    <a:pt x="293" y="1046"/>
                  </a:lnTo>
                  <a:lnTo>
                    <a:pt x="210" y="1025"/>
                  </a:lnTo>
                  <a:lnTo>
                    <a:pt x="126" y="1088"/>
                  </a:lnTo>
                  <a:lnTo>
                    <a:pt x="105" y="1277"/>
                  </a:lnTo>
                  <a:lnTo>
                    <a:pt x="1" y="1381"/>
                  </a:lnTo>
                  <a:lnTo>
                    <a:pt x="42" y="1507"/>
                  </a:lnTo>
                  <a:lnTo>
                    <a:pt x="189" y="1716"/>
                  </a:lnTo>
                  <a:lnTo>
                    <a:pt x="419" y="1904"/>
                  </a:lnTo>
                  <a:lnTo>
                    <a:pt x="419" y="1925"/>
                  </a:lnTo>
                  <a:lnTo>
                    <a:pt x="461" y="1925"/>
                  </a:lnTo>
                  <a:lnTo>
                    <a:pt x="524" y="1988"/>
                  </a:lnTo>
                  <a:lnTo>
                    <a:pt x="565" y="1925"/>
                  </a:lnTo>
                  <a:lnTo>
                    <a:pt x="712" y="1967"/>
                  </a:lnTo>
                  <a:lnTo>
                    <a:pt x="817" y="2072"/>
                  </a:lnTo>
                  <a:lnTo>
                    <a:pt x="817" y="2218"/>
                  </a:lnTo>
                  <a:lnTo>
                    <a:pt x="733" y="2344"/>
                  </a:lnTo>
                  <a:lnTo>
                    <a:pt x="670" y="2406"/>
                  </a:lnTo>
                  <a:lnTo>
                    <a:pt x="775" y="2448"/>
                  </a:lnTo>
                  <a:lnTo>
                    <a:pt x="879" y="2448"/>
                  </a:lnTo>
                  <a:lnTo>
                    <a:pt x="942" y="2532"/>
                  </a:lnTo>
                  <a:lnTo>
                    <a:pt x="984" y="2616"/>
                  </a:lnTo>
                  <a:lnTo>
                    <a:pt x="1089" y="2616"/>
                  </a:lnTo>
                  <a:lnTo>
                    <a:pt x="1089" y="2657"/>
                  </a:lnTo>
                  <a:lnTo>
                    <a:pt x="984" y="2804"/>
                  </a:lnTo>
                  <a:lnTo>
                    <a:pt x="963" y="2950"/>
                  </a:lnTo>
                  <a:lnTo>
                    <a:pt x="837" y="3160"/>
                  </a:lnTo>
                  <a:lnTo>
                    <a:pt x="858" y="3264"/>
                  </a:lnTo>
                  <a:lnTo>
                    <a:pt x="817" y="3369"/>
                  </a:lnTo>
                  <a:lnTo>
                    <a:pt x="817" y="3474"/>
                  </a:lnTo>
                  <a:lnTo>
                    <a:pt x="837" y="3536"/>
                  </a:lnTo>
                  <a:lnTo>
                    <a:pt x="817" y="3599"/>
                  </a:lnTo>
                  <a:lnTo>
                    <a:pt x="817" y="3704"/>
                  </a:lnTo>
                  <a:lnTo>
                    <a:pt x="921" y="3808"/>
                  </a:lnTo>
                  <a:lnTo>
                    <a:pt x="1047" y="3955"/>
                  </a:lnTo>
                  <a:lnTo>
                    <a:pt x="1047" y="4018"/>
                  </a:lnTo>
                  <a:lnTo>
                    <a:pt x="1130" y="4122"/>
                  </a:lnTo>
                  <a:lnTo>
                    <a:pt x="1361" y="4331"/>
                  </a:lnTo>
                  <a:lnTo>
                    <a:pt x="1444" y="4373"/>
                  </a:lnTo>
                  <a:lnTo>
                    <a:pt x="1507" y="4290"/>
                  </a:lnTo>
                  <a:lnTo>
                    <a:pt x="1591" y="4269"/>
                  </a:lnTo>
                  <a:lnTo>
                    <a:pt x="1612" y="4290"/>
                  </a:lnTo>
                  <a:lnTo>
                    <a:pt x="1758" y="4290"/>
                  </a:lnTo>
                  <a:lnTo>
                    <a:pt x="1821" y="4185"/>
                  </a:lnTo>
                  <a:lnTo>
                    <a:pt x="1863" y="4122"/>
                  </a:lnTo>
                  <a:lnTo>
                    <a:pt x="1967" y="4101"/>
                  </a:lnTo>
                  <a:lnTo>
                    <a:pt x="2198" y="4101"/>
                  </a:lnTo>
                  <a:lnTo>
                    <a:pt x="2260" y="3913"/>
                  </a:lnTo>
                  <a:lnTo>
                    <a:pt x="2386" y="3871"/>
                  </a:lnTo>
                  <a:lnTo>
                    <a:pt x="2553" y="3871"/>
                  </a:lnTo>
                  <a:lnTo>
                    <a:pt x="2616" y="3913"/>
                  </a:lnTo>
                  <a:lnTo>
                    <a:pt x="2721" y="3892"/>
                  </a:lnTo>
                  <a:lnTo>
                    <a:pt x="2909" y="3892"/>
                  </a:lnTo>
                  <a:lnTo>
                    <a:pt x="2825" y="3850"/>
                  </a:lnTo>
                  <a:lnTo>
                    <a:pt x="2762" y="3766"/>
                  </a:lnTo>
                  <a:lnTo>
                    <a:pt x="2762" y="3704"/>
                  </a:lnTo>
                  <a:lnTo>
                    <a:pt x="2658" y="3662"/>
                  </a:lnTo>
                  <a:lnTo>
                    <a:pt x="2637" y="3578"/>
                  </a:lnTo>
                  <a:lnTo>
                    <a:pt x="2553" y="3453"/>
                  </a:lnTo>
                  <a:lnTo>
                    <a:pt x="2490" y="3432"/>
                  </a:lnTo>
                  <a:lnTo>
                    <a:pt x="2490" y="3285"/>
                  </a:lnTo>
                  <a:lnTo>
                    <a:pt x="2449" y="3139"/>
                  </a:lnTo>
                  <a:lnTo>
                    <a:pt x="2428" y="3034"/>
                  </a:lnTo>
                  <a:lnTo>
                    <a:pt x="2386" y="3013"/>
                  </a:lnTo>
                  <a:lnTo>
                    <a:pt x="2302" y="3013"/>
                  </a:lnTo>
                  <a:lnTo>
                    <a:pt x="2239" y="2950"/>
                  </a:lnTo>
                  <a:lnTo>
                    <a:pt x="2239" y="2867"/>
                  </a:lnTo>
                  <a:lnTo>
                    <a:pt x="2177" y="2762"/>
                  </a:lnTo>
                  <a:lnTo>
                    <a:pt x="2135" y="2720"/>
                  </a:lnTo>
                  <a:lnTo>
                    <a:pt x="2093" y="2637"/>
                  </a:lnTo>
                  <a:lnTo>
                    <a:pt x="1988" y="2595"/>
                  </a:lnTo>
                  <a:lnTo>
                    <a:pt x="1967" y="2511"/>
                  </a:lnTo>
                  <a:lnTo>
                    <a:pt x="2072" y="2281"/>
                  </a:lnTo>
                  <a:lnTo>
                    <a:pt x="2072" y="2134"/>
                  </a:lnTo>
                  <a:lnTo>
                    <a:pt x="2135" y="2009"/>
                  </a:lnTo>
                  <a:lnTo>
                    <a:pt x="2302" y="2009"/>
                  </a:lnTo>
                  <a:lnTo>
                    <a:pt x="2407" y="1967"/>
                  </a:lnTo>
                  <a:lnTo>
                    <a:pt x="2490" y="1862"/>
                  </a:lnTo>
                  <a:lnTo>
                    <a:pt x="2449" y="1779"/>
                  </a:lnTo>
                  <a:lnTo>
                    <a:pt x="2511" y="1653"/>
                  </a:lnTo>
                  <a:lnTo>
                    <a:pt x="2449" y="1549"/>
                  </a:lnTo>
                  <a:lnTo>
                    <a:pt x="2449" y="1381"/>
                  </a:lnTo>
                  <a:lnTo>
                    <a:pt x="2428" y="1297"/>
                  </a:lnTo>
                  <a:lnTo>
                    <a:pt x="2218" y="1256"/>
                  </a:lnTo>
                  <a:lnTo>
                    <a:pt x="2009" y="1046"/>
                  </a:lnTo>
                  <a:lnTo>
                    <a:pt x="1905" y="963"/>
                  </a:lnTo>
                  <a:lnTo>
                    <a:pt x="1863" y="984"/>
                  </a:lnTo>
                  <a:lnTo>
                    <a:pt x="1716" y="1046"/>
                  </a:lnTo>
                  <a:lnTo>
                    <a:pt x="1653" y="1130"/>
                  </a:lnTo>
                  <a:lnTo>
                    <a:pt x="1612" y="1235"/>
                  </a:lnTo>
                  <a:lnTo>
                    <a:pt x="1591" y="1088"/>
                  </a:lnTo>
                  <a:lnTo>
                    <a:pt x="1612" y="921"/>
                  </a:lnTo>
                  <a:lnTo>
                    <a:pt x="1674" y="816"/>
                  </a:lnTo>
                  <a:lnTo>
                    <a:pt x="1612" y="628"/>
                  </a:lnTo>
                  <a:lnTo>
                    <a:pt x="1507" y="565"/>
                  </a:lnTo>
                  <a:lnTo>
                    <a:pt x="1298" y="419"/>
                  </a:lnTo>
                  <a:lnTo>
                    <a:pt x="1151" y="251"/>
                  </a:lnTo>
                  <a:lnTo>
                    <a:pt x="1130" y="147"/>
                  </a:lnTo>
                  <a:lnTo>
                    <a:pt x="1026" y="42"/>
                  </a:lnTo>
                  <a:lnTo>
                    <a:pt x="921" y="21"/>
                  </a:lnTo>
                  <a:lnTo>
                    <a:pt x="87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 name="Google Shape;5899;p93">
              <a:extLst>
                <a:ext uri="{FF2B5EF4-FFF2-40B4-BE49-F238E27FC236}">
                  <a16:creationId xmlns:a16="http://schemas.microsoft.com/office/drawing/2014/main" id="{A61B1995-27E3-4C06-B2DA-0FF60A9FD059}"/>
                </a:ext>
              </a:extLst>
            </p:cNvPr>
            <p:cNvSpPr/>
            <p:nvPr/>
          </p:nvSpPr>
          <p:spPr>
            <a:xfrm>
              <a:off x="3250041" y="3063487"/>
              <a:ext cx="91450" cy="78538"/>
            </a:xfrm>
            <a:custGeom>
              <a:avLst/>
              <a:gdLst/>
              <a:ahLst/>
              <a:cxnLst/>
              <a:rect l="l" t="t" r="r" b="b"/>
              <a:pathLst>
                <a:path w="7680" h="6906" extrusionOk="0">
                  <a:moveTo>
                    <a:pt x="1988" y="0"/>
                  </a:moveTo>
                  <a:lnTo>
                    <a:pt x="1821" y="63"/>
                  </a:lnTo>
                  <a:lnTo>
                    <a:pt x="1674" y="251"/>
                  </a:lnTo>
                  <a:lnTo>
                    <a:pt x="1695" y="377"/>
                  </a:lnTo>
                  <a:lnTo>
                    <a:pt x="1758" y="440"/>
                  </a:lnTo>
                  <a:lnTo>
                    <a:pt x="1863" y="356"/>
                  </a:lnTo>
                  <a:lnTo>
                    <a:pt x="1967" y="377"/>
                  </a:lnTo>
                  <a:lnTo>
                    <a:pt x="2072" y="461"/>
                  </a:lnTo>
                  <a:lnTo>
                    <a:pt x="2030" y="544"/>
                  </a:lnTo>
                  <a:lnTo>
                    <a:pt x="1925" y="565"/>
                  </a:lnTo>
                  <a:lnTo>
                    <a:pt x="1821" y="523"/>
                  </a:lnTo>
                  <a:lnTo>
                    <a:pt x="1779" y="482"/>
                  </a:lnTo>
                  <a:lnTo>
                    <a:pt x="1758" y="523"/>
                  </a:lnTo>
                  <a:lnTo>
                    <a:pt x="1758" y="565"/>
                  </a:lnTo>
                  <a:lnTo>
                    <a:pt x="1611" y="649"/>
                  </a:lnTo>
                  <a:lnTo>
                    <a:pt x="1360" y="670"/>
                  </a:lnTo>
                  <a:lnTo>
                    <a:pt x="1088" y="774"/>
                  </a:lnTo>
                  <a:lnTo>
                    <a:pt x="1026" y="879"/>
                  </a:lnTo>
                  <a:lnTo>
                    <a:pt x="1026" y="984"/>
                  </a:lnTo>
                  <a:lnTo>
                    <a:pt x="1088" y="1088"/>
                  </a:lnTo>
                  <a:lnTo>
                    <a:pt x="1088" y="1318"/>
                  </a:lnTo>
                  <a:lnTo>
                    <a:pt x="1130" y="1486"/>
                  </a:lnTo>
                  <a:lnTo>
                    <a:pt x="1151" y="1611"/>
                  </a:lnTo>
                  <a:lnTo>
                    <a:pt x="1067" y="1800"/>
                  </a:lnTo>
                  <a:lnTo>
                    <a:pt x="879" y="1925"/>
                  </a:lnTo>
                  <a:lnTo>
                    <a:pt x="775" y="1904"/>
                  </a:lnTo>
                  <a:lnTo>
                    <a:pt x="775" y="1737"/>
                  </a:lnTo>
                  <a:lnTo>
                    <a:pt x="649" y="1611"/>
                  </a:lnTo>
                  <a:lnTo>
                    <a:pt x="628" y="1486"/>
                  </a:lnTo>
                  <a:lnTo>
                    <a:pt x="733" y="1402"/>
                  </a:lnTo>
                  <a:lnTo>
                    <a:pt x="754" y="1318"/>
                  </a:lnTo>
                  <a:lnTo>
                    <a:pt x="963" y="1109"/>
                  </a:lnTo>
                  <a:lnTo>
                    <a:pt x="963" y="942"/>
                  </a:lnTo>
                  <a:lnTo>
                    <a:pt x="879" y="795"/>
                  </a:lnTo>
                  <a:lnTo>
                    <a:pt x="921" y="754"/>
                  </a:lnTo>
                  <a:lnTo>
                    <a:pt x="879" y="670"/>
                  </a:lnTo>
                  <a:lnTo>
                    <a:pt x="816" y="628"/>
                  </a:lnTo>
                  <a:lnTo>
                    <a:pt x="754" y="523"/>
                  </a:lnTo>
                  <a:lnTo>
                    <a:pt x="775" y="440"/>
                  </a:lnTo>
                  <a:lnTo>
                    <a:pt x="921" y="377"/>
                  </a:lnTo>
                  <a:lnTo>
                    <a:pt x="1067" y="356"/>
                  </a:lnTo>
                  <a:lnTo>
                    <a:pt x="1172" y="210"/>
                  </a:lnTo>
                  <a:lnTo>
                    <a:pt x="1130" y="210"/>
                  </a:lnTo>
                  <a:lnTo>
                    <a:pt x="1088" y="230"/>
                  </a:lnTo>
                  <a:lnTo>
                    <a:pt x="775" y="356"/>
                  </a:lnTo>
                  <a:lnTo>
                    <a:pt x="628" y="628"/>
                  </a:lnTo>
                  <a:lnTo>
                    <a:pt x="565" y="670"/>
                  </a:lnTo>
                  <a:lnTo>
                    <a:pt x="461" y="691"/>
                  </a:lnTo>
                  <a:lnTo>
                    <a:pt x="356" y="837"/>
                  </a:lnTo>
                  <a:lnTo>
                    <a:pt x="293" y="900"/>
                  </a:lnTo>
                  <a:lnTo>
                    <a:pt x="105" y="1172"/>
                  </a:lnTo>
                  <a:lnTo>
                    <a:pt x="84" y="1298"/>
                  </a:lnTo>
                  <a:lnTo>
                    <a:pt x="105" y="1402"/>
                  </a:lnTo>
                  <a:lnTo>
                    <a:pt x="84" y="1590"/>
                  </a:lnTo>
                  <a:lnTo>
                    <a:pt x="0" y="1779"/>
                  </a:lnTo>
                  <a:lnTo>
                    <a:pt x="0" y="1821"/>
                  </a:lnTo>
                  <a:lnTo>
                    <a:pt x="147" y="1821"/>
                  </a:lnTo>
                  <a:lnTo>
                    <a:pt x="398" y="2239"/>
                  </a:lnTo>
                  <a:lnTo>
                    <a:pt x="503" y="2407"/>
                  </a:lnTo>
                  <a:lnTo>
                    <a:pt x="523" y="2511"/>
                  </a:lnTo>
                  <a:lnTo>
                    <a:pt x="461" y="2637"/>
                  </a:lnTo>
                  <a:lnTo>
                    <a:pt x="461" y="2720"/>
                  </a:lnTo>
                  <a:lnTo>
                    <a:pt x="440" y="2762"/>
                  </a:lnTo>
                  <a:lnTo>
                    <a:pt x="440" y="2867"/>
                  </a:lnTo>
                  <a:lnTo>
                    <a:pt x="565" y="2971"/>
                  </a:lnTo>
                  <a:lnTo>
                    <a:pt x="733" y="3034"/>
                  </a:lnTo>
                  <a:lnTo>
                    <a:pt x="837" y="3055"/>
                  </a:lnTo>
                  <a:lnTo>
                    <a:pt x="963" y="3097"/>
                  </a:lnTo>
                  <a:lnTo>
                    <a:pt x="1047" y="3055"/>
                  </a:lnTo>
                  <a:lnTo>
                    <a:pt x="1193" y="3055"/>
                  </a:lnTo>
                  <a:lnTo>
                    <a:pt x="1339" y="3097"/>
                  </a:lnTo>
                  <a:lnTo>
                    <a:pt x="1381" y="3076"/>
                  </a:lnTo>
                  <a:lnTo>
                    <a:pt x="1549" y="3055"/>
                  </a:lnTo>
                  <a:lnTo>
                    <a:pt x="1716" y="3076"/>
                  </a:lnTo>
                  <a:lnTo>
                    <a:pt x="1821" y="3139"/>
                  </a:lnTo>
                  <a:lnTo>
                    <a:pt x="2281" y="3557"/>
                  </a:lnTo>
                  <a:lnTo>
                    <a:pt x="2427" y="3515"/>
                  </a:lnTo>
                  <a:lnTo>
                    <a:pt x="2448" y="3557"/>
                  </a:lnTo>
                  <a:lnTo>
                    <a:pt x="2511" y="3515"/>
                  </a:lnTo>
                  <a:lnTo>
                    <a:pt x="2637" y="3578"/>
                  </a:lnTo>
                  <a:lnTo>
                    <a:pt x="2699" y="3599"/>
                  </a:lnTo>
                  <a:lnTo>
                    <a:pt x="2825" y="3557"/>
                  </a:lnTo>
                  <a:lnTo>
                    <a:pt x="2930" y="3557"/>
                  </a:lnTo>
                  <a:lnTo>
                    <a:pt x="3076" y="3578"/>
                  </a:lnTo>
                  <a:lnTo>
                    <a:pt x="3118" y="3515"/>
                  </a:lnTo>
                  <a:lnTo>
                    <a:pt x="3223" y="3515"/>
                  </a:lnTo>
                  <a:lnTo>
                    <a:pt x="3285" y="3578"/>
                  </a:lnTo>
                  <a:lnTo>
                    <a:pt x="3348" y="3808"/>
                  </a:lnTo>
                  <a:lnTo>
                    <a:pt x="3285" y="3892"/>
                  </a:lnTo>
                  <a:lnTo>
                    <a:pt x="3285" y="3997"/>
                  </a:lnTo>
                  <a:lnTo>
                    <a:pt x="3264" y="4080"/>
                  </a:lnTo>
                  <a:lnTo>
                    <a:pt x="3118" y="4101"/>
                  </a:lnTo>
                  <a:lnTo>
                    <a:pt x="3055" y="4185"/>
                  </a:lnTo>
                  <a:lnTo>
                    <a:pt x="3076" y="4394"/>
                  </a:lnTo>
                  <a:lnTo>
                    <a:pt x="3118" y="4457"/>
                  </a:lnTo>
                  <a:lnTo>
                    <a:pt x="3055" y="4624"/>
                  </a:lnTo>
                  <a:lnTo>
                    <a:pt x="3055" y="4813"/>
                  </a:lnTo>
                  <a:lnTo>
                    <a:pt x="3139" y="4875"/>
                  </a:lnTo>
                  <a:lnTo>
                    <a:pt x="3139" y="4959"/>
                  </a:lnTo>
                  <a:lnTo>
                    <a:pt x="3244" y="5252"/>
                  </a:lnTo>
                  <a:lnTo>
                    <a:pt x="3055" y="5587"/>
                  </a:lnTo>
                  <a:lnTo>
                    <a:pt x="3076" y="5692"/>
                  </a:lnTo>
                  <a:lnTo>
                    <a:pt x="3139" y="5692"/>
                  </a:lnTo>
                  <a:lnTo>
                    <a:pt x="3223" y="5671"/>
                  </a:lnTo>
                  <a:lnTo>
                    <a:pt x="3223" y="5692"/>
                  </a:lnTo>
                  <a:lnTo>
                    <a:pt x="3244" y="5775"/>
                  </a:lnTo>
                  <a:lnTo>
                    <a:pt x="3327" y="5817"/>
                  </a:lnTo>
                  <a:lnTo>
                    <a:pt x="3369" y="5922"/>
                  </a:lnTo>
                  <a:lnTo>
                    <a:pt x="3348" y="5984"/>
                  </a:lnTo>
                  <a:lnTo>
                    <a:pt x="3390" y="6131"/>
                  </a:lnTo>
                  <a:lnTo>
                    <a:pt x="3536" y="6424"/>
                  </a:lnTo>
                  <a:lnTo>
                    <a:pt x="3536" y="6528"/>
                  </a:lnTo>
                  <a:lnTo>
                    <a:pt x="3746" y="6696"/>
                  </a:lnTo>
                  <a:lnTo>
                    <a:pt x="3976" y="6863"/>
                  </a:lnTo>
                  <a:lnTo>
                    <a:pt x="4101" y="6905"/>
                  </a:lnTo>
                  <a:lnTo>
                    <a:pt x="4332" y="6863"/>
                  </a:lnTo>
                  <a:lnTo>
                    <a:pt x="4478" y="6717"/>
                  </a:lnTo>
                  <a:lnTo>
                    <a:pt x="4687" y="6591"/>
                  </a:lnTo>
                  <a:lnTo>
                    <a:pt x="4750" y="6487"/>
                  </a:lnTo>
                  <a:lnTo>
                    <a:pt x="5064" y="6319"/>
                  </a:lnTo>
                  <a:lnTo>
                    <a:pt x="5127" y="6173"/>
                  </a:lnTo>
                  <a:lnTo>
                    <a:pt x="5168" y="6110"/>
                  </a:lnTo>
                  <a:lnTo>
                    <a:pt x="5210" y="6068"/>
                  </a:lnTo>
                  <a:lnTo>
                    <a:pt x="5482" y="6005"/>
                  </a:lnTo>
                  <a:lnTo>
                    <a:pt x="5629" y="5964"/>
                  </a:lnTo>
                  <a:lnTo>
                    <a:pt x="5587" y="5817"/>
                  </a:lnTo>
                  <a:lnTo>
                    <a:pt x="5440" y="5796"/>
                  </a:lnTo>
                  <a:lnTo>
                    <a:pt x="5252" y="5817"/>
                  </a:lnTo>
                  <a:lnTo>
                    <a:pt x="4959" y="5712"/>
                  </a:lnTo>
                  <a:lnTo>
                    <a:pt x="5022" y="5545"/>
                  </a:lnTo>
                  <a:lnTo>
                    <a:pt x="5001" y="5482"/>
                  </a:lnTo>
                  <a:lnTo>
                    <a:pt x="4938" y="5440"/>
                  </a:lnTo>
                  <a:lnTo>
                    <a:pt x="5127" y="5168"/>
                  </a:lnTo>
                  <a:lnTo>
                    <a:pt x="5064" y="5064"/>
                  </a:lnTo>
                  <a:lnTo>
                    <a:pt x="4938" y="4938"/>
                  </a:lnTo>
                  <a:lnTo>
                    <a:pt x="4834" y="4917"/>
                  </a:lnTo>
                  <a:lnTo>
                    <a:pt x="4750" y="4750"/>
                  </a:lnTo>
                  <a:lnTo>
                    <a:pt x="4917" y="4813"/>
                  </a:lnTo>
                  <a:lnTo>
                    <a:pt x="5106" y="4834"/>
                  </a:lnTo>
                  <a:lnTo>
                    <a:pt x="5273" y="4938"/>
                  </a:lnTo>
                  <a:lnTo>
                    <a:pt x="5461" y="4938"/>
                  </a:lnTo>
                  <a:lnTo>
                    <a:pt x="5733" y="4875"/>
                  </a:lnTo>
                  <a:lnTo>
                    <a:pt x="5796" y="4938"/>
                  </a:lnTo>
                  <a:lnTo>
                    <a:pt x="5985" y="4875"/>
                  </a:lnTo>
                  <a:lnTo>
                    <a:pt x="6173" y="4708"/>
                  </a:lnTo>
                  <a:lnTo>
                    <a:pt x="6319" y="4708"/>
                  </a:lnTo>
                  <a:lnTo>
                    <a:pt x="6424" y="4729"/>
                  </a:lnTo>
                  <a:lnTo>
                    <a:pt x="6675" y="4624"/>
                  </a:lnTo>
                  <a:lnTo>
                    <a:pt x="6884" y="4624"/>
                  </a:lnTo>
                  <a:lnTo>
                    <a:pt x="7156" y="4394"/>
                  </a:lnTo>
                  <a:lnTo>
                    <a:pt x="7219" y="4248"/>
                  </a:lnTo>
                  <a:lnTo>
                    <a:pt x="7219" y="4143"/>
                  </a:lnTo>
                  <a:lnTo>
                    <a:pt x="7219" y="4122"/>
                  </a:lnTo>
                  <a:lnTo>
                    <a:pt x="6989" y="3934"/>
                  </a:lnTo>
                  <a:lnTo>
                    <a:pt x="6842" y="3725"/>
                  </a:lnTo>
                  <a:lnTo>
                    <a:pt x="6801" y="3599"/>
                  </a:lnTo>
                  <a:lnTo>
                    <a:pt x="6905" y="3495"/>
                  </a:lnTo>
                  <a:lnTo>
                    <a:pt x="6926" y="3306"/>
                  </a:lnTo>
                  <a:lnTo>
                    <a:pt x="7010" y="3243"/>
                  </a:lnTo>
                  <a:lnTo>
                    <a:pt x="7093" y="3264"/>
                  </a:lnTo>
                  <a:lnTo>
                    <a:pt x="7198" y="3243"/>
                  </a:lnTo>
                  <a:lnTo>
                    <a:pt x="7261" y="3264"/>
                  </a:lnTo>
                  <a:lnTo>
                    <a:pt x="7449" y="3181"/>
                  </a:lnTo>
                  <a:lnTo>
                    <a:pt x="7449" y="3055"/>
                  </a:lnTo>
                  <a:lnTo>
                    <a:pt x="7365" y="2971"/>
                  </a:lnTo>
                  <a:lnTo>
                    <a:pt x="7219" y="2951"/>
                  </a:lnTo>
                  <a:lnTo>
                    <a:pt x="7156" y="2846"/>
                  </a:lnTo>
                  <a:lnTo>
                    <a:pt x="7135" y="2762"/>
                  </a:lnTo>
                  <a:lnTo>
                    <a:pt x="7303" y="2553"/>
                  </a:lnTo>
                  <a:lnTo>
                    <a:pt x="7365" y="2574"/>
                  </a:lnTo>
                  <a:lnTo>
                    <a:pt x="7512" y="2469"/>
                  </a:lnTo>
                  <a:lnTo>
                    <a:pt x="7658" y="2302"/>
                  </a:lnTo>
                  <a:lnTo>
                    <a:pt x="7679" y="2218"/>
                  </a:lnTo>
                  <a:lnTo>
                    <a:pt x="7658" y="2218"/>
                  </a:lnTo>
                  <a:lnTo>
                    <a:pt x="7428" y="2114"/>
                  </a:lnTo>
                  <a:lnTo>
                    <a:pt x="7345" y="2114"/>
                  </a:lnTo>
                  <a:lnTo>
                    <a:pt x="7261" y="2135"/>
                  </a:lnTo>
                  <a:lnTo>
                    <a:pt x="7156" y="2114"/>
                  </a:lnTo>
                  <a:lnTo>
                    <a:pt x="7093" y="2114"/>
                  </a:lnTo>
                  <a:lnTo>
                    <a:pt x="7010" y="2155"/>
                  </a:lnTo>
                  <a:lnTo>
                    <a:pt x="6821" y="2197"/>
                  </a:lnTo>
                  <a:lnTo>
                    <a:pt x="6675" y="2155"/>
                  </a:lnTo>
                  <a:lnTo>
                    <a:pt x="6612" y="2155"/>
                  </a:lnTo>
                  <a:lnTo>
                    <a:pt x="6717" y="2135"/>
                  </a:lnTo>
                  <a:lnTo>
                    <a:pt x="6801" y="2135"/>
                  </a:lnTo>
                  <a:lnTo>
                    <a:pt x="6884" y="2093"/>
                  </a:lnTo>
                  <a:lnTo>
                    <a:pt x="6926" y="2009"/>
                  </a:lnTo>
                  <a:lnTo>
                    <a:pt x="7052" y="1904"/>
                  </a:lnTo>
                  <a:lnTo>
                    <a:pt x="7093" y="1842"/>
                  </a:lnTo>
                  <a:lnTo>
                    <a:pt x="7010" y="1800"/>
                  </a:lnTo>
                  <a:lnTo>
                    <a:pt x="7010" y="1779"/>
                  </a:lnTo>
                  <a:lnTo>
                    <a:pt x="6989" y="1674"/>
                  </a:lnTo>
                  <a:lnTo>
                    <a:pt x="6821" y="1590"/>
                  </a:lnTo>
                  <a:lnTo>
                    <a:pt x="6612" y="1528"/>
                  </a:lnTo>
                  <a:lnTo>
                    <a:pt x="6570" y="1486"/>
                  </a:lnTo>
                  <a:lnTo>
                    <a:pt x="6487" y="1423"/>
                  </a:lnTo>
                  <a:lnTo>
                    <a:pt x="6382" y="1423"/>
                  </a:lnTo>
                  <a:lnTo>
                    <a:pt x="6361" y="1381"/>
                  </a:lnTo>
                  <a:lnTo>
                    <a:pt x="6215" y="1318"/>
                  </a:lnTo>
                  <a:lnTo>
                    <a:pt x="6173" y="1318"/>
                  </a:lnTo>
                  <a:lnTo>
                    <a:pt x="6173" y="1423"/>
                  </a:lnTo>
                  <a:lnTo>
                    <a:pt x="6089" y="1318"/>
                  </a:lnTo>
                  <a:lnTo>
                    <a:pt x="6047" y="1214"/>
                  </a:lnTo>
                  <a:lnTo>
                    <a:pt x="5943" y="1172"/>
                  </a:lnTo>
                  <a:lnTo>
                    <a:pt x="5901" y="1088"/>
                  </a:lnTo>
                  <a:lnTo>
                    <a:pt x="5964" y="1046"/>
                  </a:lnTo>
                  <a:lnTo>
                    <a:pt x="6215" y="1067"/>
                  </a:lnTo>
                  <a:lnTo>
                    <a:pt x="6319" y="984"/>
                  </a:lnTo>
                  <a:lnTo>
                    <a:pt x="6487" y="984"/>
                  </a:lnTo>
                  <a:lnTo>
                    <a:pt x="6487" y="879"/>
                  </a:lnTo>
                  <a:lnTo>
                    <a:pt x="6361" y="900"/>
                  </a:lnTo>
                  <a:lnTo>
                    <a:pt x="6089" y="858"/>
                  </a:lnTo>
                  <a:lnTo>
                    <a:pt x="5901" y="879"/>
                  </a:lnTo>
                  <a:lnTo>
                    <a:pt x="5775" y="879"/>
                  </a:lnTo>
                  <a:lnTo>
                    <a:pt x="5524" y="963"/>
                  </a:lnTo>
                  <a:lnTo>
                    <a:pt x="5440" y="942"/>
                  </a:lnTo>
                  <a:lnTo>
                    <a:pt x="5336" y="942"/>
                  </a:lnTo>
                  <a:lnTo>
                    <a:pt x="5127" y="1088"/>
                  </a:lnTo>
                  <a:lnTo>
                    <a:pt x="5022" y="1109"/>
                  </a:lnTo>
                  <a:lnTo>
                    <a:pt x="4896" y="1172"/>
                  </a:lnTo>
                  <a:lnTo>
                    <a:pt x="4834" y="1256"/>
                  </a:lnTo>
                  <a:lnTo>
                    <a:pt x="4645" y="1277"/>
                  </a:lnTo>
                  <a:lnTo>
                    <a:pt x="4604" y="1298"/>
                  </a:lnTo>
                  <a:lnTo>
                    <a:pt x="4520" y="1277"/>
                  </a:lnTo>
                  <a:lnTo>
                    <a:pt x="4269" y="1088"/>
                  </a:lnTo>
                  <a:lnTo>
                    <a:pt x="4206" y="984"/>
                  </a:lnTo>
                  <a:lnTo>
                    <a:pt x="3871" y="984"/>
                  </a:lnTo>
                  <a:lnTo>
                    <a:pt x="3327" y="1088"/>
                  </a:lnTo>
                  <a:lnTo>
                    <a:pt x="3055" y="1088"/>
                  </a:lnTo>
                  <a:lnTo>
                    <a:pt x="2951" y="1046"/>
                  </a:lnTo>
                  <a:lnTo>
                    <a:pt x="2909" y="963"/>
                  </a:lnTo>
                  <a:lnTo>
                    <a:pt x="2909" y="858"/>
                  </a:lnTo>
                  <a:lnTo>
                    <a:pt x="2972" y="858"/>
                  </a:lnTo>
                  <a:lnTo>
                    <a:pt x="2951" y="733"/>
                  </a:lnTo>
                  <a:lnTo>
                    <a:pt x="2846" y="565"/>
                  </a:lnTo>
                  <a:lnTo>
                    <a:pt x="2741" y="544"/>
                  </a:lnTo>
                  <a:lnTo>
                    <a:pt x="2448" y="565"/>
                  </a:lnTo>
                  <a:lnTo>
                    <a:pt x="2323" y="482"/>
                  </a:lnTo>
                  <a:lnTo>
                    <a:pt x="2239" y="482"/>
                  </a:lnTo>
                  <a:lnTo>
                    <a:pt x="2176" y="523"/>
                  </a:lnTo>
                  <a:lnTo>
                    <a:pt x="2072" y="356"/>
                  </a:lnTo>
                  <a:lnTo>
                    <a:pt x="2072" y="210"/>
                  </a:lnTo>
                  <a:lnTo>
                    <a:pt x="2030" y="21"/>
                  </a:lnTo>
                  <a:lnTo>
                    <a:pt x="1988"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 name="Google Shape;5900;p93">
              <a:extLst>
                <a:ext uri="{FF2B5EF4-FFF2-40B4-BE49-F238E27FC236}">
                  <a16:creationId xmlns:a16="http://schemas.microsoft.com/office/drawing/2014/main" id="{7922DBEA-A42E-4958-B1F2-336652CFBBA3}"/>
                </a:ext>
              </a:extLst>
            </p:cNvPr>
            <p:cNvSpPr/>
            <p:nvPr/>
          </p:nvSpPr>
          <p:spPr>
            <a:xfrm>
              <a:off x="3209425" y="3061815"/>
              <a:ext cx="82733" cy="112565"/>
            </a:xfrm>
            <a:custGeom>
              <a:avLst/>
              <a:gdLst/>
              <a:ahLst/>
              <a:cxnLst/>
              <a:rect l="l" t="t" r="r" b="b"/>
              <a:pathLst>
                <a:path w="6948" h="9898" extrusionOk="0">
                  <a:moveTo>
                    <a:pt x="4353" y="1"/>
                  </a:moveTo>
                  <a:lnTo>
                    <a:pt x="4332" y="64"/>
                  </a:lnTo>
                  <a:lnTo>
                    <a:pt x="4290" y="105"/>
                  </a:lnTo>
                  <a:lnTo>
                    <a:pt x="4227" y="147"/>
                  </a:lnTo>
                  <a:lnTo>
                    <a:pt x="4165" y="168"/>
                  </a:lnTo>
                  <a:lnTo>
                    <a:pt x="4060" y="168"/>
                  </a:lnTo>
                  <a:lnTo>
                    <a:pt x="3976" y="189"/>
                  </a:lnTo>
                  <a:lnTo>
                    <a:pt x="3955" y="252"/>
                  </a:lnTo>
                  <a:lnTo>
                    <a:pt x="3976" y="294"/>
                  </a:lnTo>
                  <a:lnTo>
                    <a:pt x="3955" y="357"/>
                  </a:lnTo>
                  <a:lnTo>
                    <a:pt x="3809" y="419"/>
                  </a:lnTo>
                  <a:lnTo>
                    <a:pt x="3621" y="566"/>
                  </a:lnTo>
                  <a:lnTo>
                    <a:pt x="3495" y="670"/>
                  </a:lnTo>
                  <a:lnTo>
                    <a:pt x="3328" y="691"/>
                  </a:lnTo>
                  <a:lnTo>
                    <a:pt x="2972" y="691"/>
                  </a:lnTo>
                  <a:lnTo>
                    <a:pt x="2867" y="733"/>
                  </a:lnTo>
                  <a:lnTo>
                    <a:pt x="2867" y="817"/>
                  </a:lnTo>
                  <a:lnTo>
                    <a:pt x="2888" y="901"/>
                  </a:lnTo>
                  <a:lnTo>
                    <a:pt x="2888" y="1005"/>
                  </a:lnTo>
                  <a:lnTo>
                    <a:pt x="2805" y="1089"/>
                  </a:lnTo>
                  <a:lnTo>
                    <a:pt x="2721" y="1047"/>
                  </a:lnTo>
                  <a:lnTo>
                    <a:pt x="2763" y="942"/>
                  </a:lnTo>
                  <a:lnTo>
                    <a:pt x="2763" y="921"/>
                  </a:lnTo>
                  <a:lnTo>
                    <a:pt x="2825" y="901"/>
                  </a:lnTo>
                  <a:lnTo>
                    <a:pt x="2700" y="880"/>
                  </a:lnTo>
                  <a:lnTo>
                    <a:pt x="2574" y="817"/>
                  </a:lnTo>
                  <a:lnTo>
                    <a:pt x="2491" y="817"/>
                  </a:lnTo>
                  <a:lnTo>
                    <a:pt x="2302" y="942"/>
                  </a:lnTo>
                  <a:lnTo>
                    <a:pt x="2261" y="1026"/>
                  </a:lnTo>
                  <a:lnTo>
                    <a:pt x="2135" y="1152"/>
                  </a:lnTo>
                  <a:lnTo>
                    <a:pt x="1968" y="1465"/>
                  </a:lnTo>
                  <a:lnTo>
                    <a:pt x="1947" y="1549"/>
                  </a:lnTo>
                  <a:lnTo>
                    <a:pt x="1947" y="1549"/>
                  </a:lnTo>
                  <a:lnTo>
                    <a:pt x="1989" y="1528"/>
                  </a:lnTo>
                  <a:lnTo>
                    <a:pt x="2051" y="1570"/>
                  </a:lnTo>
                  <a:lnTo>
                    <a:pt x="2051" y="1654"/>
                  </a:lnTo>
                  <a:lnTo>
                    <a:pt x="2030" y="1758"/>
                  </a:lnTo>
                  <a:lnTo>
                    <a:pt x="1947" y="1821"/>
                  </a:lnTo>
                  <a:lnTo>
                    <a:pt x="1842" y="1821"/>
                  </a:lnTo>
                  <a:lnTo>
                    <a:pt x="1737" y="1863"/>
                  </a:lnTo>
                  <a:lnTo>
                    <a:pt x="1612" y="1989"/>
                  </a:lnTo>
                  <a:lnTo>
                    <a:pt x="1528" y="2051"/>
                  </a:lnTo>
                  <a:lnTo>
                    <a:pt x="1424" y="2198"/>
                  </a:lnTo>
                  <a:lnTo>
                    <a:pt x="1340" y="2198"/>
                  </a:lnTo>
                  <a:lnTo>
                    <a:pt x="1256" y="2240"/>
                  </a:lnTo>
                  <a:lnTo>
                    <a:pt x="1298" y="2344"/>
                  </a:lnTo>
                  <a:lnTo>
                    <a:pt x="1403" y="2449"/>
                  </a:lnTo>
                  <a:lnTo>
                    <a:pt x="1403" y="2574"/>
                  </a:lnTo>
                  <a:lnTo>
                    <a:pt x="1340" y="2700"/>
                  </a:lnTo>
                  <a:lnTo>
                    <a:pt x="1256" y="2700"/>
                  </a:lnTo>
                  <a:lnTo>
                    <a:pt x="1152" y="2616"/>
                  </a:lnTo>
                  <a:lnTo>
                    <a:pt x="1193" y="2574"/>
                  </a:lnTo>
                  <a:lnTo>
                    <a:pt x="1214" y="2512"/>
                  </a:lnTo>
                  <a:lnTo>
                    <a:pt x="1131" y="2470"/>
                  </a:lnTo>
                  <a:lnTo>
                    <a:pt x="1089" y="2365"/>
                  </a:lnTo>
                  <a:lnTo>
                    <a:pt x="984" y="2261"/>
                  </a:lnTo>
                  <a:lnTo>
                    <a:pt x="942" y="2365"/>
                  </a:lnTo>
                  <a:lnTo>
                    <a:pt x="942" y="2407"/>
                  </a:lnTo>
                  <a:lnTo>
                    <a:pt x="1005" y="2574"/>
                  </a:lnTo>
                  <a:lnTo>
                    <a:pt x="921" y="2721"/>
                  </a:lnTo>
                  <a:lnTo>
                    <a:pt x="901" y="2867"/>
                  </a:lnTo>
                  <a:lnTo>
                    <a:pt x="817" y="2909"/>
                  </a:lnTo>
                  <a:lnTo>
                    <a:pt x="775" y="2909"/>
                  </a:lnTo>
                  <a:lnTo>
                    <a:pt x="691" y="3098"/>
                  </a:lnTo>
                  <a:lnTo>
                    <a:pt x="712" y="3118"/>
                  </a:lnTo>
                  <a:lnTo>
                    <a:pt x="733" y="3244"/>
                  </a:lnTo>
                  <a:lnTo>
                    <a:pt x="733" y="3390"/>
                  </a:lnTo>
                  <a:lnTo>
                    <a:pt x="880" y="3516"/>
                  </a:lnTo>
                  <a:lnTo>
                    <a:pt x="901" y="3516"/>
                  </a:lnTo>
                  <a:lnTo>
                    <a:pt x="942" y="3495"/>
                  </a:lnTo>
                  <a:lnTo>
                    <a:pt x="1005" y="3537"/>
                  </a:lnTo>
                  <a:lnTo>
                    <a:pt x="1005" y="3662"/>
                  </a:lnTo>
                  <a:lnTo>
                    <a:pt x="921" y="3746"/>
                  </a:lnTo>
                  <a:lnTo>
                    <a:pt x="921" y="3809"/>
                  </a:lnTo>
                  <a:lnTo>
                    <a:pt x="1005" y="3872"/>
                  </a:lnTo>
                  <a:lnTo>
                    <a:pt x="1005" y="4039"/>
                  </a:lnTo>
                  <a:lnTo>
                    <a:pt x="921" y="4081"/>
                  </a:lnTo>
                  <a:lnTo>
                    <a:pt x="880" y="4165"/>
                  </a:lnTo>
                  <a:lnTo>
                    <a:pt x="921" y="4186"/>
                  </a:lnTo>
                  <a:lnTo>
                    <a:pt x="984" y="4290"/>
                  </a:lnTo>
                  <a:lnTo>
                    <a:pt x="942" y="4478"/>
                  </a:lnTo>
                  <a:lnTo>
                    <a:pt x="984" y="4771"/>
                  </a:lnTo>
                  <a:lnTo>
                    <a:pt x="901" y="4855"/>
                  </a:lnTo>
                  <a:lnTo>
                    <a:pt x="880" y="4918"/>
                  </a:lnTo>
                  <a:lnTo>
                    <a:pt x="942" y="5022"/>
                  </a:lnTo>
                  <a:lnTo>
                    <a:pt x="1047" y="4981"/>
                  </a:lnTo>
                  <a:lnTo>
                    <a:pt x="1047" y="4981"/>
                  </a:lnTo>
                  <a:lnTo>
                    <a:pt x="1026" y="5064"/>
                  </a:lnTo>
                  <a:lnTo>
                    <a:pt x="1089" y="5127"/>
                  </a:lnTo>
                  <a:lnTo>
                    <a:pt x="1152" y="5127"/>
                  </a:lnTo>
                  <a:lnTo>
                    <a:pt x="1152" y="5190"/>
                  </a:lnTo>
                  <a:lnTo>
                    <a:pt x="1110" y="5274"/>
                  </a:lnTo>
                  <a:lnTo>
                    <a:pt x="1047" y="5378"/>
                  </a:lnTo>
                  <a:lnTo>
                    <a:pt x="817" y="5608"/>
                  </a:lnTo>
                  <a:lnTo>
                    <a:pt x="775" y="5713"/>
                  </a:lnTo>
                  <a:lnTo>
                    <a:pt x="608" y="5859"/>
                  </a:lnTo>
                  <a:lnTo>
                    <a:pt x="398" y="5922"/>
                  </a:lnTo>
                  <a:lnTo>
                    <a:pt x="210" y="6048"/>
                  </a:lnTo>
                  <a:lnTo>
                    <a:pt x="64" y="6278"/>
                  </a:lnTo>
                  <a:lnTo>
                    <a:pt x="43" y="6466"/>
                  </a:lnTo>
                  <a:lnTo>
                    <a:pt x="1" y="6571"/>
                  </a:lnTo>
                  <a:lnTo>
                    <a:pt x="189" y="6655"/>
                  </a:lnTo>
                  <a:lnTo>
                    <a:pt x="377" y="6780"/>
                  </a:lnTo>
                  <a:lnTo>
                    <a:pt x="629" y="6947"/>
                  </a:lnTo>
                  <a:lnTo>
                    <a:pt x="733" y="6947"/>
                  </a:lnTo>
                  <a:lnTo>
                    <a:pt x="880" y="7094"/>
                  </a:lnTo>
                  <a:lnTo>
                    <a:pt x="838" y="7178"/>
                  </a:lnTo>
                  <a:lnTo>
                    <a:pt x="880" y="7261"/>
                  </a:lnTo>
                  <a:lnTo>
                    <a:pt x="1047" y="7282"/>
                  </a:lnTo>
                  <a:lnTo>
                    <a:pt x="1256" y="7366"/>
                  </a:lnTo>
                  <a:lnTo>
                    <a:pt x="1319" y="7408"/>
                  </a:lnTo>
                  <a:lnTo>
                    <a:pt x="1507" y="7471"/>
                  </a:lnTo>
                  <a:lnTo>
                    <a:pt x="1570" y="7387"/>
                  </a:lnTo>
                  <a:lnTo>
                    <a:pt x="1570" y="7282"/>
                  </a:lnTo>
                  <a:lnTo>
                    <a:pt x="1654" y="7199"/>
                  </a:lnTo>
                  <a:lnTo>
                    <a:pt x="1717" y="7199"/>
                  </a:lnTo>
                  <a:lnTo>
                    <a:pt x="1863" y="7282"/>
                  </a:lnTo>
                  <a:lnTo>
                    <a:pt x="1968" y="7303"/>
                  </a:lnTo>
                  <a:lnTo>
                    <a:pt x="1989" y="7387"/>
                  </a:lnTo>
                  <a:lnTo>
                    <a:pt x="2072" y="7429"/>
                  </a:lnTo>
                  <a:lnTo>
                    <a:pt x="2135" y="7429"/>
                  </a:lnTo>
                  <a:lnTo>
                    <a:pt x="2177" y="7512"/>
                  </a:lnTo>
                  <a:lnTo>
                    <a:pt x="2386" y="7575"/>
                  </a:lnTo>
                  <a:lnTo>
                    <a:pt x="2512" y="7596"/>
                  </a:lnTo>
                  <a:lnTo>
                    <a:pt x="2553" y="7638"/>
                  </a:lnTo>
                  <a:lnTo>
                    <a:pt x="2700" y="7805"/>
                  </a:lnTo>
                  <a:lnTo>
                    <a:pt x="2700" y="7910"/>
                  </a:lnTo>
                  <a:lnTo>
                    <a:pt x="2805" y="8098"/>
                  </a:lnTo>
                  <a:lnTo>
                    <a:pt x="2888" y="8098"/>
                  </a:lnTo>
                  <a:lnTo>
                    <a:pt x="3139" y="8203"/>
                  </a:lnTo>
                  <a:lnTo>
                    <a:pt x="3244" y="8349"/>
                  </a:lnTo>
                  <a:lnTo>
                    <a:pt x="3244" y="8517"/>
                  </a:lnTo>
                  <a:lnTo>
                    <a:pt x="3307" y="8517"/>
                  </a:lnTo>
                  <a:lnTo>
                    <a:pt x="3411" y="8559"/>
                  </a:lnTo>
                  <a:lnTo>
                    <a:pt x="3432" y="8684"/>
                  </a:lnTo>
                  <a:lnTo>
                    <a:pt x="3411" y="8768"/>
                  </a:lnTo>
                  <a:lnTo>
                    <a:pt x="3432" y="8852"/>
                  </a:lnTo>
                  <a:lnTo>
                    <a:pt x="3537" y="8872"/>
                  </a:lnTo>
                  <a:lnTo>
                    <a:pt x="3662" y="8852"/>
                  </a:lnTo>
                  <a:lnTo>
                    <a:pt x="3767" y="8872"/>
                  </a:lnTo>
                  <a:lnTo>
                    <a:pt x="3914" y="8872"/>
                  </a:lnTo>
                  <a:lnTo>
                    <a:pt x="3955" y="8831"/>
                  </a:lnTo>
                  <a:lnTo>
                    <a:pt x="4144" y="8747"/>
                  </a:lnTo>
                  <a:lnTo>
                    <a:pt x="4290" y="8768"/>
                  </a:lnTo>
                  <a:lnTo>
                    <a:pt x="4458" y="8852"/>
                  </a:lnTo>
                  <a:lnTo>
                    <a:pt x="4646" y="8747"/>
                  </a:lnTo>
                  <a:lnTo>
                    <a:pt x="4750" y="8747"/>
                  </a:lnTo>
                  <a:lnTo>
                    <a:pt x="4792" y="8831"/>
                  </a:lnTo>
                  <a:lnTo>
                    <a:pt x="4876" y="8831"/>
                  </a:lnTo>
                  <a:lnTo>
                    <a:pt x="4981" y="8872"/>
                  </a:lnTo>
                  <a:lnTo>
                    <a:pt x="5064" y="8956"/>
                  </a:lnTo>
                  <a:lnTo>
                    <a:pt x="5169" y="8935"/>
                  </a:lnTo>
                  <a:lnTo>
                    <a:pt x="5169" y="8998"/>
                  </a:lnTo>
                  <a:lnTo>
                    <a:pt x="4792" y="9626"/>
                  </a:lnTo>
                  <a:lnTo>
                    <a:pt x="4813" y="9709"/>
                  </a:lnTo>
                  <a:lnTo>
                    <a:pt x="4960" y="9688"/>
                  </a:lnTo>
                  <a:lnTo>
                    <a:pt x="5085" y="9688"/>
                  </a:lnTo>
                  <a:lnTo>
                    <a:pt x="5190" y="9772"/>
                  </a:lnTo>
                  <a:lnTo>
                    <a:pt x="5211" y="9898"/>
                  </a:lnTo>
                  <a:lnTo>
                    <a:pt x="5294" y="9584"/>
                  </a:lnTo>
                  <a:lnTo>
                    <a:pt x="5629" y="8370"/>
                  </a:lnTo>
                  <a:lnTo>
                    <a:pt x="5629" y="8308"/>
                  </a:lnTo>
                  <a:lnTo>
                    <a:pt x="5629" y="8098"/>
                  </a:lnTo>
                  <a:lnTo>
                    <a:pt x="5504" y="7847"/>
                  </a:lnTo>
                  <a:lnTo>
                    <a:pt x="5294" y="7680"/>
                  </a:lnTo>
                  <a:lnTo>
                    <a:pt x="5190" y="7533"/>
                  </a:lnTo>
                  <a:lnTo>
                    <a:pt x="5169" y="7219"/>
                  </a:lnTo>
                  <a:lnTo>
                    <a:pt x="5546" y="7094"/>
                  </a:lnTo>
                  <a:lnTo>
                    <a:pt x="5692" y="7199"/>
                  </a:lnTo>
                  <a:lnTo>
                    <a:pt x="5713" y="7094"/>
                  </a:lnTo>
                  <a:lnTo>
                    <a:pt x="5650" y="7010"/>
                  </a:lnTo>
                  <a:lnTo>
                    <a:pt x="5713" y="6968"/>
                  </a:lnTo>
                  <a:lnTo>
                    <a:pt x="5629" y="6801"/>
                  </a:lnTo>
                  <a:lnTo>
                    <a:pt x="5420" y="6738"/>
                  </a:lnTo>
                  <a:lnTo>
                    <a:pt x="5336" y="6592"/>
                  </a:lnTo>
                  <a:lnTo>
                    <a:pt x="5399" y="6424"/>
                  </a:lnTo>
                  <a:lnTo>
                    <a:pt x="6048" y="6424"/>
                  </a:lnTo>
                  <a:lnTo>
                    <a:pt x="6131" y="6341"/>
                  </a:lnTo>
                  <a:lnTo>
                    <a:pt x="6236" y="6341"/>
                  </a:lnTo>
                  <a:lnTo>
                    <a:pt x="6278" y="6383"/>
                  </a:lnTo>
                  <a:lnTo>
                    <a:pt x="6362" y="6383"/>
                  </a:lnTo>
                  <a:lnTo>
                    <a:pt x="6466" y="6257"/>
                  </a:lnTo>
                  <a:lnTo>
                    <a:pt x="6634" y="6215"/>
                  </a:lnTo>
                  <a:lnTo>
                    <a:pt x="6675" y="6320"/>
                  </a:lnTo>
                  <a:lnTo>
                    <a:pt x="6759" y="6424"/>
                  </a:lnTo>
                  <a:lnTo>
                    <a:pt x="6780" y="6550"/>
                  </a:lnTo>
                  <a:lnTo>
                    <a:pt x="6780" y="6696"/>
                  </a:lnTo>
                  <a:lnTo>
                    <a:pt x="6947" y="6675"/>
                  </a:lnTo>
                  <a:lnTo>
                    <a:pt x="6947" y="6571"/>
                  </a:lnTo>
                  <a:lnTo>
                    <a:pt x="6801" y="6278"/>
                  </a:lnTo>
                  <a:lnTo>
                    <a:pt x="6759" y="6131"/>
                  </a:lnTo>
                  <a:lnTo>
                    <a:pt x="6780" y="6069"/>
                  </a:lnTo>
                  <a:lnTo>
                    <a:pt x="6738" y="5964"/>
                  </a:lnTo>
                  <a:lnTo>
                    <a:pt x="6655" y="5922"/>
                  </a:lnTo>
                  <a:lnTo>
                    <a:pt x="6634" y="5839"/>
                  </a:lnTo>
                  <a:lnTo>
                    <a:pt x="6634" y="5818"/>
                  </a:lnTo>
                  <a:lnTo>
                    <a:pt x="6550" y="5839"/>
                  </a:lnTo>
                  <a:lnTo>
                    <a:pt x="6487" y="5839"/>
                  </a:lnTo>
                  <a:lnTo>
                    <a:pt x="6466" y="5734"/>
                  </a:lnTo>
                  <a:lnTo>
                    <a:pt x="6655" y="5399"/>
                  </a:lnTo>
                  <a:lnTo>
                    <a:pt x="6550" y="5106"/>
                  </a:lnTo>
                  <a:lnTo>
                    <a:pt x="6550" y="5022"/>
                  </a:lnTo>
                  <a:lnTo>
                    <a:pt x="6466" y="4960"/>
                  </a:lnTo>
                  <a:lnTo>
                    <a:pt x="6466" y="4771"/>
                  </a:lnTo>
                  <a:lnTo>
                    <a:pt x="6529" y="4604"/>
                  </a:lnTo>
                  <a:lnTo>
                    <a:pt x="6487" y="4541"/>
                  </a:lnTo>
                  <a:lnTo>
                    <a:pt x="6466" y="4332"/>
                  </a:lnTo>
                  <a:lnTo>
                    <a:pt x="6529" y="4248"/>
                  </a:lnTo>
                  <a:lnTo>
                    <a:pt x="6675" y="4227"/>
                  </a:lnTo>
                  <a:lnTo>
                    <a:pt x="6696" y="4144"/>
                  </a:lnTo>
                  <a:lnTo>
                    <a:pt x="6696" y="4039"/>
                  </a:lnTo>
                  <a:lnTo>
                    <a:pt x="6759" y="3955"/>
                  </a:lnTo>
                  <a:lnTo>
                    <a:pt x="6696" y="3725"/>
                  </a:lnTo>
                  <a:lnTo>
                    <a:pt x="6634" y="3662"/>
                  </a:lnTo>
                  <a:lnTo>
                    <a:pt x="6529" y="3662"/>
                  </a:lnTo>
                  <a:lnTo>
                    <a:pt x="6487" y="3725"/>
                  </a:lnTo>
                  <a:lnTo>
                    <a:pt x="6341" y="3704"/>
                  </a:lnTo>
                  <a:lnTo>
                    <a:pt x="6236" y="3704"/>
                  </a:lnTo>
                  <a:lnTo>
                    <a:pt x="6110" y="3746"/>
                  </a:lnTo>
                  <a:lnTo>
                    <a:pt x="6048" y="3725"/>
                  </a:lnTo>
                  <a:lnTo>
                    <a:pt x="5922" y="3662"/>
                  </a:lnTo>
                  <a:lnTo>
                    <a:pt x="5859" y="3704"/>
                  </a:lnTo>
                  <a:lnTo>
                    <a:pt x="5838" y="3662"/>
                  </a:lnTo>
                  <a:lnTo>
                    <a:pt x="5692" y="3704"/>
                  </a:lnTo>
                  <a:lnTo>
                    <a:pt x="5232" y="3286"/>
                  </a:lnTo>
                  <a:lnTo>
                    <a:pt x="5127" y="3223"/>
                  </a:lnTo>
                  <a:lnTo>
                    <a:pt x="4960" y="3202"/>
                  </a:lnTo>
                  <a:lnTo>
                    <a:pt x="4792" y="3223"/>
                  </a:lnTo>
                  <a:lnTo>
                    <a:pt x="4750" y="3244"/>
                  </a:lnTo>
                  <a:lnTo>
                    <a:pt x="4604" y="3202"/>
                  </a:lnTo>
                  <a:lnTo>
                    <a:pt x="4458" y="3202"/>
                  </a:lnTo>
                  <a:lnTo>
                    <a:pt x="4374" y="3244"/>
                  </a:lnTo>
                  <a:lnTo>
                    <a:pt x="4248" y="3202"/>
                  </a:lnTo>
                  <a:lnTo>
                    <a:pt x="4144" y="3181"/>
                  </a:lnTo>
                  <a:lnTo>
                    <a:pt x="3976" y="3118"/>
                  </a:lnTo>
                  <a:lnTo>
                    <a:pt x="3851" y="3014"/>
                  </a:lnTo>
                  <a:lnTo>
                    <a:pt x="3851" y="2909"/>
                  </a:lnTo>
                  <a:lnTo>
                    <a:pt x="3872" y="2867"/>
                  </a:lnTo>
                  <a:lnTo>
                    <a:pt x="3872" y="2784"/>
                  </a:lnTo>
                  <a:lnTo>
                    <a:pt x="3934" y="2658"/>
                  </a:lnTo>
                  <a:lnTo>
                    <a:pt x="3914" y="2554"/>
                  </a:lnTo>
                  <a:lnTo>
                    <a:pt x="3809" y="2386"/>
                  </a:lnTo>
                  <a:lnTo>
                    <a:pt x="3558" y="1968"/>
                  </a:lnTo>
                  <a:lnTo>
                    <a:pt x="3411" y="1968"/>
                  </a:lnTo>
                  <a:lnTo>
                    <a:pt x="3411" y="1926"/>
                  </a:lnTo>
                  <a:lnTo>
                    <a:pt x="3495" y="1737"/>
                  </a:lnTo>
                  <a:lnTo>
                    <a:pt x="3516" y="1549"/>
                  </a:lnTo>
                  <a:lnTo>
                    <a:pt x="3495" y="1445"/>
                  </a:lnTo>
                  <a:lnTo>
                    <a:pt x="3516" y="1319"/>
                  </a:lnTo>
                  <a:lnTo>
                    <a:pt x="3704" y="1047"/>
                  </a:lnTo>
                  <a:lnTo>
                    <a:pt x="3767" y="984"/>
                  </a:lnTo>
                  <a:lnTo>
                    <a:pt x="3872" y="838"/>
                  </a:lnTo>
                  <a:lnTo>
                    <a:pt x="3976" y="817"/>
                  </a:lnTo>
                  <a:lnTo>
                    <a:pt x="4039" y="775"/>
                  </a:lnTo>
                  <a:lnTo>
                    <a:pt x="4186" y="503"/>
                  </a:lnTo>
                  <a:lnTo>
                    <a:pt x="4499" y="377"/>
                  </a:lnTo>
                  <a:lnTo>
                    <a:pt x="4541" y="357"/>
                  </a:lnTo>
                  <a:lnTo>
                    <a:pt x="4604" y="357"/>
                  </a:lnTo>
                  <a:lnTo>
                    <a:pt x="4667" y="294"/>
                  </a:lnTo>
                  <a:lnTo>
                    <a:pt x="4688" y="210"/>
                  </a:lnTo>
                  <a:lnTo>
                    <a:pt x="4646" y="147"/>
                  </a:lnTo>
                  <a:lnTo>
                    <a:pt x="4437" y="43"/>
                  </a:lnTo>
                  <a:lnTo>
                    <a:pt x="435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 name="Google Shape;5901;p93">
              <a:extLst>
                <a:ext uri="{FF2B5EF4-FFF2-40B4-BE49-F238E27FC236}">
                  <a16:creationId xmlns:a16="http://schemas.microsoft.com/office/drawing/2014/main" id="{523F9512-EFC8-4B6D-87F8-647B7EFDE38A}"/>
                </a:ext>
              </a:extLst>
            </p:cNvPr>
            <p:cNvSpPr/>
            <p:nvPr/>
          </p:nvSpPr>
          <p:spPr>
            <a:xfrm>
              <a:off x="3195231" y="3136533"/>
              <a:ext cx="40867" cy="42852"/>
            </a:xfrm>
            <a:custGeom>
              <a:avLst/>
              <a:gdLst/>
              <a:ahLst/>
              <a:cxnLst/>
              <a:rect l="l" t="t" r="r" b="b"/>
              <a:pathLst>
                <a:path w="3432" h="3768" extrusionOk="0">
                  <a:moveTo>
                    <a:pt x="1193" y="1"/>
                  </a:moveTo>
                  <a:lnTo>
                    <a:pt x="1172" y="168"/>
                  </a:lnTo>
                  <a:lnTo>
                    <a:pt x="1025" y="168"/>
                  </a:lnTo>
                  <a:lnTo>
                    <a:pt x="732" y="336"/>
                  </a:lnTo>
                  <a:lnTo>
                    <a:pt x="607" y="377"/>
                  </a:lnTo>
                  <a:lnTo>
                    <a:pt x="440" y="440"/>
                  </a:lnTo>
                  <a:lnTo>
                    <a:pt x="523" y="587"/>
                  </a:lnTo>
                  <a:lnTo>
                    <a:pt x="523" y="649"/>
                  </a:lnTo>
                  <a:lnTo>
                    <a:pt x="565" y="733"/>
                  </a:lnTo>
                  <a:lnTo>
                    <a:pt x="544" y="901"/>
                  </a:lnTo>
                  <a:lnTo>
                    <a:pt x="335" y="1131"/>
                  </a:lnTo>
                  <a:lnTo>
                    <a:pt x="314" y="1235"/>
                  </a:lnTo>
                  <a:lnTo>
                    <a:pt x="356" y="1277"/>
                  </a:lnTo>
                  <a:lnTo>
                    <a:pt x="251" y="1445"/>
                  </a:lnTo>
                  <a:lnTo>
                    <a:pt x="126" y="1465"/>
                  </a:lnTo>
                  <a:lnTo>
                    <a:pt x="21" y="1591"/>
                  </a:lnTo>
                  <a:lnTo>
                    <a:pt x="84" y="1696"/>
                  </a:lnTo>
                  <a:lnTo>
                    <a:pt x="126" y="1800"/>
                  </a:lnTo>
                  <a:lnTo>
                    <a:pt x="105" y="1905"/>
                  </a:lnTo>
                  <a:lnTo>
                    <a:pt x="126" y="2072"/>
                  </a:lnTo>
                  <a:lnTo>
                    <a:pt x="84" y="2198"/>
                  </a:lnTo>
                  <a:lnTo>
                    <a:pt x="0" y="2261"/>
                  </a:lnTo>
                  <a:lnTo>
                    <a:pt x="84" y="2323"/>
                  </a:lnTo>
                  <a:lnTo>
                    <a:pt x="209" y="2386"/>
                  </a:lnTo>
                  <a:lnTo>
                    <a:pt x="314" y="2491"/>
                  </a:lnTo>
                  <a:lnTo>
                    <a:pt x="419" y="2574"/>
                  </a:lnTo>
                  <a:lnTo>
                    <a:pt x="440" y="2533"/>
                  </a:lnTo>
                  <a:lnTo>
                    <a:pt x="502" y="2386"/>
                  </a:lnTo>
                  <a:lnTo>
                    <a:pt x="544" y="2323"/>
                  </a:lnTo>
                  <a:lnTo>
                    <a:pt x="628" y="2219"/>
                  </a:lnTo>
                  <a:lnTo>
                    <a:pt x="628" y="2323"/>
                  </a:lnTo>
                  <a:lnTo>
                    <a:pt x="649" y="2428"/>
                  </a:lnTo>
                  <a:lnTo>
                    <a:pt x="649" y="2365"/>
                  </a:lnTo>
                  <a:lnTo>
                    <a:pt x="649" y="2282"/>
                  </a:lnTo>
                  <a:lnTo>
                    <a:pt x="712" y="2282"/>
                  </a:lnTo>
                  <a:lnTo>
                    <a:pt x="732" y="2428"/>
                  </a:lnTo>
                  <a:lnTo>
                    <a:pt x="712" y="2595"/>
                  </a:lnTo>
                  <a:lnTo>
                    <a:pt x="712" y="2700"/>
                  </a:lnTo>
                  <a:lnTo>
                    <a:pt x="649" y="2826"/>
                  </a:lnTo>
                  <a:lnTo>
                    <a:pt x="502" y="2951"/>
                  </a:lnTo>
                  <a:lnTo>
                    <a:pt x="544" y="2993"/>
                  </a:lnTo>
                  <a:lnTo>
                    <a:pt x="607" y="3139"/>
                  </a:lnTo>
                  <a:lnTo>
                    <a:pt x="502" y="3202"/>
                  </a:lnTo>
                  <a:lnTo>
                    <a:pt x="398" y="3328"/>
                  </a:lnTo>
                  <a:lnTo>
                    <a:pt x="419" y="3432"/>
                  </a:lnTo>
                  <a:lnTo>
                    <a:pt x="523" y="3432"/>
                  </a:lnTo>
                  <a:lnTo>
                    <a:pt x="649" y="3370"/>
                  </a:lnTo>
                  <a:lnTo>
                    <a:pt x="712" y="3453"/>
                  </a:lnTo>
                  <a:lnTo>
                    <a:pt x="879" y="3516"/>
                  </a:lnTo>
                  <a:lnTo>
                    <a:pt x="984" y="3537"/>
                  </a:lnTo>
                  <a:lnTo>
                    <a:pt x="1151" y="3767"/>
                  </a:lnTo>
                  <a:lnTo>
                    <a:pt x="1235" y="3767"/>
                  </a:lnTo>
                  <a:lnTo>
                    <a:pt x="1339" y="3662"/>
                  </a:lnTo>
                  <a:lnTo>
                    <a:pt x="1779" y="2721"/>
                  </a:lnTo>
                  <a:lnTo>
                    <a:pt x="1883" y="2637"/>
                  </a:lnTo>
                  <a:lnTo>
                    <a:pt x="2448" y="2470"/>
                  </a:lnTo>
                  <a:lnTo>
                    <a:pt x="2720" y="2282"/>
                  </a:lnTo>
                  <a:lnTo>
                    <a:pt x="3118" y="1905"/>
                  </a:lnTo>
                  <a:lnTo>
                    <a:pt x="3264" y="1549"/>
                  </a:lnTo>
                  <a:lnTo>
                    <a:pt x="3369" y="1549"/>
                  </a:lnTo>
                  <a:lnTo>
                    <a:pt x="3390" y="1486"/>
                  </a:lnTo>
                  <a:lnTo>
                    <a:pt x="3432" y="1361"/>
                  </a:lnTo>
                  <a:lnTo>
                    <a:pt x="3390" y="1235"/>
                  </a:lnTo>
                  <a:lnTo>
                    <a:pt x="3285" y="1026"/>
                  </a:lnTo>
                  <a:lnTo>
                    <a:pt x="3285" y="963"/>
                  </a:lnTo>
                  <a:lnTo>
                    <a:pt x="3264" y="859"/>
                  </a:lnTo>
                  <a:lnTo>
                    <a:pt x="3181" y="817"/>
                  </a:lnTo>
                  <a:lnTo>
                    <a:pt x="3160" y="733"/>
                  </a:lnTo>
                  <a:lnTo>
                    <a:pt x="3055" y="712"/>
                  </a:lnTo>
                  <a:lnTo>
                    <a:pt x="2909" y="629"/>
                  </a:lnTo>
                  <a:lnTo>
                    <a:pt x="2846" y="629"/>
                  </a:lnTo>
                  <a:lnTo>
                    <a:pt x="2762" y="712"/>
                  </a:lnTo>
                  <a:lnTo>
                    <a:pt x="2762" y="817"/>
                  </a:lnTo>
                  <a:lnTo>
                    <a:pt x="2699" y="901"/>
                  </a:lnTo>
                  <a:lnTo>
                    <a:pt x="2511" y="838"/>
                  </a:lnTo>
                  <a:lnTo>
                    <a:pt x="2448" y="796"/>
                  </a:lnTo>
                  <a:lnTo>
                    <a:pt x="2239" y="712"/>
                  </a:lnTo>
                  <a:lnTo>
                    <a:pt x="2072" y="691"/>
                  </a:lnTo>
                  <a:lnTo>
                    <a:pt x="2030" y="608"/>
                  </a:lnTo>
                  <a:lnTo>
                    <a:pt x="2072" y="524"/>
                  </a:lnTo>
                  <a:lnTo>
                    <a:pt x="1925" y="377"/>
                  </a:lnTo>
                  <a:lnTo>
                    <a:pt x="1821" y="377"/>
                  </a:lnTo>
                  <a:lnTo>
                    <a:pt x="1569" y="210"/>
                  </a:lnTo>
                  <a:lnTo>
                    <a:pt x="1381" y="85"/>
                  </a:lnTo>
                  <a:lnTo>
                    <a:pt x="119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 name="Google Shape;5902;p93">
              <a:extLst>
                <a:ext uri="{FF2B5EF4-FFF2-40B4-BE49-F238E27FC236}">
                  <a16:creationId xmlns:a16="http://schemas.microsoft.com/office/drawing/2014/main" id="{BD2E1414-60D9-421F-9415-ED55B4E301C6}"/>
                </a:ext>
              </a:extLst>
            </p:cNvPr>
            <p:cNvSpPr/>
            <p:nvPr/>
          </p:nvSpPr>
          <p:spPr>
            <a:xfrm>
              <a:off x="3192980" y="3146290"/>
              <a:ext cx="88711" cy="124938"/>
            </a:xfrm>
            <a:custGeom>
              <a:avLst/>
              <a:gdLst/>
              <a:ahLst/>
              <a:cxnLst/>
              <a:rect l="l" t="t" r="r" b="b"/>
              <a:pathLst>
                <a:path w="7450" h="10986" extrusionOk="0">
                  <a:moveTo>
                    <a:pt x="3453" y="1"/>
                  </a:moveTo>
                  <a:lnTo>
                    <a:pt x="3474" y="105"/>
                  </a:lnTo>
                  <a:lnTo>
                    <a:pt x="3474" y="168"/>
                  </a:lnTo>
                  <a:lnTo>
                    <a:pt x="3579" y="377"/>
                  </a:lnTo>
                  <a:lnTo>
                    <a:pt x="3621" y="503"/>
                  </a:lnTo>
                  <a:lnTo>
                    <a:pt x="3579" y="628"/>
                  </a:lnTo>
                  <a:lnTo>
                    <a:pt x="3558" y="691"/>
                  </a:lnTo>
                  <a:lnTo>
                    <a:pt x="3453" y="691"/>
                  </a:lnTo>
                  <a:lnTo>
                    <a:pt x="3307" y="1047"/>
                  </a:lnTo>
                  <a:lnTo>
                    <a:pt x="2909" y="1424"/>
                  </a:lnTo>
                  <a:lnTo>
                    <a:pt x="2637" y="1612"/>
                  </a:lnTo>
                  <a:lnTo>
                    <a:pt x="2072" y="1779"/>
                  </a:lnTo>
                  <a:lnTo>
                    <a:pt x="1968" y="1863"/>
                  </a:lnTo>
                  <a:lnTo>
                    <a:pt x="1528" y="2804"/>
                  </a:lnTo>
                  <a:lnTo>
                    <a:pt x="1424" y="2909"/>
                  </a:lnTo>
                  <a:lnTo>
                    <a:pt x="1340" y="2909"/>
                  </a:lnTo>
                  <a:lnTo>
                    <a:pt x="1173" y="2679"/>
                  </a:lnTo>
                  <a:lnTo>
                    <a:pt x="1068" y="2658"/>
                  </a:lnTo>
                  <a:lnTo>
                    <a:pt x="901" y="2595"/>
                  </a:lnTo>
                  <a:lnTo>
                    <a:pt x="838" y="2512"/>
                  </a:lnTo>
                  <a:lnTo>
                    <a:pt x="712" y="2574"/>
                  </a:lnTo>
                  <a:lnTo>
                    <a:pt x="608" y="2574"/>
                  </a:lnTo>
                  <a:lnTo>
                    <a:pt x="587" y="2470"/>
                  </a:lnTo>
                  <a:lnTo>
                    <a:pt x="691" y="2344"/>
                  </a:lnTo>
                  <a:lnTo>
                    <a:pt x="796" y="2281"/>
                  </a:lnTo>
                  <a:lnTo>
                    <a:pt x="733" y="2135"/>
                  </a:lnTo>
                  <a:lnTo>
                    <a:pt x="691" y="2093"/>
                  </a:lnTo>
                  <a:lnTo>
                    <a:pt x="398" y="2240"/>
                  </a:lnTo>
                  <a:lnTo>
                    <a:pt x="294" y="2344"/>
                  </a:lnTo>
                  <a:lnTo>
                    <a:pt x="105" y="2512"/>
                  </a:lnTo>
                  <a:lnTo>
                    <a:pt x="64" y="2679"/>
                  </a:lnTo>
                  <a:lnTo>
                    <a:pt x="1" y="2784"/>
                  </a:lnTo>
                  <a:lnTo>
                    <a:pt x="22" y="2825"/>
                  </a:lnTo>
                  <a:lnTo>
                    <a:pt x="105" y="2909"/>
                  </a:lnTo>
                  <a:lnTo>
                    <a:pt x="126" y="2993"/>
                  </a:lnTo>
                  <a:lnTo>
                    <a:pt x="64" y="3035"/>
                  </a:lnTo>
                  <a:lnTo>
                    <a:pt x="64" y="3097"/>
                  </a:lnTo>
                  <a:lnTo>
                    <a:pt x="189" y="3202"/>
                  </a:lnTo>
                  <a:lnTo>
                    <a:pt x="273" y="3348"/>
                  </a:lnTo>
                  <a:lnTo>
                    <a:pt x="231" y="3495"/>
                  </a:lnTo>
                  <a:lnTo>
                    <a:pt x="168" y="3495"/>
                  </a:lnTo>
                  <a:lnTo>
                    <a:pt x="85" y="3516"/>
                  </a:lnTo>
                  <a:lnTo>
                    <a:pt x="22" y="3621"/>
                  </a:lnTo>
                  <a:lnTo>
                    <a:pt x="126" y="3704"/>
                  </a:lnTo>
                  <a:lnTo>
                    <a:pt x="231" y="3746"/>
                  </a:lnTo>
                  <a:lnTo>
                    <a:pt x="419" y="3872"/>
                  </a:lnTo>
                  <a:lnTo>
                    <a:pt x="587" y="3913"/>
                  </a:lnTo>
                  <a:lnTo>
                    <a:pt x="817" y="4060"/>
                  </a:lnTo>
                  <a:lnTo>
                    <a:pt x="921" y="4081"/>
                  </a:lnTo>
                  <a:lnTo>
                    <a:pt x="963" y="4185"/>
                  </a:lnTo>
                  <a:lnTo>
                    <a:pt x="1068" y="4374"/>
                  </a:lnTo>
                  <a:lnTo>
                    <a:pt x="1110" y="4541"/>
                  </a:lnTo>
                  <a:lnTo>
                    <a:pt x="1173" y="4667"/>
                  </a:lnTo>
                  <a:lnTo>
                    <a:pt x="1424" y="4771"/>
                  </a:lnTo>
                  <a:lnTo>
                    <a:pt x="1486" y="4960"/>
                  </a:lnTo>
                  <a:lnTo>
                    <a:pt x="1549" y="5106"/>
                  </a:lnTo>
                  <a:lnTo>
                    <a:pt x="1591" y="5211"/>
                  </a:lnTo>
                  <a:lnTo>
                    <a:pt x="1633" y="5399"/>
                  </a:lnTo>
                  <a:lnTo>
                    <a:pt x="1696" y="5525"/>
                  </a:lnTo>
                  <a:lnTo>
                    <a:pt x="1800" y="5587"/>
                  </a:lnTo>
                  <a:lnTo>
                    <a:pt x="1905" y="5797"/>
                  </a:lnTo>
                  <a:lnTo>
                    <a:pt x="1905" y="5922"/>
                  </a:lnTo>
                  <a:lnTo>
                    <a:pt x="1884" y="5964"/>
                  </a:lnTo>
                  <a:lnTo>
                    <a:pt x="1989" y="6152"/>
                  </a:lnTo>
                  <a:lnTo>
                    <a:pt x="2177" y="6382"/>
                  </a:lnTo>
                  <a:lnTo>
                    <a:pt x="2219" y="6487"/>
                  </a:lnTo>
                  <a:lnTo>
                    <a:pt x="2198" y="6592"/>
                  </a:lnTo>
                  <a:lnTo>
                    <a:pt x="2219" y="6675"/>
                  </a:lnTo>
                  <a:lnTo>
                    <a:pt x="2302" y="6696"/>
                  </a:lnTo>
                  <a:lnTo>
                    <a:pt x="2491" y="6885"/>
                  </a:lnTo>
                  <a:lnTo>
                    <a:pt x="2533" y="6989"/>
                  </a:lnTo>
                  <a:lnTo>
                    <a:pt x="2574" y="7157"/>
                  </a:lnTo>
                  <a:lnTo>
                    <a:pt x="2616" y="7219"/>
                  </a:lnTo>
                  <a:lnTo>
                    <a:pt x="2784" y="7282"/>
                  </a:lnTo>
                  <a:lnTo>
                    <a:pt x="2805" y="7408"/>
                  </a:lnTo>
                  <a:lnTo>
                    <a:pt x="2951" y="7680"/>
                  </a:lnTo>
                  <a:lnTo>
                    <a:pt x="3014" y="7805"/>
                  </a:lnTo>
                  <a:lnTo>
                    <a:pt x="3202" y="8056"/>
                  </a:lnTo>
                  <a:lnTo>
                    <a:pt x="3202" y="8203"/>
                  </a:lnTo>
                  <a:lnTo>
                    <a:pt x="3139" y="8203"/>
                  </a:lnTo>
                  <a:lnTo>
                    <a:pt x="3098" y="8161"/>
                  </a:lnTo>
                  <a:lnTo>
                    <a:pt x="3098" y="8224"/>
                  </a:lnTo>
                  <a:lnTo>
                    <a:pt x="3118" y="8328"/>
                  </a:lnTo>
                  <a:lnTo>
                    <a:pt x="3118" y="8412"/>
                  </a:lnTo>
                  <a:lnTo>
                    <a:pt x="3160" y="8412"/>
                  </a:lnTo>
                  <a:lnTo>
                    <a:pt x="3244" y="8454"/>
                  </a:lnTo>
                  <a:lnTo>
                    <a:pt x="3265" y="8538"/>
                  </a:lnTo>
                  <a:lnTo>
                    <a:pt x="3244" y="8579"/>
                  </a:lnTo>
                  <a:lnTo>
                    <a:pt x="3432" y="8726"/>
                  </a:lnTo>
                  <a:lnTo>
                    <a:pt x="3621" y="8789"/>
                  </a:lnTo>
                  <a:lnTo>
                    <a:pt x="3642" y="8872"/>
                  </a:lnTo>
                  <a:lnTo>
                    <a:pt x="3725" y="8977"/>
                  </a:lnTo>
                  <a:lnTo>
                    <a:pt x="3830" y="8998"/>
                  </a:lnTo>
                  <a:lnTo>
                    <a:pt x="3872" y="9061"/>
                  </a:lnTo>
                  <a:lnTo>
                    <a:pt x="3893" y="9165"/>
                  </a:lnTo>
                  <a:lnTo>
                    <a:pt x="3976" y="9207"/>
                  </a:lnTo>
                  <a:lnTo>
                    <a:pt x="4165" y="9186"/>
                  </a:lnTo>
                  <a:lnTo>
                    <a:pt x="4206" y="9144"/>
                  </a:lnTo>
                  <a:lnTo>
                    <a:pt x="4186" y="9207"/>
                  </a:lnTo>
                  <a:lnTo>
                    <a:pt x="4269" y="9354"/>
                  </a:lnTo>
                  <a:lnTo>
                    <a:pt x="4458" y="9416"/>
                  </a:lnTo>
                  <a:lnTo>
                    <a:pt x="4562" y="9500"/>
                  </a:lnTo>
                  <a:lnTo>
                    <a:pt x="4562" y="9605"/>
                  </a:lnTo>
                  <a:lnTo>
                    <a:pt x="4667" y="9667"/>
                  </a:lnTo>
                  <a:lnTo>
                    <a:pt x="4792" y="9709"/>
                  </a:lnTo>
                  <a:lnTo>
                    <a:pt x="4834" y="9688"/>
                  </a:lnTo>
                  <a:lnTo>
                    <a:pt x="4939" y="9709"/>
                  </a:lnTo>
                  <a:lnTo>
                    <a:pt x="5148" y="9835"/>
                  </a:lnTo>
                  <a:lnTo>
                    <a:pt x="5315" y="9919"/>
                  </a:lnTo>
                  <a:lnTo>
                    <a:pt x="5420" y="9919"/>
                  </a:lnTo>
                  <a:lnTo>
                    <a:pt x="5462" y="9939"/>
                  </a:lnTo>
                  <a:lnTo>
                    <a:pt x="5504" y="10023"/>
                  </a:lnTo>
                  <a:lnTo>
                    <a:pt x="5650" y="10128"/>
                  </a:lnTo>
                  <a:lnTo>
                    <a:pt x="5755" y="10191"/>
                  </a:lnTo>
                  <a:lnTo>
                    <a:pt x="5859" y="10316"/>
                  </a:lnTo>
                  <a:lnTo>
                    <a:pt x="5943" y="10337"/>
                  </a:lnTo>
                  <a:lnTo>
                    <a:pt x="5985" y="10421"/>
                  </a:lnTo>
                  <a:lnTo>
                    <a:pt x="5964" y="10463"/>
                  </a:lnTo>
                  <a:lnTo>
                    <a:pt x="5964" y="10546"/>
                  </a:lnTo>
                  <a:lnTo>
                    <a:pt x="6090" y="10567"/>
                  </a:lnTo>
                  <a:lnTo>
                    <a:pt x="6236" y="10630"/>
                  </a:lnTo>
                  <a:lnTo>
                    <a:pt x="6403" y="10776"/>
                  </a:lnTo>
                  <a:lnTo>
                    <a:pt x="6550" y="10944"/>
                  </a:lnTo>
                  <a:lnTo>
                    <a:pt x="6655" y="10965"/>
                  </a:lnTo>
                  <a:lnTo>
                    <a:pt x="6675" y="10986"/>
                  </a:lnTo>
                  <a:lnTo>
                    <a:pt x="6801" y="10923"/>
                  </a:lnTo>
                  <a:lnTo>
                    <a:pt x="6927" y="10839"/>
                  </a:lnTo>
                  <a:lnTo>
                    <a:pt x="7010" y="10839"/>
                  </a:lnTo>
                  <a:lnTo>
                    <a:pt x="7115" y="10776"/>
                  </a:lnTo>
                  <a:lnTo>
                    <a:pt x="7178" y="10672"/>
                  </a:lnTo>
                  <a:lnTo>
                    <a:pt x="7073" y="10567"/>
                  </a:lnTo>
                  <a:lnTo>
                    <a:pt x="7094" y="10463"/>
                  </a:lnTo>
                  <a:lnTo>
                    <a:pt x="7136" y="10400"/>
                  </a:lnTo>
                  <a:lnTo>
                    <a:pt x="7240" y="10421"/>
                  </a:lnTo>
                  <a:lnTo>
                    <a:pt x="7219" y="10337"/>
                  </a:lnTo>
                  <a:lnTo>
                    <a:pt x="7136" y="10316"/>
                  </a:lnTo>
                  <a:lnTo>
                    <a:pt x="7094" y="10253"/>
                  </a:lnTo>
                  <a:lnTo>
                    <a:pt x="7199" y="10086"/>
                  </a:lnTo>
                  <a:lnTo>
                    <a:pt x="7324" y="10002"/>
                  </a:lnTo>
                  <a:lnTo>
                    <a:pt x="7429" y="9835"/>
                  </a:lnTo>
                  <a:lnTo>
                    <a:pt x="7450" y="9709"/>
                  </a:lnTo>
                  <a:lnTo>
                    <a:pt x="7282" y="9312"/>
                  </a:lnTo>
                  <a:lnTo>
                    <a:pt x="7324" y="9207"/>
                  </a:lnTo>
                  <a:lnTo>
                    <a:pt x="7324" y="9082"/>
                  </a:lnTo>
                  <a:lnTo>
                    <a:pt x="7303" y="8998"/>
                  </a:lnTo>
                  <a:lnTo>
                    <a:pt x="7282" y="8872"/>
                  </a:lnTo>
                  <a:lnTo>
                    <a:pt x="7324" y="8789"/>
                  </a:lnTo>
                  <a:lnTo>
                    <a:pt x="7387" y="8621"/>
                  </a:lnTo>
                  <a:lnTo>
                    <a:pt x="7345" y="8245"/>
                  </a:lnTo>
                  <a:lnTo>
                    <a:pt x="7303" y="8098"/>
                  </a:lnTo>
                  <a:lnTo>
                    <a:pt x="7387" y="7910"/>
                  </a:lnTo>
                  <a:lnTo>
                    <a:pt x="7387" y="7491"/>
                  </a:lnTo>
                  <a:lnTo>
                    <a:pt x="7450" y="7324"/>
                  </a:lnTo>
                  <a:lnTo>
                    <a:pt x="7450" y="7261"/>
                  </a:lnTo>
                  <a:lnTo>
                    <a:pt x="6927" y="6487"/>
                  </a:lnTo>
                  <a:lnTo>
                    <a:pt x="6906" y="6487"/>
                  </a:lnTo>
                  <a:lnTo>
                    <a:pt x="6864" y="6466"/>
                  </a:lnTo>
                  <a:lnTo>
                    <a:pt x="6675" y="6466"/>
                  </a:lnTo>
                  <a:lnTo>
                    <a:pt x="6571" y="6529"/>
                  </a:lnTo>
                  <a:lnTo>
                    <a:pt x="6445" y="6529"/>
                  </a:lnTo>
                  <a:lnTo>
                    <a:pt x="6383" y="6466"/>
                  </a:lnTo>
                  <a:lnTo>
                    <a:pt x="6362" y="6341"/>
                  </a:lnTo>
                  <a:lnTo>
                    <a:pt x="6341" y="6006"/>
                  </a:lnTo>
                  <a:lnTo>
                    <a:pt x="6341" y="5797"/>
                  </a:lnTo>
                  <a:lnTo>
                    <a:pt x="6383" y="5734"/>
                  </a:lnTo>
                  <a:lnTo>
                    <a:pt x="6403" y="5608"/>
                  </a:lnTo>
                  <a:lnTo>
                    <a:pt x="6362" y="5545"/>
                  </a:lnTo>
                  <a:lnTo>
                    <a:pt x="6152" y="5650"/>
                  </a:lnTo>
                  <a:lnTo>
                    <a:pt x="5922" y="5901"/>
                  </a:lnTo>
                  <a:lnTo>
                    <a:pt x="5608" y="5859"/>
                  </a:lnTo>
                  <a:lnTo>
                    <a:pt x="5357" y="5859"/>
                  </a:lnTo>
                  <a:lnTo>
                    <a:pt x="5315" y="5713"/>
                  </a:lnTo>
                  <a:lnTo>
                    <a:pt x="5211" y="5525"/>
                  </a:lnTo>
                  <a:lnTo>
                    <a:pt x="5023" y="5483"/>
                  </a:lnTo>
                  <a:lnTo>
                    <a:pt x="4688" y="5525"/>
                  </a:lnTo>
                  <a:lnTo>
                    <a:pt x="4813" y="5336"/>
                  </a:lnTo>
                  <a:lnTo>
                    <a:pt x="4520" y="4876"/>
                  </a:lnTo>
                  <a:lnTo>
                    <a:pt x="4374" y="4709"/>
                  </a:lnTo>
                  <a:lnTo>
                    <a:pt x="4395" y="4646"/>
                  </a:lnTo>
                  <a:lnTo>
                    <a:pt x="4374" y="4541"/>
                  </a:lnTo>
                  <a:lnTo>
                    <a:pt x="4416" y="4437"/>
                  </a:lnTo>
                  <a:lnTo>
                    <a:pt x="4416" y="4290"/>
                  </a:lnTo>
                  <a:lnTo>
                    <a:pt x="4395" y="4227"/>
                  </a:lnTo>
                  <a:lnTo>
                    <a:pt x="4458" y="4165"/>
                  </a:lnTo>
                  <a:lnTo>
                    <a:pt x="4458" y="4039"/>
                  </a:lnTo>
                  <a:lnTo>
                    <a:pt x="4625" y="3934"/>
                  </a:lnTo>
                  <a:lnTo>
                    <a:pt x="4709" y="3955"/>
                  </a:lnTo>
                  <a:lnTo>
                    <a:pt x="4792" y="3851"/>
                  </a:lnTo>
                  <a:lnTo>
                    <a:pt x="4730" y="3746"/>
                  </a:lnTo>
                  <a:lnTo>
                    <a:pt x="4688" y="3558"/>
                  </a:lnTo>
                  <a:lnTo>
                    <a:pt x="4834" y="3411"/>
                  </a:lnTo>
                  <a:lnTo>
                    <a:pt x="4813" y="3307"/>
                  </a:lnTo>
                  <a:lnTo>
                    <a:pt x="4897" y="3223"/>
                  </a:lnTo>
                  <a:lnTo>
                    <a:pt x="4876" y="3076"/>
                  </a:lnTo>
                  <a:lnTo>
                    <a:pt x="4981" y="3014"/>
                  </a:lnTo>
                  <a:lnTo>
                    <a:pt x="5106" y="2930"/>
                  </a:lnTo>
                  <a:lnTo>
                    <a:pt x="5232" y="2825"/>
                  </a:lnTo>
                  <a:lnTo>
                    <a:pt x="5295" y="2804"/>
                  </a:lnTo>
                  <a:lnTo>
                    <a:pt x="5357" y="2721"/>
                  </a:lnTo>
                  <a:lnTo>
                    <a:pt x="5650" y="2679"/>
                  </a:lnTo>
                  <a:lnTo>
                    <a:pt x="6069" y="2553"/>
                  </a:lnTo>
                  <a:lnTo>
                    <a:pt x="6090" y="2449"/>
                  </a:lnTo>
                  <a:lnTo>
                    <a:pt x="6152" y="2470"/>
                  </a:lnTo>
                  <a:lnTo>
                    <a:pt x="6299" y="2470"/>
                  </a:lnTo>
                  <a:lnTo>
                    <a:pt x="6445" y="2553"/>
                  </a:lnTo>
                  <a:lnTo>
                    <a:pt x="6445" y="2574"/>
                  </a:lnTo>
                  <a:lnTo>
                    <a:pt x="6550" y="2595"/>
                  </a:lnTo>
                  <a:lnTo>
                    <a:pt x="6592" y="2512"/>
                  </a:lnTo>
                  <a:lnTo>
                    <a:pt x="6592" y="2470"/>
                  </a:lnTo>
                  <a:lnTo>
                    <a:pt x="6571" y="2344"/>
                  </a:lnTo>
                  <a:lnTo>
                    <a:pt x="6466" y="2260"/>
                  </a:lnTo>
                  <a:lnTo>
                    <a:pt x="6341" y="2260"/>
                  </a:lnTo>
                  <a:lnTo>
                    <a:pt x="6194" y="2281"/>
                  </a:lnTo>
                  <a:lnTo>
                    <a:pt x="6173" y="2198"/>
                  </a:lnTo>
                  <a:lnTo>
                    <a:pt x="6550" y="1570"/>
                  </a:lnTo>
                  <a:lnTo>
                    <a:pt x="6550" y="1507"/>
                  </a:lnTo>
                  <a:lnTo>
                    <a:pt x="6445" y="1528"/>
                  </a:lnTo>
                  <a:lnTo>
                    <a:pt x="6362" y="1444"/>
                  </a:lnTo>
                  <a:lnTo>
                    <a:pt x="6257" y="1403"/>
                  </a:lnTo>
                  <a:lnTo>
                    <a:pt x="6173" y="1403"/>
                  </a:lnTo>
                  <a:lnTo>
                    <a:pt x="6131" y="1319"/>
                  </a:lnTo>
                  <a:lnTo>
                    <a:pt x="6027" y="1319"/>
                  </a:lnTo>
                  <a:lnTo>
                    <a:pt x="5839" y="1424"/>
                  </a:lnTo>
                  <a:lnTo>
                    <a:pt x="5671" y="1340"/>
                  </a:lnTo>
                  <a:lnTo>
                    <a:pt x="5525" y="1319"/>
                  </a:lnTo>
                  <a:lnTo>
                    <a:pt x="5336" y="1403"/>
                  </a:lnTo>
                  <a:lnTo>
                    <a:pt x="5295" y="1444"/>
                  </a:lnTo>
                  <a:lnTo>
                    <a:pt x="5148" y="1444"/>
                  </a:lnTo>
                  <a:lnTo>
                    <a:pt x="5043" y="1424"/>
                  </a:lnTo>
                  <a:lnTo>
                    <a:pt x="4918" y="1444"/>
                  </a:lnTo>
                  <a:lnTo>
                    <a:pt x="4813" y="1424"/>
                  </a:lnTo>
                  <a:lnTo>
                    <a:pt x="4792" y="1340"/>
                  </a:lnTo>
                  <a:lnTo>
                    <a:pt x="4813" y="1256"/>
                  </a:lnTo>
                  <a:lnTo>
                    <a:pt x="4792" y="1131"/>
                  </a:lnTo>
                  <a:lnTo>
                    <a:pt x="4688" y="1089"/>
                  </a:lnTo>
                  <a:lnTo>
                    <a:pt x="4625" y="1089"/>
                  </a:lnTo>
                  <a:lnTo>
                    <a:pt x="4625" y="921"/>
                  </a:lnTo>
                  <a:lnTo>
                    <a:pt x="4520" y="775"/>
                  </a:lnTo>
                  <a:lnTo>
                    <a:pt x="4269" y="670"/>
                  </a:lnTo>
                  <a:lnTo>
                    <a:pt x="4186" y="670"/>
                  </a:lnTo>
                  <a:lnTo>
                    <a:pt x="4081" y="482"/>
                  </a:lnTo>
                  <a:lnTo>
                    <a:pt x="4081" y="377"/>
                  </a:lnTo>
                  <a:lnTo>
                    <a:pt x="3934" y="210"/>
                  </a:lnTo>
                  <a:lnTo>
                    <a:pt x="3893" y="168"/>
                  </a:lnTo>
                  <a:lnTo>
                    <a:pt x="3767" y="147"/>
                  </a:lnTo>
                  <a:lnTo>
                    <a:pt x="3558" y="84"/>
                  </a:lnTo>
                  <a:lnTo>
                    <a:pt x="351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 name="Google Shape;5903;p93">
              <a:extLst>
                <a:ext uri="{FF2B5EF4-FFF2-40B4-BE49-F238E27FC236}">
                  <a16:creationId xmlns:a16="http://schemas.microsoft.com/office/drawing/2014/main" id="{128640A9-9CF5-4640-895C-42F13AEDA9B9}"/>
                </a:ext>
              </a:extLst>
            </p:cNvPr>
            <p:cNvSpPr/>
            <p:nvPr/>
          </p:nvSpPr>
          <p:spPr>
            <a:xfrm>
              <a:off x="3275452" y="3211250"/>
              <a:ext cx="85722" cy="91389"/>
            </a:xfrm>
            <a:custGeom>
              <a:avLst/>
              <a:gdLst/>
              <a:ahLst/>
              <a:cxnLst/>
              <a:rect l="l" t="t" r="r" b="b"/>
              <a:pathLst>
                <a:path w="7199" h="8036" extrusionOk="0">
                  <a:moveTo>
                    <a:pt x="1967" y="1"/>
                  </a:moveTo>
                  <a:lnTo>
                    <a:pt x="1779" y="85"/>
                  </a:lnTo>
                  <a:lnTo>
                    <a:pt x="1612" y="126"/>
                  </a:lnTo>
                  <a:lnTo>
                    <a:pt x="1319" y="294"/>
                  </a:lnTo>
                  <a:lnTo>
                    <a:pt x="1235" y="545"/>
                  </a:lnTo>
                  <a:lnTo>
                    <a:pt x="1047" y="608"/>
                  </a:lnTo>
                  <a:lnTo>
                    <a:pt x="921" y="608"/>
                  </a:lnTo>
                  <a:lnTo>
                    <a:pt x="796" y="712"/>
                  </a:lnTo>
                  <a:lnTo>
                    <a:pt x="712" y="712"/>
                  </a:lnTo>
                  <a:lnTo>
                    <a:pt x="524" y="775"/>
                  </a:lnTo>
                  <a:lnTo>
                    <a:pt x="1" y="775"/>
                  </a:lnTo>
                  <a:lnTo>
                    <a:pt x="524" y="1549"/>
                  </a:lnTo>
                  <a:lnTo>
                    <a:pt x="524" y="1612"/>
                  </a:lnTo>
                  <a:lnTo>
                    <a:pt x="461" y="1779"/>
                  </a:lnTo>
                  <a:lnTo>
                    <a:pt x="461" y="2198"/>
                  </a:lnTo>
                  <a:lnTo>
                    <a:pt x="377" y="2386"/>
                  </a:lnTo>
                  <a:lnTo>
                    <a:pt x="419" y="2533"/>
                  </a:lnTo>
                  <a:lnTo>
                    <a:pt x="461" y="2909"/>
                  </a:lnTo>
                  <a:lnTo>
                    <a:pt x="398" y="3077"/>
                  </a:lnTo>
                  <a:lnTo>
                    <a:pt x="356" y="3160"/>
                  </a:lnTo>
                  <a:lnTo>
                    <a:pt x="377" y="3286"/>
                  </a:lnTo>
                  <a:lnTo>
                    <a:pt x="398" y="3370"/>
                  </a:lnTo>
                  <a:lnTo>
                    <a:pt x="398" y="3495"/>
                  </a:lnTo>
                  <a:lnTo>
                    <a:pt x="356" y="3600"/>
                  </a:lnTo>
                  <a:lnTo>
                    <a:pt x="524" y="3997"/>
                  </a:lnTo>
                  <a:lnTo>
                    <a:pt x="503" y="4123"/>
                  </a:lnTo>
                  <a:lnTo>
                    <a:pt x="398" y="4290"/>
                  </a:lnTo>
                  <a:lnTo>
                    <a:pt x="273" y="4374"/>
                  </a:lnTo>
                  <a:lnTo>
                    <a:pt x="168" y="4541"/>
                  </a:lnTo>
                  <a:lnTo>
                    <a:pt x="210" y="4604"/>
                  </a:lnTo>
                  <a:lnTo>
                    <a:pt x="293" y="4625"/>
                  </a:lnTo>
                  <a:lnTo>
                    <a:pt x="314" y="4709"/>
                  </a:lnTo>
                  <a:lnTo>
                    <a:pt x="356" y="4709"/>
                  </a:lnTo>
                  <a:lnTo>
                    <a:pt x="356" y="4834"/>
                  </a:lnTo>
                  <a:lnTo>
                    <a:pt x="482" y="4939"/>
                  </a:lnTo>
                  <a:lnTo>
                    <a:pt x="524" y="5002"/>
                  </a:lnTo>
                  <a:lnTo>
                    <a:pt x="565" y="5127"/>
                  </a:lnTo>
                  <a:lnTo>
                    <a:pt x="524" y="5232"/>
                  </a:lnTo>
                  <a:lnTo>
                    <a:pt x="524" y="5274"/>
                  </a:lnTo>
                  <a:lnTo>
                    <a:pt x="586" y="5483"/>
                  </a:lnTo>
                  <a:lnTo>
                    <a:pt x="670" y="5629"/>
                  </a:lnTo>
                  <a:lnTo>
                    <a:pt x="921" y="5839"/>
                  </a:lnTo>
                  <a:lnTo>
                    <a:pt x="942" y="5901"/>
                  </a:lnTo>
                  <a:lnTo>
                    <a:pt x="879" y="6090"/>
                  </a:lnTo>
                  <a:lnTo>
                    <a:pt x="921" y="6194"/>
                  </a:lnTo>
                  <a:lnTo>
                    <a:pt x="775" y="6508"/>
                  </a:lnTo>
                  <a:lnTo>
                    <a:pt x="879" y="6613"/>
                  </a:lnTo>
                  <a:lnTo>
                    <a:pt x="1130" y="6885"/>
                  </a:lnTo>
                  <a:lnTo>
                    <a:pt x="1570" y="8036"/>
                  </a:lnTo>
                  <a:lnTo>
                    <a:pt x="1737" y="8036"/>
                  </a:lnTo>
                  <a:lnTo>
                    <a:pt x="1758" y="7952"/>
                  </a:lnTo>
                  <a:lnTo>
                    <a:pt x="1863" y="7931"/>
                  </a:lnTo>
                  <a:lnTo>
                    <a:pt x="1863" y="7952"/>
                  </a:lnTo>
                  <a:lnTo>
                    <a:pt x="1946" y="7847"/>
                  </a:lnTo>
                  <a:lnTo>
                    <a:pt x="2051" y="7638"/>
                  </a:lnTo>
                  <a:lnTo>
                    <a:pt x="2260" y="7408"/>
                  </a:lnTo>
                  <a:lnTo>
                    <a:pt x="2407" y="7345"/>
                  </a:lnTo>
                  <a:lnTo>
                    <a:pt x="2553" y="7471"/>
                  </a:lnTo>
                  <a:lnTo>
                    <a:pt x="2721" y="7450"/>
                  </a:lnTo>
                  <a:lnTo>
                    <a:pt x="2804" y="7429"/>
                  </a:lnTo>
                  <a:lnTo>
                    <a:pt x="2930" y="7471"/>
                  </a:lnTo>
                  <a:lnTo>
                    <a:pt x="3139" y="7429"/>
                  </a:lnTo>
                  <a:lnTo>
                    <a:pt x="3244" y="7450"/>
                  </a:lnTo>
                  <a:lnTo>
                    <a:pt x="3286" y="7575"/>
                  </a:lnTo>
                  <a:lnTo>
                    <a:pt x="3348" y="7847"/>
                  </a:lnTo>
                  <a:lnTo>
                    <a:pt x="3411" y="7889"/>
                  </a:lnTo>
                  <a:lnTo>
                    <a:pt x="3453" y="7847"/>
                  </a:lnTo>
                  <a:lnTo>
                    <a:pt x="3453" y="7743"/>
                  </a:lnTo>
                  <a:lnTo>
                    <a:pt x="3516" y="7617"/>
                  </a:lnTo>
                  <a:lnTo>
                    <a:pt x="3516" y="7512"/>
                  </a:lnTo>
                  <a:lnTo>
                    <a:pt x="3620" y="7366"/>
                  </a:lnTo>
                  <a:lnTo>
                    <a:pt x="4227" y="7366"/>
                  </a:lnTo>
                  <a:lnTo>
                    <a:pt x="4353" y="7471"/>
                  </a:lnTo>
                  <a:lnTo>
                    <a:pt x="4374" y="7303"/>
                  </a:lnTo>
                  <a:lnTo>
                    <a:pt x="4541" y="6989"/>
                  </a:lnTo>
                  <a:lnTo>
                    <a:pt x="4562" y="6822"/>
                  </a:lnTo>
                  <a:lnTo>
                    <a:pt x="4541" y="6675"/>
                  </a:lnTo>
                  <a:lnTo>
                    <a:pt x="4478" y="6592"/>
                  </a:lnTo>
                  <a:lnTo>
                    <a:pt x="4667" y="6299"/>
                  </a:lnTo>
                  <a:lnTo>
                    <a:pt x="4750" y="6090"/>
                  </a:lnTo>
                  <a:lnTo>
                    <a:pt x="4750" y="5985"/>
                  </a:lnTo>
                  <a:lnTo>
                    <a:pt x="4876" y="5901"/>
                  </a:lnTo>
                  <a:lnTo>
                    <a:pt x="5650" y="5692"/>
                  </a:lnTo>
                  <a:lnTo>
                    <a:pt x="6319" y="5692"/>
                  </a:lnTo>
                  <a:lnTo>
                    <a:pt x="6696" y="5985"/>
                  </a:lnTo>
                  <a:lnTo>
                    <a:pt x="6780" y="5985"/>
                  </a:lnTo>
                  <a:lnTo>
                    <a:pt x="6864" y="6069"/>
                  </a:lnTo>
                  <a:lnTo>
                    <a:pt x="6926" y="5964"/>
                  </a:lnTo>
                  <a:lnTo>
                    <a:pt x="6905" y="5880"/>
                  </a:lnTo>
                  <a:lnTo>
                    <a:pt x="7198" y="5315"/>
                  </a:lnTo>
                  <a:lnTo>
                    <a:pt x="7177" y="5043"/>
                  </a:lnTo>
                  <a:lnTo>
                    <a:pt x="6884" y="4499"/>
                  </a:lnTo>
                  <a:lnTo>
                    <a:pt x="6571" y="4437"/>
                  </a:lnTo>
                  <a:lnTo>
                    <a:pt x="6591" y="4207"/>
                  </a:lnTo>
                  <a:lnTo>
                    <a:pt x="6550" y="3851"/>
                  </a:lnTo>
                  <a:lnTo>
                    <a:pt x="5524" y="3809"/>
                  </a:lnTo>
                  <a:lnTo>
                    <a:pt x="5545" y="3558"/>
                  </a:lnTo>
                  <a:lnTo>
                    <a:pt x="5315" y="3181"/>
                  </a:lnTo>
                  <a:lnTo>
                    <a:pt x="5399" y="3056"/>
                  </a:lnTo>
                  <a:lnTo>
                    <a:pt x="5336" y="2846"/>
                  </a:lnTo>
                  <a:lnTo>
                    <a:pt x="5378" y="2554"/>
                  </a:lnTo>
                  <a:lnTo>
                    <a:pt x="5315" y="2491"/>
                  </a:lnTo>
                  <a:lnTo>
                    <a:pt x="5106" y="2323"/>
                  </a:lnTo>
                  <a:lnTo>
                    <a:pt x="4771" y="2386"/>
                  </a:lnTo>
                  <a:lnTo>
                    <a:pt x="4604" y="2302"/>
                  </a:lnTo>
                  <a:lnTo>
                    <a:pt x="4499" y="2240"/>
                  </a:lnTo>
                  <a:lnTo>
                    <a:pt x="4457" y="2093"/>
                  </a:lnTo>
                  <a:lnTo>
                    <a:pt x="4290" y="2030"/>
                  </a:lnTo>
                  <a:lnTo>
                    <a:pt x="4060" y="1968"/>
                  </a:lnTo>
                  <a:lnTo>
                    <a:pt x="3955" y="1968"/>
                  </a:lnTo>
                  <a:lnTo>
                    <a:pt x="3746" y="1717"/>
                  </a:lnTo>
                  <a:lnTo>
                    <a:pt x="3620" y="1779"/>
                  </a:lnTo>
                  <a:lnTo>
                    <a:pt x="3411" y="1570"/>
                  </a:lnTo>
                  <a:lnTo>
                    <a:pt x="3181" y="1612"/>
                  </a:lnTo>
                  <a:lnTo>
                    <a:pt x="3118" y="1696"/>
                  </a:lnTo>
                  <a:lnTo>
                    <a:pt x="2993" y="1570"/>
                  </a:lnTo>
                  <a:lnTo>
                    <a:pt x="2804" y="1466"/>
                  </a:lnTo>
                  <a:lnTo>
                    <a:pt x="2679" y="1382"/>
                  </a:lnTo>
                  <a:lnTo>
                    <a:pt x="2616" y="1235"/>
                  </a:lnTo>
                  <a:lnTo>
                    <a:pt x="2490" y="1152"/>
                  </a:lnTo>
                  <a:lnTo>
                    <a:pt x="2407" y="942"/>
                  </a:lnTo>
                  <a:lnTo>
                    <a:pt x="2449" y="838"/>
                  </a:lnTo>
                  <a:lnTo>
                    <a:pt x="2386" y="545"/>
                  </a:lnTo>
                  <a:lnTo>
                    <a:pt x="2470" y="398"/>
                  </a:lnTo>
                  <a:lnTo>
                    <a:pt x="2407" y="189"/>
                  </a:lnTo>
                  <a:lnTo>
                    <a:pt x="2407" y="43"/>
                  </a:lnTo>
                  <a:lnTo>
                    <a:pt x="2365" y="1"/>
                  </a:lnTo>
                  <a:lnTo>
                    <a:pt x="2239" y="85"/>
                  </a:lnTo>
                  <a:lnTo>
                    <a:pt x="209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1141" name="Google Shape;5904;p93">
              <a:extLst>
                <a:ext uri="{FF2B5EF4-FFF2-40B4-BE49-F238E27FC236}">
                  <a16:creationId xmlns:a16="http://schemas.microsoft.com/office/drawing/2014/main" id="{E817AA82-85BD-4789-9900-114601850E68}"/>
                </a:ext>
              </a:extLst>
            </p:cNvPr>
            <p:cNvSpPr/>
            <p:nvPr/>
          </p:nvSpPr>
          <p:spPr>
            <a:xfrm>
              <a:off x="3327273" y="3275982"/>
              <a:ext cx="58811" cy="59262"/>
            </a:xfrm>
            <a:custGeom>
              <a:avLst/>
              <a:gdLst/>
              <a:ahLst/>
              <a:cxnLst/>
              <a:rect l="l" t="t" r="r" b="b"/>
              <a:pathLst>
                <a:path w="4939" h="5211" extrusionOk="0">
                  <a:moveTo>
                    <a:pt x="1298" y="0"/>
                  </a:moveTo>
                  <a:lnTo>
                    <a:pt x="524" y="209"/>
                  </a:lnTo>
                  <a:lnTo>
                    <a:pt x="398" y="293"/>
                  </a:lnTo>
                  <a:lnTo>
                    <a:pt x="398" y="398"/>
                  </a:lnTo>
                  <a:lnTo>
                    <a:pt x="315" y="607"/>
                  </a:lnTo>
                  <a:lnTo>
                    <a:pt x="126" y="900"/>
                  </a:lnTo>
                  <a:lnTo>
                    <a:pt x="189" y="983"/>
                  </a:lnTo>
                  <a:lnTo>
                    <a:pt x="210" y="1130"/>
                  </a:lnTo>
                  <a:lnTo>
                    <a:pt x="189" y="1297"/>
                  </a:lnTo>
                  <a:lnTo>
                    <a:pt x="22" y="1611"/>
                  </a:lnTo>
                  <a:lnTo>
                    <a:pt x="1" y="1779"/>
                  </a:lnTo>
                  <a:lnTo>
                    <a:pt x="1" y="1820"/>
                  </a:lnTo>
                  <a:lnTo>
                    <a:pt x="126" y="1946"/>
                  </a:lnTo>
                  <a:lnTo>
                    <a:pt x="231" y="1967"/>
                  </a:lnTo>
                  <a:lnTo>
                    <a:pt x="398" y="2239"/>
                  </a:lnTo>
                  <a:lnTo>
                    <a:pt x="754" y="2595"/>
                  </a:lnTo>
                  <a:lnTo>
                    <a:pt x="879" y="2595"/>
                  </a:lnTo>
                  <a:lnTo>
                    <a:pt x="1026" y="2720"/>
                  </a:lnTo>
                  <a:lnTo>
                    <a:pt x="1131" y="2888"/>
                  </a:lnTo>
                  <a:lnTo>
                    <a:pt x="1465" y="2971"/>
                  </a:lnTo>
                  <a:lnTo>
                    <a:pt x="1695" y="3097"/>
                  </a:lnTo>
                  <a:lnTo>
                    <a:pt x="1800" y="3097"/>
                  </a:lnTo>
                  <a:lnTo>
                    <a:pt x="2030" y="3327"/>
                  </a:lnTo>
                  <a:lnTo>
                    <a:pt x="2302" y="3452"/>
                  </a:lnTo>
                  <a:lnTo>
                    <a:pt x="2637" y="3515"/>
                  </a:lnTo>
                  <a:lnTo>
                    <a:pt x="2804" y="3641"/>
                  </a:lnTo>
                  <a:lnTo>
                    <a:pt x="2951" y="3808"/>
                  </a:lnTo>
                  <a:lnTo>
                    <a:pt x="3035" y="3934"/>
                  </a:lnTo>
                  <a:lnTo>
                    <a:pt x="2972" y="4059"/>
                  </a:lnTo>
                  <a:lnTo>
                    <a:pt x="2909" y="4185"/>
                  </a:lnTo>
                  <a:lnTo>
                    <a:pt x="2804" y="4269"/>
                  </a:lnTo>
                  <a:lnTo>
                    <a:pt x="2742" y="4373"/>
                  </a:lnTo>
                  <a:lnTo>
                    <a:pt x="2763" y="4478"/>
                  </a:lnTo>
                  <a:lnTo>
                    <a:pt x="2700" y="4708"/>
                  </a:lnTo>
                  <a:lnTo>
                    <a:pt x="2512" y="4896"/>
                  </a:lnTo>
                  <a:lnTo>
                    <a:pt x="2491" y="5022"/>
                  </a:lnTo>
                  <a:lnTo>
                    <a:pt x="2574" y="5022"/>
                  </a:lnTo>
                  <a:lnTo>
                    <a:pt x="2972" y="4959"/>
                  </a:lnTo>
                  <a:lnTo>
                    <a:pt x="3328" y="5064"/>
                  </a:lnTo>
                  <a:lnTo>
                    <a:pt x="3579" y="5210"/>
                  </a:lnTo>
                  <a:lnTo>
                    <a:pt x="3704" y="5168"/>
                  </a:lnTo>
                  <a:lnTo>
                    <a:pt x="3788" y="5168"/>
                  </a:lnTo>
                  <a:lnTo>
                    <a:pt x="3851" y="5210"/>
                  </a:lnTo>
                  <a:lnTo>
                    <a:pt x="3955" y="5064"/>
                  </a:lnTo>
                  <a:lnTo>
                    <a:pt x="3997" y="5022"/>
                  </a:lnTo>
                  <a:lnTo>
                    <a:pt x="4123" y="5085"/>
                  </a:lnTo>
                  <a:lnTo>
                    <a:pt x="4227" y="4959"/>
                  </a:lnTo>
                  <a:lnTo>
                    <a:pt x="4290" y="4792"/>
                  </a:lnTo>
                  <a:lnTo>
                    <a:pt x="4541" y="4603"/>
                  </a:lnTo>
                  <a:lnTo>
                    <a:pt x="4583" y="4478"/>
                  </a:lnTo>
                  <a:lnTo>
                    <a:pt x="4646" y="4352"/>
                  </a:lnTo>
                  <a:lnTo>
                    <a:pt x="4750" y="4248"/>
                  </a:lnTo>
                  <a:lnTo>
                    <a:pt x="4792" y="4038"/>
                  </a:lnTo>
                  <a:lnTo>
                    <a:pt x="4750" y="3976"/>
                  </a:lnTo>
                  <a:lnTo>
                    <a:pt x="4750" y="3829"/>
                  </a:lnTo>
                  <a:lnTo>
                    <a:pt x="4813" y="3808"/>
                  </a:lnTo>
                  <a:lnTo>
                    <a:pt x="4813" y="3724"/>
                  </a:lnTo>
                  <a:lnTo>
                    <a:pt x="4813" y="3662"/>
                  </a:lnTo>
                  <a:lnTo>
                    <a:pt x="4813" y="3599"/>
                  </a:lnTo>
                  <a:lnTo>
                    <a:pt x="4834" y="3599"/>
                  </a:lnTo>
                  <a:lnTo>
                    <a:pt x="4855" y="3515"/>
                  </a:lnTo>
                  <a:lnTo>
                    <a:pt x="4855" y="2971"/>
                  </a:lnTo>
                  <a:lnTo>
                    <a:pt x="4939" y="2888"/>
                  </a:lnTo>
                  <a:lnTo>
                    <a:pt x="4834" y="2867"/>
                  </a:lnTo>
                  <a:lnTo>
                    <a:pt x="4750" y="2783"/>
                  </a:lnTo>
                  <a:lnTo>
                    <a:pt x="4625" y="2720"/>
                  </a:lnTo>
                  <a:lnTo>
                    <a:pt x="4395" y="2867"/>
                  </a:lnTo>
                  <a:lnTo>
                    <a:pt x="4290" y="2825"/>
                  </a:lnTo>
                  <a:lnTo>
                    <a:pt x="4206" y="2616"/>
                  </a:lnTo>
                  <a:lnTo>
                    <a:pt x="4060" y="1988"/>
                  </a:lnTo>
                  <a:lnTo>
                    <a:pt x="4018" y="1862"/>
                  </a:lnTo>
                  <a:lnTo>
                    <a:pt x="3892" y="1820"/>
                  </a:lnTo>
                  <a:lnTo>
                    <a:pt x="3767" y="1716"/>
                  </a:lnTo>
                  <a:lnTo>
                    <a:pt x="3495" y="1841"/>
                  </a:lnTo>
                  <a:lnTo>
                    <a:pt x="3328" y="1758"/>
                  </a:lnTo>
                  <a:lnTo>
                    <a:pt x="3056" y="1779"/>
                  </a:lnTo>
                  <a:lnTo>
                    <a:pt x="2972" y="1737"/>
                  </a:lnTo>
                  <a:lnTo>
                    <a:pt x="2763" y="1758"/>
                  </a:lnTo>
                  <a:lnTo>
                    <a:pt x="2721" y="1632"/>
                  </a:lnTo>
                  <a:lnTo>
                    <a:pt x="2763" y="1528"/>
                  </a:lnTo>
                  <a:lnTo>
                    <a:pt x="2721" y="1360"/>
                  </a:lnTo>
                  <a:lnTo>
                    <a:pt x="2763" y="1025"/>
                  </a:lnTo>
                  <a:lnTo>
                    <a:pt x="2658" y="837"/>
                  </a:lnTo>
                  <a:lnTo>
                    <a:pt x="2658" y="670"/>
                  </a:lnTo>
                  <a:lnTo>
                    <a:pt x="2512" y="565"/>
                  </a:lnTo>
                  <a:lnTo>
                    <a:pt x="2553" y="419"/>
                  </a:lnTo>
                  <a:lnTo>
                    <a:pt x="2428" y="293"/>
                  </a:lnTo>
                  <a:lnTo>
                    <a:pt x="2344" y="293"/>
                  </a:lnTo>
                  <a:lnTo>
                    <a:pt x="196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142" name="Google Shape;5905;p93">
              <a:extLst>
                <a:ext uri="{FF2B5EF4-FFF2-40B4-BE49-F238E27FC236}">
                  <a16:creationId xmlns:a16="http://schemas.microsoft.com/office/drawing/2014/main" id="{1009C6C3-E9E5-4BBB-9F3E-DD554B4A46DC}"/>
                </a:ext>
              </a:extLst>
            </p:cNvPr>
            <p:cNvSpPr/>
            <p:nvPr/>
          </p:nvSpPr>
          <p:spPr>
            <a:xfrm>
              <a:off x="3363150" y="3352838"/>
              <a:ext cx="34889" cy="37848"/>
            </a:xfrm>
            <a:custGeom>
              <a:avLst/>
              <a:gdLst/>
              <a:ahLst/>
              <a:cxnLst/>
              <a:rect l="l" t="t" r="r" b="b"/>
              <a:pathLst>
                <a:path w="2930" h="3328" extrusionOk="0">
                  <a:moveTo>
                    <a:pt x="754" y="0"/>
                  </a:moveTo>
                  <a:lnTo>
                    <a:pt x="440" y="63"/>
                  </a:lnTo>
                  <a:lnTo>
                    <a:pt x="377" y="42"/>
                  </a:lnTo>
                  <a:lnTo>
                    <a:pt x="315" y="42"/>
                  </a:lnTo>
                  <a:lnTo>
                    <a:pt x="273" y="63"/>
                  </a:lnTo>
                  <a:lnTo>
                    <a:pt x="231" y="210"/>
                  </a:lnTo>
                  <a:lnTo>
                    <a:pt x="126" y="335"/>
                  </a:lnTo>
                  <a:lnTo>
                    <a:pt x="168" y="524"/>
                  </a:lnTo>
                  <a:lnTo>
                    <a:pt x="126" y="586"/>
                  </a:lnTo>
                  <a:lnTo>
                    <a:pt x="147" y="712"/>
                  </a:lnTo>
                  <a:lnTo>
                    <a:pt x="147" y="963"/>
                  </a:lnTo>
                  <a:lnTo>
                    <a:pt x="84" y="1047"/>
                  </a:lnTo>
                  <a:lnTo>
                    <a:pt x="84" y="1151"/>
                  </a:lnTo>
                  <a:lnTo>
                    <a:pt x="43" y="1277"/>
                  </a:lnTo>
                  <a:lnTo>
                    <a:pt x="84" y="1465"/>
                  </a:lnTo>
                  <a:lnTo>
                    <a:pt x="43" y="1507"/>
                  </a:lnTo>
                  <a:lnTo>
                    <a:pt x="63" y="1779"/>
                  </a:lnTo>
                  <a:lnTo>
                    <a:pt x="126" y="1967"/>
                  </a:lnTo>
                  <a:lnTo>
                    <a:pt x="84" y="2030"/>
                  </a:lnTo>
                  <a:lnTo>
                    <a:pt x="22" y="2114"/>
                  </a:lnTo>
                  <a:lnTo>
                    <a:pt x="1" y="2156"/>
                  </a:lnTo>
                  <a:lnTo>
                    <a:pt x="1" y="2428"/>
                  </a:lnTo>
                  <a:lnTo>
                    <a:pt x="63" y="2637"/>
                  </a:lnTo>
                  <a:lnTo>
                    <a:pt x="231" y="2867"/>
                  </a:lnTo>
                  <a:lnTo>
                    <a:pt x="315" y="2867"/>
                  </a:lnTo>
                  <a:lnTo>
                    <a:pt x="461" y="3034"/>
                  </a:lnTo>
                  <a:lnTo>
                    <a:pt x="545" y="3055"/>
                  </a:lnTo>
                  <a:lnTo>
                    <a:pt x="796" y="3034"/>
                  </a:lnTo>
                  <a:lnTo>
                    <a:pt x="963" y="3055"/>
                  </a:lnTo>
                  <a:lnTo>
                    <a:pt x="1089" y="3139"/>
                  </a:lnTo>
                  <a:lnTo>
                    <a:pt x="1172" y="3160"/>
                  </a:lnTo>
                  <a:lnTo>
                    <a:pt x="1277" y="3160"/>
                  </a:lnTo>
                  <a:lnTo>
                    <a:pt x="1298" y="3181"/>
                  </a:lnTo>
                  <a:lnTo>
                    <a:pt x="1277" y="3244"/>
                  </a:lnTo>
                  <a:lnTo>
                    <a:pt x="1277" y="3285"/>
                  </a:lnTo>
                  <a:lnTo>
                    <a:pt x="1382" y="3285"/>
                  </a:lnTo>
                  <a:lnTo>
                    <a:pt x="1507" y="3202"/>
                  </a:lnTo>
                  <a:lnTo>
                    <a:pt x="1654" y="3181"/>
                  </a:lnTo>
                  <a:lnTo>
                    <a:pt x="1800" y="3244"/>
                  </a:lnTo>
                  <a:lnTo>
                    <a:pt x="1842" y="3264"/>
                  </a:lnTo>
                  <a:lnTo>
                    <a:pt x="1926" y="3264"/>
                  </a:lnTo>
                  <a:lnTo>
                    <a:pt x="2009" y="3285"/>
                  </a:lnTo>
                  <a:lnTo>
                    <a:pt x="2093" y="3327"/>
                  </a:lnTo>
                  <a:lnTo>
                    <a:pt x="2135" y="3264"/>
                  </a:lnTo>
                  <a:lnTo>
                    <a:pt x="2156" y="3181"/>
                  </a:lnTo>
                  <a:lnTo>
                    <a:pt x="2177" y="3181"/>
                  </a:lnTo>
                  <a:lnTo>
                    <a:pt x="2239" y="3202"/>
                  </a:lnTo>
                  <a:lnTo>
                    <a:pt x="2449" y="3139"/>
                  </a:lnTo>
                  <a:lnTo>
                    <a:pt x="2574" y="2972"/>
                  </a:lnTo>
                  <a:lnTo>
                    <a:pt x="2637" y="2930"/>
                  </a:lnTo>
                  <a:lnTo>
                    <a:pt x="2616" y="2909"/>
                  </a:lnTo>
                  <a:lnTo>
                    <a:pt x="2658" y="2804"/>
                  </a:lnTo>
                  <a:lnTo>
                    <a:pt x="2784" y="2720"/>
                  </a:lnTo>
                  <a:lnTo>
                    <a:pt x="2784" y="2532"/>
                  </a:lnTo>
                  <a:lnTo>
                    <a:pt x="2867" y="2428"/>
                  </a:lnTo>
                  <a:lnTo>
                    <a:pt x="2930" y="2407"/>
                  </a:lnTo>
                  <a:lnTo>
                    <a:pt x="2888" y="2386"/>
                  </a:lnTo>
                  <a:lnTo>
                    <a:pt x="2825" y="2281"/>
                  </a:lnTo>
                  <a:lnTo>
                    <a:pt x="2784" y="2239"/>
                  </a:lnTo>
                  <a:lnTo>
                    <a:pt x="2784" y="2218"/>
                  </a:lnTo>
                  <a:lnTo>
                    <a:pt x="2742" y="2030"/>
                  </a:lnTo>
                  <a:lnTo>
                    <a:pt x="2846" y="1884"/>
                  </a:lnTo>
                  <a:lnTo>
                    <a:pt x="2867" y="1716"/>
                  </a:lnTo>
                  <a:lnTo>
                    <a:pt x="2742" y="1612"/>
                  </a:lnTo>
                  <a:lnTo>
                    <a:pt x="2574" y="1402"/>
                  </a:lnTo>
                  <a:lnTo>
                    <a:pt x="2449" y="1256"/>
                  </a:lnTo>
                  <a:lnTo>
                    <a:pt x="2239" y="1151"/>
                  </a:lnTo>
                  <a:lnTo>
                    <a:pt x="2114" y="1172"/>
                  </a:lnTo>
                  <a:lnTo>
                    <a:pt x="2114" y="1026"/>
                  </a:lnTo>
                  <a:lnTo>
                    <a:pt x="1988" y="879"/>
                  </a:lnTo>
                  <a:lnTo>
                    <a:pt x="1842" y="858"/>
                  </a:lnTo>
                  <a:lnTo>
                    <a:pt x="1695" y="775"/>
                  </a:lnTo>
                  <a:lnTo>
                    <a:pt x="1570" y="565"/>
                  </a:lnTo>
                  <a:lnTo>
                    <a:pt x="1486" y="565"/>
                  </a:lnTo>
                  <a:lnTo>
                    <a:pt x="1382" y="670"/>
                  </a:lnTo>
                  <a:lnTo>
                    <a:pt x="1319" y="670"/>
                  </a:lnTo>
                  <a:lnTo>
                    <a:pt x="1172" y="461"/>
                  </a:lnTo>
                  <a:lnTo>
                    <a:pt x="1110" y="314"/>
                  </a:lnTo>
                  <a:lnTo>
                    <a:pt x="984" y="251"/>
                  </a:lnTo>
                  <a:lnTo>
                    <a:pt x="859" y="63"/>
                  </a:lnTo>
                  <a:lnTo>
                    <a:pt x="75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43" name="Google Shape;5906;p93">
              <a:extLst>
                <a:ext uri="{FF2B5EF4-FFF2-40B4-BE49-F238E27FC236}">
                  <a16:creationId xmlns:a16="http://schemas.microsoft.com/office/drawing/2014/main" id="{32643B7B-575F-49BB-ACE8-60AA8A216073}"/>
                </a:ext>
              </a:extLst>
            </p:cNvPr>
            <p:cNvGrpSpPr/>
            <p:nvPr/>
          </p:nvGrpSpPr>
          <p:grpSpPr>
            <a:xfrm>
              <a:off x="3280929" y="3294542"/>
              <a:ext cx="109894" cy="272224"/>
              <a:chOff x="2711750" y="3572300"/>
              <a:chExt cx="230725" cy="598425"/>
            </a:xfrm>
          </p:grpSpPr>
          <p:sp>
            <p:nvSpPr>
              <p:cNvPr id="1307" name="Google Shape;5907;p93">
                <a:extLst>
                  <a:ext uri="{FF2B5EF4-FFF2-40B4-BE49-F238E27FC236}">
                    <a16:creationId xmlns:a16="http://schemas.microsoft.com/office/drawing/2014/main" id="{AF0B70D7-4C27-4618-8116-70B038BD2A35}"/>
                  </a:ext>
                </a:extLst>
              </p:cNvPr>
              <p:cNvSpPr/>
              <p:nvPr/>
            </p:nvSpPr>
            <p:spPr>
              <a:xfrm>
                <a:off x="2711750" y="3572300"/>
                <a:ext cx="230725" cy="538800"/>
              </a:xfrm>
              <a:custGeom>
                <a:avLst/>
                <a:gdLst/>
                <a:ahLst/>
                <a:cxnLst/>
                <a:rect l="l" t="t" r="r" b="b"/>
                <a:pathLst>
                  <a:path w="9229" h="21552" extrusionOk="0">
                    <a:moveTo>
                      <a:pt x="1947" y="0"/>
                    </a:moveTo>
                    <a:lnTo>
                      <a:pt x="1800" y="42"/>
                    </a:lnTo>
                    <a:lnTo>
                      <a:pt x="1570" y="293"/>
                    </a:lnTo>
                    <a:lnTo>
                      <a:pt x="1466" y="502"/>
                    </a:lnTo>
                    <a:lnTo>
                      <a:pt x="1382" y="607"/>
                    </a:lnTo>
                    <a:lnTo>
                      <a:pt x="1466" y="753"/>
                    </a:lnTo>
                    <a:lnTo>
                      <a:pt x="1298" y="1402"/>
                    </a:lnTo>
                    <a:lnTo>
                      <a:pt x="629" y="1779"/>
                    </a:lnTo>
                    <a:lnTo>
                      <a:pt x="566" y="1925"/>
                    </a:lnTo>
                    <a:lnTo>
                      <a:pt x="691" y="2030"/>
                    </a:lnTo>
                    <a:lnTo>
                      <a:pt x="733" y="2134"/>
                    </a:lnTo>
                    <a:lnTo>
                      <a:pt x="650" y="2281"/>
                    </a:lnTo>
                    <a:lnTo>
                      <a:pt x="670" y="2448"/>
                    </a:lnTo>
                    <a:lnTo>
                      <a:pt x="796" y="2616"/>
                    </a:lnTo>
                    <a:lnTo>
                      <a:pt x="796" y="2762"/>
                    </a:lnTo>
                    <a:lnTo>
                      <a:pt x="691" y="2846"/>
                    </a:lnTo>
                    <a:lnTo>
                      <a:pt x="670" y="2950"/>
                    </a:lnTo>
                    <a:lnTo>
                      <a:pt x="754" y="3013"/>
                    </a:lnTo>
                    <a:lnTo>
                      <a:pt x="796" y="3076"/>
                    </a:lnTo>
                    <a:lnTo>
                      <a:pt x="796" y="3243"/>
                    </a:lnTo>
                    <a:lnTo>
                      <a:pt x="859" y="3285"/>
                    </a:lnTo>
                    <a:lnTo>
                      <a:pt x="775" y="3390"/>
                    </a:lnTo>
                    <a:lnTo>
                      <a:pt x="670" y="3453"/>
                    </a:lnTo>
                    <a:lnTo>
                      <a:pt x="524" y="3599"/>
                    </a:lnTo>
                    <a:lnTo>
                      <a:pt x="357" y="3997"/>
                    </a:lnTo>
                    <a:lnTo>
                      <a:pt x="252" y="4164"/>
                    </a:lnTo>
                    <a:lnTo>
                      <a:pt x="210" y="4582"/>
                    </a:lnTo>
                    <a:lnTo>
                      <a:pt x="126" y="4645"/>
                    </a:lnTo>
                    <a:lnTo>
                      <a:pt x="147" y="5022"/>
                    </a:lnTo>
                    <a:lnTo>
                      <a:pt x="252" y="5210"/>
                    </a:lnTo>
                    <a:lnTo>
                      <a:pt x="252" y="5461"/>
                    </a:lnTo>
                    <a:lnTo>
                      <a:pt x="168" y="5566"/>
                    </a:lnTo>
                    <a:lnTo>
                      <a:pt x="168" y="5859"/>
                    </a:lnTo>
                    <a:lnTo>
                      <a:pt x="22" y="5942"/>
                    </a:lnTo>
                    <a:lnTo>
                      <a:pt x="1" y="6152"/>
                    </a:lnTo>
                    <a:lnTo>
                      <a:pt x="43" y="6424"/>
                    </a:lnTo>
                    <a:lnTo>
                      <a:pt x="147" y="6570"/>
                    </a:lnTo>
                    <a:lnTo>
                      <a:pt x="168" y="6675"/>
                    </a:lnTo>
                    <a:lnTo>
                      <a:pt x="315" y="6884"/>
                    </a:lnTo>
                    <a:lnTo>
                      <a:pt x="378" y="7051"/>
                    </a:lnTo>
                    <a:lnTo>
                      <a:pt x="461" y="7407"/>
                    </a:lnTo>
                    <a:lnTo>
                      <a:pt x="545" y="7470"/>
                    </a:lnTo>
                    <a:lnTo>
                      <a:pt x="587" y="7930"/>
                    </a:lnTo>
                    <a:lnTo>
                      <a:pt x="566" y="8181"/>
                    </a:lnTo>
                    <a:lnTo>
                      <a:pt x="461" y="8202"/>
                    </a:lnTo>
                    <a:lnTo>
                      <a:pt x="357" y="8453"/>
                    </a:lnTo>
                    <a:lnTo>
                      <a:pt x="378" y="8683"/>
                    </a:lnTo>
                    <a:lnTo>
                      <a:pt x="252" y="8872"/>
                    </a:lnTo>
                    <a:lnTo>
                      <a:pt x="336" y="8935"/>
                    </a:lnTo>
                    <a:lnTo>
                      <a:pt x="440" y="9123"/>
                    </a:lnTo>
                    <a:lnTo>
                      <a:pt x="461" y="9332"/>
                    </a:lnTo>
                    <a:lnTo>
                      <a:pt x="336" y="9458"/>
                    </a:lnTo>
                    <a:lnTo>
                      <a:pt x="210" y="9709"/>
                    </a:lnTo>
                    <a:lnTo>
                      <a:pt x="210" y="10085"/>
                    </a:lnTo>
                    <a:lnTo>
                      <a:pt x="210" y="10253"/>
                    </a:lnTo>
                    <a:lnTo>
                      <a:pt x="147" y="10483"/>
                    </a:lnTo>
                    <a:lnTo>
                      <a:pt x="482" y="11173"/>
                    </a:lnTo>
                    <a:lnTo>
                      <a:pt x="419" y="11278"/>
                    </a:lnTo>
                    <a:lnTo>
                      <a:pt x="252" y="11341"/>
                    </a:lnTo>
                    <a:lnTo>
                      <a:pt x="231" y="11655"/>
                    </a:lnTo>
                    <a:lnTo>
                      <a:pt x="22" y="11948"/>
                    </a:lnTo>
                    <a:lnTo>
                      <a:pt x="43" y="12157"/>
                    </a:lnTo>
                    <a:lnTo>
                      <a:pt x="147" y="12345"/>
                    </a:lnTo>
                    <a:lnTo>
                      <a:pt x="126" y="12764"/>
                    </a:lnTo>
                    <a:lnTo>
                      <a:pt x="147" y="13119"/>
                    </a:lnTo>
                    <a:lnTo>
                      <a:pt x="210" y="13391"/>
                    </a:lnTo>
                    <a:lnTo>
                      <a:pt x="315" y="13433"/>
                    </a:lnTo>
                    <a:lnTo>
                      <a:pt x="357" y="13538"/>
                    </a:lnTo>
                    <a:lnTo>
                      <a:pt x="336" y="13705"/>
                    </a:lnTo>
                    <a:lnTo>
                      <a:pt x="210" y="13789"/>
                    </a:lnTo>
                    <a:lnTo>
                      <a:pt x="231" y="14103"/>
                    </a:lnTo>
                    <a:cubicBezTo>
                      <a:pt x="252" y="14165"/>
                      <a:pt x="252" y="14270"/>
                      <a:pt x="273" y="14354"/>
                    </a:cubicBezTo>
                    <a:lnTo>
                      <a:pt x="273" y="14375"/>
                    </a:lnTo>
                    <a:lnTo>
                      <a:pt x="461" y="14437"/>
                    </a:lnTo>
                    <a:lnTo>
                      <a:pt x="461" y="14626"/>
                    </a:lnTo>
                    <a:lnTo>
                      <a:pt x="461" y="14772"/>
                    </a:lnTo>
                    <a:lnTo>
                      <a:pt x="566" y="15002"/>
                    </a:lnTo>
                    <a:lnTo>
                      <a:pt x="608" y="15274"/>
                    </a:lnTo>
                    <a:lnTo>
                      <a:pt x="712" y="15295"/>
                    </a:lnTo>
                    <a:lnTo>
                      <a:pt x="796" y="15253"/>
                    </a:lnTo>
                    <a:lnTo>
                      <a:pt x="880" y="15274"/>
                    </a:lnTo>
                    <a:lnTo>
                      <a:pt x="880" y="15400"/>
                    </a:lnTo>
                    <a:lnTo>
                      <a:pt x="754" y="15567"/>
                    </a:lnTo>
                    <a:lnTo>
                      <a:pt x="482" y="15567"/>
                    </a:lnTo>
                    <a:lnTo>
                      <a:pt x="440" y="15672"/>
                    </a:lnTo>
                    <a:lnTo>
                      <a:pt x="524" y="15735"/>
                    </a:lnTo>
                    <a:lnTo>
                      <a:pt x="545" y="15714"/>
                    </a:lnTo>
                    <a:lnTo>
                      <a:pt x="670" y="15714"/>
                    </a:lnTo>
                    <a:lnTo>
                      <a:pt x="859" y="15839"/>
                    </a:lnTo>
                    <a:lnTo>
                      <a:pt x="984" y="16049"/>
                    </a:lnTo>
                    <a:lnTo>
                      <a:pt x="984" y="16195"/>
                    </a:lnTo>
                    <a:lnTo>
                      <a:pt x="838" y="16321"/>
                    </a:lnTo>
                    <a:lnTo>
                      <a:pt x="838" y="16425"/>
                    </a:lnTo>
                    <a:lnTo>
                      <a:pt x="901" y="16572"/>
                    </a:lnTo>
                    <a:lnTo>
                      <a:pt x="963" y="16885"/>
                    </a:lnTo>
                    <a:lnTo>
                      <a:pt x="1047" y="17137"/>
                    </a:lnTo>
                    <a:lnTo>
                      <a:pt x="942" y="17241"/>
                    </a:lnTo>
                    <a:lnTo>
                      <a:pt x="901" y="17367"/>
                    </a:lnTo>
                    <a:lnTo>
                      <a:pt x="1005" y="17618"/>
                    </a:lnTo>
                    <a:lnTo>
                      <a:pt x="901" y="17764"/>
                    </a:lnTo>
                    <a:lnTo>
                      <a:pt x="859" y="18015"/>
                    </a:lnTo>
                    <a:lnTo>
                      <a:pt x="942" y="18246"/>
                    </a:lnTo>
                    <a:lnTo>
                      <a:pt x="984" y="18559"/>
                    </a:lnTo>
                    <a:lnTo>
                      <a:pt x="942" y="18852"/>
                    </a:lnTo>
                    <a:lnTo>
                      <a:pt x="733" y="19062"/>
                    </a:lnTo>
                    <a:lnTo>
                      <a:pt x="587" y="19250"/>
                    </a:lnTo>
                    <a:lnTo>
                      <a:pt x="524" y="19752"/>
                    </a:lnTo>
                    <a:cubicBezTo>
                      <a:pt x="545" y="19815"/>
                      <a:pt x="545" y="19898"/>
                      <a:pt x="566" y="19982"/>
                    </a:cubicBezTo>
                    <a:lnTo>
                      <a:pt x="796" y="20422"/>
                    </a:lnTo>
                    <a:lnTo>
                      <a:pt x="942" y="20422"/>
                    </a:lnTo>
                    <a:lnTo>
                      <a:pt x="1047" y="20317"/>
                    </a:lnTo>
                    <a:lnTo>
                      <a:pt x="1214" y="20233"/>
                    </a:lnTo>
                    <a:lnTo>
                      <a:pt x="1361" y="20233"/>
                    </a:lnTo>
                    <a:lnTo>
                      <a:pt x="1361" y="20401"/>
                    </a:lnTo>
                    <a:lnTo>
                      <a:pt x="1382" y="20735"/>
                    </a:lnTo>
                    <a:lnTo>
                      <a:pt x="1507" y="20840"/>
                    </a:lnTo>
                    <a:lnTo>
                      <a:pt x="1570" y="21049"/>
                    </a:lnTo>
                    <a:lnTo>
                      <a:pt x="1633" y="21279"/>
                    </a:lnTo>
                    <a:lnTo>
                      <a:pt x="1926" y="21321"/>
                    </a:lnTo>
                    <a:lnTo>
                      <a:pt x="2030" y="21363"/>
                    </a:lnTo>
                    <a:lnTo>
                      <a:pt x="2449" y="21279"/>
                    </a:lnTo>
                    <a:lnTo>
                      <a:pt x="3181" y="21279"/>
                    </a:lnTo>
                    <a:lnTo>
                      <a:pt x="3244" y="21342"/>
                    </a:lnTo>
                    <a:lnTo>
                      <a:pt x="3370" y="21363"/>
                    </a:lnTo>
                    <a:lnTo>
                      <a:pt x="3516" y="21489"/>
                    </a:lnTo>
                    <a:lnTo>
                      <a:pt x="3663" y="21551"/>
                    </a:lnTo>
                    <a:lnTo>
                      <a:pt x="3704" y="21551"/>
                    </a:lnTo>
                    <a:lnTo>
                      <a:pt x="3704" y="21447"/>
                    </a:lnTo>
                    <a:lnTo>
                      <a:pt x="3600" y="21363"/>
                    </a:lnTo>
                    <a:lnTo>
                      <a:pt x="3411" y="21238"/>
                    </a:lnTo>
                    <a:lnTo>
                      <a:pt x="3391" y="21133"/>
                    </a:lnTo>
                    <a:lnTo>
                      <a:pt x="3286" y="21028"/>
                    </a:lnTo>
                    <a:lnTo>
                      <a:pt x="3202" y="21049"/>
                    </a:lnTo>
                    <a:lnTo>
                      <a:pt x="3160" y="21007"/>
                    </a:lnTo>
                    <a:lnTo>
                      <a:pt x="3244" y="20945"/>
                    </a:lnTo>
                    <a:lnTo>
                      <a:pt x="3265" y="20861"/>
                    </a:lnTo>
                    <a:lnTo>
                      <a:pt x="3244" y="20840"/>
                    </a:lnTo>
                    <a:lnTo>
                      <a:pt x="3244" y="20756"/>
                    </a:lnTo>
                    <a:lnTo>
                      <a:pt x="3139" y="20505"/>
                    </a:lnTo>
                    <a:lnTo>
                      <a:pt x="3035" y="20317"/>
                    </a:lnTo>
                    <a:lnTo>
                      <a:pt x="2993" y="20129"/>
                    </a:lnTo>
                    <a:lnTo>
                      <a:pt x="3077" y="19961"/>
                    </a:lnTo>
                    <a:lnTo>
                      <a:pt x="3202" y="19857"/>
                    </a:lnTo>
                    <a:lnTo>
                      <a:pt x="3265" y="19752"/>
                    </a:lnTo>
                    <a:lnTo>
                      <a:pt x="3202" y="19689"/>
                    </a:lnTo>
                    <a:lnTo>
                      <a:pt x="3202" y="19585"/>
                    </a:lnTo>
                    <a:lnTo>
                      <a:pt x="3160" y="19501"/>
                    </a:lnTo>
                    <a:lnTo>
                      <a:pt x="3244" y="19564"/>
                    </a:lnTo>
                    <a:lnTo>
                      <a:pt x="3307" y="19647"/>
                    </a:lnTo>
                    <a:lnTo>
                      <a:pt x="3391" y="19668"/>
                    </a:lnTo>
                    <a:lnTo>
                      <a:pt x="3516" y="19564"/>
                    </a:lnTo>
                    <a:lnTo>
                      <a:pt x="3558" y="19480"/>
                    </a:lnTo>
                    <a:lnTo>
                      <a:pt x="3663" y="19354"/>
                    </a:lnTo>
                    <a:lnTo>
                      <a:pt x="3683" y="19250"/>
                    </a:lnTo>
                    <a:lnTo>
                      <a:pt x="3663" y="19062"/>
                    </a:lnTo>
                    <a:lnTo>
                      <a:pt x="3579" y="19041"/>
                    </a:lnTo>
                    <a:lnTo>
                      <a:pt x="3516" y="19082"/>
                    </a:lnTo>
                    <a:lnTo>
                      <a:pt x="3516" y="19082"/>
                    </a:lnTo>
                    <a:lnTo>
                      <a:pt x="3558" y="19020"/>
                    </a:lnTo>
                    <a:lnTo>
                      <a:pt x="3663" y="18915"/>
                    </a:lnTo>
                    <a:lnTo>
                      <a:pt x="3704" y="18769"/>
                    </a:lnTo>
                    <a:lnTo>
                      <a:pt x="3725" y="18643"/>
                    </a:lnTo>
                    <a:lnTo>
                      <a:pt x="3872" y="18518"/>
                    </a:lnTo>
                    <a:lnTo>
                      <a:pt x="3976" y="18518"/>
                    </a:lnTo>
                    <a:lnTo>
                      <a:pt x="4018" y="18392"/>
                    </a:lnTo>
                    <a:lnTo>
                      <a:pt x="4102" y="18287"/>
                    </a:lnTo>
                    <a:lnTo>
                      <a:pt x="4144" y="18246"/>
                    </a:lnTo>
                    <a:lnTo>
                      <a:pt x="4186" y="18141"/>
                    </a:lnTo>
                    <a:lnTo>
                      <a:pt x="4248" y="18099"/>
                    </a:lnTo>
                    <a:lnTo>
                      <a:pt x="4332" y="17994"/>
                    </a:lnTo>
                    <a:lnTo>
                      <a:pt x="4311" y="17932"/>
                    </a:lnTo>
                    <a:lnTo>
                      <a:pt x="4311" y="17869"/>
                    </a:lnTo>
                    <a:lnTo>
                      <a:pt x="4395" y="17806"/>
                    </a:lnTo>
                    <a:lnTo>
                      <a:pt x="4290" y="17702"/>
                    </a:lnTo>
                    <a:lnTo>
                      <a:pt x="4207" y="17702"/>
                    </a:lnTo>
                    <a:lnTo>
                      <a:pt x="4311" y="17597"/>
                    </a:lnTo>
                    <a:lnTo>
                      <a:pt x="4311" y="17492"/>
                    </a:lnTo>
                    <a:lnTo>
                      <a:pt x="4227" y="17367"/>
                    </a:lnTo>
                    <a:lnTo>
                      <a:pt x="4227" y="17423"/>
                    </a:lnTo>
                    <a:lnTo>
                      <a:pt x="4186" y="17409"/>
                    </a:lnTo>
                    <a:lnTo>
                      <a:pt x="4123" y="17429"/>
                    </a:lnTo>
                    <a:lnTo>
                      <a:pt x="4018" y="17429"/>
                    </a:lnTo>
                    <a:lnTo>
                      <a:pt x="3830" y="17471"/>
                    </a:lnTo>
                    <a:lnTo>
                      <a:pt x="3600" y="17262"/>
                    </a:lnTo>
                    <a:lnTo>
                      <a:pt x="3453" y="17137"/>
                    </a:lnTo>
                    <a:lnTo>
                      <a:pt x="3370" y="17095"/>
                    </a:lnTo>
                    <a:lnTo>
                      <a:pt x="3265" y="16990"/>
                    </a:lnTo>
                    <a:lnTo>
                      <a:pt x="3139" y="16781"/>
                    </a:lnTo>
                    <a:lnTo>
                      <a:pt x="3139" y="16655"/>
                    </a:lnTo>
                    <a:lnTo>
                      <a:pt x="3056" y="16551"/>
                    </a:lnTo>
                    <a:lnTo>
                      <a:pt x="3056" y="16467"/>
                    </a:lnTo>
                    <a:lnTo>
                      <a:pt x="3181" y="16362"/>
                    </a:lnTo>
                    <a:lnTo>
                      <a:pt x="3244" y="16258"/>
                    </a:lnTo>
                    <a:lnTo>
                      <a:pt x="3286" y="16132"/>
                    </a:lnTo>
                    <a:lnTo>
                      <a:pt x="3370" y="16111"/>
                    </a:lnTo>
                    <a:lnTo>
                      <a:pt x="3474" y="16007"/>
                    </a:lnTo>
                    <a:lnTo>
                      <a:pt x="3600" y="15986"/>
                    </a:lnTo>
                    <a:lnTo>
                      <a:pt x="3704" y="15881"/>
                    </a:lnTo>
                    <a:lnTo>
                      <a:pt x="3872" y="15839"/>
                    </a:lnTo>
                    <a:lnTo>
                      <a:pt x="3976" y="15881"/>
                    </a:lnTo>
                    <a:lnTo>
                      <a:pt x="4144" y="15839"/>
                    </a:lnTo>
                    <a:lnTo>
                      <a:pt x="4144" y="15797"/>
                    </a:lnTo>
                    <a:lnTo>
                      <a:pt x="4102" y="15735"/>
                    </a:lnTo>
                    <a:lnTo>
                      <a:pt x="3997" y="15693"/>
                    </a:lnTo>
                    <a:lnTo>
                      <a:pt x="4018" y="15630"/>
                    </a:lnTo>
                    <a:lnTo>
                      <a:pt x="4039" y="15567"/>
                    </a:lnTo>
                    <a:lnTo>
                      <a:pt x="4207" y="15463"/>
                    </a:lnTo>
                    <a:lnTo>
                      <a:pt x="4186" y="15421"/>
                    </a:lnTo>
                    <a:lnTo>
                      <a:pt x="4227" y="15358"/>
                    </a:lnTo>
                    <a:lnTo>
                      <a:pt x="4227" y="15295"/>
                    </a:lnTo>
                    <a:lnTo>
                      <a:pt x="4102" y="15128"/>
                    </a:lnTo>
                    <a:lnTo>
                      <a:pt x="4123" y="15065"/>
                    </a:lnTo>
                    <a:lnTo>
                      <a:pt x="4123" y="14981"/>
                    </a:lnTo>
                    <a:lnTo>
                      <a:pt x="4018" y="14940"/>
                    </a:lnTo>
                    <a:lnTo>
                      <a:pt x="3997" y="14772"/>
                    </a:lnTo>
                    <a:lnTo>
                      <a:pt x="4081" y="14668"/>
                    </a:lnTo>
                    <a:lnTo>
                      <a:pt x="4123" y="14563"/>
                    </a:lnTo>
                    <a:lnTo>
                      <a:pt x="4081" y="14521"/>
                    </a:lnTo>
                    <a:lnTo>
                      <a:pt x="4144" y="14437"/>
                    </a:lnTo>
                    <a:lnTo>
                      <a:pt x="4332" y="14354"/>
                    </a:lnTo>
                    <a:lnTo>
                      <a:pt x="4458" y="14249"/>
                    </a:lnTo>
                    <a:lnTo>
                      <a:pt x="4458" y="14207"/>
                    </a:lnTo>
                    <a:lnTo>
                      <a:pt x="4311" y="14144"/>
                    </a:lnTo>
                    <a:lnTo>
                      <a:pt x="4207" y="14144"/>
                    </a:lnTo>
                    <a:lnTo>
                      <a:pt x="4144" y="14061"/>
                    </a:lnTo>
                    <a:lnTo>
                      <a:pt x="4186" y="14019"/>
                    </a:lnTo>
                    <a:lnTo>
                      <a:pt x="4290" y="13935"/>
                    </a:lnTo>
                    <a:lnTo>
                      <a:pt x="4437" y="13893"/>
                    </a:lnTo>
                    <a:lnTo>
                      <a:pt x="4562" y="13956"/>
                    </a:lnTo>
                    <a:lnTo>
                      <a:pt x="4562" y="14040"/>
                    </a:lnTo>
                    <a:lnTo>
                      <a:pt x="4541" y="14082"/>
                    </a:lnTo>
                    <a:lnTo>
                      <a:pt x="4604" y="14186"/>
                    </a:lnTo>
                    <a:lnTo>
                      <a:pt x="4667" y="14228"/>
                    </a:lnTo>
                    <a:lnTo>
                      <a:pt x="4918" y="14082"/>
                    </a:lnTo>
                    <a:lnTo>
                      <a:pt x="4939" y="13998"/>
                    </a:lnTo>
                    <a:lnTo>
                      <a:pt x="4876" y="13852"/>
                    </a:lnTo>
                    <a:lnTo>
                      <a:pt x="4813" y="13747"/>
                    </a:lnTo>
                    <a:lnTo>
                      <a:pt x="4855" y="13726"/>
                    </a:lnTo>
                    <a:lnTo>
                      <a:pt x="4876" y="13621"/>
                    </a:lnTo>
                    <a:lnTo>
                      <a:pt x="4813" y="13496"/>
                    </a:lnTo>
                    <a:lnTo>
                      <a:pt x="4730" y="13496"/>
                    </a:lnTo>
                    <a:lnTo>
                      <a:pt x="4625" y="13559"/>
                    </a:lnTo>
                    <a:lnTo>
                      <a:pt x="4541" y="13559"/>
                    </a:lnTo>
                    <a:lnTo>
                      <a:pt x="4499" y="13621"/>
                    </a:lnTo>
                    <a:lnTo>
                      <a:pt x="4520" y="13642"/>
                    </a:lnTo>
                    <a:lnTo>
                      <a:pt x="4625" y="13684"/>
                    </a:lnTo>
                    <a:lnTo>
                      <a:pt x="4625" y="13726"/>
                    </a:lnTo>
                    <a:lnTo>
                      <a:pt x="4437" y="13789"/>
                    </a:lnTo>
                    <a:lnTo>
                      <a:pt x="4353" y="13747"/>
                    </a:lnTo>
                    <a:lnTo>
                      <a:pt x="4416" y="13705"/>
                    </a:lnTo>
                    <a:lnTo>
                      <a:pt x="4499" y="13684"/>
                    </a:lnTo>
                    <a:lnTo>
                      <a:pt x="4437" y="13642"/>
                    </a:lnTo>
                    <a:lnTo>
                      <a:pt x="4248" y="13642"/>
                    </a:lnTo>
                    <a:lnTo>
                      <a:pt x="4123" y="13580"/>
                    </a:lnTo>
                    <a:lnTo>
                      <a:pt x="4102" y="13475"/>
                    </a:lnTo>
                    <a:lnTo>
                      <a:pt x="4102" y="13203"/>
                    </a:lnTo>
                    <a:lnTo>
                      <a:pt x="4039" y="12994"/>
                    </a:lnTo>
                    <a:lnTo>
                      <a:pt x="3914" y="12889"/>
                    </a:lnTo>
                    <a:lnTo>
                      <a:pt x="3914" y="12680"/>
                    </a:lnTo>
                    <a:lnTo>
                      <a:pt x="4018" y="12575"/>
                    </a:lnTo>
                    <a:lnTo>
                      <a:pt x="4102" y="12575"/>
                    </a:lnTo>
                    <a:lnTo>
                      <a:pt x="4081" y="12659"/>
                    </a:lnTo>
                    <a:lnTo>
                      <a:pt x="4102" y="12680"/>
                    </a:lnTo>
                    <a:lnTo>
                      <a:pt x="4227" y="12680"/>
                    </a:lnTo>
                    <a:lnTo>
                      <a:pt x="4437" y="12764"/>
                    </a:lnTo>
                    <a:lnTo>
                      <a:pt x="4646" y="12910"/>
                    </a:lnTo>
                    <a:lnTo>
                      <a:pt x="4834" y="12973"/>
                    </a:lnTo>
                    <a:lnTo>
                      <a:pt x="5148" y="12973"/>
                    </a:lnTo>
                    <a:lnTo>
                      <a:pt x="5336" y="12847"/>
                    </a:lnTo>
                    <a:lnTo>
                      <a:pt x="5295" y="12805"/>
                    </a:lnTo>
                    <a:lnTo>
                      <a:pt x="5441" y="12701"/>
                    </a:lnTo>
                    <a:lnTo>
                      <a:pt x="5462" y="12596"/>
                    </a:lnTo>
                    <a:lnTo>
                      <a:pt x="5441" y="12533"/>
                    </a:lnTo>
                    <a:lnTo>
                      <a:pt x="5462" y="12471"/>
                    </a:lnTo>
                    <a:lnTo>
                      <a:pt x="5483" y="12366"/>
                    </a:lnTo>
                    <a:lnTo>
                      <a:pt x="5378" y="12345"/>
                    </a:lnTo>
                    <a:lnTo>
                      <a:pt x="5295" y="12220"/>
                    </a:lnTo>
                    <a:lnTo>
                      <a:pt x="5295" y="12115"/>
                    </a:lnTo>
                    <a:lnTo>
                      <a:pt x="5357" y="12031"/>
                    </a:lnTo>
                    <a:lnTo>
                      <a:pt x="5336" y="11968"/>
                    </a:lnTo>
                    <a:lnTo>
                      <a:pt x="5441" y="11864"/>
                    </a:lnTo>
                    <a:lnTo>
                      <a:pt x="5441" y="11843"/>
                    </a:lnTo>
                    <a:lnTo>
                      <a:pt x="5483" y="11843"/>
                    </a:lnTo>
                    <a:lnTo>
                      <a:pt x="5504" y="11759"/>
                    </a:lnTo>
                    <a:lnTo>
                      <a:pt x="5483" y="11655"/>
                    </a:lnTo>
                    <a:lnTo>
                      <a:pt x="5378" y="11655"/>
                    </a:lnTo>
                    <a:lnTo>
                      <a:pt x="5378" y="11613"/>
                    </a:lnTo>
                    <a:lnTo>
                      <a:pt x="5336" y="11529"/>
                    </a:lnTo>
                    <a:lnTo>
                      <a:pt x="5336" y="11320"/>
                    </a:lnTo>
                    <a:lnTo>
                      <a:pt x="5295" y="11236"/>
                    </a:lnTo>
                    <a:lnTo>
                      <a:pt x="5295" y="11131"/>
                    </a:lnTo>
                    <a:lnTo>
                      <a:pt x="5336" y="11111"/>
                    </a:lnTo>
                    <a:lnTo>
                      <a:pt x="5378" y="11194"/>
                    </a:lnTo>
                    <a:lnTo>
                      <a:pt x="5462" y="11194"/>
                    </a:lnTo>
                    <a:lnTo>
                      <a:pt x="5608" y="11236"/>
                    </a:lnTo>
                    <a:lnTo>
                      <a:pt x="5755" y="11320"/>
                    </a:lnTo>
                    <a:lnTo>
                      <a:pt x="5859" y="11320"/>
                    </a:lnTo>
                    <a:lnTo>
                      <a:pt x="6027" y="11299"/>
                    </a:lnTo>
                    <a:lnTo>
                      <a:pt x="6215" y="11320"/>
                    </a:lnTo>
                    <a:lnTo>
                      <a:pt x="6445" y="11320"/>
                    </a:lnTo>
                    <a:lnTo>
                      <a:pt x="6843" y="11215"/>
                    </a:lnTo>
                    <a:lnTo>
                      <a:pt x="7178" y="11069"/>
                    </a:lnTo>
                    <a:lnTo>
                      <a:pt x="7220" y="10985"/>
                    </a:lnTo>
                    <a:lnTo>
                      <a:pt x="7261" y="11027"/>
                    </a:lnTo>
                    <a:lnTo>
                      <a:pt x="7492" y="10964"/>
                    </a:lnTo>
                    <a:lnTo>
                      <a:pt x="7805" y="10776"/>
                    </a:lnTo>
                    <a:lnTo>
                      <a:pt x="7868" y="10671"/>
                    </a:lnTo>
                    <a:lnTo>
                      <a:pt x="7826" y="10546"/>
                    </a:lnTo>
                    <a:lnTo>
                      <a:pt x="7889" y="10357"/>
                    </a:lnTo>
                    <a:lnTo>
                      <a:pt x="7931" y="10336"/>
                    </a:lnTo>
                    <a:lnTo>
                      <a:pt x="7973" y="10378"/>
                    </a:lnTo>
                    <a:lnTo>
                      <a:pt x="8015" y="10336"/>
                    </a:lnTo>
                    <a:lnTo>
                      <a:pt x="8077" y="10148"/>
                    </a:lnTo>
                    <a:lnTo>
                      <a:pt x="8182" y="9960"/>
                    </a:lnTo>
                    <a:lnTo>
                      <a:pt x="8203" y="9855"/>
                    </a:lnTo>
                    <a:lnTo>
                      <a:pt x="8203" y="9625"/>
                    </a:lnTo>
                    <a:lnTo>
                      <a:pt x="8182" y="9520"/>
                    </a:lnTo>
                    <a:lnTo>
                      <a:pt x="8140" y="9520"/>
                    </a:lnTo>
                    <a:lnTo>
                      <a:pt x="8077" y="9604"/>
                    </a:lnTo>
                    <a:lnTo>
                      <a:pt x="7931" y="9604"/>
                    </a:lnTo>
                    <a:lnTo>
                      <a:pt x="7784" y="9499"/>
                    </a:lnTo>
                    <a:lnTo>
                      <a:pt x="7701" y="9332"/>
                    </a:lnTo>
                    <a:lnTo>
                      <a:pt x="7701" y="9248"/>
                    </a:lnTo>
                    <a:lnTo>
                      <a:pt x="7826" y="8976"/>
                    </a:lnTo>
                    <a:lnTo>
                      <a:pt x="7826" y="8872"/>
                    </a:lnTo>
                    <a:lnTo>
                      <a:pt x="7764" y="8788"/>
                    </a:lnTo>
                    <a:lnTo>
                      <a:pt x="7471" y="8558"/>
                    </a:lnTo>
                    <a:lnTo>
                      <a:pt x="7240" y="8453"/>
                    </a:lnTo>
                    <a:lnTo>
                      <a:pt x="6989" y="8265"/>
                    </a:lnTo>
                    <a:lnTo>
                      <a:pt x="6948" y="8160"/>
                    </a:lnTo>
                    <a:lnTo>
                      <a:pt x="6968" y="8139"/>
                    </a:lnTo>
                    <a:lnTo>
                      <a:pt x="6968" y="8035"/>
                    </a:lnTo>
                    <a:lnTo>
                      <a:pt x="6885" y="7951"/>
                    </a:lnTo>
                    <a:lnTo>
                      <a:pt x="6927" y="7888"/>
                    </a:lnTo>
                    <a:lnTo>
                      <a:pt x="6864" y="7679"/>
                    </a:lnTo>
                    <a:lnTo>
                      <a:pt x="6885" y="7449"/>
                    </a:lnTo>
                    <a:lnTo>
                      <a:pt x="6927" y="7240"/>
                    </a:lnTo>
                    <a:lnTo>
                      <a:pt x="7010" y="7156"/>
                    </a:lnTo>
                    <a:lnTo>
                      <a:pt x="7031" y="7093"/>
                    </a:lnTo>
                    <a:lnTo>
                      <a:pt x="6968" y="6905"/>
                    </a:lnTo>
                    <a:lnTo>
                      <a:pt x="6948" y="6633"/>
                    </a:lnTo>
                    <a:lnTo>
                      <a:pt x="7010" y="6591"/>
                    </a:lnTo>
                    <a:lnTo>
                      <a:pt x="6948" y="6403"/>
                    </a:lnTo>
                    <a:lnTo>
                      <a:pt x="7031" y="6277"/>
                    </a:lnTo>
                    <a:lnTo>
                      <a:pt x="7031" y="6173"/>
                    </a:lnTo>
                    <a:lnTo>
                      <a:pt x="7073" y="6089"/>
                    </a:lnTo>
                    <a:lnTo>
                      <a:pt x="7115" y="5838"/>
                    </a:lnTo>
                    <a:lnTo>
                      <a:pt x="7073" y="5733"/>
                    </a:lnTo>
                    <a:lnTo>
                      <a:pt x="7136" y="5650"/>
                    </a:lnTo>
                    <a:lnTo>
                      <a:pt x="7115" y="5461"/>
                    </a:lnTo>
                    <a:lnTo>
                      <a:pt x="7220" y="5336"/>
                    </a:lnTo>
                    <a:lnTo>
                      <a:pt x="7261" y="5210"/>
                    </a:lnTo>
                    <a:lnTo>
                      <a:pt x="7261" y="5168"/>
                    </a:lnTo>
                    <a:lnTo>
                      <a:pt x="7282" y="5126"/>
                    </a:lnTo>
                    <a:lnTo>
                      <a:pt x="7387" y="5043"/>
                    </a:lnTo>
                    <a:lnTo>
                      <a:pt x="7387" y="5001"/>
                    </a:lnTo>
                    <a:lnTo>
                      <a:pt x="7492" y="4833"/>
                    </a:lnTo>
                    <a:lnTo>
                      <a:pt x="7575" y="4750"/>
                    </a:lnTo>
                    <a:lnTo>
                      <a:pt x="7680" y="4541"/>
                    </a:lnTo>
                    <a:lnTo>
                      <a:pt x="7722" y="4478"/>
                    </a:lnTo>
                    <a:lnTo>
                      <a:pt x="7805" y="4436"/>
                    </a:lnTo>
                    <a:lnTo>
                      <a:pt x="7805" y="4310"/>
                    </a:lnTo>
                    <a:lnTo>
                      <a:pt x="7826" y="4227"/>
                    </a:lnTo>
                    <a:lnTo>
                      <a:pt x="8015" y="3997"/>
                    </a:lnTo>
                    <a:lnTo>
                      <a:pt x="8098" y="3997"/>
                    </a:lnTo>
                    <a:lnTo>
                      <a:pt x="8182" y="3976"/>
                    </a:lnTo>
                    <a:lnTo>
                      <a:pt x="8182" y="3850"/>
                    </a:lnTo>
                    <a:lnTo>
                      <a:pt x="8266" y="3808"/>
                    </a:lnTo>
                    <a:lnTo>
                      <a:pt x="8475" y="3641"/>
                    </a:lnTo>
                    <a:lnTo>
                      <a:pt x="8538" y="3599"/>
                    </a:lnTo>
                    <a:lnTo>
                      <a:pt x="8600" y="3536"/>
                    </a:lnTo>
                    <a:lnTo>
                      <a:pt x="8831" y="3369"/>
                    </a:lnTo>
                    <a:lnTo>
                      <a:pt x="8852" y="3390"/>
                    </a:lnTo>
                    <a:lnTo>
                      <a:pt x="8935" y="3327"/>
                    </a:lnTo>
                    <a:lnTo>
                      <a:pt x="8956" y="3264"/>
                    </a:lnTo>
                    <a:lnTo>
                      <a:pt x="9103" y="3181"/>
                    </a:lnTo>
                    <a:lnTo>
                      <a:pt x="9207" y="3181"/>
                    </a:lnTo>
                    <a:lnTo>
                      <a:pt x="9228" y="3118"/>
                    </a:lnTo>
                    <a:lnTo>
                      <a:pt x="9207" y="2909"/>
                    </a:lnTo>
                    <a:lnTo>
                      <a:pt x="9165" y="2657"/>
                    </a:lnTo>
                    <a:lnTo>
                      <a:pt x="9165" y="2490"/>
                    </a:lnTo>
                    <a:lnTo>
                      <a:pt x="9061" y="2239"/>
                    </a:lnTo>
                    <a:lnTo>
                      <a:pt x="9061" y="2134"/>
                    </a:lnTo>
                    <a:lnTo>
                      <a:pt x="8810" y="2113"/>
                    </a:lnTo>
                    <a:lnTo>
                      <a:pt x="8705" y="2197"/>
                    </a:lnTo>
                    <a:lnTo>
                      <a:pt x="8684" y="2218"/>
                    </a:lnTo>
                    <a:lnTo>
                      <a:pt x="8684" y="2385"/>
                    </a:lnTo>
                    <a:lnTo>
                      <a:pt x="8705" y="2427"/>
                    </a:lnTo>
                    <a:lnTo>
                      <a:pt x="8705" y="2637"/>
                    </a:lnTo>
                    <a:lnTo>
                      <a:pt x="8600" y="2720"/>
                    </a:lnTo>
                    <a:lnTo>
                      <a:pt x="8517" y="2846"/>
                    </a:lnTo>
                    <a:lnTo>
                      <a:pt x="8496" y="2971"/>
                    </a:lnTo>
                    <a:lnTo>
                      <a:pt x="8224" y="3160"/>
                    </a:lnTo>
                    <a:lnTo>
                      <a:pt x="8182" y="3327"/>
                    </a:lnTo>
                    <a:lnTo>
                      <a:pt x="8077" y="3453"/>
                    </a:lnTo>
                    <a:lnTo>
                      <a:pt x="7952" y="3432"/>
                    </a:lnTo>
                    <a:lnTo>
                      <a:pt x="7889" y="3453"/>
                    </a:lnTo>
                    <a:lnTo>
                      <a:pt x="7784" y="3599"/>
                    </a:lnTo>
                    <a:lnTo>
                      <a:pt x="7743" y="3557"/>
                    </a:lnTo>
                    <a:lnTo>
                      <a:pt x="7659" y="3557"/>
                    </a:lnTo>
                    <a:lnTo>
                      <a:pt x="7533" y="3599"/>
                    </a:lnTo>
                    <a:lnTo>
                      <a:pt x="7282" y="3453"/>
                    </a:lnTo>
                    <a:lnTo>
                      <a:pt x="6948" y="3348"/>
                    </a:lnTo>
                    <a:lnTo>
                      <a:pt x="6529" y="3390"/>
                    </a:lnTo>
                    <a:lnTo>
                      <a:pt x="6424" y="3390"/>
                    </a:lnTo>
                    <a:lnTo>
                      <a:pt x="6445" y="3264"/>
                    </a:lnTo>
                    <a:lnTo>
                      <a:pt x="6634" y="3076"/>
                    </a:lnTo>
                    <a:lnTo>
                      <a:pt x="6717" y="2846"/>
                    </a:lnTo>
                    <a:lnTo>
                      <a:pt x="6696" y="2720"/>
                    </a:lnTo>
                    <a:lnTo>
                      <a:pt x="6738" y="2616"/>
                    </a:lnTo>
                    <a:lnTo>
                      <a:pt x="6843" y="2532"/>
                    </a:lnTo>
                    <a:lnTo>
                      <a:pt x="6927" y="2406"/>
                    </a:lnTo>
                    <a:lnTo>
                      <a:pt x="6948" y="2281"/>
                    </a:lnTo>
                    <a:lnTo>
                      <a:pt x="6864" y="2134"/>
                    </a:lnTo>
                    <a:lnTo>
                      <a:pt x="6696" y="2009"/>
                    </a:lnTo>
                    <a:lnTo>
                      <a:pt x="6550" y="1862"/>
                    </a:lnTo>
                    <a:lnTo>
                      <a:pt x="6215" y="1800"/>
                    </a:lnTo>
                    <a:lnTo>
                      <a:pt x="5964" y="1674"/>
                    </a:lnTo>
                    <a:lnTo>
                      <a:pt x="5692" y="1465"/>
                    </a:lnTo>
                    <a:lnTo>
                      <a:pt x="5587" y="1444"/>
                    </a:lnTo>
                    <a:lnTo>
                      <a:pt x="5357" y="1339"/>
                    </a:lnTo>
                    <a:lnTo>
                      <a:pt x="5023" y="1256"/>
                    </a:lnTo>
                    <a:lnTo>
                      <a:pt x="4939" y="1088"/>
                    </a:lnTo>
                    <a:lnTo>
                      <a:pt x="4813" y="963"/>
                    </a:lnTo>
                    <a:lnTo>
                      <a:pt x="4667" y="942"/>
                    </a:lnTo>
                    <a:lnTo>
                      <a:pt x="4311" y="565"/>
                    </a:lnTo>
                    <a:lnTo>
                      <a:pt x="4186" y="314"/>
                    </a:lnTo>
                    <a:lnTo>
                      <a:pt x="4081" y="293"/>
                    </a:lnTo>
                    <a:lnTo>
                      <a:pt x="3935" y="147"/>
                    </a:lnTo>
                    <a:lnTo>
                      <a:pt x="3914" y="126"/>
                    </a:lnTo>
                    <a:lnTo>
                      <a:pt x="3809" y="21"/>
                    </a:lnTo>
                    <a:lnTo>
                      <a:pt x="3181" y="21"/>
                    </a:lnTo>
                    <a:lnTo>
                      <a:pt x="3077" y="147"/>
                    </a:lnTo>
                    <a:lnTo>
                      <a:pt x="3077" y="251"/>
                    </a:lnTo>
                    <a:lnTo>
                      <a:pt x="2993" y="356"/>
                    </a:lnTo>
                    <a:lnTo>
                      <a:pt x="2993" y="460"/>
                    </a:lnTo>
                    <a:lnTo>
                      <a:pt x="2951" y="544"/>
                    </a:lnTo>
                    <a:lnTo>
                      <a:pt x="2888" y="460"/>
                    </a:lnTo>
                    <a:lnTo>
                      <a:pt x="2826" y="230"/>
                    </a:lnTo>
                    <a:lnTo>
                      <a:pt x="2784" y="84"/>
                    </a:lnTo>
                    <a:lnTo>
                      <a:pt x="2679" y="42"/>
                    </a:lnTo>
                    <a:lnTo>
                      <a:pt x="2470" y="105"/>
                    </a:lnTo>
                    <a:lnTo>
                      <a:pt x="2344" y="84"/>
                    </a:lnTo>
                    <a:lnTo>
                      <a:pt x="2240" y="105"/>
                    </a:lnTo>
                    <a:lnTo>
                      <a:pt x="2093" y="126"/>
                    </a:lnTo>
                    <a:lnTo>
                      <a:pt x="194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 name="Google Shape;5908;p93">
                <a:extLst>
                  <a:ext uri="{FF2B5EF4-FFF2-40B4-BE49-F238E27FC236}">
                    <a16:creationId xmlns:a16="http://schemas.microsoft.com/office/drawing/2014/main" id="{813A0672-8E95-443B-BC3D-848A8207D46C}"/>
                  </a:ext>
                </a:extLst>
              </p:cNvPr>
              <p:cNvSpPr/>
              <p:nvPr/>
            </p:nvSpPr>
            <p:spPr>
              <a:xfrm>
                <a:off x="2804875" y="4134625"/>
                <a:ext cx="51800" cy="36100"/>
              </a:xfrm>
              <a:custGeom>
                <a:avLst/>
                <a:gdLst/>
                <a:ahLst/>
                <a:cxnLst/>
                <a:rect l="l" t="t" r="r" b="b"/>
                <a:pathLst>
                  <a:path w="2072" h="1444" extrusionOk="0">
                    <a:moveTo>
                      <a:pt x="0" y="0"/>
                    </a:moveTo>
                    <a:lnTo>
                      <a:pt x="272" y="1067"/>
                    </a:lnTo>
                    <a:lnTo>
                      <a:pt x="314" y="1067"/>
                    </a:lnTo>
                    <a:lnTo>
                      <a:pt x="502" y="1046"/>
                    </a:lnTo>
                    <a:lnTo>
                      <a:pt x="670" y="1046"/>
                    </a:lnTo>
                    <a:lnTo>
                      <a:pt x="816" y="1004"/>
                    </a:lnTo>
                    <a:lnTo>
                      <a:pt x="816" y="1046"/>
                    </a:lnTo>
                    <a:lnTo>
                      <a:pt x="712" y="1067"/>
                    </a:lnTo>
                    <a:lnTo>
                      <a:pt x="565" y="1130"/>
                    </a:lnTo>
                    <a:lnTo>
                      <a:pt x="293" y="1130"/>
                    </a:lnTo>
                    <a:lnTo>
                      <a:pt x="356" y="1360"/>
                    </a:lnTo>
                    <a:lnTo>
                      <a:pt x="398" y="1360"/>
                    </a:lnTo>
                    <a:lnTo>
                      <a:pt x="607" y="1276"/>
                    </a:lnTo>
                    <a:lnTo>
                      <a:pt x="837" y="1297"/>
                    </a:lnTo>
                    <a:lnTo>
                      <a:pt x="1005" y="1276"/>
                    </a:lnTo>
                    <a:lnTo>
                      <a:pt x="1235" y="1297"/>
                    </a:lnTo>
                    <a:lnTo>
                      <a:pt x="1360" y="1381"/>
                    </a:lnTo>
                    <a:lnTo>
                      <a:pt x="1507" y="1444"/>
                    </a:lnTo>
                    <a:lnTo>
                      <a:pt x="1632" y="1402"/>
                    </a:lnTo>
                    <a:lnTo>
                      <a:pt x="1737" y="1297"/>
                    </a:lnTo>
                    <a:lnTo>
                      <a:pt x="1758" y="1193"/>
                    </a:lnTo>
                    <a:lnTo>
                      <a:pt x="1883" y="1151"/>
                    </a:lnTo>
                    <a:lnTo>
                      <a:pt x="1946" y="1193"/>
                    </a:lnTo>
                    <a:lnTo>
                      <a:pt x="2072" y="1130"/>
                    </a:lnTo>
                    <a:lnTo>
                      <a:pt x="2072" y="1004"/>
                    </a:lnTo>
                    <a:lnTo>
                      <a:pt x="1967" y="983"/>
                    </a:lnTo>
                    <a:lnTo>
                      <a:pt x="1758" y="1046"/>
                    </a:lnTo>
                    <a:lnTo>
                      <a:pt x="1632" y="1004"/>
                    </a:lnTo>
                    <a:lnTo>
                      <a:pt x="1507" y="879"/>
                    </a:lnTo>
                    <a:lnTo>
                      <a:pt x="1318" y="837"/>
                    </a:lnTo>
                    <a:lnTo>
                      <a:pt x="1256" y="774"/>
                    </a:lnTo>
                    <a:lnTo>
                      <a:pt x="816" y="628"/>
                    </a:lnTo>
                    <a:lnTo>
                      <a:pt x="691" y="607"/>
                    </a:lnTo>
                    <a:lnTo>
                      <a:pt x="691" y="460"/>
                    </a:lnTo>
                    <a:lnTo>
                      <a:pt x="565" y="335"/>
                    </a:lnTo>
                    <a:lnTo>
                      <a:pt x="398" y="314"/>
                    </a:lnTo>
                    <a:lnTo>
                      <a:pt x="314" y="126"/>
                    </a:lnTo>
                    <a:lnTo>
                      <a:pt x="272" y="21"/>
                    </a:lnTo>
                    <a:lnTo>
                      <a:pt x="105" y="42"/>
                    </a:lnTo>
                    <a:lnTo>
                      <a:pt x="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44" name="Google Shape;5909;p93">
              <a:extLst>
                <a:ext uri="{FF2B5EF4-FFF2-40B4-BE49-F238E27FC236}">
                  <a16:creationId xmlns:a16="http://schemas.microsoft.com/office/drawing/2014/main" id="{BE2C506D-71A3-4693-93B8-A671E2A15478}"/>
                </a:ext>
              </a:extLst>
            </p:cNvPr>
            <p:cNvSpPr/>
            <p:nvPr/>
          </p:nvSpPr>
          <p:spPr>
            <a:xfrm>
              <a:off x="4563295" y="2964728"/>
              <a:ext cx="12467" cy="27863"/>
            </a:xfrm>
            <a:custGeom>
              <a:avLst/>
              <a:gdLst/>
              <a:ahLst/>
              <a:cxnLst/>
              <a:rect l="l" t="t" r="r" b="b"/>
              <a:pathLst>
                <a:path w="1047" h="2450" extrusionOk="0">
                  <a:moveTo>
                    <a:pt x="691" y="1"/>
                  </a:moveTo>
                  <a:lnTo>
                    <a:pt x="628" y="43"/>
                  </a:lnTo>
                  <a:lnTo>
                    <a:pt x="628" y="127"/>
                  </a:lnTo>
                  <a:lnTo>
                    <a:pt x="524" y="147"/>
                  </a:lnTo>
                  <a:lnTo>
                    <a:pt x="398" y="315"/>
                  </a:lnTo>
                  <a:lnTo>
                    <a:pt x="294" y="482"/>
                  </a:lnTo>
                  <a:lnTo>
                    <a:pt x="315" y="545"/>
                  </a:lnTo>
                  <a:lnTo>
                    <a:pt x="294" y="629"/>
                  </a:lnTo>
                  <a:lnTo>
                    <a:pt x="231" y="671"/>
                  </a:lnTo>
                  <a:lnTo>
                    <a:pt x="105" y="880"/>
                  </a:lnTo>
                  <a:lnTo>
                    <a:pt x="63" y="1110"/>
                  </a:lnTo>
                  <a:lnTo>
                    <a:pt x="1" y="1152"/>
                  </a:lnTo>
                  <a:lnTo>
                    <a:pt x="63" y="1194"/>
                  </a:lnTo>
                  <a:lnTo>
                    <a:pt x="63" y="1424"/>
                  </a:lnTo>
                  <a:lnTo>
                    <a:pt x="84" y="1675"/>
                  </a:lnTo>
                  <a:lnTo>
                    <a:pt x="126" y="1696"/>
                  </a:lnTo>
                  <a:lnTo>
                    <a:pt x="168" y="1780"/>
                  </a:lnTo>
                  <a:lnTo>
                    <a:pt x="126" y="1780"/>
                  </a:lnTo>
                  <a:lnTo>
                    <a:pt x="105" y="1842"/>
                  </a:lnTo>
                  <a:lnTo>
                    <a:pt x="189" y="1947"/>
                  </a:lnTo>
                  <a:lnTo>
                    <a:pt x="231" y="1947"/>
                  </a:lnTo>
                  <a:lnTo>
                    <a:pt x="273" y="2031"/>
                  </a:lnTo>
                  <a:lnTo>
                    <a:pt x="419" y="2093"/>
                  </a:lnTo>
                  <a:lnTo>
                    <a:pt x="503" y="2219"/>
                  </a:lnTo>
                  <a:lnTo>
                    <a:pt x="503" y="2344"/>
                  </a:lnTo>
                  <a:lnTo>
                    <a:pt x="503" y="2449"/>
                  </a:lnTo>
                  <a:lnTo>
                    <a:pt x="587" y="2407"/>
                  </a:lnTo>
                  <a:lnTo>
                    <a:pt x="691" y="2449"/>
                  </a:lnTo>
                  <a:lnTo>
                    <a:pt x="691" y="2449"/>
                  </a:lnTo>
                  <a:lnTo>
                    <a:pt x="649" y="2324"/>
                  </a:lnTo>
                  <a:lnTo>
                    <a:pt x="691" y="2198"/>
                  </a:lnTo>
                  <a:lnTo>
                    <a:pt x="628" y="2010"/>
                  </a:lnTo>
                  <a:lnTo>
                    <a:pt x="712" y="1884"/>
                  </a:lnTo>
                  <a:lnTo>
                    <a:pt x="859" y="1675"/>
                  </a:lnTo>
                  <a:lnTo>
                    <a:pt x="859" y="1528"/>
                  </a:lnTo>
                  <a:lnTo>
                    <a:pt x="880" y="1487"/>
                  </a:lnTo>
                  <a:lnTo>
                    <a:pt x="838" y="1466"/>
                  </a:lnTo>
                  <a:lnTo>
                    <a:pt x="880" y="1256"/>
                  </a:lnTo>
                  <a:lnTo>
                    <a:pt x="880" y="1089"/>
                  </a:lnTo>
                  <a:lnTo>
                    <a:pt x="859" y="943"/>
                  </a:lnTo>
                  <a:lnTo>
                    <a:pt x="942" y="796"/>
                  </a:lnTo>
                  <a:lnTo>
                    <a:pt x="963" y="524"/>
                  </a:lnTo>
                  <a:lnTo>
                    <a:pt x="1005" y="357"/>
                  </a:lnTo>
                  <a:lnTo>
                    <a:pt x="1047" y="336"/>
                  </a:lnTo>
                  <a:lnTo>
                    <a:pt x="1026" y="252"/>
                  </a:lnTo>
                  <a:lnTo>
                    <a:pt x="921" y="168"/>
                  </a:lnTo>
                  <a:lnTo>
                    <a:pt x="880" y="168"/>
                  </a:lnTo>
                  <a:lnTo>
                    <a:pt x="817" y="43"/>
                  </a:lnTo>
                  <a:lnTo>
                    <a:pt x="69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45" name="Google Shape;5910;p93">
              <a:extLst>
                <a:ext uri="{FF2B5EF4-FFF2-40B4-BE49-F238E27FC236}">
                  <a16:creationId xmlns:a16="http://schemas.microsoft.com/office/drawing/2014/main" id="{A067842A-4685-4DAB-9EBE-0658B05CDD0F}"/>
                </a:ext>
              </a:extLst>
            </p:cNvPr>
            <p:cNvGrpSpPr/>
            <p:nvPr/>
          </p:nvGrpSpPr>
          <p:grpSpPr>
            <a:xfrm>
              <a:off x="3790439" y="2408636"/>
              <a:ext cx="73017" cy="75684"/>
              <a:chOff x="3781475" y="1624825"/>
              <a:chExt cx="153300" cy="166375"/>
            </a:xfrm>
          </p:grpSpPr>
          <p:sp>
            <p:nvSpPr>
              <p:cNvPr id="1303" name="Google Shape;5911;p93">
                <a:extLst>
                  <a:ext uri="{FF2B5EF4-FFF2-40B4-BE49-F238E27FC236}">
                    <a16:creationId xmlns:a16="http://schemas.microsoft.com/office/drawing/2014/main" id="{95159B27-2DCD-4FB6-AE3B-D628B35D1FCE}"/>
                  </a:ext>
                </a:extLst>
              </p:cNvPr>
              <p:cNvSpPr/>
              <p:nvPr/>
            </p:nvSpPr>
            <p:spPr>
              <a:xfrm>
                <a:off x="3845300" y="1624825"/>
                <a:ext cx="89475" cy="60700"/>
              </a:xfrm>
              <a:custGeom>
                <a:avLst/>
                <a:gdLst/>
                <a:ahLst/>
                <a:cxnLst/>
                <a:rect l="l" t="t" r="r" b="b"/>
                <a:pathLst>
                  <a:path w="3579" h="2428" extrusionOk="0">
                    <a:moveTo>
                      <a:pt x="1695" y="1"/>
                    </a:moveTo>
                    <a:lnTo>
                      <a:pt x="1674" y="84"/>
                    </a:lnTo>
                    <a:lnTo>
                      <a:pt x="1716" y="168"/>
                    </a:lnTo>
                    <a:lnTo>
                      <a:pt x="1758" y="252"/>
                    </a:lnTo>
                    <a:lnTo>
                      <a:pt x="1674" y="210"/>
                    </a:lnTo>
                    <a:lnTo>
                      <a:pt x="1611" y="168"/>
                    </a:lnTo>
                    <a:lnTo>
                      <a:pt x="1570" y="189"/>
                    </a:lnTo>
                    <a:lnTo>
                      <a:pt x="1570" y="293"/>
                    </a:lnTo>
                    <a:lnTo>
                      <a:pt x="1653" y="377"/>
                    </a:lnTo>
                    <a:lnTo>
                      <a:pt x="1653" y="482"/>
                    </a:lnTo>
                    <a:lnTo>
                      <a:pt x="1611" y="586"/>
                    </a:lnTo>
                    <a:lnTo>
                      <a:pt x="1611" y="712"/>
                    </a:lnTo>
                    <a:lnTo>
                      <a:pt x="1674" y="879"/>
                    </a:lnTo>
                    <a:lnTo>
                      <a:pt x="1653" y="984"/>
                    </a:lnTo>
                    <a:lnTo>
                      <a:pt x="1591" y="984"/>
                    </a:lnTo>
                    <a:lnTo>
                      <a:pt x="1570" y="879"/>
                    </a:lnTo>
                    <a:lnTo>
                      <a:pt x="1465" y="796"/>
                    </a:lnTo>
                    <a:lnTo>
                      <a:pt x="1360" y="733"/>
                    </a:lnTo>
                    <a:lnTo>
                      <a:pt x="1339" y="670"/>
                    </a:lnTo>
                    <a:lnTo>
                      <a:pt x="1381" y="586"/>
                    </a:lnTo>
                    <a:lnTo>
                      <a:pt x="1381" y="524"/>
                    </a:lnTo>
                    <a:lnTo>
                      <a:pt x="1298" y="503"/>
                    </a:lnTo>
                    <a:lnTo>
                      <a:pt x="1193" y="565"/>
                    </a:lnTo>
                    <a:lnTo>
                      <a:pt x="1151" y="565"/>
                    </a:lnTo>
                    <a:lnTo>
                      <a:pt x="1130" y="607"/>
                    </a:lnTo>
                    <a:lnTo>
                      <a:pt x="1026" y="670"/>
                    </a:lnTo>
                    <a:lnTo>
                      <a:pt x="942" y="628"/>
                    </a:lnTo>
                    <a:lnTo>
                      <a:pt x="942" y="586"/>
                    </a:lnTo>
                    <a:lnTo>
                      <a:pt x="942" y="524"/>
                    </a:lnTo>
                    <a:lnTo>
                      <a:pt x="879" y="524"/>
                    </a:lnTo>
                    <a:lnTo>
                      <a:pt x="816" y="461"/>
                    </a:lnTo>
                    <a:lnTo>
                      <a:pt x="775" y="356"/>
                    </a:lnTo>
                    <a:lnTo>
                      <a:pt x="712" y="314"/>
                    </a:lnTo>
                    <a:lnTo>
                      <a:pt x="649" y="356"/>
                    </a:lnTo>
                    <a:lnTo>
                      <a:pt x="565" y="273"/>
                    </a:lnTo>
                    <a:lnTo>
                      <a:pt x="607" y="189"/>
                    </a:lnTo>
                    <a:lnTo>
                      <a:pt x="565" y="84"/>
                    </a:lnTo>
                    <a:lnTo>
                      <a:pt x="523" y="63"/>
                    </a:lnTo>
                    <a:lnTo>
                      <a:pt x="461" y="147"/>
                    </a:lnTo>
                    <a:lnTo>
                      <a:pt x="440" y="293"/>
                    </a:lnTo>
                    <a:lnTo>
                      <a:pt x="461" y="419"/>
                    </a:lnTo>
                    <a:lnTo>
                      <a:pt x="544" y="565"/>
                    </a:lnTo>
                    <a:lnTo>
                      <a:pt x="565" y="712"/>
                    </a:lnTo>
                    <a:lnTo>
                      <a:pt x="523" y="733"/>
                    </a:lnTo>
                    <a:lnTo>
                      <a:pt x="440" y="649"/>
                    </a:lnTo>
                    <a:lnTo>
                      <a:pt x="419" y="545"/>
                    </a:lnTo>
                    <a:lnTo>
                      <a:pt x="398" y="524"/>
                    </a:lnTo>
                    <a:lnTo>
                      <a:pt x="398" y="628"/>
                    </a:lnTo>
                    <a:lnTo>
                      <a:pt x="419" y="754"/>
                    </a:lnTo>
                    <a:lnTo>
                      <a:pt x="461" y="837"/>
                    </a:lnTo>
                    <a:lnTo>
                      <a:pt x="461" y="921"/>
                    </a:lnTo>
                    <a:lnTo>
                      <a:pt x="440" y="1005"/>
                    </a:lnTo>
                    <a:lnTo>
                      <a:pt x="419" y="984"/>
                    </a:lnTo>
                    <a:lnTo>
                      <a:pt x="356" y="837"/>
                    </a:lnTo>
                    <a:lnTo>
                      <a:pt x="314" y="796"/>
                    </a:lnTo>
                    <a:lnTo>
                      <a:pt x="105" y="817"/>
                    </a:lnTo>
                    <a:lnTo>
                      <a:pt x="21" y="775"/>
                    </a:lnTo>
                    <a:lnTo>
                      <a:pt x="0" y="775"/>
                    </a:lnTo>
                    <a:lnTo>
                      <a:pt x="63" y="879"/>
                    </a:lnTo>
                    <a:lnTo>
                      <a:pt x="126" y="879"/>
                    </a:lnTo>
                    <a:lnTo>
                      <a:pt x="189" y="921"/>
                    </a:lnTo>
                    <a:lnTo>
                      <a:pt x="168" y="984"/>
                    </a:lnTo>
                    <a:lnTo>
                      <a:pt x="189" y="1026"/>
                    </a:lnTo>
                    <a:lnTo>
                      <a:pt x="293" y="1026"/>
                    </a:lnTo>
                    <a:lnTo>
                      <a:pt x="314" y="1068"/>
                    </a:lnTo>
                    <a:lnTo>
                      <a:pt x="168" y="1172"/>
                    </a:lnTo>
                    <a:lnTo>
                      <a:pt x="168" y="1235"/>
                    </a:lnTo>
                    <a:lnTo>
                      <a:pt x="293" y="1423"/>
                    </a:lnTo>
                    <a:lnTo>
                      <a:pt x="377" y="1444"/>
                    </a:lnTo>
                    <a:lnTo>
                      <a:pt x="461" y="1486"/>
                    </a:lnTo>
                    <a:lnTo>
                      <a:pt x="607" y="1486"/>
                    </a:lnTo>
                    <a:lnTo>
                      <a:pt x="691" y="1465"/>
                    </a:lnTo>
                    <a:lnTo>
                      <a:pt x="754" y="1528"/>
                    </a:lnTo>
                    <a:lnTo>
                      <a:pt x="816" y="1528"/>
                    </a:lnTo>
                    <a:lnTo>
                      <a:pt x="942" y="1444"/>
                    </a:lnTo>
                    <a:lnTo>
                      <a:pt x="1026" y="1423"/>
                    </a:lnTo>
                    <a:lnTo>
                      <a:pt x="1235" y="1381"/>
                    </a:lnTo>
                    <a:lnTo>
                      <a:pt x="1381" y="1381"/>
                    </a:lnTo>
                    <a:lnTo>
                      <a:pt x="1465" y="1340"/>
                    </a:lnTo>
                    <a:lnTo>
                      <a:pt x="1528" y="1340"/>
                    </a:lnTo>
                    <a:lnTo>
                      <a:pt x="1570" y="1361"/>
                    </a:lnTo>
                    <a:lnTo>
                      <a:pt x="1570" y="1423"/>
                    </a:lnTo>
                    <a:lnTo>
                      <a:pt x="1549" y="1465"/>
                    </a:lnTo>
                    <a:lnTo>
                      <a:pt x="1507" y="1549"/>
                    </a:lnTo>
                    <a:lnTo>
                      <a:pt x="1465" y="1570"/>
                    </a:lnTo>
                    <a:lnTo>
                      <a:pt x="1339" y="1549"/>
                    </a:lnTo>
                    <a:lnTo>
                      <a:pt x="1214" y="1549"/>
                    </a:lnTo>
                    <a:lnTo>
                      <a:pt x="1109" y="1528"/>
                    </a:lnTo>
                    <a:lnTo>
                      <a:pt x="1067" y="1570"/>
                    </a:lnTo>
                    <a:lnTo>
                      <a:pt x="1130" y="1591"/>
                    </a:lnTo>
                    <a:lnTo>
                      <a:pt x="1298" y="1653"/>
                    </a:lnTo>
                    <a:lnTo>
                      <a:pt x="1360" y="1695"/>
                    </a:lnTo>
                    <a:lnTo>
                      <a:pt x="1360" y="1758"/>
                    </a:lnTo>
                    <a:lnTo>
                      <a:pt x="1298" y="1758"/>
                    </a:lnTo>
                    <a:lnTo>
                      <a:pt x="1172" y="1695"/>
                    </a:lnTo>
                    <a:lnTo>
                      <a:pt x="1151" y="1758"/>
                    </a:lnTo>
                    <a:lnTo>
                      <a:pt x="1088" y="1758"/>
                    </a:lnTo>
                    <a:lnTo>
                      <a:pt x="984" y="1674"/>
                    </a:lnTo>
                    <a:lnTo>
                      <a:pt x="900" y="1653"/>
                    </a:lnTo>
                    <a:lnTo>
                      <a:pt x="754" y="1695"/>
                    </a:lnTo>
                    <a:lnTo>
                      <a:pt x="754" y="1758"/>
                    </a:lnTo>
                    <a:lnTo>
                      <a:pt x="837" y="1779"/>
                    </a:lnTo>
                    <a:lnTo>
                      <a:pt x="1047" y="1967"/>
                    </a:lnTo>
                    <a:lnTo>
                      <a:pt x="1130" y="1988"/>
                    </a:lnTo>
                    <a:lnTo>
                      <a:pt x="1235" y="1946"/>
                    </a:lnTo>
                    <a:lnTo>
                      <a:pt x="1277" y="1967"/>
                    </a:lnTo>
                    <a:lnTo>
                      <a:pt x="1339" y="2072"/>
                    </a:lnTo>
                    <a:lnTo>
                      <a:pt x="1339" y="2156"/>
                    </a:lnTo>
                    <a:lnTo>
                      <a:pt x="1423" y="2177"/>
                    </a:lnTo>
                    <a:lnTo>
                      <a:pt x="1507" y="2156"/>
                    </a:lnTo>
                    <a:lnTo>
                      <a:pt x="1674" y="2156"/>
                    </a:lnTo>
                    <a:lnTo>
                      <a:pt x="1842" y="2093"/>
                    </a:lnTo>
                    <a:lnTo>
                      <a:pt x="1946" y="2093"/>
                    </a:lnTo>
                    <a:lnTo>
                      <a:pt x="2093" y="2072"/>
                    </a:lnTo>
                    <a:lnTo>
                      <a:pt x="2093" y="2114"/>
                    </a:lnTo>
                    <a:lnTo>
                      <a:pt x="2072" y="2218"/>
                    </a:lnTo>
                    <a:lnTo>
                      <a:pt x="2093" y="2323"/>
                    </a:lnTo>
                    <a:lnTo>
                      <a:pt x="2218" y="2407"/>
                    </a:lnTo>
                    <a:lnTo>
                      <a:pt x="2365" y="2428"/>
                    </a:lnTo>
                    <a:lnTo>
                      <a:pt x="2532" y="2386"/>
                    </a:lnTo>
                    <a:lnTo>
                      <a:pt x="2574" y="2323"/>
                    </a:lnTo>
                    <a:lnTo>
                      <a:pt x="2532" y="2281"/>
                    </a:lnTo>
                    <a:lnTo>
                      <a:pt x="2532" y="2218"/>
                    </a:lnTo>
                    <a:lnTo>
                      <a:pt x="2595" y="2156"/>
                    </a:lnTo>
                    <a:lnTo>
                      <a:pt x="2699" y="2051"/>
                    </a:lnTo>
                    <a:lnTo>
                      <a:pt x="2783" y="2009"/>
                    </a:lnTo>
                    <a:lnTo>
                      <a:pt x="2846" y="2072"/>
                    </a:lnTo>
                    <a:lnTo>
                      <a:pt x="2930" y="2114"/>
                    </a:lnTo>
                    <a:lnTo>
                      <a:pt x="3034" y="2114"/>
                    </a:lnTo>
                    <a:lnTo>
                      <a:pt x="3160" y="2051"/>
                    </a:lnTo>
                    <a:lnTo>
                      <a:pt x="3202" y="1988"/>
                    </a:lnTo>
                    <a:lnTo>
                      <a:pt x="3160" y="1842"/>
                    </a:lnTo>
                    <a:lnTo>
                      <a:pt x="3139" y="1758"/>
                    </a:lnTo>
                    <a:lnTo>
                      <a:pt x="3181" y="1674"/>
                    </a:lnTo>
                    <a:lnTo>
                      <a:pt x="3264" y="1591"/>
                    </a:lnTo>
                    <a:lnTo>
                      <a:pt x="3348" y="1423"/>
                    </a:lnTo>
                    <a:lnTo>
                      <a:pt x="3432" y="1319"/>
                    </a:lnTo>
                    <a:lnTo>
                      <a:pt x="3557" y="1172"/>
                    </a:lnTo>
                    <a:lnTo>
                      <a:pt x="3578" y="1068"/>
                    </a:lnTo>
                    <a:lnTo>
                      <a:pt x="3578" y="1005"/>
                    </a:lnTo>
                    <a:lnTo>
                      <a:pt x="3557" y="900"/>
                    </a:lnTo>
                    <a:lnTo>
                      <a:pt x="3536" y="817"/>
                    </a:lnTo>
                    <a:lnTo>
                      <a:pt x="3557" y="754"/>
                    </a:lnTo>
                    <a:lnTo>
                      <a:pt x="3557" y="712"/>
                    </a:lnTo>
                    <a:lnTo>
                      <a:pt x="3516" y="691"/>
                    </a:lnTo>
                    <a:lnTo>
                      <a:pt x="3348" y="691"/>
                    </a:lnTo>
                    <a:lnTo>
                      <a:pt x="3264" y="607"/>
                    </a:lnTo>
                    <a:lnTo>
                      <a:pt x="3223" y="607"/>
                    </a:lnTo>
                    <a:lnTo>
                      <a:pt x="3034" y="628"/>
                    </a:lnTo>
                    <a:lnTo>
                      <a:pt x="2930" y="607"/>
                    </a:lnTo>
                    <a:lnTo>
                      <a:pt x="2846" y="545"/>
                    </a:lnTo>
                    <a:lnTo>
                      <a:pt x="2741" y="545"/>
                    </a:lnTo>
                    <a:lnTo>
                      <a:pt x="2679" y="503"/>
                    </a:lnTo>
                    <a:lnTo>
                      <a:pt x="2679" y="440"/>
                    </a:lnTo>
                    <a:lnTo>
                      <a:pt x="2637" y="419"/>
                    </a:lnTo>
                    <a:lnTo>
                      <a:pt x="2532" y="482"/>
                    </a:lnTo>
                    <a:lnTo>
                      <a:pt x="2532" y="419"/>
                    </a:lnTo>
                    <a:lnTo>
                      <a:pt x="2532" y="335"/>
                    </a:lnTo>
                    <a:lnTo>
                      <a:pt x="2532" y="293"/>
                    </a:lnTo>
                    <a:lnTo>
                      <a:pt x="2490" y="335"/>
                    </a:lnTo>
                    <a:lnTo>
                      <a:pt x="2469" y="440"/>
                    </a:lnTo>
                    <a:lnTo>
                      <a:pt x="2407" y="482"/>
                    </a:lnTo>
                    <a:lnTo>
                      <a:pt x="2386" y="335"/>
                    </a:lnTo>
                    <a:lnTo>
                      <a:pt x="2344" y="335"/>
                    </a:lnTo>
                    <a:lnTo>
                      <a:pt x="2302" y="398"/>
                    </a:lnTo>
                    <a:lnTo>
                      <a:pt x="2323" y="440"/>
                    </a:lnTo>
                    <a:lnTo>
                      <a:pt x="2302" y="503"/>
                    </a:lnTo>
                    <a:lnTo>
                      <a:pt x="2093" y="503"/>
                    </a:lnTo>
                    <a:lnTo>
                      <a:pt x="2093" y="607"/>
                    </a:lnTo>
                    <a:lnTo>
                      <a:pt x="2072" y="691"/>
                    </a:lnTo>
                    <a:lnTo>
                      <a:pt x="1988" y="670"/>
                    </a:lnTo>
                    <a:lnTo>
                      <a:pt x="1967" y="586"/>
                    </a:lnTo>
                    <a:lnTo>
                      <a:pt x="1925" y="586"/>
                    </a:lnTo>
                    <a:lnTo>
                      <a:pt x="1925" y="670"/>
                    </a:lnTo>
                    <a:lnTo>
                      <a:pt x="1904" y="733"/>
                    </a:lnTo>
                    <a:lnTo>
                      <a:pt x="1883" y="691"/>
                    </a:lnTo>
                    <a:lnTo>
                      <a:pt x="1883" y="607"/>
                    </a:lnTo>
                    <a:lnTo>
                      <a:pt x="1904" y="482"/>
                    </a:lnTo>
                    <a:lnTo>
                      <a:pt x="1904" y="252"/>
                    </a:lnTo>
                    <a:lnTo>
                      <a:pt x="1883" y="168"/>
                    </a:lnTo>
                    <a:lnTo>
                      <a:pt x="1779" y="84"/>
                    </a:lnTo>
                    <a:lnTo>
                      <a:pt x="171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 name="Google Shape;5912;p93">
                <a:extLst>
                  <a:ext uri="{FF2B5EF4-FFF2-40B4-BE49-F238E27FC236}">
                    <a16:creationId xmlns:a16="http://schemas.microsoft.com/office/drawing/2014/main" id="{4670728C-6307-47AF-9544-B077B2B6DAA8}"/>
                  </a:ext>
                </a:extLst>
              </p:cNvPr>
              <p:cNvSpPr/>
              <p:nvPr/>
            </p:nvSpPr>
            <p:spPr>
              <a:xfrm>
                <a:off x="3875625" y="1704850"/>
                <a:ext cx="21475" cy="18350"/>
              </a:xfrm>
              <a:custGeom>
                <a:avLst/>
                <a:gdLst/>
                <a:ahLst/>
                <a:cxnLst/>
                <a:rect l="l" t="t" r="r" b="b"/>
                <a:pathLst>
                  <a:path w="859" h="734" extrusionOk="0">
                    <a:moveTo>
                      <a:pt x="650" y="1"/>
                    </a:moveTo>
                    <a:lnTo>
                      <a:pt x="587" y="43"/>
                    </a:lnTo>
                    <a:lnTo>
                      <a:pt x="419" y="126"/>
                    </a:lnTo>
                    <a:lnTo>
                      <a:pt x="419" y="43"/>
                    </a:lnTo>
                    <a:lnTo>
                      <a:pt x="357" y="43"/>
                    </a:lnTo>
                    <a:lnTo>
                      <a:pt x="273" y="105"/>
                    </a:lnTo>
                    <a:lnTo>
                      <a:pt x="252" y="147"/>
                    </a:lnTo>
                    <a:lnTo>
                      <a:pt x="231" y="210"/>
                    </a:lnTo>
                    <a:lnTo>
                      <a:pt x="126" y="189"/>
                    </a:lnTo>
                    <a:lnTo>
                      <a:pt x="64" y="252"/>
                    </a:lnTo>
                    <a:lnTo>
                      <a:pt x="1" y="315"/>
                    </a:lnTo>
                    <a:lnTo>
                      <a:pt x="64" y="357"/>
                    </a:lnTo>
                    <a:lnTo>
                      <a:pt x="210" y="357"/>
                    </a:lnTo>
                    <a:lnTo>
                      <a:pt x="252" y="461"/>
                    </a:lnTo>
                    <a:lnTo>
                      <a:pt x="273" y="524"/>
                    </a:lnTo>
                    <a:lnTo>
                      <a:pt x="273" y="608"/>
                    </a:lnTo>
                    <a:lnTo>
                      <a:pt x="336" y="629"/>
                    </a:lnTo>
                    <a:lnTo>
                      <a:pt x="273" y="712"/>
                    </a:lnTo>
                    <a:lnTo>
                      <a:pt x="357" y="712"/>
                    </a:lnTo>
                    <a:lnTo>
                      <a:pt x="419" y="733"/>
                    </a:lnTo>
                    <a:lnTo>
                      <a:pt x="440" y="670"/>
                    </a:lnTo>
                    <a:lnTo>
                      <a:pt x="587" y="608"/>
                    </a:lnTo>
                    <a:lnTo>
                      <a:pt x="670" y="608"/>
                    </a:lnTo>
                    <a:lnTo>
                      <a:pt x="754" y="524"/>
                    </a:lnTo>
                    <a:lnTo>
                      <a:pt x="733" y="461"/>
                    </a:lnTo>
                    <a:lnTo>
                      <a:pt x="754" y="315"/>
                    </a:lnTo>
                    <a:lnTo>
                      <a:pt x="796" y="294"/>
                    </a:lnTo>
                    <a:lnTo>
                      <a:pt x="859" y="189"/>
                    </a:lnTo>
                    <a:lnTo>
                      <a:pt x="796" y="105"/>
                    </a:lnTo>
                    <a:lnTo>
                      <a:pt x="733" y="85"/>
                    </a:lnTo>
                    <a:lnTo>
                      <a:pt x="670" y="22"/>
                    </a:lnTo>
                    <a:lnTo>
                      <a:pt x="65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 name="Google Shape;5913;p93">
                <a:extLst>
                  <a:ext uri="{FF2B5EF4-FFF2-40B4-BE49-F238E27FC236}">
                    <a16:creationId xmlns:a16="http://schemas.microsoft.com/office/drawing/2014/main" id="{55B0778C-F532-4DE7-874D-3728A4ED1DE3}"/>
                  </a:ext>
                </a:extLst>
              </p:cNvPr>
              <p:cNvSpPr/>
              <p:nvPr/>
            </p:nvSpPr>
            <p:spPr>
              <a:xfrm>
                <a:off x="3883475" y="1716375"/>
                <a:ext cx="39275" cy="43425"/>
              </a:xfrm>
              <a:custGeom>
                <a:avLst/>
                <a:gdLst/>
                <a:ahLst/>
                <a:cxnLst/>
                <a:rect l="l" t="t" r="r" b="b"/>
                <a:pathLst>
                  <a:path w="1571" h="1737" extrusionOk="0">
                    <a:moveTo>
                      <a:pt x="796" y="0"/>
                    </a:moveTo>
                    <a:lnTo>
                      <a:pt x="649" y="105"/>
                    </a:lnTo>
                    <a:lnTo>
                      <a:pt x="482" y="251"/>
                    </a:lnTo>
                    <a:lnTo>
                      <a:pt x="377" y="251"/>
                    </a:lnTo>
                    <a:lnTo>
                      <a:pt x="147" y="293"/>
                    </a:lnTo>
                    <a:lnTo>
                      <a:pt x="43" y="398"/>
                    </a:lnTo>
                    <a:lnTo>
                      <a:pt x="1" y="502"/>
                    </a:lnTo>
                    <a:lnTo>
                      <a:pt x="105" y="565"/>
                    </a:lnTo>
                    <a:lnTo>
                      <a:pt x="168" y="670"/>
                    </a:lnTo>
                    <a:lnTo>
                      <a:pt x="273" y="670"/>
                    </a:lnTo>
                    <a:lnTo>
                      <a:pt x="315" y="712"/>
                    </a:lnTo>
                    <a:lnTo>
                      <a:pt x="273" y="795"/>
                    </a:lnTo>
                    <a:lnTo>
                      <a:pt x="273" y="900"/>
                    </a:lnTo>
                    <a:lnTo>
                      <a:pt x="168" y="1046"/>
                    </a:lnTo>
                    <a:lnTo>
                      <a:pt x="147" y="1235"/>
                    </a:lnTo>
                    <a:lnTo>
                      <a:pt x="64" y="1297"/>
                    </a:lnTo>
                    <a:lnTo>
                      <a:pt x="105" y="1402"/>
                    </a:lnTo>
                    <a:lnTo>
                      <a:pt x="43" y="1444"/>
                    </a:lnTo>
                    <a:lnTo>
                      <a:pt x="64" y="1548"/>
                    </a:lnTo>
                    <a:lnTo>
                      <a:pt x="126" y="1548"/>
                    </a:lnTo>
                    <a:lnTo>
                      <a:pt x="210" y="1507"/>
                    </a:lnTo>
                    <a:lnTo>
                      <a:pt x="315" y="1465"/>
                    </a:lnTo>
                    <a:lnTo>
                      <a:pt x="440" y="1402"/>
                    </a:lnTo>
                    <a:lnTo>
                      <a:pt x="524" y="1402"/>
                    </a:lnTo>
                    <a:lnTo>
                      <a:pt x="587" y="1318"/>
                    </a:lnTo>
                    <a:lnTo>
                      <a:pt x="649" y="1193"/>
                    </a:lnTo>
                    <a:lnTo>
                      <a:pt x="691" y="1151"/>
                    </a:lnTo>
                    <a:lnTo>
                      <a:pt x="796" y="1151"/>
                    </a:lnTo>
                    <a:lnTo>
                      <a:pt x="838" y="1130"/>
                    </a:lnTo>
                    <a:lnTo>
                      <a:pt x="838" y="1235"/>
                    </a:lnTo>
                    <a:lnTo>
                      <a:pt x="796" y="1423"/>
                    </a:lnTo>
                    <a:lnTo>
                      <a:pt x="796" y="1548"/>
                    </a:lnTo>
                    <a:lnTo>
                      <a:pt x="754" y="1632"/>
                    </a:lnTo>
                    <a:lnTo>
                      <a:pt x="775" y="1737"/>
                    </a:lnTo>
                    <a:lnTo>
                      <a:pt x="859" y="1737"/>
                    </a:lnTo>
                    <a:lnTo>
                      <a:pt x="942" y="1653"/>
                    </a:lnTo>
                    <a:lnTo>
                      <a:pt x="942" y="1569"/>
                    </a:lnTo>
                    <a:lnTo>
                      <a:pt x="984" y="1465"/>
                    </a:lnTo>
                    <a:lnTo>
                      <a:pt x="1089" y="1423"/>
                    </a:lnTo>
                    <a:lnTo>
                      <a:pt x="1193" y="1402"/>
                    </a:lnTo>
                    <a:lnTo>
                      <a:pt x="1277" y="1151"/>
                    </a:lnTo>
                    <a:lnTo>
                      <a:pt x="1277" y="1046"/>
                    </a:lnTo>
                    <a:lnTo>
                      <a:pt x="1382" y="900"/>
                    </a:lnTo>
                    <a:lnTo>
                      <a:pt x="1507" y="837"/>
                    </a:lnTo>
                    <a:lnTo>
                      <a:pt x="1570" y="795"/>
                    </a:lnTo>
                    <a:lnTo>
                      <a:pt x="1465" y="732"/>
                    </a:lnTo>
                    <a:lnTo>
                      <a:pt x="1403" y="691"/>
                    </a:lnTo>
                    <a:lnTo>
                      <a:pt x="1298" y="628"/>
                    </a:lnTo>
                    <a:lnTo>
                      <a:pt x="1172" y="712"/>
                    </a:lnTo>
                    <a:lnTo>
                      <a:pt x="1089" y="774"/>
                    </a:lnTo>
                    <a:lnTo>
                      <a:pt x="963" y="691"/>
                    </a:lnTo>
                    <a:lnTo>
                      <a:pt x="838" y="565"/>
                    </a:lnTo>
                    <a:lnTo>
                      <a:pt x="796" y="398"/>
                    </a:lnTo>
                    <a:lnTo>
                      <a:pt x="838" y="356"/>
                    </a:lnTo>
                    <a:lnTo>
                      <a:pt x="942" y="314"/>
                    </a:lnTo>
                    <a:lnTo>
                      <a:pt x="942" y="272"/>
                    </a:lnTo>
                    <a:lnTo>
                      <a:pt x="859" y="147"/>
                    </a:lnTo>
                    <a:lnTo>
                      <a:pt x="79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 name="Google Shape;5914;p93">
                <a:extLst>
                  <a:ext uri="{FF2B5EF4-FFF2-40B4-BE49-F238E27FC236}">
                    <a16:creationId xmlns:a16="http://schemas.microsoft.com/office/drawing/2014/main" id="{86EFE06A-5E9E-4526-8421-E46DB400FD0C}"/>
                  </a:ext>
                </a:extLst>
              </p:cNvPr>
              <p:cNvSpPr/>
              <p:nvPr/>
            </p:nvSpPr>
            <p:spPr>
              <a:xfrm>
                <a:off x="3781475" y="1649925"/>
                <a:ext cx="102550" cy="141275"/>
              </a:xfrm>
              <a:custGeom>
                <a:avLst/>
                <a:gdLst/>
                <a:ahLst/>
                <a:cxnLst/>
                <a:rect l="l" t="t" r="r" b="b"/>
                <a:pathLst>
                  <a:path w="4102" h="5651" extrusionOk="0">
                    <a:moveTo>
                      <a:pt x="1988" y="1"/>
                    </a:moveTo>
                    <a:lnTo>
                      <a:pt x="1926" y="22"/>
                    </a:lnTo>
                    <a:lnTo>
                      <a:pt x="1842" y="126"/>
                    </a:lnTo>
                    <a:lnTo>
                      <a:pt x="1884" y="315"/>
                    </a:lnTo>
                    <a:lnTo>
                      <a:pt x="1821" y="419"/>
                    </a:lnTo>
                    <a:lnTo>
                      <a:pt x="1821" y="524"/>
                    </a:lnTo>
                    <a:lnTo>
                      <a:pt x="1800" y="629"/>
                    </a:lnTo>
                    <a:lnTo>
                      <a:pt x="1842" y="649"/>
                    </a:lnTo>
                    <a:lnTo>
                      <a:pt x="1884" y="733"/>
                    </a:lnTo>
                    <a:lnTo>
                      <a:pt x="1884" y="1068"/>
                    </a:lnTo>
                    <a:lnTo>
                      <a:pt x="1884" y="1235"/>
                    </a:lnTo>
                    <a:lnTo>
                      <a:pt x="1926" y="1361"/>
                    </a:lnTo>
                    <a:lnTo>
                      <a:pt x="2030" y="1507"/>
                    </a:lnTo>
                    <a:lnTo>
                      <a:pt x="2030" y="1654"/>
                    </a:lnTo>
                    <a:lnTo>
                      <a:pt x="2135" y="1779"/>
                    </a:lnTo>
                    <a:lnTo>
                      <a:pt x="2135" y="1863"/>
                    </a:lnTo>
                    <a:lnTo>
                      <a:pt x="2051" y="1863"/>
                    </a:lnTo>
                    <a:lnTo>
                      <a:pt x="2009" y="1800"/>
                    </a:lnTo>
                    <a:lnTo>
                      <a:pt x="1926" y="1612"/>
                    </a:lnTo>
                    <a:lnTo>
                      <a:pt x="1842" y="1507"/>
                    </a:lnTo>
                    <a:lnTo>
                      <a:pt x="1800" y="1507"/>
                    </a:lnTo>
                    <a:lnTo>
                      <a:pt x="1716" y="1570"/>
                    </a:lnTo>
                    <a:lnTo>
                      <a:pt x="1675" y="1549"/>
                    </a:lnTo>
                    <a:lnTo>
                      <a:pt x="1675" y="1486"/>
                    </a:lnTo>
                    <a:lnTo>
                      <a:pt x="1737" y="1403"/>
                    </a:lnTo>
                    <a:lnTo>
                      <a:pt x="1779" y="1361"/>
                    </a:lnTo>
                    <a:lnTo>
                      <a:pt x="1779" y="1256"/>
                    </a:lnTo>
                    <a:lnTo>
                      <a:pt x="1695" y="1026"/>
                    </a:lnTo>
                    <a:lnTo>
                      <a:pt x="1695" y="817"/>
                    </a:lnTo>
                    <a:lnTo>
                      <a:pt x="1675" y="733"/>
                    </a:lnTo>
                    <a:lnTo>
                      <a:pt x="1528" y="649"/>
                    </a:lnTo>
                    <a:lnTo>
                      <a:pt x="1465" y="524"/>
                    </a:lnTo>
                    <a:lnTo>
                      <a:pt x="1382" y="503"/>
                    </a:lnTo>
                    <a:lnTo>
                      <a:pt x="1319" y="545"/>
                    </a:lnTo>
                    <a:lnTo>
                      <a:pt x="1319" y="670"/>
                    </a:lnTo>
                    <a:lnTo>
                      <a:pt x="1193" y="838"/>
                    </a:lnTo>
                    <a:lnTo>
                      <a:pt x="1172" y="963"/>
                    </a:lnTo>
                    <a:lnTo>
                      <a:pt x="1193" y="1089"/>
                    </a:lnTo>
                    <a:lnTo>
                      <a:pt x="1256" y="1235"/>
                    </a:lnTo>
                    <a:lnTo>
                      <a:pt x="1277" y="1403"/>
                    </a:lnTo>
                    <a:lnTo>
                      <a:pt x="1214" y="1382"/>
                    </a:lnTo>
                    <a:lnTo>
                      <a:pt x="1172" y="1298"/>
                    </a:lnTo>
                    <a:lnTo>
                      <a:pt x="1151" y="1173"/>
                    </a:lnTo>
                    <a:lnTo>
                      <a:pt x="1172" y="1089"/>
                    </a:lnTo>
                    <a:lnTo>
                      <a:pt x="1110" y="1068"/>
                    </a:lnTo>
                    <a:lnTo>
                      <a:pt x="1068" y="984"/>
                    </a:lnTo>
                    <a:lnTo>
                      <a:pt x="1047" y="984"/>
                    </a:lnTo>
                    <a:lnTo>
                      <a:pt x="984" y="1047"/>
                    </a:lnTo>
                    <a:lnTo>
                      <a:pt x="942" y="1026"/>
                    </a:lnTo>
                    <a:lnTo>
                      <a:pt x="942" y="942"/>
                    </a:lnTo>
                    <a:lnTo>
                      <a:pt x="1047" y="859"/>
                    </a:lnTo>
                    <a:lnTo>
                      <a:pt x="1047" y="838"/>
                    </a:lnTo>
                    <a:lnTo>
                      <a:pt x="984" y="817"/>
                    </a:lnTo>
                    <a:lnTo>
                      <a:pt x="859" y="859"/>
                    </a:lnTo>
                    <a:lnTo>
                      <a:pt x="775" y="921"/>
                    </a:lnTo>
                    <a:lnTo>
                      <a:pt x="691" y="859"/>
                    </a:lnTo>
                    <a:lnTo>
                      <a:pt x="733" y="817"/>
                    </a:lnTo>
                    <a:lnTo>
                      <a:pt x="775" y="775"/>
                    </a:lnTo>
                    <a:lnTo>
                      <a:pt x="796" y="733"/>
                    </a:lnTo>
                    <a:lnTo>
                      <a:pt x="900" y="629"/>
                    </a:lnTo>
                    <a:lnTo>
                      <a:pt x="984" y="629"/>
                    </a:lnTo>
                    <a:lnTo>
                      <a:pt x="1005" y="649"/>
                    </a:lnTo>
                    <a:lnTo>
                      <a:pt x="1089" y="670"/>
                    </a:lnTo>
                    <a:lnTo>
                      <a:pt x="1151" y="608"/>
                    </a:lnTo>
                    <a:lnTo>
                      <a:pt x="1172" y="524"/>
                    </a:lnTo>
                    <a:lnTo>
                      <a:pt x="1089" y="398"/>
                    </a:lnTo>
                    <a:lnTo>
                      <a:pt x="1047" y="336"/>
                    </a:lnTo>
                    <a:lnTo>
                      <a:pt x="900" y="357"/>
                    </a:lnTo>
                    <a:lnTo>
                      <a:pt x="670" y="545"/>
                    </a:lnTo>
                    <a:lnTo>
                      <a:pt x="587" y="566"/>
                    </a:lnTo>
                    <a:lnTo>
                      <a:pt x="545" y="545"/>
                    </a:lnTo>
                    <a:lnTo>
                      <a:pt x="545" y="461"/>
                    </a:lnTo>
                    <a:lnTo>
                      <a:pt x="461" y="419"/>
                    </a:lnTo>
                    <a:lnTo>
                      <a:pt x="419" y="440"/>
                    </a:lnTo>
                    <a:lnTo>
                      <a:pt x="419" y="566"/>
                    </a:lnTo>
                    <a:lnTo>
                      <a:pt x="545" y="712"/>
                    </a:lnTo>
                    <a:lnTo>
                      <a:pt x="524" y="754"/>
                    </a:lnTo>
                    <a:lnTo>
                      <a:pt x="419" y="754"/>
                    </a:lnTo>
                    <a:lnTo>
                      <a:pt x="377" y="649"/>
                    </a:lnTo>
                    <a:lnTo>
                      <a:pt x="315" y="503"/>
                    </a:lnTo>
                    <a:lnTo>
                      <a:pt x="231" y="503"/>
                    </a:lnTo>
                    <a:lnTo>
                      <a:pt x="126" y="608"/>
                    </a:lnTo>
                    <a:lnTo>
                      <a:pt x="147" y="733"/>
                    </a:lnTo>
                    <a:lnTo>
                      <a:pt x="168" y="775"/>
                    </a:lnTo>
                    <a:lnTo>
                      <a:pt x="168" y="880"/>
                    </a:lnTo>
                    <a:lnTo>
                      <a:pt x="147" y="880"/>
                    </a:lnTo>
                    <a:lnTo>
                      <a:pt x="43" y="963"/>
                    </a:lnTo>
                    <a:lnTo>
                      <a:pt x="1" y="984"/>
                    </a:lnTo>
                    <a:lnTo>
                      <a:pt x="1" y="1089"/>
                    </a:lnTo>
                    <a:lnTo>
                      <a:pt x="22" y="1235"/>
                    </a:lnTo>
                    <a:lnTo>
                      <a:pt x="43" y="1361"/>
                    </a:lnTo>
                    <a:lnTo>
                      <a:pt x="147" y="1549"/>
                    </a:lnTo>
                    <a:lnTo>
                      <a:pt x="147" y="1612"/>
                    </a:lnTo>
                    <a:lnTo>
                      <a:pt x="231" y="1591"/>
                    </a:lnTo>
                    <a:lnTo>
                      <a:pt x="273" y="1507"/>
                    </a:lnTo>
                    <a:lnTo>
                      <a:pt x="273" y="1403"/>
                    </a:lnTo>
                    <a:lnTo>
                      <a:pt x="273" y="1298"/>
                    </a:lnTo>
                    <a:lnTo>
                      <a:pt x="335" y="1277"/>
                    </a:lnTo>
                    <a:lnTo>
                      <a:pt x="419" y="1361"/>
                    </a:lnTo>
                    <a:lnTo>
                      <a:pt x="461" y="1298"/>
                    </a:lnTo>
                    <a:lnTo>
                      <a:pt x="482" y="1340"/>
                    </a:lnTo>
                    <a:lnTo>
                      <a:pt x="440" y="1445"/>
                    </a:lnTo>
                    <a:lnTo>
                      <a:pt x="419" y="1591"/>
                    </a:lnTo>
                    <a:lnTo>
                      <a:pt x="377" y="1612"/>
                    </a:lnTo>
                    <a:lnTo>
                      <a:pt x="377" y="1675"/>
                    </a:lnTo>
                    <a:lnTo>
                      <a:pt x="482" y="1779"/>
                    </a:lnTo>
                    <a:lnTo>
                      <a:pt x="482" y="1800"/>
                    </a:lnTo>
                    <a:lnTo>
                      <a:pt x="545" y="1821"/>
                    </a:lnTo>
                    <a:lnTo>
                      <a:pt x="628" y="1821"/>
                    </a:lnTo>
                    <a:lnTo>
                      <a:pt x="649" y="1863"/>
                    </a:lnTo>
                    <a:lnTo>
                      <a:pt x="649" y="1926"/>
                    </a:lnTo>
                    <a:lnTo>
                      <a:pt x="545" y="2010"/>
                    </a:lnTo>
                    <a:lnTo>
                      <a:pt x="482" y="2010"/>
                    </a:lnTo>
                    <a:lnTo>
                      <a:pt x="482" y="1968"/>
                    </a:lnTo>
                    <a:lnTo>
                      <a:pt x="461" y="1905"/>
                    </a:lnTo>
                    <a:lnTo>
                      <a:pt x="315" y="1800"/>
                    </a:lnTo>
                    <a:lnTo>
                      <a:pt x="273" y="1821"/>
                    </a:lnTo>
                    <a:lnTo>
                      <a:pt x="273" y="1884"/>
                    </a:lnTo>
                    <a:lnTo>
                      <a:pt x="335" y="1989"/>
                    </a:lnTo>
                    <a:lnTo>
                      <a:pt x="419" y="2030"/>
                    </a:lnTo>
                    <a:lnTo>
                      <a:pt x="482" y="2093"/>
                    </a:lnTo>
                    <a:lnTo>
                      <a:pt x="482" y="2114"/>
                    </a:lnTo>
                    <a:lnTo>
                      <a:pt x="440" y="2177"/>
                    </a:lnTo>
                    <a:lnTo>
                      <a:pt x="482" y="2240"/>
                    </a:lnTo>
                    <a:lnTo>
                      <a:pt x="587" y="2302"/>
                    </a:lnTo>
                    <a:lnTo>
                      <a:pt x="670" y="2344"/>
                    </a:lnTo>
                    <a:lnTo>
                      <a:pt x="691" y="2428"/>
                    </a:lnTo>
                    <a:lnTo>
                      <a:pt x="775" y="2449"/>
                    </a:lnTo>
                    <a:lnTo>
                      <a:pt x="900" y="2449"/>
                    </a:lnTo>
                    <a:lnTo>
                      <a:pt x="942" y="2491"/>
                    </a:lnTo>
                    <a:lnTo>
                      <a:pt x="879" y="2533"/>
                    </a:lnTo>
                    <a:lnTo>
                      <a:pt x="754" y="2533"/>
                    </a:lnTo>
                    <a:lnTo>
                      <a:pt x="754" y="2637"/>
                    </a:lnTo>
                    <a:lnTo>
                      <a:pt x="796" y="2742"/>
                    </a:lnTo>
                    <a:lnTo>
                      <a:pt x="859" y="2742"/>
                    </a:lnTo>
                    <a:lnTo>
                      <a:pt x="942" y="2763"/>
                    </a:lnTo>
                    <a:lnTo>
                      <a:pt x="1068" y="2909"/>
                    </a:lnTo>
                    <a:lnTo>
                      <a:pt x="1110" y="2972"/>
                    </a:lnTo>
                    <a:lnTo>
                      <a:pt x="1068" y="3035"/>
                    </a:lnTo>
                    <a:lnTo>
                      <a:pt x="1068" y="3077"/>
                    </a:lnTo>
                    <a:lnTo>
                      <a:pt x="1382" y="3077"/>
                    </a:lnTo>
                    <a:lnTo>
                      <a:pt x="1465" y="3014"/>
                    </a:lnTo>
                    <a:lnTo>
                      <a:pt x="1465" y="2930"/>
                    </a:lnTo>
                    <a:lnTo>
                      <a:pt x="1507" y="2805"/>
                    </a:lnTo>
                    <a:lnTo>
                      <a:pt x="1591" y="2763"/>
                    </a:lnTo>
                    <a:lnTo>
                      <a:pt x="1675" y="2805"/>
                    </a:lnTo>
                    <a:lnTo>
                      <a:pt x="1675" y="2721"/>
                    </a:lnTo>
                    <a:lnTo>
                      <a:pt x="1612" y="2616"/>
                    </a:lnTo>
                    <a:lnTo>
                      <a:pt x="1570" y="2512"/>
                    </a:lnTo>
                    <a:lnTo>
                      <a:pt x="1570" y="2386"/>
                    </a:lnTo>
                    <a:lnTo>
                      <a:pt x="1528" y="2302"/>
                    </a:lnTo>
                    <a:lnTo>
                      <a:pt x="1528" y="2219"/>
                    </a:lnTo>
                    <a:lnTo>
                      <a:pt x="1591" y="2198"/>
                    </a:lnTo>
                    <a:lnTo>
                      <a:pt x="1633" y="2219"/>
                    </a:lnTo>
                    <a:lnTo>
                      <a:pt x="1695" y="2323"/>
                    </a:lnTo>
                    <a:lnTo>
                      <a:pt x="1675" y="2344"/>
                    </a:lnTo>
                    <a:lnTo>
                      <a:pt x="1695" y="2428"/>
                    </a:lnTo>
                    <a:lnTo>
                      <a:pt x="1779" y="2344"/>
                    </a:lnTo>
                    <a:lnTo>
                      <a:pt x="1779" y="2282"/>
                    </a:lnTo>
                    <a:lnTo>
                      <a:pt x="1737" y="2093"/>
                    </a:lnTo>
                    <a:lnTo>
                      <a:pt x="1800" y="2010"/>
                    </a:lnTo>
                    <a:lnTo>
                      <a:pt x="1821" y="2010"/>
                    </a:lnTo>
                    <a:lnTo>
                      <a:pt x="1884" y="2093"/>
                    </a:lnTo>
                    <a:lnTo>
                      <a:pt x="1884" y="2219"/>
                    </a:lnTo>
                    <a:lnTo>
                      <a:pt x="1926" y="2282"/>
                    </a:lnTo>
                    <a:lnTo>
                      <a:pt x="1926" y="2344"/>
                    </a:lnTo>
                    <a:lnTo>
                      <a:pt x="1842" y="2428"/>
                    </a:lnTo>
                    <a:lnTo>
                      <a:pt x="1842" y="2491"/>
                    </a:lnTo>
                    <a:lnTo>
                      <a:pt x="1884" y="2637"/>
                    </a:lnTo>
                    <a:lnTo>
                      <a:pt x="1926" y="2658"/>
                    </a:lnTo>
                    <a:lnTo>
                      <a:pt x="2009" y="2637"/>
                    </a:lnTo>
                    <a:lnTo>
                      <a:pt x="2156" y="2491"/>
                    </a:lnTo>
                    <a:lnTo>
                      <a:pt x="2219" y="2344"/>
                    </a:lnTo>
                    <a:lnTo>
                      <a:pt x="2219" y="2240"/>
                    </a:lnTo>
                    <a:lnTo>
                      <a:pt x="2239" y="2177"/>
                    </a:lnTo>
                    <a:lnTo>
                      <a:pt x="2302" y="2198"/>
                    </a:lnTo>
                    <a:lnTo>
                      <a:pt x="2344" y="2282"/>
                    </a:lnTo>
                    <a:lnTo>
                      <a:pt x="2323" y="2407"/>
                    </a:lnTo>
                    <a:lnTo>
                      <a:pt x="2260" y="2512"/>
                    </a:lnTo>
                    <a:lnTo>
                      <a:pt x="2260" y="2595"/>
                    </a:lnTo>
                    <a:lnTo>
                      <a:pt x="2344" y="2637"/>
                    </a:lnTo>
                    <a:lnTo>
                      <a:pt x="2449" y="2616"/>
                    </a:lnTo>
                    <a:lnTo>
                      <a:pt x="2532" y="2533"/>
                    </a:lnTo>
                    <a:lnTo>
                      <a:pt x="2574" y="2533"/>
                    </a:lnTo>
                    <a:lnTo>
                      <a:pt x="2574" y="2595"/>
                    </a:lnTo>
                    <a:lnTo>
                      <a:pt x="2532" y="2637"/>
                    </a:lnTo>
                    <a:lnTo>
                      <a:pt x="2428" y="2658"/>
                    </a:lnTo>
                    <a:lnTo>
                      <a:pt x="2344" y="2763"/>
                    </a:lnTo>
                    <a:lnTo>
                      <a:pt x="2156" y="2763"/>
                    </a:lnTo>
                    <a:lnTo>
                      <a:pt x="2009" y="2826"/>
                    </a:lnTo>
                    <a:lnTo>
                      <a:pt x="1988" y="2867"/>
                    </a:lnTo>
                    <a:lnTo>
                      <a:pt x="2009" y="2951"/>
                    </a:lnTo>
                    <a:lnTo>
                      <a:pt x="1884" y="3014"/>
                    </a:lnTo>
                    <a:lnTo>
                      <a:pt x="1800" y="3118"/>
                    </a:lnTo>
                    <a:lnTo>
                      <a:pt x="1716" y="3181"/>
                    </a:lnTo>
                    <a:lnTo>
                      <a:pt x="1675" y="3181"/>
                    </a:lnTo>
                    <a:lnTo>
                      <a:pt x="1570" y="3244"/>
                    </a:lnTo>
                    <a:lnTo>
                      <a:pt x="1570" y="3328"/>
                    </a:lnTo>
                    <a:lnTo>
                      <a:pt x="1507" y="3349"/>
                    </a:lnTo>
                    <a:lnTo>
                      <a:pt x="1486" y="3265"/>
                    </a:lnTo>
                    <a:lnTo>
                      <a:pt x="1465" y="3223"/>
                    </a:lnTo>
                    <a:lnTo>
                      <a:pt x="1382" y="3265"/>
                    </a:lnTo>
                    <a:lnTo>
                      <a:pt x="1298" y="3286"/>
                    </a:lnTo>
                    <a:lnTo>
                      <a:pt x="1298" y="3349"/>
                    </a:lnTo>
                    <a:lnTo>
                      <a:pt x="1277" y="3390"/>
                    </a:lnTo>
                    <a:lnTo>
                      <a:pt x="1319" y="3579"/>
                    </a:lnTo>
                    <a:lnTo>
                      <a:pt x="1319" y="3704"/>
                    </a:lnTo>
                    <a:lnTo>
                      <a:pt x="1361" y="3746"/>
                    </a:lnTo>
                    <a:lnTo>
                      <a:pt x="1465" y="3746"/>
                    </a:lnTo>
                    <a:lnTo>
                      <a:pt x="1528" y="3704"/>
                    </a:lnTo>
                    <a:lnTo>
                      <a:pt x="1633" y="3683"/>
                    </a:lnTo>
                    <a:lnTo>
                      <a:pt x="1695" y="3662"/>
                    </a:lnTo>
                    <a:lnTo>
                      <a:pt x="1779" y="3662"/>
                    </a:lnTo>
                    <a:lnTo>
                      <a:pt x="1842" y="3642"/>
                    </a:lnTo>
                    <a:lnTo>
                      <a:pt x="1926" y="3537"/>
                    </a:lnTo>
                    <a:lnTo>
                      <a:pt x="1988" y="3537"/>
                    </a:lnTo>
                    <a:lnTo>
                      <a:pt x="2009" y="3495"/>
                    </a:lnTo>
                    <a:lnTo>
                      <a:pt x="2114" y="3495"/>
                    </a:lnTo>
                    <a:lnTo>
                      <a:pt x="2135" y="3537"/>
                    </a:lnTo>
                    <a:lnTo>
                      <a:pt x="2428" y="3537"/>
                    </a:lnTo>
                    <a:lnTo>
                      <a:pt x="2470" y="3474"/>
                    </a:lnTo>
                    <a:lnTo>
                      <a:pt x="2553" y="3432"/>
                    </a:lnTo>
                    <a:lnTo>
                      <a:pt x="2616" y="3432"/>
                    </a:lnTo>
                    <a:lnTo>
                      <a:pt x="2616" y="3495"/>
                    </a:lnTo>
                    <a:lnTo>
                      <a:pt x="2553" y="3537"/>
                    </a:lnTo>
                    <a:lnTo>
                      <a:pt x="2532" y="3600"/>
                    </a:lnTo>
                    <a:lnTo>
                      <a:pt x="2449" y="3600"/>
                    </a:lnTo>
                    <a:lnTo>
                      <a:pt x="2407" y="3642"/>
                    </a:lnTo>
                    <a:lnTo>
                      <a:pt x="2239" y="3642"/>
                    </a:lnTo>
                    <a:lnTo>
                      <a:pt x="2135" y="3683"/>
                    </a:lnTo>
                    <a:lnTo>
                      <a:pt x="1947" y="3767"/>
                    </a:lnTo>
                    <a:lnTo>
                      <a:pt x="1884" y="3767"/>
                    </a:lnTo>
                    <a:lnTo>
                      <a:pt x="1800" y="3788"/>
                    </a:lnTo>
                    <a:lnTo>
                      <a:pt x="1800" y="3809"/>
                    </a:lnTo>
                    <a:lnTo>
                      <a:pt x="1905" y="3872"/>
                    </a:lnTo>
                    <a:lnTo>
                      <a:pt x="2051" y="3893"/>
                    </a:lnTo>
                    <a:lnTo>
                      <a:pt x="2135" y="3893"/>
                    </a:lnTo>
                    <a:lnTo>
                      <a:pt x="2239" y="3976"/>
                    </a:lnTo>
                    <a:lnTo>
                      <a:pt x="2239" y="4018"/>
                    </a:lnTo>
                    <a:lnTo>
                      <a:pt x="2030" y="4018"/>
                    </a:lnTo>
                    <a:lnTo>
                      <a:pt x="1947" y="4060"/>
                    </a:lnTo>
                    <a:lnTo>
                      <a:pt x="1905" y="4018"/>
                    </a:lnTo>
                    <a:lnTo>
                      <a:pt x="1800" y="3997"/>
                    </a:lnTo>
                    <a:lnTo>
                      <a:pt x="1779" y="4060"/>
                    </a:lnTo>
                    <a:lnTo>
                      <a:pt x="1737" y="4060"/>
                    </a:lnTo>
                    <a:lnTo>
                      <a:pt x="1695" y="3997"/>
                    </a:lnTo>
                    <a:lnTo>
                      <a:pt x="1633" y="3914"/>
                    </a:lnTo>
                    <a:lnTo>
                      <a:pt x="1570" y="3893"/>
                    </a:lnTo>
                    <a:lnTo>
                      <a:pt x="1423" y="3997"/>
                    </a:lnTo>
                    <a:lnTo>
                      <a:pt x="1423" y="4018"/>
                    </a:lnTo>
                    <a:lnTo>
                      <a:pt x="1486" y="4102"/>
                    </a:lnTo>
                    <a:lnTo>
                      <a:pt x="1507" y="4165"/>
                    </a:lnTo>
                    <a:lnTo>
                      <a:pt x="1486" y="4227"/>
                    </a:lnTo>
                    <a:lnTo>
                      <a:pt x="1507" y="4227"/>
                    </a:lnTo>
                    <a:lnTo>
                      <a:pt x="1486" y="4290"/>
                    </a:lnTo>
                    <a:lnTo>
                      <a:pt x="1507" y="4332"/>
                    </a:lnTo>
                    <a:lnTo>
                      <a:pt x="1591" y="4395"/>
                    </a:lnTo>
                    <a:lnTo>
                      <a:pt x="1591" y="4437"/>
                    </a:lnTo>
                    <a:lnTo>
                      <a:pt x="1612" y="4499"/>
                    </a:lnTo>
                    <a:lnTo>
                      <a:pt x="1633" y="4478"/>
                    </a:lnTo>
                    <a:lnTo>
                      <a:pt x="1716" y="4541"/>
                    </a:lnTo>
                    <a:lnTo>
                      <a:pt x="1716" y="4604"/>
                    </a:lnTo>
                    <a:lnTo>
                      <a:pt x="1779" y="4688"/>
                    </a:lnTo>
                    <a:lnTo>
                      <a:pt x="1800" y="4646"/>
                    </a:lnTo>
                    <a:lnTo>
                      <a:pt x="1884" y="4688"/>
                    </a:lnTo>
                    <a:lnTo>
                      <a:pt x="1926" y="4751"/>
                    </a:lnTo>
                    <a:lnTo>
                      <a:pt x="1988" y="4792"/>
                    </a:lnTo>
                    <a:lnTo>
                      <a:pt x="1988" y="4855"/>
                    </a:lnTo>
                    <a:lnTo>
                      <a:pt x="2114" y="4960"/>
                    </a:lnTo>
                    <a:lnTo>
                      <a:pt x="2239" y="4918"/>
                    </a:lnTo>
                    <a:lnTo>
                      <a:pt x="2260" y="4834"/>
                    </a:lnTo>
                    <a:lnTo>
                      <a:pt x="2323" y="4834"/>
                    </a:lnTo>
                    <a:lnTo>
                      <a:pt x="2344" y="4897"/>
                    </a:lnTo>
                    <a:lnTo>
                      <a:pt x="2428" y="4855"/>
                    </a:lnTo>
                    <a:lnTo>
                      <a:pt x="2449" y="4897"/>
                    </a:lnTo>
                    <a:lnTo>
                      <a:pt x="2449" y="4960"/>
                    </a:lnTo>
                    <a:lnTo>
                      <a:pt x="2407" y="5023"/>
                    </a:lnTo>
                    <a:lnTo>
                      <a:pt x="2344" y="5023"/>
                    </a:lnTo>
                    <a:lnTo>
                      <a:pt x="2239" y="5106"/>
                    </a:lnTo>
                    <a:lnTo>
                      <a:pt x="2239" y="5148"/>
                    </a:lnTo>
                    <a:lnTo>
                      <a:pt x="2428" y="5336"/>
                    </a:lnTo>
                    <a:lnTo>
                      <a:pt x="2470" y="5357"/>
                    </a:lnTo>
                    <a:lnTo>
                      <a:pt x="2532" y="5420"/>
                    </a:lnTo>
                    <a:lnTo>
                      <a:pt x="2512" y="5567"/>
                    </a:lnTo>
                    <a:lnTo>
                      <a:pt x="2532" y="5650"/>
                    </a:lnTo>
                    <a:lnTo>
                      <a:pt x="2574" y="5650"/>
                    </a:lnTo>
                    <a:lnTo>
                      <a:pt x="2616" y="5587"/>
                    </a:lnTo>
                    <a:lnTo>
                      <a:pt x="2658" y="5567"/>
                    </a:lnTo>
                    <a:lnTo>
                      <a:pt x="2721" y="5650"/>
                    </a:lnTo>
                    <a:lnTo>
                      <a:pt x="2784" y="5629"/>
                    </a:lnTo>
                    <a:lnTo>
                      <a:pt x="2867" y="5525"/>
                    </a:lnTo>
                    <a:lnTo>
                      <a:pt x="2888" y="5420"/>
                    </a:lnTo>
                    <a:lnTo>
                      <a:pt x="2930" y="5357"/>
                    </a:lnTo>
                    <a:lnTo>
                      <a:pt x="2930" y="5315"/>
                    </a:lnTo>
                    <a:lnTo>
                      <a:pt x="2867" y="5148"/>
                    </a:lnTo>
                    <a:lnTo>
                      <a:pt x="2846" y="5023"/>
                    </a:lnTo>
                    <a:lnTo>
                      <a:pt x="2888" y="4939"/>
                    </a:lnTo>
                    <a:lnTo>
                      <a:pt x="2951" y="4855"/>
                    </a:lnTo>
                    <a:lnTo>
                      <a:pt x="2951" y="4499"/>
                    </a:lnTo>
                    <a:lnTo>
                      <a:pt x="2972" y="4395"/>
                    </a:lnTo>
                    <a:lnTo>
                      <a:pt x="2972" y="4311"/>
                    </a:lnTo>
                    <a:lnTo>
                      <a:pt x="3056" y="4227"/>
                    </a:lnTo>
                    <a:lnTo>
                      <a:pt x="3056" y="4206"/>
                    </a:lnTo>
                    <a:lnTo>
                      <a:pt x="2972" y="4165"/>
                    </a:lnTo>
                    <a:lnTo>
                      <a:pt x="3056" y="4060"/>
                    </a:lnTo>
                    <a:lnTo>
                      <a:pt x="3181" y="4081"/>
                    </a:lnTo>
                    <a:lnTo>
                      <a:pt x="3202" y="4081"/>
                    </a:lnTo>
                    <a:lnTo>
                      <a:pt x="3244" y="3976"/>
                    </a:lnTo>
                    <a:lnTo>
                      <a:pt x="3244" y="3809"/>
                    </a:lnTo>
                    <a:lnTo>
                      <a:pt x="3265" y="3683"/>
                    </a:lnTo>
                    <a:lnTo>
                      <a:pt x="3265" y="3558"/>
                    </a:lnTo>
                    <a:lnTo>
                      <a:pt x="3181" y="3432"/>
                    </a:lnTo>
                    <a:lnTo>
                      <a:pt x="3181" y="3286"/>
                    </a:lnTo>
                    <a:lnTo>
                      <a:pt x="3244" y="3265"/>
                    </a:lnTo>
                    <a:lnTo>
                      <a:pt x="3348" y="3328"/>
                    </a:lnTo>
                    <a:lnTo>
                      <a:pt x="3390" y="3223"/>
                    </a:lnTo>
                    <a:lnTo>
                      <a:pt x="3369" y="3181"/>
                    </a:lnTo>
                    <a:lnTo>
                      <a:pt x="3369" y="3056"/>
                    </a:lnTo>
                    <a:lnTo>
                      <a:pt x="3390" y="2951"/>
                    </a:lnTo>
                    <a:lnTo>
                      <a:pt x="3369" y="2742"/>
                    </a:lnTo>
                    <a:lnTo>
                      <a:pt x="3348" y="2616"/>
                    </a:lnTo>
                    <a:lnTo>
                      <a:pt x="3369" y="2554"/>
                    </a:lnTo>
                    <a:lnTo>
                      <a:pt x="3495" y="2449"/>
                    </a:lnTo>
                    <a:lnTo>
                      <a:pt x="3495" y="2386"/>
                    </a:lnTo>
                    <a:lnTo>
                      <a:pt x="3474" y="2323"/>
                    </a:lnTo>
                    <a:lnTo>
                      <a:pt x="3474" y="2282"/>
                    </a:lnTo>
                    <a:lnTo>
                      <a:pt x="3579" y="2282"/>
                    </a:lnTo>
                    <a:lnTo>
                      <a:pt x="3725" y="2135"/>
                    </a:lnTo>
                    <a:lnTo>
                      <a:pt x="3830" y="2135"/>
                    </a:lnTo>
                    <a:lnTo>
                      <a:pt x="3934" y="2114"/>
                    </a:lnTo>
                    <a:lnTo>
                      <a:pt x="3997" y="2219"/>
                    </a:lnTo>
                    <a:lnTo>
                      <a:pt x="4039" y="2198"/>
                    </a:lnTo>
                    <a:lnTo>
                      <a:pt x="4081" y="2114"/>
                    </a:lnTo>
                    <a:lnTo>
                      <a:pt x="4102" y="2072"/>
                    </a:lnTo>
                    <a:lnTo>
                      <a:pt x="4102" y="1926"/>
                    </a:lnTo>
                    <a:lnTo>
                      <a:pt x="4018" y="1905"/>
                    </a:lnTo>
                    <a:lnTo>
                      <a:pt x="3767" y="1821"/>
                    </a:lnTo>
                    <a:lnTo>
                      <a:pt x="3662" y="1779"/>
                    </a:lnTo>
                    <a:lnTo>
                      <a:pt x="3495" y="1612"/>
                    </a:lnTo>
                    <a:lnTo>
                      <a:pt x="3411" y="1570"/>
                    </a:lnTo>
                    <a:lnTo>
                      <a:pt x="3286" y="1382"/>
                    </a:lnTo>
                    <a:lnTo>
                      <a:pt x="3244" y="1361"/>
                    </a:lnTo>
                    <a:lnTo>
                      <a:pt x="3097" y="1361"/>
                    </a:lnTo>
                    <a:lnTo>
                      <a:pt x="3056" y="1277"/>
                    </a:lnTo>
                    <a:lnTo>
                      <a:pt x="3056" y="1193"/>
                    </a:lnTo>
                    <a:lnTo>
                      <a:pt x="2972" y="942"/>
                    </a:lnTo>
                    <a:lnTo>
                      <a:pt x="2888" y="733"/>
                    </a:lnTo>
                    <a:lnTo>
                      <a:pt x="2742" y="608"/>
                    </a:lnTo>
                    <a:lnTo>
                      <a:pt x="2658" y="670"/>
                    </a:lnTo>
                    <a:lnTo>
                      <a:pt x="2637" y="775"/>
                    </a:lnTo>
                    <a:lnTo>
                      <a:pt x="2658" y="984"/>
                    </a:lnTo>
                    <a:lnTo>
                      <a:pt x="2658" y="1131"/>
                    </a:lnTo>
                    <a:lnTo>
                      <a:pt x="2574" y="1193"/>
                    </a:lnTo>
                    <a:lnTo>
                      <a:pt x="2553" y="1173"/>
                    </a:lnTo>
                    <a:lnTo>
                      <a:pt x="2553" y="1131"/>
                    </a:lnTo>
                    <a:lnTo>
                      <a:pt x="2553" y="963"/>
                    </a:lnTo>
                    <a:lnTo>
                      <a:pt x="2553" y="733"/>
                    </a:lnTo>
                    <a:lnTo>
                      <a:pt x="2616" y="670"/>
                    </a:lnTo>
                    <a:lnTo>
                      <a:pt x="2616" y="545"/>
                    </a:lnTo>
                    <a:lnTo>
                      <a:pt x="2553" y="419"/>
                    </a:lnTo>
                    <a:lnTo>
                      <a:pt x="2449" y="231"/>
                    </a:lnTo>
                    <a:lnTo>
                      <a:pt x="2344" y="189"/>
                    </a:lnTo>
                    <a:lnTo>
                      <a:pt x="2260" y="231"/>
                    </a:lnTo>
                    <a:lnTo>
                      <a:pt x="2219" y="315"/>
                    </a:lnTo>
                    <a:lnTo>
                      <a:pt x="2156" y="294"/>
                    </a:lnTo>
                    <a:lnTo>
                      <a:pt x="2135" y="147"/>
                    </a:lnTo>
                    <a:lnTo>
                      <a:pt x="203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46" name="Google Shape;5915;p93">
              <a:extLst>
                <a:ext uri="{FF2B5EF4-FFF2-40B4-BE49-F238E27FC236}">
                  <a16:creationId xmlns:a16="http://schemas.microsoft.com/office/drawing/2014/main" id="{9B8C8BC9-F76B-40B2-8513-4EDF063E3B0D}"/>
                </a:ext>
              </a:extLst>
            </p:cNvPr>
            <p:cNvSpPr/>
            <p:nvPr/>
          </p:nvSpPr>
          <p:spPr>
            <a:xfrm>
              <a:off x="4614379" y="2777935"/>
              <a:ext cx="83472" cy="139700"/>
            </a:xfrm>
            <a:custGeom>
              <a:avLst/>
              <a:gdLst/>
              <a:ahLst/>
              <a:cxnLst/>
              <a:rect l="l" t="t" r="r" b="b"/>
              <a:pathLst>
                <a:path w="7010" h="12284" extrusionOk="0">
                  <a:moveTo>
                    <a:pt x="4122" y="1"/>
                  </a:moveTo>
                  <a:lnTo>
                    <a:pt x="4122" y="43"/>
                  </a:lnTo>
                  <a:lnTo>
                    <a:pt x="4080" y="126"/>
                  </a:lnTo>
                  <a:lnTo>
                    <a:pt x="4017" y="126"/>
                  </a:lnTo>
                  <a:lnTo>
                    <a:pt x="3996" y="147"/>
                  </a:lnTo>
                  <a:lnTo>
                    <a:pt x="4059" y="231"/>
                  </a:lnTo>
                  <a:lnTo>
                    <a:pt x="4080" y="357"/>
                  </a:lnTo>
                  <a:lnTo>
                    <a:pt x="4289" y="671"/>
                  </a:lnTo>
                  <a:lnTo>
                    <a:pt x="4331" y="796"/>
                  </a:lnTo>
                  <a:lnTo>
                    <a:pt x="4331" y="1005"/>
                  </a:lnTo>
                  <a:lnTo>
                    <a:pt x="4310" y="1089"/>
                  </a:lnTo>
                  <a:lnTo>
                    <a:pt x="4373" y="1277"/>
                  </a:lnTo>
                  <a:lnTo>
                    <a:pt x="4415" y="1382"/>
                  </a:lnTo>
                  <a:lnTo>
                    <a:pt x="4415" y="1424"/>
                  </a:lnTo>
                  <a:lnTo>
                    <a:pt x="4373" y="1424"/>
                  </a:lnTo>
                  <a:lnTo>
                    <a:pt x="4289" y="1528"/>
                  </a:lnTo>
                  <a:lnTo>
                    <a:pt x="4310" y="1633"/>
                  </a:lnTo>
                  <a:lnTo>
                    <a:pt x="4373" y="1738"/>
                  </a:lnTo>
                  <a:lnTo>
                    <a:pt x="4394" y="1800"/>
                  </a:lnTo>
                  <a:lnTo>
                    <a:pt x="4457" y="1821"/>
                  </a:lnTo>
                  <a:lnTo>
                    <a:pt x="4478" y="1905"/>
                  </a:lnTo>
                  <a:lnTo>
                    <a:pt x="4457" y="1926"/>
                  </a:lnTo>
                  <a:lnTo>
                    <a:pt x="4457" y="2010"/>
                  </a:lnTo>
                  <a:lnTo>
                    <a:pt x="4394" y="2051"/>
                  </a:lnTo>
                  <a:lnTo>
                    <a:pt x="4206" y="2031"/>
                  </a:lnTo>
                  <a:lnTo>
                    <a:pt x="4017" y="1926"/>
                  </a:lnTo>
                  <a:lnTo>
                    <a:pt x="3955" y="1947"/>
                  </a:lnTo>
                  <a:lnTo>
                    <a:pt x="3892" y="2031"/>
                  </a:lnTo>
                  <a:lnTo>
                    <a:pt x="3913" y="2093"/>
                  </a:lnTo>
                  <a:lnTo>
                    <a:pt x="3976" y="2093"/>
                  </a:lnTo>
                  <a:lnTo>
                    <a:pt x="4080" y="2156"/>
                  </a:lnTo>
                  <a:lnTo>
                    <a:pt x="4080" y="2219"/>
                  </a:lnTo>
                  <a:lnTo>
                    <a:pt x="4017" y="2261"/>
                  </a:lnTo>
                  <a:lnTo>
                    <a:pt x="3976" y="2365"/>
                  </a:lnTo>
                  <a:lnTo>
                    <a:pt x="3892" y="2407"/>
                  </a:lnTo>
                  <a:lnTo>
                    <a:pt x="3871" y="2449"/>
                  </a:lnTo>
                  <a:lnTo>
                    <a:pt x="3787" y="2470"/>
                  </a:lnTo>
                  <a:lnTo>
                    <a:pt x="3745" y="2575"/>
                  </a:lnTo>
                  <a:lnTo>
                    <a:pt x="3766" y="2679"/>
                  </a:lnTo>
                  <a:lnTo>
                    <a:pt x="3766" y="2847"/>
                  </a:lnTo>
                  <a:lnTo>
                    <a:pt x="3787" y="2930"/>
                  </a:lnTo>
                  <a:lnTo>
                    <a:pt x="3871" y="2930"/>
                  </a:lnTo>
                  <a:lnTo>
                    <a:pt x="3976" y="2993"/>
                  </a:lnTo>
                  <a:lnTo>
                    <a:pt x="4059" y="3077"/>
                  </a:lnTo>
                  <a:lnTo>
                    <a:pt x="4122" y="3286"/>
                  </a:lnTo>
                  <a:lnTo>
                    <a:pt x="4164" y="3495"/>
                  </a:lnTo>
                  <a:lnTo>
                    <a:pt x="4122" y="3516"/>
                  </a:lnTo>
                  <a:lnTo>
                    <a:pt x="4185" y="3621"/>
                  </a:lnTo>
                  <a:lnTo>
                    <a:pt x="4289" y="3684"/>
                  </a:lnTo>
                  <a:lnTo>
                    <a:pt x="4415" y="3516"/>
                  </a:lnTo>
                  <a:lnTo>
                    <a:pt x="4478" y="3412"/>
                  </a:lnTo>
                  <a:lnTo>
                    <a:pt x="4478" y="3349"/>
                  </a:lnTo>
                  <a:lnTo>
                    <a:pt x="4520" y="3286"/>
                  </a:lnTo>
                  <a:lnTo>
                    <a:pt x="4540" y="3286"/>
                  </a:lnTo>
                  <a:cubicBezTo>
                    <a:pt x="4624" y="3370"/>
                    <a:pt x="4708" y="3453"/>
                    <a:pt x="4729" y="3558"/>
                  </a:cubicBezTo>
                  <a:lnTo>
                    <a:pt x="4729" y="3579"/>
                  </a:lnTo>
                  <a:lnTo>
                    <a:pt x="4687" y="3704"/>
                  </a:lnTo>
                  <a:lnTo>
                    <a:pt x="4687" y="3809"/>
                  </a:lnTo>
                  <a:lnTo>
                    <a:pt x="4729" y="3872"/>
                  </a:lnTo>
                  <a:lnTo>
                    <a:pt x="4792" y="3830"/>
                  </a:lnTo>
                  <a:lnTo>
                    <a:pt x="4917" y="3725"/>
                  </a:lnTo>
                  <a:lnTo>
                    <a:pt x="4980" y="3872"/>
                  </a:lnTo>
                  <a:lnTo>
                    <a:pt x="4917" y="3976"/>
                  </a:lnTo>
                  <a:lnTo>
                    <a:pt x="4833" y="4018"/>
                  </a:lnTo>
                  <a:lnTo>
                    <a:pt x="4771" y="3976"/>
                  </a:lnTo>
                  <a:lnTo>
                    <a:pt x="4792" y="4102"/>
                  </a:lnTo>
                  <a:lnTo>
                    <a:pt x="4729" y="4144"/>
                  </a:lnTo>
                  <a:lnTo>
                    <a:pt x="4666" y="4123"/>
                  </a:lnTo>
                  <a:lnTo>
                    <a:pt x="4624" y="4018"/>
                  </a:lnTo>
                  <a:lnTo>
                    <a:pt x="4603" y="3914"/>
                  </a:lnTo>
                  <a:lnTo>
                    <a:pt x="4582" y="3872"/>
                  </a:lnTo>
                  <a:lnTo>
                    <a:pt x="4499" y="3893"/>
                  </a:lnTo>
                  <a:lnTo>
                    <a:pt x="4457" y="3872"/>
                  </a:lnTo>
                  <a:lnTo>
                    <a:pt x="4415" y="3976"/>
                  </a:lnTo>
                  <a:lnTo>
                    <a:pt x="4478" y="4123"/>
                  </a:lnTo>
                  <a:lnTo>
                    <a:pt x="4478" y="4228"/>
                  </a:lnTo>
                  <a:lnTo>
                    <a:pt x="4394" y="4248"/>
                  </a:lnTo>
                  <a:lnTo>
                    <a:pt x="4310" y="4353"/>
                  </a:lnTo>
                  <a:lnTo>
                    <a:pt x="4310" y="4416"/>
                  </a:lnTo>
                  <a:lnTo>
                    <a:pt x="4457" y="4562"/>
                  </a:lnTo>
                  <a:lnTo>
                    <a:pt x="4499" y="4646"/>
                  </a:lnTo>
                  <a:lnTo>
                    <a:pt x="4457" y="4813"/>
                  </a:lnTo>
                  <a:lnTo>
                    <a:pt x="4373" y="4855"/>
                  </a:lnTo>
                  <a:lnTo>
                    <a:pt x="4289" y="4834"/>
                  </a:lnTo>
                  <a:lnTo>
                    <a:pt x="4268" y="4876"/>
                  </a:lnTo>
                  <a:lnTo>
                    <a:pt x="4352" y="4981"/>
                  </a:lnTo>
                  <a:lnTo>
                    <a:pt x="4415" y="4960"/>
                  </a:lnTo>
                  <a:lnTo>
                    <a:pt x="4499" y="4876"/>
                  </a:lnTo>
                  <a:lnTo>
                    <a:pt x="4603" y="5148"/>
                  </a:lnTo>
                  <a:lnTo>
                    <a:pt x="4666" y="5441"/>
                  </a:lnTo>
                  <a:lnTo>
                    <a:pt x="4624" y="5588"/>
                  </a:lnTo>
                  <a:lnTo>
                    <a:pt x="4624" y="5860"/>
                  </a:lnTo>
                  <a:lnTo>
                    <a:pt x="4520" y="6236"/>
                  </a:lnTo>
                  <a:lnTo>
                    <a:pt x="4561" y="6404"/>
                  </a:lnTo>
                  <a:lnTo>
                    <a:pt x="4499" y="6592"/>
                  </a:lnTo>
                  <a:lnTo>
                    <a:pt x="4373" y="6655"/>
                  </a:lnTo>
                  <a:lnTo>
                    <a:pt x="4310" y="6843"/>
                  </a:lnTo>
                  <a:lnTo>
                    <a:pt x="4310" y="7031"/>
                  </a:lnTo>
                  <a:lnTo>
                    <a:pt x="4248" y="7136"/>
                  </a:lnTo>
                  <a:lnTo>
                    <a:pt x="4206" y="7241"/>
                  </a:lnTo>
                  <a:lnTo>
                    <a:pt x="4080" y="7366"/>
                  </a:lnTo>
                  <a:lnTo>
                    <a:pt x="3829" y="7533"/>
                  </a:lnTo>
                  <a:lnTo>
                    <a:pt x="3724" y="7554"/>
                  </a:lnTo>
                  <a:lnTo>
                    <a:pt x="3662" y="7659"/>
                  </a:lnTo>
                  <a:lnTo>
                    <a:pt x="3536" y="7575"/>
                  </a:lnTo>
                  <a:lnTo>
                    <a:pt x="3411" y="7429"/>
                  </a:lnTo>
                  <a:lnTo>
                    <a:pt x="3411" y="7345"/>
                  </a:lnTo>
                  <a:lnTo>
                    <a:pt x="3452" y="7324"/>
                  </a:lnTo>
                  <a:lnTo>
                    <a:pt x="3515" y="7220"/>
                  </a:lnTo>
                  <a:lnTo>
                    <a:pt x="3515" y="7157"/>
                  </a:lnTo>
                  <a:lnTo>
                    <a:pt x="3578" y="7073"/>
                  </a:lnTo>
                  <a:lnTo>
                    <a:pt x="3578" y="7052"/>
                  </a:lnTo>
                  <a:lnTo>
                    <a:pt x="3452" y="7073"/>
                  </a:lnTo>
                  <a:lnTo>
                    <a:pt x="3348" y="7178"/>
                  </a:lnTo>
                  <a:lnTo>
                    <a:pt x="3222" y="7241"/>
                  </a:lnTo>
                  <a:lnTo>
                    <a:pt x="3201" y="7345"/>
                  </a:lnTo>
                  <a:lnTo>
                    <a:pt x="3264" y="7471"/>
                  </a:lnTo>
                  <a:lnTo>
                    <a:pt x="3306" y="7722"/>
                  </a:lnTo>
                  <a:lnTo>
                    <a:pt x="3264" y="7868"/>
                  </a:lnTo>
                  <a:lnTo>
                    <a:pt x="3139" y="7994"/>
                  </a:lnTo>
                  <a:lnTo>
                    <a:pt x="3139" y="8077"/>
                  </a:lnTo>
                  <a:lnTo>
                    <a:pt x="3076" y="8119"/>
                  </a:lnTo>
                  <a:lnTo>
                    <a:pt x="3055" y="8329"/>
                  </a:lnTo>
                  <a:lnTo>
                    <a:pt x="3118" y="8391"/>
                  </a:lnTo>
                  <a:lnTo>
                    <a:pt x="3118" y="8475"/>
                  </a:lnTo>
                  <a:lnTo>
                    <a:pt x="3076" y="8496"/>
                  </a:lnTo>
                  <a:lnTo>
                    <a:pt x="3118" y="8517"/>
                  </a:lnTo>
                  <a:lnTo>
                    <a:pt x="3076" y="8601"/>
                  </a:lnTo>
                  <a:lnTo>
                    <a:pt x="3034" y="8601"/>
                  </a:lnTo>
                  <a:lnTo>
                    <a:pt x="3055" y="8642"/>
                  </a:lnTo>
                  <a:lnTo>
                    <a:pt x="2992" y="8684"/>
                  </a:lnTo>
                  <a:lnTo>
                    <a:pt x="2929" y="8621"/>
                  </a:lnTo>
                  <a:lnTo>
                    <a:pt x="2846" y="8684"/>
                  </a:lnTo>
                  <a:lnTo>
                    <a:pt x="2804" y="8642"/>
                  </a:lnTo>
                  <a:lnTo>
                    <a:pt x="2762" y="8517"/>
                  </a:lnTo>
                  <a:lnTo>
                    <a:pt x="2741" y="8496"/>
                  </a:lnTo>
                  <a:lnTo>
                    <a:pt x="2657" y="8538"/>
                  </a:lnTo>
                  <a:lnTo>
                    <a:pt x="2595" y="8538"/>
                  </a:lnTo>
                  <a:lnTo>
                    <a:pt x="2553" y="8517"/>
                  </a:lnTo>
                  <a:lnTo>
                    <a:pt x="2302" y="8601"/>
                  </a:lnTo>
                  <a:lnTo>
                    <a:pt x="2176" y="8642"/>
                  </a:lnTo>
                  <a:lnTo>
                    <a:pt x="2030" y="8705"/>
                  </a:lnTo>
                  <a:lnTo>
                    <a:pt x="1883" y="8705"/>
                  </a:lnTo>
                  <a:lnTo>
                    <a:pt x="1758" y="8747"/>
                  </a:lnTo>
                  <a:lnTo>
                    <a:pt x="1695" y="8726"/>
                  </a:lnTo>
                  <a:lnTo>
                    <a:pt x="1569" y="8747"/>
                  </a:lnTo>
                  <a:lnTo>
                    <a:pt x="1360" y="8914"/>
                  </a:lnTo>
                  <a:lnTo>
                    <a:pt x="1297" y="9040"/>
                  </a:lnTo>
                  <a:lnTo>
                    <a:pt x="1235" y="9082"/>
                  </a:lnTo>
                  <a:lnTo>
                    <a:pt x="1193" y="9165"/>
                  </a:lnTo>
                  <a:lnTo>
                    <a:pt x="1046" y="9354"/>
                  </a:lnTo>
                  <a:lnTo>
                    <a:pt x="942" y="9375"/>
                  </a:lnTo>
                  <a:lnTo>
                    <a:pt x="858" y="9479"/>
                  </a:lnTo>
                  <a:lnTo>
                    <a:pt x="837" y="9563"/>
                  </a:lnTo>
                  <a:lnTo>
                    <a:pt x="753" y="9647"/>
                  </a:lnTo>
                  <a:lnTo>
                    <a:pt x="607" y="9668"/>
                  </a:lnTo>
                  <a:lnTo>
                    <a:pt x="544" y="9751"/>
                  </a:lnTo>
                  <a:lnTo>
                    <a:pt x="565" y="9940"/>
                  </a:lnTo>
                  <a:lnTo>
                    <a:pt x="628" y="9961"/>
                  </a:lnTo>
                  <a:lnTo>
                    <a:pt x="649" y="10002"/>
                  </a:lnTo>
                  <a:lnTo>
                    <a:pt x="628" y="10065"/>
                  </a:lnTo>
                  <a:lnTo>
                    <a:pt x="607" y="10044"/>
                  </a:lnTo>
                  <a:lnTo>
                    <a:pt x="481" y="10149"/>
                  </a:lnTo>
                  <a:lnTo>
                    <a:pt x="439" y="10212"/>
                  </a:lnTo>
                  <a:lnTo>
                    <a:pt x="377" y="10274"/>
                  </a:lnTo>
                  <a:lnTo>
                    <a:pt x="272" y="10379"/>
                  </a:lnTo>
                  <a:lnTo>
                    <a:pt x="209" y="10463"/>
                  </a:lnTo>
                  <a:lnTo>
                    <a:pt x="105" y="10463"/>
                  </a:lnTo>
                  <a:lnTo>
                    <a:pt x="0" y="10505"/>
                  </a:lnTo>
                  <a:lnTo>
                    <a:pt x="105" y="10505"/>
                  </a:lnTo>
                  <a:lnTo>
                    <a:pt x="167" y="10609"/>
                  </a:lnTo>
                  <a:lnTo>
                    <a:pt x="209" y="10735"/>
                  </a:lnTo>
                  <a:lnTo>
                    <a:pt x="167" y="10777"/>
                  </a:lnTo>
                  <a:lnTo>
                    <a:pt x="126" y="10693"/>
                  </a:lnTo>
                  <a:lnTo>
                    <a:pt x="84" y="10609"/>
                  </a:lnTo>
                  <a:lnTo>
                    <a:pt x="63" y="10714"/>
                  </a:lnTo>
                  <a:lnTo>
                    <a:pt x="84" y="10818"/>
                  </a:lnTo>
                  <a:lnTo>
                    <a:pt x="167" y="10839"/>
                  </a:lnTo>
                  <a:lnTo>
                    <a:pt x="167" y="10923"/>
                  </a:lnTo>
                  <a:lnTo>
                    <a:pt x="126" y="11007"/>
                  </a:lnTo>
                  <a:lnTo>
                    <a:pt x="126" y="11007"/>
                  </a:lnTo>
                  <a:lnTo>
                    <a:pt x="188" y="10965"/>
                  </a:lnTo>
                  <a:lnTo>
                    <a:pt x="230" y="10902"/>
                  </a:lnTo>
                  <a:lnTo>
                    <a:pt x="314" y="10860"/>
                  </a:lnTo>
                  <a:lnTo>
                    <a:pt x="377" y="10902"/>
                  </a:lnTo>
                  <a:lnTo>
                    <a:pt x="314" y="10944"/>
                  </a:lnTo>
                  <a:lnTo>
                    <a:pt x="377" y="10965"/>
                  </a:lnTo>
                  <a:lnTo>
                    <a:pt x="439" y="10944"/>
                  </a:lnTo>
                  <a:lnTo>
                    <a:pt x="439" y="10839"/>
                  </a:lnTo>
                  <a:lnTo>
                    <a:pt x="398" y="10798"/>
                  </a:lnTo>
                  <a:lnTo>
                    <a:pt x="293" y="10818"/>
                  </a:lnTo>
                  <a:lnTo>
                    <a:pt x="293" y="10777"/>
                  </a:lnTo>
                  <a:lnTo>
                    <a:pt x="314" y="10714"/>
                  </a:lnTo>
                  <a:lnTo>
                    <a:pt x="293" y="10630"/>
                  </a:lnTo>
                  <a:lnTo>
                    <a:pt x="335" y="10588"/>
                  </a:lnTo>
                  <a:lnTo>
                    <a:pt x="439" y="10609"/>
                  </a:lnTo>
                  <a:lnTo>
                    <a:pt x="544" y="10798"/>
                  </a:lnTo>
                  <a:lnTo>
                    <a:pt x="586" y="10923"/>
                  </a:lnTo>
                  <a:lnTo>
                    <a:pt x="628" y="10986"/>
                  </a:lnTo>
                  <a:lnTo>
                    <a:pt x="628" y="11153"/>
                  </a:lnTo>
                  <a:lnTo>
                    <a:pt x="544" y="11342"/>
                  </a:lnTo>
                  <a:lnTo>
                    <a:pt x="439" y="11342"/>
                  </a:lnTo>
                  <a:lnTo>
                    <a:pt x="481" y="11383"/>
                  </a:lnTo>
                  <a:lnTo>
                    <a:pt x="544" y="11551"/>
                  </a:lnTo>
                  <a:lnTo>
                    <a:pt x="586" y="11760"/>
                  </a:lnTo>
                  <a:lnTo>
                    <a:pt x="691" y="11865"/>
                  </a:lnTo>
                  <a:lnTo>
                    <a:pt x="691" y="11969"/>
                  </a:lnTo>
                  <a:lnTo>
                    <a:pt x="628" y="12011"/>
                  </a:lnTo>
                  <a:lnTo>
                    <a:pt x="711" y="12095"/>
                  </a:lnTo>
                  <a:lnTo>
                    <a:pt x="795" y="12095"/>
                  </a:lnTo>
                  <a:lnTo>
                    <a:pt x="858" y="12158"/>
                  </a:lnTo>
                  <a:lnTo>
                    <a:pt x="900" y="12095"/>
                  </a:lnTo>
                  <a:lnTo>
                    <a:pt x="900" y="12053"/>
                  </a:lnTo>
                  <a:lnTo>
                    <a:pt x="816" y="11906"/>
                  </a:lnTo>
                  <a:lnTo>
                    <a:pt x="816" y="11739"/>
                  </a:lnTo>
                  <a:lnTo>
                    <a:pt x="858" y="11676"/>
                  </a:lnTo>
                  <a:lnTo>
                    <a:pt x="921" y="11739"/>
                  </a:lnTo>
                  <a:lnTo>
                    <a:pt x="900" y="11781"/>
                  </a:lnTo>
                  <a:lnTo>
                    <a:pt x="900" y="11844"/>
                  </a:lnTo>
                  <a:lnTo>
                    <a:pt x="963" y="11948"/>
                  </a:lnTo>
                  <a:lnTo>
                    <a:pt x="1004" y="12095"/>
                  </a:lnTo>
                  <a:lnTo>
                    <a:pt x="963" y="12199"/>
                  </a:lnTo>
                  <a:lnTo>
                    <a:pt x="1004" y="12283"/>
                  </a:lnTo>
                  <a:lnTo>
                    <a:pt x="1109" y="12220"/>
                  </a:lnTo>
                  <a:lnTo>
                    <a:pt x="1214" y="12074"/>
                  </a:lnTo>
                  <a:lnTo>
                    <a:pt x="1109" y="11969"/>
                  </a:lnTo>
                  <a:lnTo>
                    <a:pt x="1109" y="11906"/>
                  </a:lnTo>
                  <a:lnTo>
                    <a:pt x="1151" y="11886"/>
                  </a:lnTo>
                  <a:lnTo>
                    <a:pt x="1235" y="11906"/>
                  </a:lnTo>
                  <a:lnTo>
                    <a:pt x="1276" y="11948"/>
                  </a:lnTo>
                  <a:lnTo>
                    <a:pt x="1318" y="11844"/>
                  </a:lnTo>
                  <a:lnTo>
                    <a:pt x="1318" y="11655"/>
                  </a:lnTo>
                  <a:lnTo>
                    <a:pt x="1276" y="11572"/>
                  </a:lnTo>
                  <a:lnTo>
                    <a:pt x="1276" y="11237"/>
                  </a:lnTo>
                  <a:lnTo>
                    <a:pt x="1276" y="11049"/>
                  </a:lnTo>
                  <a:lnTo>
                    <a:pt x="1339" y="10944"/>
                  </a:lnTo>
                  <a:lnTo>
                    <a:pt x="1444" y="10839"/>
                  </a:lnTo>
                  <a:lnTo>
                    <a:pt x="1423" y="10777"/>
                  </a:lnTo>
                  <a:lnTo>
                    <a:pt x="1360" y="10735"/>
                  </a:lnTo>
                  <a:lnTo>
                    <a:pt x="1360" y="10630"/>
                  </a:lnTo>
                  <a:lnTo>
                    <a:pt x="1318" y="10630"/>
                  </a:lnTo>
                  <a:lnTo>
                    <a:pt x="1339" y="10567"/>
                  </a:lnTo>
                  <a:lnTo>
                    <a:pt x="1151" y="10567"/>
                  </a:lnTo>
                  <a:lnTo>
                    <a:pt x="1130" y="10505"/>
                  </a:lnTo>
                  <a:lnTo>
                    <a:pt x="1235" y="10463"/>
                  </a:lnTo>
                  <a:lnTo>
                    <a:pt x="1255" y="10379"/>
                  </a:lnTo>
                  <a:lnTo>
                    <a:pt x="1235" y="10212"/>
                  </a:lnTo>
                  <a:lnTo>
                    <a:pt x="1151" y="10170"/>
                  </a:lnTo>
                  <a:lnTo>
                    <a:pt x="1067" y="10191"/>
                  </a:lnTo>
                  <a:lnTo>
                    <a:pt x="1067" y="10212"/>
                  </a:lnTo>
                  <a:lnTo>
                    <a:pt x="1004" y="10274"/>
                  </a:lnTo>
                  <a:lnTo>
                    <a:pt x="921" y="10274"/>
                  </a:lnTo>
                  <a:lnTo>
                    <a:pt x="795" y="10149"/>
                  </a:lnTo>
                  <a:lnTo>
                    <a:pt x="816" y="10065"/>
                  </a:lnTo>
                  <a:lnTo>
                    <a:pt x="1004" y="9982"/>
                  </a:lnTo>
                  <a:lnTo>
                    <a:pt x="1151" y="9961"/>
                  </a:lnTo>
                  <a:lnTo>
                    <a:pt x="1339" y="10002"/>
                  </a:lnTo>
                  <a:lnTo>
                    <a:pt x="1423" y="10065"/>
                  </a:lnTo>
                  <a:lnTo>
                    <a:pt x="1444" y="10002"/>
                  </a:lnTo>
                  <a:lnTo>
                    <a:pt x="1444" y="9940"/>
                  </a:lnTo>
                  <a:lnTo>
                    <a:pt x="1444" y="9835"/>
                  </a:lnTo>
                  <a:lnTo>
                    <a:pt x="1423" y="9751"/>
                  </a:lnTo>
                  <a:lnTo>
                    <a:pt x="1444" y="9689"/>
                  </a:lnTo>
                  <a:lnTo>
                    <a:pt x="1527" y="9689"/>
                  </a:lnTo>
                  <a:lnTo>
                    <a:pt x="1569" y="9772"/>
                  </a:lnTo>
                  <a:lnTo>
                    <a:pt x="1653" y="9772"/>
                  </a:lnTo>
                  <a:lnTo>
                    <a:pt x="1758" y="9730"/>
                  </a:lnTo>
                  <a:lnTo>
                    <a:pt x="1946" y="9689"/>
                  </a:lnTo>
                  <a:lnTo>
                    <a:pt x="2113" y="9647"/>
                  </a:lnTo>
                  <a:lnTo>
                    <a:pt x="2218" y="9647"/>
                  </a:lnTo>
                  <a:lnTo>
                    <a:pt x="2281" y="9668"/>
                  </a:lnTo>
                  <a:lnTo>
                    <a:pt x="2323" y="9647"/>
                  </a:lnTo>
                  <a:cubicBezTo>
                    <a:pt x="2323" y="9668"/>
                    <a:pt x="2364" y="9730"/>
                    <a:pt x="2364" y="9751"/>
                  </a:cubicBezTo>
                  <a:lnTo>
                    <a:pt x="2218" y="9856"/>
                  </a:lnTo>
                  <a:lnTo>
                    <a:pt x="2218" y="9940"/>
                  </a:lnTo>
                  <a:lnTo>
                    <a:pt x="2155" y="9877"/>
                  </a:lnTo>
                  <a:lnTo>
                    <a:pt x="2051" y="9898"/>
                  </a:lnTo>
                  <a:lnTo>
                    <a:pt x="1967" y="9961"/>
                  </a:lnTo>
                  <a:lnTo>
                    <a:pt x="1904" y="9940"/>
                  </a:lnTo>
                  <a:lnTo>
                    <a:pt x="1841" y="9772"/>
                  </a:lnTo>
                  <a:lnTo>
                    <a:pt x="1779" y="9772"/>
                  </a:lnTo>
                  <a:lnTo>
                    <a:pt x="1632" y="9961"/>
                  </a:lnTo>
                  <a:lnTo>
                    <a:pt x="1632" y="10065"/>
                  </a:lnTo>
                  <a:lnTo>
                    <a:pt x="1527" y="10128"/>
                  </a:lnTo>
                  <a:lnTo>
                    <a:pt x="1486" y="10233"/>
                  </a:lnTo>
                  <a:lnTo>
                    <a:pt x="1653" y="10295"/>
                  </a:lnTo>
                  <a:lnTo>
                    <a:pt x="1674" y="10400"/>
                  </a:lnTo>
                  <a:lnTo>
                    <a:pt x="1653" y="10421"/>
                  </a:lnTo>
                  <a:lnTo>
                    <a:pt x="1653" y="10484"/>
                  </a:lnTo>
                  <a:lnTo>
                    <a:pt x="1737" y="10609"/>
                  </a:lnTo>
                  <a:lnTo>
                    <a:pt x="1862" y="10630"/>
                  </a:lnTo>
                  <a:lnTo>
                    <a:pt x="1862" y="10714"/>
                  </a:lnTo>
                  <a:lnTo>
                    <a:pt x="1904" y="10735"/>
                  </a:lnTo>
                  <a:lnTo>
                    <a:pt x="1946" y="10693"/>
                  </a:lnTo>
                  <a:lnTo>
                    <a:pt x="2009" y="10714"/>
                  </a:lnTo>
                  <a:lnTo>
                    <a:pt x="2072" y="10693"/>
                  </a:lnTo>
                  <a:lnTo>
                    <a:pt x="2072" y="10609"/>
                  </a:lnTo>
                  <a:lnTo>
                    <a:pt x="1967" y="10505"/>
                  </a:lnTo>
                  <a:lnTo>
                    <a:pt x="2009" y="10400"/>
                  </a:lnTo>
                  <a:lnTo>
                    <a:pt x="2072" y="10254"/>
                  </a:lnTo>
                  <a:lnTo>
                    <a:pt x="2197" y="10170"/>
                  </a:lnTo>
                  <a:lnTo>
                    <a:pt x="2218" y="10107"/>
                  </a:lnTo>
                  <a:lnTo>
                    <a:pt x="2364" y="10149"/>
                  </a:lnTo>
                  <a:lnTo>
                    <a:pt x="2511" y="10254"/>
                  </a:lnTo>
                  <a:lnTo>
                    <a:pt x="2574" y="10316"/>
                  </a:lnTo>
                  <a:lnTo>
                    <a:pt x="2636" y="10295"/>
                  </a:lnTo>
                  <a:lnTo>
                    <a:pt x="2699" y="10086"/>
                  </a:lnTo>
                  <a:lnTo>
                    <a:pt x="2825" y="9961"/>
                  </a:lnTo>
                  <a:lnTo>
                    <a:pt x="2825" y="9877"/>
                  </a:lnTo>
                  <a:lnTo>
                    <a:pt x="2783" y="9814"/>
                  </a:lnTo>
                  <a:lnTo>
                    <a:pt x="2741" y="9751"/>
                  </a:lnTo>
                  <a:lnTo>
                    <a:pt x="2616" y="9647"/>
                  </a:lnTo>
                  <a:lnTo>
                    <a:pt x="2532" y="9647"/>
                  </a:lnTo>
                  <a:lnTo>
                    <a:pt x="2469" y="9584"/>
                  </a:lnTo>
                  <a:lnTo>
                    <a:pt x="2302" y="9584"/>
                  </a:lnTo>
                  <a:cubicBezTo>
                    <a:pt x="2302" y="9563"/>
                    <a:pt x="2302" y="9521"/>
                    <a:pt x="2281" y="9479"/>
                  </a:cubicBezTo>
                  <a:lnTo>
                    <a:pt x="2281" y="9458"/>
                  </a:lnTo>
                  <a:lnTo>
                    <a:pt x="2406" y="9375"/>
                  </a:lnTo>
                  <a:lnTo>
                    <a:pt x="2427" y="9333"/>
                  </a:lnTo>
                  <a:lnTo>
                    <a:pt x="2574" y="9228"/>
                  </a:lnTo>
                  <a:lnTo>
                    <a:pt x="2699" y="9165"/>
                  </a:lnTo>
                  <a:lnTo>
                    <a:pt x="2888" y="9207"/>
                  </a:lnTo>
                  <a:lnTo>
                    <a:pt x="2992" y="9165"/>
                  </a:lnTo>
                  <a:lnTo>
                    <a:pt x="3034" y="9228"/>
                  </a:lnTo>
                  <a:lnTo>
                    <a:pt x="3034" y="9333"/>
                  </a:lnTo>
                  <a:lnTo>
                    <a:pt x="2950" y="9458"/>
                  </a:lnTo>
                  <a:lnTo>
                    <a:pt x="2929" y="9563"/>
                  </a:lnTo>
                  <a:lnTo>
                    <a:pt x="2992" y="9584"/>
                  </a:lnTo>
                  <a:lnTo>
                    <a:pt x="2992" y="9689"/>
                  </a:lnTo>
                  <a:lnTo>
                    <a:pt x="2992" y="9793"/>
                  </a:lnTo>
                  <a:lnTo>
                    <a:pt x="2950" y="9856"/>
                  </a:lnTo>
                  <a:lnTo>
                    <a:pt x="2992" y="9961"/>
                  </a:lnTo>
                  <a:lnTo>
                    <a:pt x="3097" y="10002"/>
                  </a:lnTo>
                  <a:lnTo>
                    <a:pt x="3243" y="10170"/>
                  </a:lnTo>
                  <a:lnTo>
                    <a:pt x="3348" y="10191"/>
                  </a:lnTo>
                  <a:lnTo>
                    <a:pt x="3432" y="10170"/>
                  </a:lnTo>
                  <a:lnTo>
                    <a:pt x="3536" y="10002"/>
                  </a:lnTo>
                  <a:lnTo>
                    <a:pt x="3536" y="9898"/>
                  </a:lnTo>
                  <a:lnTo>
                    <a:pt x="3578" y="9856"/>
                  </a:lnTo>
                  <a:lnTo>
                    <a:pt x="3620" y="9793"/>
                  </a:lnTo>
                  <a:lnTo>
                    <a:pt x="3578" y="9710"/>
                  </a:lnTo>
                  <a:lnTo>
                    <a:pt x="3662" y="9584"/>
                  </a:lnTo>
                  <a:lnTo>
                    <a:pt x="3766" y="9563"/>
                  </a:lnTo>
                  <a:lnTo>
                    <a:pt x="3850" y="9563"/>
                  </a:lnTo>
                  <a:lnTo>
                    <a:pt x="3871" y="9500"/>
                  </a:lnTo>
                  <a:lnTo>
                    <a:pt x="3850" y="9458"/>
                  </a:lnTo>
                  <a:lnTo>
                    <a:pt x="3829" y="9333"/>
                  </a:lnTo>
                  <a:lnTo>
                    <a:pt x="3620" y="9249"/>
                  </a:lnTo>
                  <a:lnTo>
                    <a:pt x="3578" y="9186"/>
                  </a:lnTo>
                  <a:lnTo>
                    <a:pt x="3641" y="9040"/>
                  </a:lnTo>
                  <a:lnTo>
                    <a:pt x="3724" y="8977"/>
                  </a:lnTo>
                  <a:lnTo>
                    <a:pt x="3766" y="8956"/>
                  </a:lnTo>
                  <a:lnTo>
                    <a:pt x="3745" y="9019"/>
                  </a:lnTo>
                  <a:lnTo>
                    <a:pt x="3745" y="9145"/>
                  </a:lnTo>
                  <a:lnTo>
                    <a:pt x="3787" y="9165"/>
                  </a:lnTo>
                  <a:lnTo>
                    <a:pt x="3850" y="9145"/>
                  </a:lnTo>
                  <a:lnTo>
                    <a:pt x="3871" y="9124"/>
                  </a:lnTo>
                  <a:lnTo>
                    <a:pt x="3955" y="9145"/>
                  </a:lnTo>
                  <a:lnTo>
                    <a:pt x="3996" y="9186"/>
                  </a:lnTo>
                  <a:lnTo>
                    <a:pt x="4059" y="9165"/>
                  </a:lnTo>
                  <a:lnTo>
                    <a:pt x="4101" y="9165"/>
                  </a:lnTo>
                  <a:lnTo>
                    <a:pt x="4080" y="9228"/>
                  </a:lnTo>
                  <a:lnTo>
                    <a:pt x="3976" y="9249"/>
                  </a:lnTo>
                  <a:lnTo>
                    <a:pt x="3976" y="9270"/>
                  </a:lnTo>
                  <a:lnTo>
                    <a:pt x="3996" y="9291"/>
                  </a:lnTo>
                  <a:lnTo>
                    <a:pt x="4080" y="9270"/>
                  </a:lnTo>
                  <a:lnTo>
                    <a:pt x="4206" y="9186"/>
                  </a:lnTo>
                  <a:lnTo>
                    <a:pt x="4499" y="9228"/>
                  </a:lnTo>
                  <a:lnTo>
                    <a:pt x="4666" y="9186"/>
                  </a:lnTo>
                  <a:lnTo>
                    <a:pt x="4603" y="9165"/>
                  </a:lnTo>
                  <a:lnTo>
                    <a:pt x="4582" y="9061"/>
                  </a:lnTo>
                  <a:lnTo>
                    <a:pt x="4603" y="8935"/>
                  </a:lnTo>
                  <a:lnTo>
                    <a:pt x="4729" y="8873"/>
                  </a:lnTo>
                  <a:lnTo>
                    <a:pt x="4833" y="8914"/>
                  </a:lnTo>
                  <a:lnTo>
                    <a:pt x="4875" y="9019"/>
                  </a:lnTo>
                  <a:lnTo>
                    <a:pt x="4833" y="9124"/>
                  </a:lnTo>
                  <a:lnTo>
                    <a:pt x="4896" y="9186"/>
                  </a:lnTo>
                  <a:lnTo>
                    <a:pt x="4980" y="9186"/>
                  </a:lnTo>
                  <a:lnTo>
                    <a:pt x="5043" y="9061"/>
                  </a:lnTo>
                  <a:lnTo>
                    <a:pt x="4980" y="8852"/>
                  </a:lnTo>
                  <a:lnTo>
                    <a:pt x="5001" y="8726"/>
                  </a:lnTo>
                  <a:lnTo>
                    <a:pt x="5126" y="8621"/>
                  </a:lnTo>
                  <a:lnTo>
                    <a:pt x="5210" y="8621"/>
                  </a:lnTo>
                  <a:lnTo>
                    <a:pt x="5231" y="8559"/>
                  </a:lnTo>
                  <a:lnTo>
                    <a:pt x="5189" y="8496"/>
                  </a:lnTo>
                  <a:lnTo>
                    <a:pt x="5210" y="8349"/>
                  </a:lnTo>
                  <a:lnTo>
                    <a:pt x="5294" y="8308"/>
                  </a:lnTo>
                  <a:lnTo>
                    <a:pt x="5398" y="8329"/>
                  </a:lnTo>
                  <a:lnTo>
                    <a:pt x="5419" y="8391"/>
                  </a:lnTo>
                  <a:lnTo>
                    <a:pt x="5357" y="8454"/>
                  </a:lnTo>
                  <a:lnTo>
                    <a:pt x="5336" y="8621"/>
                  </a:lnTo>
                  <a:lnTo>
                    <a:pt x="5357" y="8956"/>
                  </a:lnTo>
                  <a:lnTo>
                    <a:pt x="5419" y="8998"/>
                  </a:lnTo>
                  <a:lnTo>
                    <a:pt x="5503" y="8935"/>
                  </a:lnTo>
                  <a:lnTo>
                    <a:pt x="5545" y="8831"/>
                  </a:lnTo>
                  <a:lnTo>
                    <a:pt x="5649" y="8831"/>
                  </a:lnTo>
                  <a:lnTo>
                    <a:pt x="5754" y="8726"/>
                  </a:lnTo>
                  <a:lnTo>
                    <a:pt x="5817" y="8580"/>
                  </a:lnTo>
                  <a:lnTo>
                    <a:pt x="5775" y="8475"/>
                  </a:lnTo>
                  <a:lnTo>
                    <a:pt x="5921" y="8370"/>
                  </a:lnTo>
                  <a:lnTo>
                    <a:pt x="5880" y="8287"/>
                  </a:lnTo>
                  <a:lnTo>
                    <a:pt x="5838" y="8224"/>
                  </a:lnTo>
                  <a:lnTo>
                    <a:pt x="5712" y="8057"/>
                  </a:lnTo>
                  <a:lnTo>
                    <a:pt x="5649" y="7910"/>
                  </a:lnTo>
                  <a:lnTo>
                    <a:pt x="5629" y="7638"/>
                  </a:lnTo>
                  <a:lnTo>
                    <a:pt x="5670" y="7324"/>
                  </a:lnTo>
                  <a:lnTo>
                    <a:pt x="5670" y="7115"/>
                  </a:lnTo>
                  <a:lnTo>
                    <a:pt x="5566" y="6717"/>
                  </a:lnTo>
                  <a:lnTo>
                    <a:pt x="5440" y="6529"/>
                  </a:lnTo>
                  <a:lnTo>
                    <a:pt x="5440" y="6383"/>
                  </a:lnTo>
                  <a:lnTo>
                    <a:pt x="5461" y="6194"/>
                  </a:lnTo>
                  <a:lnTo>
                    <a:pt x="5649" y="6111"/>
                  </a:lnTo>
                  <a:lnTo>
                    <a:pt x="5733" y="6111"/>
                  </a:lnTo>
                  <a:lnTo>
                    <a:pt x="5775" y="6194"/>
                  </a:lnTo>
                  <a:lnTo>
                    <a:pt x="5817" y="6132"/>
                  </a:lnTo>
                  <a:lnTo>
                    <a:pt x="5775" y="6006"/>
                  </a:lnTo>
                  <a:lnTo>
                    <a:pt x="5754" y="5922"/>
                  </a:lnTo>
                  <a:lnTo>
                    <a:pt x="5733" y="5880"/>
                  </a:lnTo>
                  <a:lnTo>
                    <a:pt x="5712" y="5776"/>
                  </a:lnTo>
                  <a:lnTo>
                    <a:pt x="5712" y="5713"/>
                  </a:lnTo>
                  <a:lnTo>
                    <a:pt x="5712" y="5650"/>
                  </a:lnTo>
                  <a:lnTo>
                    <a:pt x="5754" y="5567"/>
                  </a:lnTo>
                  <a:lnTo>
                    <a:pt x="5754" y="5546"/>
                  </a:lnTo>
                  <a:lnTo>
                    <a:pt x="5754" y="5462"/>
                  </a:lnTo>
                  <a:lnTo>
                    <a:pt x="5733" y="5399"/>
                  </a:lnTo>
                  <a:lnTo>
                    <a:pt x="5733" y="5274"/>
                  </a:lnTo>
                  <a:lnTo>
                    <a:pt x="5754" y="5190"/>
                  </a:lnTo>
                  <a:lnTo>
                    <a:pt x="5712" y="5127"/>
                  </a:lnTo>
                  <a:lnTo>
                    <a:pt x="5670" y="4876"/>
                  </a:lnTo>
                  <a:lnTo>
                    <a:pt x="5566" y="4709"/>
                  </a:lnTo>
                  <a:lnTo>
                    <a:pt x="5545" y="4709"/>
                  </a:lnTo>
                  <a:lnTo>
                    <a:pt x="5503" y="4667"/>
                  </a:lnTo>
                  <a:lnTo>
                    <a:pt x="5503" y="4437"/>
                  </a:lnTo>
                  <a:lnTo>
                    <a:pt x="5398" y="4332"/>
                  </a:lnTo>
                  <a:lnTo>
                    <a:pt x="5147" y="4081"/>
                  </a:lnTo>
                  <a:lnTo>
                    <a:pt x="5105" y="3976"/>
                  </a:lnTo>
                  <a:lnTo>
                    <a:pt x="5043" y="3788"/>
                  </a:lnTo>
                  <a:lnTo>
                    <a:pt x="5043" y="3600"/>
                  </a:lnTo>
                  <a:lnTo>
                    <a:pt x="5043" y="3558"/>
                  </a:lnTo>
                  <a:lnTo>
                    <a:pt x="4980" y="3600"/>
                  </a:lnTo>
                  <a:lnTo>
                    <a:pt x="4917" y="3600"/>
                  </a:lnTo>
                  <a:lnTo>
                    <a:pt x="4896" y="3579"/>
                  </a:lnTo>
                  <a:lnTo>
                    <a:pt x="4896" y="3558"/>
                  </a:lnTo>
                  <a:cubicBezTo>
                    <a:pt x="4854" y="3474"/>
                    <a:pt x="4812" y="3412"/>
                    <a:pt x="4750" y="3349"/>
                  </a:cubicBezTo>
                  <a:lnTo>
                    <a:pt x="4792" y="3265"/>
                  </a:lnTo>
                  <a:lnTo>
                    <a:pt x="4854" y="3160"/>
                  </a:lnTo>
                  <a:lnTo>
                    <a:pt x="4812" y="3077"/>
                  </a:lnTo>
                  <a:lnTo>
                    <a:pt x="4687" y="3077"/>
                  </a:lnTo>
                  <a:lnTo>
                    <a:pt x="4540" y="3056"/>
                  </a:lnTo>
                  <a:lnTo>
                    <a:pt x="4394" y="2888"/>
                  </a:lnTo>
                  <a:lnTo>
                    <a:pt x="4268" y="2930"/>
                  </a:lnTo>
                  <a:lnTo>
                    <a:pt x="4122" y="2847"/>
                  </a:lnTo>
                  <a:lnTo>
                    <a:pt x="4101" y="2763"/>
                  </a:lnTo>
                  <a:lnTo>
                    <a:pt x="4101" y="2658"/>
                  </a:lnTo>
                  <a:lnTo>
                    <a:pt x="4185" y="2575"/>
                  </a:lnTo>
                  <a:lnTo>
                    <a:pt x="4268" y="2575"/>
                  </a:lnTo>
                  <a:lnTo>
                    <a:pt x="4415" y="2679"/>
                  </a:lnTo>
                  <a:lnTo>
                    <a:pt x="4478" y="2721"/>
                  </a:lnTo>
                  <a:lnTo>
                    <a:pt x="4603" y="2533"/>
                  </a:lnTo>
                  <a:lnTo>
                    <a:pt x="4729" y="2428"/>
                  </a:lnTo>
                  <a:lnTo>
                    <a:pt x="4833" y="2428"/>
                  </a:lnTo>
                  <a:lnTo>
                    <a:pt x="4896" y="2470"/>
                  </a:lnTo>
                  <a:lnTo>
                    <a:pt x="4959" y="2512"/>
                  </a:lnTo>
                  <a:lnTo>
                    <a:pt x="5064" y="2470"/>
                  </a:lnTo>
                  <a:lnTo>
                    <a:pt x="5168" y="2575"/>
                  </a:lnTo>
                  <a:lnTo>
                    <a:pt x="5336" y="2721"/>
                  </a:lnTo>
                  <a:lnTo>
                    <a:pt x="5524" y="2784"/>
                  </a:lnTo>
                  <a:lnTo>
                    <a:pt x="5691" y="2847"/>
                  </a:lnTo>
                  <a:lnTo>
                    <a:pt x="5754" y="2930"/>
                  </a:lnTo>
                  <a:lnTo>
                    <a:pt x="5859" y="2972"/>
                  </a:lnTo>
                  <a:lnTo>
                    <a:pt x="5859" y="2888"/>
                  </a:lnTo>
                  <a:lnTo>
                    <a:pt x="5880" y="2784"/>
                  </a:lnTo>
                  <a:lnTo>
                    <a:pt x="5859" y="2658"/>
                  </a:lnTo>
                  <a:lnTo>
                    <a:pt x="5880" y="2470"/>
                  </a:lnTo>
                  <a:lnTo>
                    <a:pt x="5942" y="2240"/>
                  </a:lnTo>
                  <a:lnTo>
                    <a:pt x="6089" y="2031"/>
                  </a:lnTo>
                  <a:lnTo>
                    <a:pt x="6193" y="2010"/>
                  </a:lnTo>
                  <a:lnTo>
                    <a:pt x="6298" y="2031"/>
                  </a:lnTo>
                  <a:lnTo>
                    <a:pt x="6465" y="2031"/>
                  </a:lnTo>
                  <a:lnTo>
                    <a:pt x="6465" y="1989"/>
                  </a:lnTo>
                  <a:lnTo>
                    <a:pt x="6528" y="1926"/>
                  </a:lnTo>
                  <a:lnTo>
                    <a:pt x="6591" y="1947"/>
                  </a:lnTo>
                  <a:lnTo>
                    <a:pt x="6675" y="1947"/>
                  </a:lnTo>
                  <a:lnTo>
                    <a:pt x="6717" y="1905"/>
                  </a:lnTo>
                  <a:lnTo>
                    <a:pt x="6737" y="1821"/>
                  </a:lnTo>
                  <a:lnTo>
                    <a:pt x="6842" y="1779"/>
                  </a:lnTo>
                  <a:lnTo>
                    <a:pt x="6926" y="1717"/>
                  </a:lnTo>
                  <a:lnTo>
                    <a:pt x="6926" y="1612"/>
                  </a:lnTo>
                  <a:lnTo>
                    <a:pt x="6989" y="1591"/>
                  </a:lnTo>
                  <a:lnTo>
                    <a:pt x="7009" y="1507"/>
                  </a:lnTo>
                  <a:lnTo>
                    <a:pt x="6926" y="1507"/>
                  </a:lnTo>
                  <a:lnTo>
                    <a:pt x="6863" y="1591"/>
                  </a:lnTo>
                  <a:lnTo>
                    <a:pt x="6800" y="1675"/>
                  </a:lnTo>
                  <a:lnTo>
                    <a:pt x="6717" y="1675"/>
                  </a:lnTo>
                  <a:lnTo>
                    <a:pt x="6717" y="1612"/>
                  </a:lnTo>
                  <a:lnTo>
                    <a:pt x="6717" y="1528"/>
                  </a:lnTo>
                  <a:lnTo>
                    <a:pt x="6612" y="1403"/>
                  </a:lnTo>
                  <a:lnTo>
                    <a:pt x="6486" y="1319"/>
                  </a:lnTo>
                  <a:lnTo>
                    <a:pt x="6445" y="1277"/>
                  </a:lnTo>
                  <a:lnTo>
                    <a:pt x="6445" y="1110"/>
                  </a:lnTo>
                  <a:lnTo>
                    <a:pt x="6486" y="943"/>
                  </a:lnTo>
                  <a:lnTo>
                    <a:pt x="6486" y="838"/>
                  </a:lnTo>
                  <a:lnTo>
                    <a:pt x="6465" y="775"/>
                  </a:lnTo>
                  <a:lnTo>
                    <a:pt x="6445" y="796"/>
                  </a:lnTo>
                  <a:lnTo>
                    <a:pt x="6403" y="901"/>
                  </a:lnTo>
                  <a:lnTo>
                    <a:pt x="6298" y="1047"/>
                  </a:lnTo>
                  <a:lnTo>
                    <a:pt x="6131" y="1173"/>
                  </a:lnTo>
                  <a:lnTo>
                    <a:pt x="5963" y="1194"/>
                  </a:lnTo>
                  <a:lnTo>
                    <a:pt x="5901" y="1173"/>
                  </a:lnTo>
                  <a:lnTo>
                    <a:pt x="5838" y="1194"/>
                  </a:lnTo>
                  <a:lnTo>
                    <a:pt x="5733" y="1089"/>
                  </a:lnTo>
                  <a:lnTo>
                    <a:pt x="5608" y="1068"/>
                  </a:lnTo>
                  <a:lnTo>
                    <a:pt x="5419" y="984"/>
                  </a:lnTo>
                  <a:lnTo>
                    <a:pt x="5315" y="880"/>
                  </a:lnTo>
                  <a:lnTo>
                    <a:pt x="5210" y="859"/>
                  </a:lnTo>
                  <a:lnTo>
                    <a:pt x="5147" y="775"/>
                  </a:lnTo>
                  <a:lnTo>
                    <a:pt x="5001" y="671"/>
                  </a:lnTo>
                  <a:lnTo>
                    <a:pt x="4729" y="419"/>
                  </a:lnTo>
                  <a:lnTo>
                    <a:pt x="4645" y="252"/>
                  </a:lnTo>
                  <a:lnTo>
                    <a:pt x="4499" y="231"/>
                  </a:lnTo>
                  <a:lnTo>
                    <a:pt x="4310" y="64"/>
                  </a:lnTo>
                  <a:lnTo>
                    <a:pt x="426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 name="Google Shape;5916;p93">
              <a:extLst>
                <a:ext uri="{FF2B5EF4-FFF2-40B4-BE49-F238E27FC236}">
                  <a16:creationId xmlns:a16="http://schemas.microsoft.com/office/drawing/2014/main" id="{E016B2CF-B04C-4717-BEC7-B4A7E03E9FA1}"/>
                </a:ext>
              </a:extLst>
            </p:cNvPr>
            <p:cNvSpPr/>
            <p:nvPr/>
          </p:nvSpPr>
          <p:spPr>
            <a:xfrm>
              <a:off x="4580490" y="2850992"/>
              <a:ext cx="28661" cy="38087"/>
            </a:xfrm>
            <a:custGeom>
              <a:avLst/>
              <a:gdLst/>
              <a:ahLst/>
              <a:cxnLst/>
              <a:rect l="l" t="t" r="r" b="b"/>
              <a:pathLst>
                <a:path w="2407" h="3349" extrusionOk="0">
                  <a:moveTo>
                    <a:pt x="1256" y="1"/>
                  </a:moveTo>
                  <a:lnTo>
                    <a:pt x="1005" y="126"/>
                  </a:lnTo>
                  <a:lnTo>
                    <a:pt x="628" y="189"/>
                  </a:lnTo>
                  <a:lnTo>
                    <a:pt x="419" y="377"/>
                  </a:lnTo>
                  <a:lnTo>
                    <a:pt x="210" y="419"/>
                  </a:lnTo>
                  <a:lnTo>
                    <a:pt x="21" y="586"/>
                  </a:lnTo>
                  <a:lnTo>
                    <a:pt x="0" y="712"/>
                  </a:lnTo>
                  <a:lnTo>
                    <a:pt x="0" y="733"/>
                  </a:lnTo>
                  <a:lnTo>
                    <a:pt x="105" y="649"/>
                  </a:lnTo>
                  <a:lnTo>
                    <a:pt x="293" y="691"/>
                  </a:lnTo>
                  <a:lnTo>
                    <a:pt x="210" y="712"/>
                  </a:lnTo>
                  <a:lnTo>
                    <a:pt x="419" y="921"/>
                  </a:lnTo>
                  <a:lnTo>
                    <a:pt x="565" y="1130"/>
                  </a:lnTo>
                  <a:lnTo>
                    <a:pt x="649" y="1130"/>
                  </a:lnTo>
                  <a:lnTo>
                    <a:pt x="607" y="1214"/>
                  </a:lnTo>
                  <a:lnTo>
                    <a:pt x="712" y="1319"/>
                  </a:lnTo>
                  <a:lnTo>
                    <a:pt x="733" y="1423"/>
                  </a:lnTo>
                  <a:lnTo>
                    <a:pt x="544" y="1361"/>
                  </a:lnTo>
                  <a:lnTo>
                    <a:pt x="524" y="1277"/>
                  </a:lnTo>
                  <a:lnTo>
                    <a:pt x="461" y="1381"/>
                  </a:lnTo>
                  <a:lnTo>
                    <a:pt x="398" y="1361"/>
                  </a:lnTo>
                  <a:lnTo>
                    <a:pt x="252" y="1549"/>
                  </a:lnTo>
                  <a:lnTo>
                    <a:pt x="524" y="1653"/>
                  </a:lnTo>
                  <a:lnTo>
                    <a:pt x="607" y="1633"/>
                  </a:lnTo>
                  <a:lnTo>
                    <a:pt x="649" y="1758"/>
                  </a:lnTo>
                  <a:lnTo>
                    <a:pt x="649" y="1988"/>
                  </a:lnTo>
                  <a:lnTo>
                    <a:pt x="712" y="2051"/>
                  </a:lnTo>
                  <a:lnTo>
                    <a:pt x="754" y="2009"/>
                  </a:lnTo>
                  <a:lnTo>
                    <a:pt x="858" y="2197"/>
                  </a:lnTo>
                  <a:lnTo>
                    <a:pt x="670" y="2323"/>
                  </a:lnTo>
                  <a:lnTo>
                    <a:pt x="670" y="2386"/>
                  </a:lnTo>
                  <a:lnTo>
                    <a:pt x="754" y="2469"/>
                  </a:lnTo>
                  <a:lnTo>
                    <a:pt x="754" y="2574"/>
                  </a:lnTo>
                  <a:lnTo>
                    <a:pt x="670" y="2595"/>
                  </a:lnTo>
                  <a:lnTo>
                    <a:pt x="670" y="2700"/>
                  </a:lnTo>
                  <a:lnTo>
                    <a:pt x="733" y="2804"/>
                  </a:lnTo>
                  <a:lnTo>
                    <a:pt x="670" y="2804"/>
                  </a:lnTo>
                  <a:lnTo>
                    <a:pt x="816" y="3097"/>
                  </a:lnTo>
                  <a:lnTo>
                    <a:pt x="879" y="3097"/>
                  </a:lnTo>
                  <a:lnTo>
                    <a:pt x="921" y="3223"/>
                  </a:lnTo>
                  <a:lnTo>
                    <a:pt x="963" y="3244"/>
                  </a:lnTo>
                  <a:lnTo>
                    <a:pt x="963" y="3348"/>
                  </a:lnTo>
                  <a:lnTo>
                    <a:pt x="1047" y="3306"/>
                  </a:lnTo>
                  <a:lnTo>
                    <a:pt x="1047" y="3139"/>
                  </a:lnTo>
                  <a:lnTo>
                    <a:pt x="1088" y="3223"/>
                  </a:lnTo>
                  <a:lnTo>
                    <a:pt x="1172" y="3118"/>
                  </a:lnTo>
                  <a:lnTo>
                    <a:pt x="1444" y="2888"/>
                  </a:lnTo>
                  <a:lnTo>
                    <a:pt x="1549" y="2846"/>
                  </a:lnTo>
                  <a:lnTo>
                    <a:pt x="1570" y="2909"/>
                  </a:lnTo>
                  <a:lnTo>
                    <a:pt x="1653" y="2825"/>
                  </a:lnTo>
                  <a:lnTo>
                    <a:pt x="1695" y="2825"/>
                  </a:lnTo>
                  <a:lnTo>
                    <a:pt x="1758" y="2930"/>
                  </a:lnTo>
                  <a:lnTo>
                    <a:pt x="1863" y="2909"/>
                  </a:lnTo>
                  <a:lnTo>
                    <a:pt x="1905" y="2951"/>
                  </a:lnTo>
                  <a:lnTo>
                    <a:pt x="1967" y="2909"/>
                  </a:lnTo>
                  <a:lnTo>
                    <a:pt x="1925" y="2825"/>
                  </a:lnTo>
                  <a:lnTo>
                    <a:pt x="2072" y="2741"/>
                  </a:lnTo>
                  <a:lnTo>
                    <a:pt x="2197" y="2741"/>
                  </a:lnTo>
                  <a:lnTo>
                    <a:pt x="2344" y="2532"/>
                  </a:lnTo>
                  <a:lnTo>
                    <a:pt x="2323" y="2490"/>
                  </a:lnTo>
                  <a:lnTo>
                    <a:pt x="2407" y="2428"/>
                  </a:lnTo>
                  <a:lnTo>
                    <a:pt x="2344" y="1988"/>
                  </a:lnTo>
                  <a:lnTo>
                    <a:pt x="2323" y="1988"/>
                  </a:lnTo>
                  <a:lnTo>
                    <a:pt x="2281" y="2009"/>
                  </a:lnTo>
                  <a:lnTo>
                    <a:pt x="2281" y="1884"/>
                  </a:lnTo>
                  <a:lnTo>
                    <a:pt x="2197" y="1486"/>
                  </a:lnTo>
                  <a:lnTo>
                    <a:pt x="2114" y="1381"/>
                  </a:lnTo>
                  <a:lnTo>
                    <a:pt x="2114" y="1130"/>
                  </a:lnTo>
                  <a:lnTo>
                    <a:pt x="1779" y="712"/>
                  </a:lnTo>
                  <a:lnTo>
                    <a:pt x="1465" y="398"/>
                  </a:lnTo>
                  <a:lnTo>
                    <a:pt x="125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 name="Google Shape;5917;p93">
              <a:extLst>
                <a:ext uri="{FF2B5EF4-FFF2-40B4-BE49-F238E27FC236}">
                  <a16:creationId xmlns:a16="http://schemas.microsoft.com/office/drawing/2014/main" id="{CBC10ECC-FB43-446E-955A-90862FA1D630}"/>
                </a:ext>
              </a:extLst>
            </p:cNvPr>
            <p:cNvSpPr/>
            <p:nvPr/>
          </p:nvSpPr>
          <p:spPr>
            <a:xfrm>
              <a:off x="4566534" y="2807208"/>
              <a:ext cx="32650" cy="53553"/>
            </a:xfrm>
            <a:custGeom>
              <a:avLst/>
              <a:gdLst/>
              <a:ahLst/>
              <a:cxnLst/>
              <a:rect l="l" t="t" r="r" b="b"/>
              <a:pathLst>
                <a:path w="2742" h="4709" extrusionOk="0">
                  <a:moveTo>
                    <a:pt x="2260" y="1"/>
                  </a:moveTo>
                  <a:lnTo>
                    <a:pt x="2177" y="42"/>
                  </a:lnTo>
                  <a:lnTo>
                    <a:pt x="2177" y="168"/>
                  </a:lnTo>
                  <a:lnTo>
                    <a:pt x="2177" y="273"/>
                  </a:lnTo>
                  <a:lnTo>
                    <a:pt x="2240" y="377"/>
                  </a:lnTo>
                  <a:lnTo>
                    <a:pt x="2177" y="482"/>
                  </a:lnTo>
                  <a:lnTo>
                    <a:pt x="2093" y="482"/>
                  </a:lnTo>
                  <a:lnTo>
                    <a:pt x="1988" y="607"/>
                  </a:lnTo>
                  <a:lnTo>
                    <a:pt x="1988" y="733"/>
                  </a:lnTo>
                  <a:lnTo>
                    <a:pt x="1737" y="921"/>
                  </a:lnTo>
                  <a:lnTo>
                    <a:pt x="1612" y="921"/>
                  </a:lnTo>
                  <a:lnTo>
                    <a:pt x="1528" y="1005"/>
                  </a:lnTo>
                  <a:lnTo>
                    <a:pt x="1633" y="1089"/>
                  </a:lnTo>
                  <a:lnTo>
                    <a:pt x="1779" y="1214"/>
                  </a:lnTo>
                  <a:lnTo>
                    <a:pt x="1779" y="1298"/>
                  </a:lnTo>
                  <a:lnTo>
                    <a:pt x="1716" y="1444"/>
                  </a:lnTo>
                  <a:lnTo>
                    <a:pt x="1570" y="1423"/>
                  </a:lnTo>
                  <a:lnTo>
                    <a:pt x="1319" y="1444"/>
                  </a:lnTo>
                  <a:lnTo>
                    <a:pt x="1193" y="1402"/>
                  </a:lnTo>
                  <a:lnTo>
                    <a:pt x="1089" y="1444"/>
                  </a:lnTo>
                  <a:lnTo>
                    <a:pt x="1005" y="1361"/>
                  </a:lnTo>
                  <a:lnTo>
                    <a:pt x="942" y="1319"/>
                  </a:lnTo>
                  <a:lnTo>
                    <a:pt x="838" y="1151"/>
                  </a:lnTo>
                  <a:lnTo>
                    <a:pt x="691" y="1298"/>
                  </a:lnTo>
                  <a:lnTo>
                    <a:pt x="691" y="1465"/>
                  </a:lnTo>
                  <a:lnTo>
                    <a:pt x="691" y="1528"/>
                  </a:lnTo>
                  <a:lnTo>
                    <a:pt x="649" y="1633"/>
                  </a:lnTo>
                  <a:lnTo>
                    <a:pt x="566" y="1926"/>
                  </a:lnTo>
                  <a:lnTo>
                    <a:pt x="461" y="1967"/>
                  </a:lnTo>
                  <a:lnTo>
                    <a:pt x="356" y="2156"/>
                  </a:lnTo>
                  <a:lnTo>
                    <a:pt x="210" y="2260"/>
                  </a:lnTo>
                  <a:lnTo>
                    <a:pt x="210" y="2365"/>
                  </a:lnTo>
                  <a:lnTo>
                    <a:pt x="147" y="2511"/>
                  </a:lnTo>
                  <a:lnTo>
                    <a:pt x="1" y="2616"/>
                  </a:lnTo>
                  <a:lnTo>
                    <a:pt x="1" y="2972"/>
                  </a:lnTo>
                  <a:lnTo>
                    <a:pt x="22" y="3014"/>
                  </a:lnTo>
                  <a:lnTo>
                    <a:pt x="43" y="2993"/>
                  </a:lnTo>
                  <a:lnTo>
                    <a:pt x="84" y="3202"/>
                  </a:lnTo>
                  <a:lnTo>
                    <a:pt x="168" y="3139"/>
                  </a:lnTo>
                  <a:lnTo>
                    <a:pt x="168" y="3034"/>
                  </a:lnTo>
                  <a:lnTo>
                    <a:pt x="315" y="3118"/>
                  </a:lnTo>
                  <a:lnTo>
                    <a:pt x="356" y="3202"/>
                  </a:lnTo>
                  <a:lnTo>
                    <a:pt x="545" y="3181"/>
                  </a:lnTo>
                  <a:lnTo>
                    <a:pt x="587" y="3097"/>
                  </a:lnTo>
                  <a:lnTo>
                    <a:pt x="670" y="3097"/>
                  </a:lnTo>
                  <a:lnTo>
                    <a:pt x="649" y="3181"/>
                  </a:lnTo>
                  <a:lnTo>
                    <a:pt x="566" y="3223"/>
                  </a:lnTo>
                  <a:lnTo>
                    <a:pt x="649" y="3348"/>
                  </a:lnTo>
                  <a:lnTo>
                    <a:pt x="524" y="3558"/>
                  </a:lnTo>
                  <a:lnTo>
                    <a:pt x="524" y="3851"/>
                  </a:lnTo>
                  <a:lnTo>
                    <a:pt x="545" y="3913"/>
                  </a:lnTo>
                  <a:lnTo>
                    <a:pt x="775" y="3913"/>
                  </a:lnTo>
                  <a:lnTo>
                    <a:pt x="880" y="3851"/>
                  </a:lnTo>
                  <a:lnTo>
                    <a:pt x="754" y="3955"/>
                  </a:lnTo>
                  <a:lnTo>
                    <a:pt x="608" y="3955"/>
                  </a:lnTo>
                  <a:lnTo>
                    <a:pt x="545" y="4143"/>
                  </a:lnTo>
                  <a:lnTo>
                    <a:pt x="524" y="4374"/>
                  </a:lnTo>
                  <a:lnTo>
                    <a:pt x="482" y="4478"/>
                  </a:lnTo>
                  <a:lnTo>
                    <a:pt x="545" y="4478"/>
                  </a:lnTo>
                  <a:lnTo>
                    <a:pt x="649" y="4436"/>
                  </a:lnTo>
                  <a:lnTo>
                    <a:pt x="775" y="4478"/>
                  </a:lnTo>
                  <a:lnTo>
                    <a:pt x="670" y="4646"/>
                  </a:lnTo>
                  <a:lnTo>
                    <a:pt x="691" y="4708"/>
                  </a:lnTo>
                  <a:lnTo>
                    <a:pt x="838" y="4604"/>
                  </a:lnTo>
                  <a:lnTo>
                    <a:pt x="900" y="4667"/>
                  </a:lnTo>
                  <a:lnTo>
                    <a:pt x="1005" y="4541"/>
                  </a:lnTo>
                  <a:lnTo>
                    <a:pt x="963" y="4478"/>
                  </a:lnTo>
                  <a:lnTo>
                    <a:pt x="1047" y="4436"/>
                  </a:lnTo>
                  <a:lnTo>
                    <a:pt x="1172" y="4562"/>
                  </a:lnTo>
                  <a:lnTo>
                    <a:pt x="1193" y="4436"/>
                  </a:lnTo>
                  <a:lnTo>
                    <a:pt x="1382" y="4269"/>
                  </a:lnTo>
                  <a:lnTo>
                    <a:pt x="1591" y="4227"/>
                  </a:lnTo>
                  <a:lnTo>
                    <a:pt x="1800" y="4039"/>
                  </a:lnTo>
                  <a:lnTo>
                    <a:pt x="2177" y="3976"/>
                  </a:lnTo>
                  <a:lnTo>
                    <a:pt x="2428" y="3851"/>
                  </a:lnTo>
                  <a:lnTo>
                    <a:pt x="2344" y="3725"/>
                  </a:lnTo>
                  <a:lnTo>
                    <a:pt x="1926" y="3495"/>
                  </a:lnTo>
                  <a:lnTo>
                    <a:pt x="1884" y="3390"/>
                  </a:lnTo>
                  <a:lnTo>
                    <a:pt x="1654" y="3348"/>
                  </a:lnTo>
                  <a:lnTo>
                    <a:pt x="1612" y="3202"/>
                  </a:lnTo>
                  <a:lnTo>
                    <a:pt x="1654" y="3118"/>
                  </a:lnTo>
                  <a:lnTo>
                    <a:pt x="1633" y="2993"/>
                  </a:lnTo>
                  <a:lnTo>
                    <a:pt x="1633" y="2867"/>
                  </a:lnTo>
                  <a:lnTo>
                    <a:pt x="1800" y="2762"/>
                  </a:lnTo>
                  <a:lnTo>
                    <a:pt x="1821" y="2616"/>
                  </a:lnTo>
                  <a:lnTo>
                    <a:pt x="1947" y="2574"/>
                  </a:lnTo>
                  <a:lnTo>
                    <a:pt x="2051" y="2574"/>
                  </a:lnTo>
                  <a:lnTo>
                    <a:pt x="2093" y="2490"/>
                  </a:lnTo>
                  <a:lnTo>
                    <a:pt x="2156" y="2449"/>
                  </a:lnTo>
                  <a:lnTo>
                    <a:pt x="2135" y="2344"/>
                  </a:lnTo>
                  <a:lnTo>
                    <a:pt x="2428" y="2051"/>
                  </a:lnTo>
                  <a:lnTo>
                    <a:pt x="2407" y="1988"/>
                  </a:lnTo>
                  <a:lnTo>
                    <a:pt x="2553" y="1863"/>
                  </a:lnTo>
                  <a:lnTo>
                    <a:pt x="2574" y="1737"/>
                  </a:lnTo>
                  <a:lnTo>
                    <a:pt x="2512" y="1654"/>
                  </a:lnTo>
                  <a:lnTo>
                    <a:pt x="2512" y="1361"/>
                  </a:lnTo>
                  <a:lnTo>
                    <a:pt x="2365" y="1256"/>
                  </a:lnTo>
                  <a:lnTo>
                    <a:pt x="2365" y="1110"/>
                  </a:lnTo>
                  <a:lnTo>
                    <a:pt x="2449" y="817"/>
                  </a:lnTo>
                  <a:lnTo>
                    <a:pt x="2449" y="691"/>
                  </a:lnTo>
                  <a:lnTo>
                    <a:pt x="2532" y="691"/>
                  </a:lnTo>
                  <a:lnTo>
                    <a:pt x="2721" y="482"/>
                  </a:lnTo>
                  <a:lnTo>
                    <a:pt x="2742" y="482"/>
                  </a:lnTo>
                  <a:lnTo>
                    <a:pt x="2637" y="356"/>
                  </a:lnTo>
                  <a:lnTo>
                    <a:pt x="2616" y="293"/>
                  </a:lnTo>
                  <a:lnTo>
                    <a:pt x="2428" y="273"/>
                  </a:lnTo>
                  <a:lnTo>
                    <a:pt x="2365" y="189"/>
                  </a:lnTo>
                  <a:lnTo>
                    <a:pt x="2365" y="84"/>
                  </a:lnTo>
                  <a:lnTo>
                    <a:pt x="226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 name="Google Shape;5918;p93">
              <a:extLst>
                <a:ext uri="{FF2B5EF4-FFF2-40B4-BE49-F238E27FC236}">
                  <a16:creationId xmlns:a16="http://schemas.microsoft.com/office/drawing/2014/main" id="{7A237C60-2E15-4C6A-B485-EFDD248D2EEC}"/>
                </a:ext>
              </a:extLst>
            </p:cNvPr>
            <p:cNvSpPr/>
            <p:nvPr/>
          </p:nvSpPr>
          <p:spPr>
            <a:xfrm>
              <a:off x="4301938" y="2737722"/>
              <a:ext cx="211787" cy="95438"/>
            </a:xfrm>
            <a:custGeom>
              <a:avLst/>
              <a:gdLst/>
              <a:ahLst/>
              <a:cxnLst/>
              <a:rect l="l" t="t" r="r" b="b"/>
              <a:pathLst>
                <a:path w="17786" h="8392" extrusionOk="0">
                  <a:moveTo>
                    <a:pt x="5232" y="1"/>
                  </a:moveTo>
                  <a:lnTo>
                    <a:pt x="5169" y="85"/>
                  </a:lnTo>
                  <a:lnTo>
                    <a:pt x="5169" y="147"/>
                  </a:lnTo>
                  <a:lnTo>
                    <a:pt x="5190" y="252"/>
                  </a:lnTo>
                  <a:lnTo>
                    <a:pt x="5169" y="336"/>
                  </a:lnTo>
                  <a:lnTo>
                    <a:pt x="5085" y="336"/>
                  </a:lnTo>
                  <a:lnTo>
                    <a:pt x="5002" y="357"/>
                  </a:lnTo>
                  <a:lnTo>
                    <a:pt x="4918" y="461"/>
                  </a:lnTo>
                  <a:lnTo>
                    <a:pt x="4918" y="545"/>
                  </a:lnTo>
                  <a:lnTo>
                    <a:pt x="4813" y="670"/>
                  </a:lnTo>
                  <a:lnTo>
                    <a:pt x="4813" y="963"/>
                  </a:lnTo>
                  <a:lnTo>
                    <a:pt x="4855" y="1089"/>
                  </a:lnTo>
                  <a:lnTo>
                    <a:pt x="5023" y="1152"/>
                  </a:lnTo>
                  <a:lnTo>
                    <a:pt x="5085" y="1214"/>
                  </a:lnTo>
                  <a:lnTo>
                    <a:pt x="5190" y="1256"/>
                  </a:lnTo>
                  <a:lnTo>
                    <a:pt x="5211" y="1340"/>
                  </a:lnTo>
                  <a:lnTo>
                    <a:pt x="5190" y="1507"/>
                  </a:lnTo>
                  <a:lnTo>
                    <a:pt x="5190" y="1696"/>
                  </a:lnTo>
                  <a:lnTo>
                    <a:pt x="5295" y="1779"/>
                  </a:lnTo>
                  <a:lnTo>
                    <a:pt x="5378" y="1863"/>
                  </a:lnTo>
                  <a:lnTo>
                    <a:pt x="5232" y="2010"/>
                  </a:lnTo>
                  <a:lnTo>
                    <a:pt x="5043" y="2030"/>
                  </a:lnTo>
                  <a:lnTo>
                    <a:pt x="4960" y="2010"/>
                  </a:lnTo>
                  <a:lnTo>
                    <a:pt x="4918" y="2072"/>
                  </a:lnTo>
                  <a:lnTo>
                    <a:pt x="4813" y="2072"/>
                  </a:lnTo>
                  <a:lnTo>
                    <a:pt x="4709" y="2010"/>
                  </a:lnTo>
                  <a:lnTo>
                    <a:pt x="4479" y="2010"/>
                  </a:lnTo>
                  <a:lnTo>
                    <a:pt x="4374" y="2030"/>
                  </a:lnTo>
                  <a:lnTo>
                    <a:pt x="4290" y="1989"/>
                  </a:lnTo>
                  <a:lnTo>
                    <a:pt x="4186" y="1968"/>
                  </a:lnTo>
                  <a:lnTo>
                    <a:pt x="4081" y="1968"/>
                  </a:lnTo>
                  <a:lnTo>
                    <a:pt x="3955" y="2072"/>
                  </a:lnTo>
                  <a:lnTo>
                    <a:pt x="3851" y="2093"/>
                  </a:lnTo>
                  <a:lnTo>
                    <a:pt x="3767" y="2135"/>
                  </a:lnTo>
                  <a:lnTo>
                    <a:pt x="3558" y="2030"/>
                  </a:lnTo>
                  <a:lnTo>
                    <a:pt x="3453" y="1968"/>
                  </a:lnTo>
                  <a:lnTo>
                    <a:pt x="3181" y="1800"/>
                  </a:lnTo>
                  <a:lnTo>
                    <a:pt x="3139" y="1717"/>
                  </a:lnTo>
                  <a:lnTo>
                    <a:pt x="3118" y="1612"/>
                  </a:lnTo>
                  <a:lnTo>
                    <a:pt x="3077" y="1549"/>
                  </a:lnTo>
                  <a:lnTo>
                    <a:pt x="2888" y="1549"/>
                  </a:lnTo>
                  <a:lnTo>
                    <a:pt x="2805" y="1591"/>
                  </a:lnTo>
                  <a:lnTo>
                    <a:pt x="2700" y="1591"/>
                  </a:lnTo>
                  <a:lnTo>
                    <a:pt x="2658" y="1612"/>
                  </a:lnTo>
                  <a:lnTo>
                    <a:pt x="2512" y="1612"/>
                  </a:lnTo>
                  <a:lnTo>
                    <a:pt x="2470" y="1549"/>
                  </a:lnTo>
                  <a:lnTo>
                    <a:pt x="2428" y="1486"/>
                  </a:lnTo>
                  <a:lnTo>
                    <a:pt x="2365" y="1382"/>
                  </a:lnTo>
                  <a:lnTo>
                    <a:pt x="2344" y="1382"/>
                  </a:lnTo>
                  <a:lnTo>
                    <a:pt x="2261" y="1445"/>
                  </a:lnTo>
                  <a:lnTo>
                    <a:pt x="2030" y="1445"/>
                  </a:lnTo>
                  <a:lnTo>
                    <a:pt x="1905" y="1466"/>
                  </a:lnTo>
                  <a:lnTo>
                    <a:pt x="1717" y="1486"/>
                  </a:lnTo>
                  <a:lnTo>
                    <a:pt x="1633" y="1549"/>
                  </a:lnTo>
                  <a:lnTo>
                    <a:pt x="1549" y="1675"/>
                  </a:lnTo>
                  <a:lnTo>
                    <a:pt x="1466" y="1717"/>
                  </a:lnTo>
                  <a:lnTo>
                    <a:pt x="1298" y="1675"/>
                  </a:lnTo>
                  <a:lnTo>
                    <a:pt x="1256" y="1717"/>
                  </a:lnTo>
                  <a:lnTo>
                    <a:pt x="1256" y="1800"/>
                  </a:lnTo>
                  <a:lnTo>
                    <a:pt x="1319" y="1863"/>
                  </a:lnTo>
                  <a:lnTo>
                    <a:pt x="1256" y="1884"/>
                  </a:lnTo>
                  <a:lnTo>
                    <a:pt x="1193" y="2010"/>
                  </a:lnTo>
                  <a:lnTo>
                    <a:pt x="1110" y="2030"/>
                  </a:lnTo>
                  <a:lnTo>
                    <a:pt x="1005" y="2114"/>
                  </a:lnTo>
                  <a:lnTo>
                    <a:pt x="1005" y="2198"/>
                  </a:lnTo>
                  <a:lnTo>
                    <a:pt x="838" y="2282"/>
                  </a:lnTo>
                  <a:lnTo>
                    <a:pt x="817" y="2386"/>
                  </a:lnTo>
                  <a:lnTo>
                    <a:pt x="796" y="2512"/>
                  </a:lnTo>
                  <a:lnTo>
                    <a:pt x="608" y="2554"/>
                  </a:lnTo>
                  <a:lnTo>
                    <a:pt x="503" y="2658"/>
                  </a:lnTo>
                  <a:lnTo>
                    <a:pt x="482" y="2742"/>
                  </a:lnTo>
                  <a:lnTo>
                    <a:pt x="210" y="2721"/>
                  </a:lnTo>
                  <a:lnTo>
                    <a:pt x="105" y="2763"/>
                  </a:lnTo>
                  <a:lnTo>
                    <a:pt x="1" y="2972"/>
                  </a:lnTo>
                  <a:lnTo>
                    <a:pt x="1" y="3014"/>
                  </a:lnTo>
                  <a:lnTo>
                    <a:pt x="43" y="3056"/>
                  </a:lnTo>
                  <a:lnTo>
                    <a:pt x="43" y="3181"/>
                  </a:lnTo>
                  <a:lnTo>
                    <a:pt x="64" y="3223"/>
                  </a:lnTo>
                  <a:lnTo>
                    <a:pt x="105" y="3286"/>
                  </a:lnTo>
                  <a:lnTo>
                    <a:pt x="147" y="3286"/>
                  </a:lnTo>
                  <a:lnTo>
                    <a:pt x="147" y="3244"/>
                  </a:lnTo>
                  <a:lnTo>
                    <a:pt x="168" y="3244"/>
                  </a:lnTo>
                  <a:lnTo>
                    <a:pt x="189" y="3286"/>
                  </a:lnTo>
                  <a:lnTo>
                    <a:pt x="189" y="3370"/>
                  </a:lnTo>
                  <a:lnTo>
                    <a:pt x="210" y="3453"/>
                  </a:lnTo>
                  <a:lnTo>
                    <a:pt x="294" y="3495"/>
                  </a:lnTo>
                  <a:lnTo>
                    <a:pt x="336" y="3537"/>
                  </a:lnTo>
                  <a:lnTo>
                    <a:pt x="461" y="3642"/>
                  </a:lnTo>
                  <a:lnTo>
                    <a:pt x="566" y="3704"/>
                  </a:lnTo>
                  <a:lnTo>
                    <a:pt x="629" y="3788"/>
                  </a:lnTo>
                  <a:lnTo>
                    <a:pt x="629" y="3851"/>
                  </a:lnTo>
                  <a:lnTo>
                    <a:pt x="670" y="3914"/>
                  </a:lnTo>
                  <a:lnTo>
                    <a:pt x="796" y="3997"/>
                  </a:lnTo>
                  <a:lnTo>
                    <a:pt x="838" y="3997"/>
                  </a:lnTo>
                  <a:lnTo>
                    <a:pt x="859" y="3914"/>
                  </a:lnTo>
                  <a:lnTo>
                    <a:pt x="901" y="3872"/>
                  </a:lnTo>
                  <a:lnTo>
                    <a:pt x="1026" y="3809"/>
                  </a:lnTo>
                  <a:lnTo>
                    <a:pt x="1131" y="3809"/>
                  </a:lnTo>
                  <a:lnTo>
                    <a:pt x="1152" y="3872"/>
                  </a:lnTo>
                  <a:lnTo>
                    <a:pt x="1235" y="3976"/>
                  </a:lnTo>
                  <a:lnTo>
                    <a:pt x="1319" y="3997"/>
                  </a:lnTo>
                  <a:lnTo>
                    <a:pt x="1361" y="3976"/>
                  </a:lnTo>
                  <a:lnTo>
                    <a:pt x="1424" y="3914"/>
                  </a:lnTo>
                  <a:lnTo>
                    <a:pt x="1528" y="3914"/>
                  </a:lnTo>
                  <a:lnTo>
                    <a:pt x="1612" y="3955"/>
                  </a:lnTo>
                  <a:lnTo>
                    <a:pt x="1654" y="4018"/>
                  </a:lnTo>
                  <a:lnTo>
                    <a:pt x="1738" y="4060"/>
                  </a:lnTo>
                  <a:lnTo>
                    <a:pt x="1842" y="4123"/>
                  </a:lnTo>
                  <a:lnTo>
                    <a:pt x="1884" y="4207"/>
                  </a:lnTo>
                  <a:lnTo>
                    <a:pt x="1905" y="4311"/>
                  </a:lnTo>
                  <a:lnTo>
                    <a:pt x="1947" y="4416"/>
                  </a:lnTo>
                  <a:lnTo>
                    <a:pt x="1989" y="4499"/>
                  </a:lnTo>
                  <a:lnTo>
                    <a:pt x="2051" y="4604"/>
                  </a:lnTo>
                  <a:lnTo>
                    <a:pt x="2135" y="4646"/>
                  </a:lnTo>
                  <a:lnTo>
                    <a:pt x="2198" y="4709"/>
                  </a:lnTo>
                  <a:lnTo>
                    <a:pt x="2282" y="4834"/>
                  </a:lnTo>
                  <a:lnTo>
                    <a:pt x="2344" y="4897"/>
                  </a:lnTo>
                  <a:lnTo>
                    <a:pt x="2344" y="5023"/>
                  </a:lnTo>
                  <a:lnTo>
                    <a:pt x="2302" y="5106"/>
                  </a:lnTo>
                  <a:lnTo>
                    <a:pt x="2344" y="5232"/>
                  </a:lnTo>
                  <a:lnTo>
                    <a:pt x="2407" y="5315"/>
                  </a:lnTo>
                  <a:lnTo>
                    <a:pt x="2365" y="5420"/>
                  </a:lnTo>
                  <a:lnTo>
                    <a:pt x="2282" y="5483"/>
                  </a:lnTo>
                  <a:lnTo>
                    <a:pt x="2261" y="5546"/>
                  </a:lnTo>
                  <a:lnTo>
                    <a:pt x="2261" y="5629"/>
                  </a:lnTo>
                  <a:lnTo>
                    <a:pt x="2282" y="5734"/>
                  </a:lnTo>
                  <a:lnTo>
                    <a:pt x="2407" y="5901"/>
                  </a:lnTo>
                  <a:lnTo>
                    <a:pt x="2512" y="5985"/>
                  </a:lnTo>
                  <a:lnTo>
                    <a:pt x="3098" y="6111"/>
                  </a:lnTo>
                  <a:lnTo>
                    <a:pt x="3349" y="6090"/>
                  </a:lnTo>
                  <a:lnTo>
                    <a:pt x="3516" y="6090"/>
                  </a:lnTo>
                  <a:lnTo>
                    <a:pt x="3558" y="6048"/>
                  </a:lnTo>
                  <a:lnTo>
                    <a:pt x="3600" y="6048"/>
                  </a:lnTo>
                  <a:lnTo>
                    <a:pt x="3976" y="6111"/>
                  </a:lnTo>
                  <a:lnTo>
                    <a:pt x="4165" y="6257"/>
                  </a:lnTo>
                  <a:lnTo>
                    <a:pt x="4227" y="6299"/>
                  </a:lnTo>
                  <a:lnTo>
                    <a:pt x="4332" y="6320"/>
                  </a:lnTo>
                  <a:lnTo>
                    <a:pt x="4437" y="6320"/>
                  </a:lnTo>
                  <a:lnTo>
                    <a:pt x="4646" y="6487"/>
                  </a:lnTo>
                  <a:lnTo>
                    <a:pt x="4792" y="6571"/>
                  </a:lnTo>
                  <a:lnTo>
                    <a:pt x="5023" y="6571"/>
                  </a:lnTo>
                  <a:lnTo>
                    <a:pt x="5043" y="6675"/>
                  </a:lnTo>
                  <a:lnTo>
                    <a:pt x="5085" y="6738"/>
                  </a:lnTo>
                  <a:lnTo>
                    <a:pt x="5127" y="6738"/>
                  </a:lnTo>
                  <a:lnTo>
                    <a:pt x="5211" y="6780"/>
                  </a:lnTo>
                  <a:lnTo>
                    <a:pt x="5315" y="6885"/>
                  </a:lnTo>
                  <a:lnTo>
                    <a:pt x="5315" y="6948"/>
                  </a:lnTo>
                  <a:lnTo>
                    <a:pt x="5378" y="7115"/>
                  </a:lnTo>
                  <a:lnTo>
                    <a:pt x="5483" y="7240"/>
                  </a:lnTo>
                  <a:lnTo>
                    <a:pt x="5608" y="7408"/>
                  </a:lnTo>
                  <a:lnTo>
                    <a:pt x="5650" y="7533"/>
                  </a:lnTo>
                  <a:lnTo>
                    <a:pt x="5797" y="7784"/>
                  </a:lnTo>
                  <a:lnTo>
                    <a:pt x="5901" y="7826"/>
                  </a:lnTo>
                  <a:lnTo>
                    <a:pt x="6006" y="7784"/>
                  </a:lnTo>
                  <a:lnTo>
                    <a:pt x="6236" y="7764"/>
                  </a:lnTo>
                  <a:lnTo>
                    <a:pt x="6487" y="7784"/>
                  </a:lnTo>
                  <a:lnTo>
                    <a:pt x="6843" y="7764"/>
                  </a:lnTo>
                  <a:lnTo>
                    <a:pt x="7324" y="7826"/>
                  </a:lnTo>
                  <a:lnTo>
                    <a:pt x="7596" y="7784"/>
                  </a:lnTo>
                  <a:lnTo>
                    <a:pt x="7784" y="7722"/>
                  </a:lnTo>
                  <a:lnTo>
                    <a:pt x="7826" y="7659"/>
                  </a:lnTo>
                  <a:lnTo>
                    <a:pt x="7889" y="7617"/>
                  </a:lnTo>
                  <a:lnTo>
                    <a:pt x="7952" y="7638"/>
                  </a:lnTo>
                  <a:lnTo>
                    <a:pt x="8328" y="7638"/>
                  </a:lnTo>
                  <a:lnTo>
                    <a:pt x="8747" y="7659"/>
                  </a:lnTo>
                  <a:lnTo>
                    <a:pt x="8872" y="7680"/>
                  </a:lnTo>
                  <a:lnTo>
                    <a:pt x="9082" y="7868"/>
                  </a:lnTo>
                  <a:lnTo>
                    <a:pt x="9458" y="8036"/>
                  </a:lnTo>
                  <a:lnTo>
                    <a:pt x="9814" y="8161"/>
                  </a:lnTo>
                  <a:lnTo>
                    <a:pt x="9981" y="8182"/>
                  </a:lnTo>
                  <a:lnTo>
                    <a:pt x="10191" y="8287"/>
                  </a:lnTo>
                  <a:lnTo>
                    <a:pt x="10358" y="8266"/>
                  </a:lnTo>
                  <a:lnTo>
                    <a:pt x="10630" y="8182"/>
                  </a:lnTo>
                  <a:lnTo>
                    <a:pt x="10651" y="8287"/>
                  </a:lnTo>
                  <a:lnTo>
                    <a:pt x="10651" y="8349"/>
                  </a:lnTo>
                  <a:lnTo>
                    <a:pt x="10797" y="8391"/>
                  </a:lnTo>
                  <a:lnTo>
                    <a:pt x="10944" y="8391"/>
                  </a:lnTo>
                  <a:lnTo>
                    <a:pt x="11049" y="8287"/>
                  </a:lnTo>
                  <a:lnTo>
                    <a:pt x="11300" y="8098"/>
                  </a:lnTo>
                  <a:lnTo>
                    <a:pt x="11467" y="7931"/>
                  </a:lnTo>
                  <a:lnTo>
                    <a:pt x="11781" y="7826"/>
                  </a:lnTo>
                  <a:lnTo>
                    <a:pt x="12199" y="7659"/>
                  </a:lnTo>
                  <a:lnTo>
                    <a:pt x="12367" y="7617"/>
                  </a:lnTo>
                  <a:lnTo>
                    <a:pt x="12555" y="7554"/>
                  </a:lnTo>
                  <a:lnTo>
                    <a:pt x="12806" y="7533"/>
                  </a:lnTo>
                  <a:lnTo>
                    <a:pt x="12953" y="7533"/>
                  </a:lnTo>
                  <a:lnTo>
                    <a:pt x="13120" y="7408"/>
                  </a:lnTo>
                  <a:lnTo>
                    <a:pt x="13266" y="7303"/>
                  </a:lnTo>
                  <a:lnTo>
                    <a:pt x="13392" y="7303"/>
                  </a:lnTo>
                  <a:lnTo>
                    <a:pt x="13580" y="7240"/>
                  </a:lnTo>
                  <a:lnTo>
                    <a:pt x="13685" y="7240"/>
                  </a:lnTo>
                  <a:lnTo>
                    <a:pt x="13769" y="7031"/>
                  </a:lnTo>
                  <a:lnTo>
                    <a:pt x="13894" y="6801"/>
                  </a:lnTo>
                  <a:lnTo>
                    <a:pt x="14166" y="6508"/>
                  </a:lnTo>
                  <a:lnTo>
                    <a:pt x="14229" y="6403"/>
                  </a:lnTo>
                  <a:lnTo>
                    <a:pt x="14292" y="6299"/>
                  </a:lnTo>
                  <a:lnTo>
                    <a:pt x="14292" y="6215"/>
                  </a:lnTo>
                  <a:lnTo>
                    <a:pt x="14062" y="6090"/>
                  </a:lnTo>
                  <a:lnTo>
                    <a:pt x="13790" y="5901"/>
                  </a:lnTo>
                  <a:lnTo>
                    <a:pt x="13810" y="5839"/>
                  </a:lnTo>
                  <a:lnTo>
                    <a:pt x="13790" y="5692"/>
                  </a:lnTo>
                  <a:lnTo>
                    <a:pt x="13790" y="5462"/>
                  </a:lnTo>
                  <a:lnTo>
                    <a:pt x="13894" y="5336"/>
                  </a:lnTo>
                  <a:lnTo>
                    <a:pt x="14020" y="5232"/>
                  </a:lnTo>
                  <a:lnTo>
                    <a:pt x="14229" y="5169"/>
                  </a:lnTo>
                  <a:lnTo>
                    <a:pt x="14396" y="5211"/>
                  </a:lnTo>
                  <a:lnTo>
                    <a:pt x="14522" y="5274"/>
                  </a:lnTo>
                  <a:lnTo>
                    <a:pt x="14710" y="5357"/>
                  </a:lnTo>
                  <a:lnTo>
                    <a:pt x="14836" y="5378"/>
                  </a:lnTo>
                  <a:lnTo>
                    <a:pt x="14961" y="5441"/>
                  </a:lnTo>
                  <a:lnTo>
                    <a:pt x="15024" y="5441"/>
                  </a:lnTo>
                  <a:lnTo>
                    <a:pt x="15045" y="5336"/>
                  </a:lnTo>
                  <a:lnTo>
                    <a:pt x="15129" y="5253"/>
                  </a:lnTo>
                  <a:lnTo>
                    <a:pt x="15254" y="5148"/>
                  </a:lnTo>
                  <a:lnTo>
                    <a:pt x="15359" y="5064"/>
                  </a:lnTo>
                  <a:lnTo>
                    <a:pt x="15463" y="4855"/>
                  </a:lnTo>
                  <a:lnTo>
                    <a:pt x="15547" y="4813"/>
                  </a:lnTo>
                  <a:lnTo>
                    <a:pt x="15673" y="4834"/>
                  </a:lnTo>
                  <a:lnTo>
                    <a:pt x="15840" y="4834"/>
                  </a:lnTo>
                  <a:lnTo>
                    <a:pt x="16070" y="4646"/>
                  </a:lnTo>
                  <a:lnTo>
                    <a:pt x="16196" y="4625"/>
                  </a:lnTo>
                  <a:lnTo>
                    <a:pt x="16259" y="4541"/>
                  </a:lnTo>
                  <a:lnTo>
                    <a:pt x="16259" y="4437"/>
                  </a:lnTo>
                  <a:lnTo>
                    <a:pt x="16279" y="4269"/>
                  </a:lnTo>
                  <a:lnTo>
                    <a:pt x="16384" y="4102"/>
                  </a:lnTo>
                  <a:lnTo>
                    <a:pt x="16426" y="4018"/>
                  </a:lnTo>
                  <a:lnTo>
                    <a:pt x="16489" y="4060"/>
                  </a:lnTo>
                  <a:lnTo>
                    <a:pt x="16551" y="4018"/>
                  </a:lnTo>
                  <a:lnTo>
                    <a:pt x="16614" y="3976"/>
                  </a:lnTo>
                  <a:lnTo>
                    <a:pt x="16614" y="3872"/>
                  </a:lnTo>
                  <a:lnTo>
                    <a:pt x="16677" y="3851"/>
                  </a:lnTo>
                  <a:lnTo>
                    <a:pt x="16782" y="3914"/>
                  </a:lnTo>
                  <a:lnTo>
                    <a:pt x="16844" y="3872"/>
                  </a:lnTo>
                  <a:lnTo>
                    <a:pt x="17012" y="3746"/>
                  </a:lnTo>
                  <a:lnTo>
                    <a:pt x="17116" y="3600"/>
                  </a:lnTo>
                  <a:lnTo>
                    <a:pt x="17221" y="3579"/>
                  </a:lnTo>
                  <a:lnTo>
                    <a:pt x="17367" y="3662"/>
                  </a:lnTo>
                  <a:lnTo>
                    <a:pt x="17451" y="3600"/>
                  </a:lnTo>
                  <a:lnTo>
                    <a:pt x="17556" y="3579"/>
                  </a:lnTo>
                  <a:lnTo>
                    <a:pt x="17598" y="3642"/>
                  </a:lnTo>
                  <a:lnTo>
                    <a:pt x="17723" y="3662"/>
                  </a:lnTo>
                  <a:lnTo>
                    <a:pt x="17744" y="3579"/>
                  </a:lnTo>
                  <a:lnTo>
                    <a:pt x="17744" y="3495"/>
                  </a:lnTo>
                  <a:lnTo>
                    <a:pt x="17786" y="3453"/>
                  </a:lnTo>
                  <a:lnTo>
                    <a:pt x="17786" y="3349"/>
                  </a:lnTo>
                  <a:lnTo>
                    <a:pt x="17765" y="3265"/>
                  </a:lnTo>
                  <a:lnTo>
                    <a:pt x="17744" y="3160"/>
                  </a:lnTo>
                  <a:lnTo>
                    <a:pt x="17535" y="3014"/>
                  </a:lnTo>
                  <a:lnTo>
                    <a:pt x="17367" y="2805"/>
                  </a:lnTo>
                  <a:lnTo>
                    <a:pt x="17158" y="2616"/>
                  </a:lnTo>
                  <a:lnTo>
                    <a:pt x="17012" y="2428"/>
                  </a:lnTo>
                  <a:lnTo>
                    <a:pt x="16740" y="2344"/>
                  </a:lnTo>
                  <a:lnTo>
                    <a:pt x="16698" y="2407"/>
                  </a:lnTo>
                  <a:lnTo>
                    <a:pt x="16531" y="2449"/>
                  </a:lnTo>
                  <a:lnTo>
                    <a:pt x="16531" y="2554"/>
                  </a:lnTo>
                  <a:lnTo>
                    <a:pt x="16531" y="2700"/>
                  </a:lnTo>
                  <a:lnTo>
                    <a:pt x="16405" y="2909"/>
                  </a:lnTo>
                  <a:lnTo>
                    <a:pt x="16300" y="2805"/>
                  </a:lnTo>
                  <a:lnTo>
                    <a:pt x="16028" y="2742"/>
                  </a:lnTo>
                  <a:lnTo>
                    <a:pt x="15798" y="2742"/>
                  </a:lnTo>
                  <a:lnTo>
                    <a:pt x="15631" y="2909"/>
                  </a:lnTo>
                  <a:lnTo>
                    <a:pt x="15359" y="2763"/>
                  </a:lnTo>
                  <a:lnTo>
                    <a:pt x="15254" y="2595"/>
                  </a:lnTo>
                  <a:lnTo>
                    <a:pt x="15338" y="2323"/>
                  </a:lnTo>
                  <a:lnTo>
                    <a:pt x="15317" y="2219"/>
                  </a:lnTo>
                  <a:lnTo>
                    <a:pt x="15359" y="2030"/>
                  </a:lnTo>
                  <a:lnTo>
                    <a:pt x="15338" y="1863"/>
                  </a:lnTo>
                  <a:lnTo>
                    <a:pt x="15463" y="963"/>
                  </a:lnTo>
                  <a:lnTo>
                    <a:pt x="15463" y="942"/>
                  </a:lnTo>
                  <a:lnTo>
                    <a:pt x="15422" y="880"/>
                  </a:lnTo>
                  <a:lnTo>
                    <a:pt x="15212" y="838"/>
                  </a:lnTo>
                  <a:lnTo>
                    <a:pt x="14982" y="859"/>
                  </a:lnTo>
                  <a:lnTo>
                    <a:pt x="14982" y="922"/>
                  </a:lnTo>
                  <a:lnTo>
                    <a:pt x="14857" y="984"/>
                  </a:lnTo>
                  <a:lnTo>
                    <a:pt x="14752" y="984"/>
                  </a:lnTo>
                  <a:lnTo>
                    <a:pt x="14710" y="942"/>
                  </a:lnTo>
                  <a:lnTo>
                    <a:pt x="14606" y="1026"/>
                  </a:lnTo>
                  <a:lnTo>
                    <a:pt x="14501" y="963"/>
                  </a:lnTo>
                  <a:lnTo>
                    <a:pt x="14438" y="880"/>
                  </a:lnTo>
                  <a:lnTo>
                    <a:pt x="14313" y="775"/>
                  </a:lnTo>
                  <a:lnTo>
                    <a:pt x="14208" y="775"/>
                  </a:lnTo>
                  <a:lnTo>
                    <a:pt x="14020" y="838"/>
                  </a:lnTo>
                  <a:lnTo>
                    <a:pt x="13999" y="775"/>
                  </a:lnTo>
                  <a:lnTo>
                    <a:pt x="13894" y="775"/>
                  </a:lnTo>
                  <a:lnTo>
                    <a:pt x="13790" y="859"/>
                  </a:lnTo>
                  <a:lnTo>
                    <a:pt x="13769" y="984"/>
                  </a:lnTo>
                  <a:lnTo>
                    <a:pt x="13685" y="1068"/>
                  </a:lnTo>
                  <a:lnTo>
                    <a:pt x="13559" y="1131"/>
                  </a:lnTo>
                  <a:lnTo>
                    <a:pt x="13476" y="1256"/>
                  </a:lnTo>
                  <a:lnTo>
                    <a:pt x="13476" y="1298"/>
                  </a:lnTo>
                  <a:lnTo>
                    <a:pt x="13455" y="1403"/>
                  </a:lnTo>
                  <a:lnTo>
                    <a:pt x="13350" y="1507"/>
                  </a:lnTo>
                  <a:lnTo>
                    <a:pt x="12973" y="1507"/>
                  </a:lnTo>
                  <a:lnTo>
                    <a:pt x="12869" y="1612"/>
                  </a:lnTo>
                  <a:lnTo>
                    <a:pt x="12743" y="1612"/>
                  </a:lnTo>
                  <a:lnTo>
                    <a:pt x="12534" y="1758"/>
                  </a:lnTo>
                  <a:lnTo>
                    <a:pt x="12429" y="1905"/>
                  </a:lnTo>
                  <a:lnTo>
                    <a:pt x="12367" y="1905"/>
                  </a:lnTo>
                  <a:lnTo>
                    <a:pt x="12283" y="1863"/>
                  </a:lnTo>
                  <a:lnTo>
                    <a:pt x="12137" y="1863"/>
                  </a:lnTo>
                  <a:lnTo>
                    <a:pt x="12095" y="1884"/>
                  </a:lnTo>
                  <a:lnTo>
                    <a:pt x="11927" y="1905"/>
                  </a:lnTo>
                  <a:lnTo>
                    <a:pt x="11593" y="1905"/>
                  </a:lnTo>
                  <a:lnTo>
                    <a:pt x="11362" y="1863"/>
                  </a:lnTo>
                  <a:lnTo>
                    <a:pt x="11090" y="1884"/>
                  </a:lnTo>
                  <a:lnTo>
                    <a:pt x="11028" y="1884"/>
                  </a:lnTo>
                  <a:lnTo>
                    <a:pt x="10923" y="1758"/>
                  </a:lnTo>
                  <a:lnTo>
                    <a:pt x="10839" y="1758"/>
                  </a:lnTo>
                  <a:lnTo>
                    <a:pt x="10756" y="1696"/>
                  </a:lnTo>
                  <a:lnTo>
                    <a:pt x="10651" y="1612"/>
                  </a:lnTo>
                  <a:lnTo>
                    <a:pt x="10609" y="1445"/>
                  </a:lnTo>
                  <a:lnTo>
                    <a:pt x="10525" y="1382"/>
                  </a:lnTo>
                  <a:lnTo>
                    <a:pt x="10421" y="1403"/>
                  </a:lnTo>
                  <a:lnTo>
                    <a:pt x="10232" y="1403"/>
                  </a:lnTo>
                  <a:lnTo>
                    <a:pt x="10044" y="1340"/>
                  </a:lnTo>
                  <a:lnTo>
                    <a:pt x="9919" y="1173"/>
                  </a:lnTo>
                  <a:lnTo>
                    <a:pt x="9521" y="1173"/>
                  </a:lnTo>
                  <a:lnTo>
                    <a:pt x="9396" y="1089"/>
                  </a:lnTo>
                  <a:lnTo>
                    <a:pt x="9270" y="1131"/>
                  </a:lnTo>
                  <a:lnTo>
                    <a:pt x="9103" y="1152"/>
                  </a:lnTo>
                  <a:lnTo>
                    <a:pt x="8977" y="1194"/>
                  </a:lnTo>
                  <a:lnTo>
                    <a:pt x="8768" y="1214"/>
                  </a:lnTo>
                  <a:lnTo>
                    <a:pt x="8580" y="1277"/>
                  </a:lnTo>
                  <a:lnTo>
                    <a:pt x="8517" y="1382"/>
                  </a:lnTo>
                  <a:lnTo>
                    <a:pt x="8433" y="1403"/>
                  </a:lnTo>
                  <a:lnTo>
                    <a:pt x="8349" y="1382"/>
                  </a:lnTo>
                  <a:lnTo>
                    <a:pt x="8266" y="1382"/>
                  </a:lnTo>
                  <a:lnTo>
                    <a:pt x="8182" y="1445"/>
                  </a:lnTo>
                  <a:lnTo>
                    <a:pt x="8015" y="1445"/>
                  </a:lnTo>
                  <a:lnTo>
                    <a:pt x="7952" y="1466"/>
                  </a:lnTo>
                  <a:lnTo>
                    <a:pt x="7889" y="1466"/>
                  </a:lnTo>
                  <a:lnTo>
                    <a:pt x="7722" y="1361"/>
                  </a:lnTo>
                  <a:lnTo>
                    <a:pt x="7533" y="1340"/>
                  </a:lnTo>
                  <a:lnTo>
                    <a:pt x="7512" y="1256"/>
                  </a:lnTo>
                  <a:lnTo>
                    <a:pt x="7387" y="1152"/>
                  </a:lnTo>
                  <a:lnTo>
                    <a:pt x="7324" y="1152"/>
                  </a:lnTo>
                  <a:lnTo>
                    <a:pt x="7261" y="1089"/>
                  </a:lnTo>
                  <a:lnTo>
                    <a:pt x="7261" y="984"/>
                  </a:lnTo>
                  <a:lnTo>
                    <a:pt x="7199" y="859"/>
                  </a:lnTo>
                  <a:lnTo>
                    <a:pt x="7136" y="817"/>
                  </a:lnTo>
                  <a:lnTo>
                    <a:pt x="7136" y="691"/>
                  </a:lnTo>
                  <a:lnTo>
                    <a:pt x="7094" y="629"/>
                  </a:lnTo>
                  <a:lnTo>
                    <a:pt x="7094" y="566"/>
                  </a:lnTo>
                  <a:lnTo>
                    <a:pt x="7052" y="461"/>
                  </a:lnTo>
                  <a:lnTo>
                    <a:pt x="6947" y="440"/>
                  </a:lnTo>
                  <a:lnTo>
                    <a:pt x="6696" y="440"/>
                  </a:lnTo>
                  <a:lnTo>
                    <a:pt x="6592" y="419"/>
                  </a:lnTo>
                  <a:lnTo>
                    <a:pt x="6529" y="398"/>
                  </a:lnTo>
                  <a:lnTo>
                    <a:pt x="6383" y="357"/>
                  </a:lnTo>
                  <a:lnTo>
                    <a:pt x="6341" y="315"/>
                  </a:lnTo>
                  <a:lnTo>
                    <a:pt x="6257" y="252"/>
                  </a:lnTo>
                  <a:lnTo>
                    <a:pt x="5901" y="252"/>
                  </a:lnTo>
                  <a:lnTo>
                    <a:pt x="5755" y="210"/>
                  </a:lnTo>
                  <a:lnTo>
                    <a:pt x="5734" y="168"/>
                  </a:lnTo>
                  <a:lnTo>
                    <a:pt x="5567" y="105"/>
                  </a:lnTo>
                  <a:lnTo>
                    <a:pt x="5441" y="43"/>
                  </a:lnTo>
                  <a:lnTo>
                    <a:pt x="537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 name="Google Shape;5919;p93">
              <a:extLst>
                <a:ext uri="{FF2B5EF4-FFF2-40B4-BE49-F238E27FC236}">
                  <a16:creationId xmlns:a16="http://schemas.microsoft.com/office/drawing/2014/main" id="{B67BEF9B-076C-4D17-9485-1D011D584ACE}"/>
                </a:ext>
              </a:extLst>
            </p:cNvPr>
            <p:cNvSpPr/>
            <p:nvPr/>
          </p:nvSpPr>
          <p:spPr>
            <a:xfrm>
              <a:off x="4718522" y="3165089"/>
              <a:ext cx="67277" cy="54986"/>
            </a:xfrm>
            <a:custGeom>
              <a:avLst/>
              <a:gdLst/>
              <a:ahLst/>
              <a:cxnLst/>
              <a:rect l="l" t="t" r="r" b="b"/>
              <a:pathLst>
                <a:path w="5650" h="4835" extrusionOk="0">
                  <a:moveTo>
                    <a:pt x="126" y="1"/>
                  </a:moveTo>
                  <a:lnTo>
                    <a:pt x="42" y="2156"/>
                  </a:lnTo>
                  <a:lnTo>
                    <a:pt x="21" y="2323"/>
                  </a:lnTo>
                  <a:lnTo>
                    <a:pt x="21" y="2407"/>
                  </a:lnTo>
                  <a:lnTo>
                    <a:pt x="21" y="2470"/>
                  </a:lnTo>
                  <a:lnTo>
                    <a:pt x="0" y="3872"/>
                  </a:lnTo>
                  <a:lnTo>
                    <a:pt x="168" y="3872"/>
                  </a:lnTo>
                  <a:lnTo>
                    <a:pt x="251" y="3892"/>
                  </a:lnTo>
                  <a:lnTo>
                    <a:pt x="356" y="3872"/>
                  </a:lnTo>
                  <a:lnTo>
                    <a:pt x="732" y="3872"/>
                  </a:lnTo>
                  <a:lnTo>
                    <a:pt x="753" y="3934"/>
                  </a:lnTo>
                  <a:lnTo>
                    <a:pt x="837" y="3997"/>
                  </a:lnTo>
                  <a:lnTo>
                    <a:pt x="942" y="4039"/>
                  </a:lnTo>
                  <a:lnTo>
                    <a:pt x="1046" y="3955"/>
                  </a:lnTo>
                  <a:lnTo>
                    <a:pt x="1256" y="3892"/>
                  </a:lnTo>
                  <a:lnTo>
                    <a:pt x="1276" y="3851"/>
                  </a:lnTo>
                  <a:lnTo>
                    <a:pt x="1318" y="3892"/>
                  </a:lnTo>
                  <a:lnTo>
                    <a:pt x="1381" y="3830"/>
                  </a:lnTo>
                  <a:lnTo>
                    <a:pt x="1360" y="3662"/>
                  </a:lnTo>
                  <a:lnTo>
                    <a:pt x="1214" y="3558"/>
                  </a:lnTo>
                  <a:lnTo>
                    <a:pt x="1046" y="3474"/>
                  </a:lnTo>
                  <a:lnTo>
                    <a:pt x="900" y="3453"/>
                  </a:lnTo>
                  <a:lnTo>
                    <a:pt x="858" y="3411"/>
                  </a:lnTo>
                  <a:lnTo>
                    <a:pt x="753" y="3369"/>
                  </a:lnTo>
                  <a:lnTo>
                    <a:pt x="732" y="3369"/>
                  </a:lnTo>
                  <a:lnTo>
                    <a:pt x="670" y="3328"/>
                  </a:lnTo>
                  <a:lnTo>
                    <a:pt x="649" y="3202"/>
                  </a:lnTo>
                  <a:lnTo>
                    <a:pt x="544" y="3056"/>
                  </a:lnTo>
                  <a:lnTo>
                    <a:pt x="440" y="3014"/>
                  </a:lnTo>
                  <a:lnTo>
                    <a:pt x="419" y="2930"/>
                  </a:lnTo>
                  <a:lnTo>
                    <a:pt x="335" y="2846"/>
                  </a:lnTo>
                  <a:lnTo>
                    <a:pt x="419" y="2909"/>
                  </a:lnTo>
                  <a:lnTo>
                    <a:pt x="440" y="3014"/>
                  </a:lnTo>
                  <a:lnTo>
                    <a:pt x="523" y="3014"/>
                  </a:lnTo>
                  <a:lnTo>
                    <a:pt x="649" y="3097"/>
                  </a:lnTo>
                  <a:lnTo>
                    <a:pt x="670" y="3202"/>
                  </a:lnTo>
                  <a:lnTo>
                    <a:pt x="670" y="3328"/>
                  </a:lnTo>
                  <a:lnTo>
                    <a:pt x="732" y="3328"/>
                  </a:lnTo>
                  <a:lnTo>
                    <a:pt x="879" y="3348"/>
                  </a:lnTo>
                  <a:lnTo>
                    <a:pt x="963" y="3432"/>
                  </a:lnTo>
                  <a:lnTo>
                    <a:pt x="1151" y="3432"/>
                  </a:lnTo>
                  <a:lnTo>
                    <a:pt x="1297" y="3369"/>
                  </a:lnTo>
                  <a:lnTo>
                    <a:pt x="1423" y="3411"/>
                  </a:lnTo>
                  <a:lnTo>
                    <a:pt x="1507" y="3348"/>
                  </a:lnTo>
                  <a:lnTo>
                    <a:pt x="1486" y="3328"/>
                  </a:lnTo>
                  <a:lnTo>
                    <a:pt x="1402" y="3244"/>
                  </a:lnTo>
                  <a:lnTo>
                    <a:pt x="1360" y="3160"/>
                  </a:lnTo>
                  <a:lnTo>
                    <a:pt x="1276" y="3202"/>
                  </a:lnTo>
                  <a:lnTo>
                    <a:pt x="1256" y="3118"/>
                  </a:lnTo>
                  <a:lnTo>
                    <a:pt x="1297" y="3160"/>
                  </a:lnTo>
                  <a:lnTo>
                    <a:pt x="1423" y="3139"/>
                  </a:lnTo>
                  <a:lnTo>
                    <a:pt x="1507" y="3244"/>
                  </a:lnTo>
                  <a:lnTo>
                    <a:pt x="1611" y="3244"/>
                  </a:lnTo>
                  <a:lnTo>
                    <a:pt x="1569" y="3202"/>
                  </a:lnTo>
                  <a:lnTo>
                    <a:pt x="1569" y="3118"/>
                  </a:lnTo>
                  <a:lnTo>
                    <a:pt x="1611" y="3056"/>
                  </a:lnTo>
                  <a:lnTo>
                    <a:pt x="1611" y="3014"/>
                  </a:lnTo>
                  <a:lnTo>
                    <a:pt x="1611" y="2930"/>
                  </a:lnTo>
                  <a:lnTo>
                    <a:pt x="1528" y="2825"/>
                  </a:lnTo>
                  <a:lnTo>
                    <a:pt x="1528" y="2804"/>
                  </a:lnTo>
                  <a:lnTo>
                    <a:pt x="1632" y="2846"/>
                  </a:lnTo>
                  <a:lnTo>
                    <a:pt x="1674" y="2909"/>
                  </a:lnTo>
                  <a:lnTo>
                    <a:pt x="1779" y="3014"/>
                  </a:lnTo>
                  <a:lnTo>
                    <a:pt x="1883" y="3035"/>
                  </a:lnTo>
                  <a:lnTo>
                    <a:pt x="1883" y="2993"/>
                  </a:lnTo>
                  <a:lnTo>
                    <a:pt x="1841" y="2909"/>
                  </a:lnTo>
                  <a:lnTo>
                    <a:pt x="1883" y="2930"/>
                  </a:lnTo>
                  <a:lnTo>
                    <a:pt x="1904" y="3035"/>
                  </a:lnTo>
                  <a:lnTo>
                    <a:pt x="1946" y="3035"/>
                  </a:lnTo>
                  <a:lnTo>
                    <a:pt x="1946" y="2951"/>
                  </a:lnTo>
                  <a:lnTo>
                    <a:pt x="1925" y="2888"/>
                  </a:lnTo>
                  <a:lnTo>
                    <a:pt x="1946" y="2784"/>
                  </a:lnTo>
                  <a:lnTo>
                    <a:pt x="2009" y="2825"/>
                  </a:lnTo>
                  <a:lnTo>
                    <a:pt x="2155" y="2888"/>
                  </a:lnTo>
                  <a:lnTo>
                    <a:pt x="2197" y="2951"/>
                  </a:lnTo>
                  <a:lnTo>
                    <a:pt x="2260" y="2993"/>
                  </a:lnTo>
                  <a:lnTo>
                    <a:pt x="2323" y="2951"/>
                  </a:lnTo>
                  <a:lnTo>
                    <a:pt x="2365" y="2993"/>
                  </a:lnTo>
                  <a:lnTo>
                    <a:pt x="2427" y="2930"/>
                  </a:lnTo>
                  <a:lnTo>
                    <a:pt x="2427" y="3014"/>
                  </a:lnTo>
                  <a:lnTo>
                    <a:pt x="2427" y="3097"/>
                  </a:lnTo>
                  <a:lnTo>
                    <a:pt x="2469" y="3097"/>
                  </a:lnTo>
                  <a:lnTo>
                    <a:pt x="2553" y="3160"/>
                  </a:lnTo>
                  <a:lnTo>
                    <a:pt x="2867" y="3244"/>
                  </a:lnTo>
                  <a:lnTo>
                    <a:pt x="2950" y="3307"/>
                  </a:lnTo>
                  <a:lnTo>
                    <a:pt x="3055" y="3411"/>
                  </a:lnTo>
                  <a:lnTo>
                    <a:pt x="3076" y="3558"/>
                  </a:lnTo>
                  <a:lnTo>
                    <a:pt x="3243" y="3746"/>
                  </a:lnTo>
                  <a:lnTo>
                    <a:pt x="3264" y="3830"/>
                  </a:lnTo>
                  <a:lnTo>
                    <a:pt x="3369" y="3872"/>
                  </a:lnTo>
                  <a:lnTo>
                    <a:pt x="3453" y="3955"/>
                  </a:lnTo>
                  <a:lnTo>
                    <a:pt x="3473" y="4039"/>
                  </a:lnTo>
                  <a:lnTo>
                    <a:pt x="3725" y="4290"/>
                  </a:lnTo>
                  <a:lnTo>
                    <a:pt x="3725" y="4374"/>
                  </a:lnTo>
                  <a:lnTo>
                    <a:pt x="3829" y="4457"/>
                  </a:lnTo>
                  <a:lnTo>
                    <a:pt x="3997" y="4499"/>
                  </a:lnTo>
                  <a:lnTo>
                    <a:pt x="4080" y="4478"/>
                  </a:lnTo>
                  <a:lnTo>
                    <a:pt x="4122" y="4478"/>
                  </a:lnTo>
                  <a:lnTo>
                    <a:pt x="4206" y="4520"/>
                  </a:lnTo>
                  <a:lnTo>
                    <a:pt x="4394" y="4499"/>
                  </a:lnTo>
                  <a:lnTo>
                    <a:pt x="4520" y="4562"/>
                  </a:lnTo>
                  <a:lnTo>
                    <a:pt x="4624" y="4520"/>
                  </a:lnTo>
                  <a:lnTo>
                    <a:pt x="4771" y="4562"/>
                  </a:lnTo>
                  <a:lnTo>
                    <a:pt x="4875" y="4604"/>
                  </a:lnTo>
                  <a:lnTo>
                    <a:pt x="5022" y="4583"/>
                  </a:lnTo>
                  <a:lnTo>
                    <a:pt x="5064" y="4667"/>
                  </a:lnTo>
                  <a:lnTo>
                    <a:pt x="5168" y="4667"/>
                  </a:lnTo>
                  <a:lnTo>
                    <a:pt x="5189" y="4688"/>
                  </a:lnTo>
                  <a:lnTo>
                    <a:pt x="5126" y="4729"/>
                  </a:lnTo>
                  <a:lnTo>
                    <a:pt x="5252" y="4771"/>
                  </a:lnTo>
                  <a:lnTo>
                    <a:pt x="5378" y="4834"/>
                  </a:lnTo>
                  <a:lnTo>
                    <a:pt x="5503" y="4813"/>
                  </a:lnTo>
                  <a:lnTo>
                    <a:pt x="5545" y="4729"/>
                  </a:lnTo>
                  <a:lnTo>
                    <a:pt x="5398" y="4667"/>
                  </a:lnTo>
                  <a:lnTo>
                    <a:pt x="5357" y="4667"/>
                  </a:lnTo>
                  <a:lnTo>
                    <a:pt x="5357" y="4604"/>
                  </a:lnTo>
                  <a:lnTo>
                    <a:pt x="5461" y="4583"/>
                  </a:lnTo>
                  <a:lnTo>
                    <a:pt x="5545" y="4604"/>
                  </a:lnTo>
                  <a:lnTo>
                    <a:pt x="5650" y="4562"/>
                  </a:lnTo>
                  <a:lnTo>
                    <a:pt x="5440" y="4499"/>
                  </a:lnTo>
                  <a:lnTo>
                    <a:pt x="5168" y="4478"/>
                  </a:lnTo>
                  <a:lnTo>
                    <a:pt x="5043" y="4395"/>
                  </a:lnTo>
                  <a:lnTo>
                    <a:pt x="4980" y="4311"/>
                  </a:lnTo>
                  <a:lnTo>
                    <a:pt x="5126" y="4269"/>
                  </a:lnTo>
                  <a:lnTo>
                    <a:pt x="5189" y="4269"/>
                  </a:lnTo>
                  <a:lnTo>
                    <a:pt x="5252" y="4248"/>
                  </a:lnTo>
                  <a:lnTo>
                    <a:pt x="5168" y="4185"/>
                  </a:lnTo>
                  <a:lnTo>
                    <a:pt x="4959" y="4185"/>
                  </a:lnTo>
                  <a:lnTo>
                    <a:pt x="4771" y="4164"/>
                  </a:lnTo>
                  <a:lnTo>
                    <a:pt x="4708" y="4081"/>
                  </a:lnTo>
                  <a:lnTo>
                    <a:pt x="4708" y="3997"/>
                  </a:lnTo>
                  <a:lnTo>
                    <a:pt x="4771" y="3934"/>
                  </a:lnTo>
                  <a:lnTo>
                    <a:pt x="4813" y="3851"/>
                  </a:lnTo>
                  <a:lnTo>
                    <a:pt x="4750" y="3788"/>
                  </a:lnTo>
                  <a:lnTo>
                    <a:pt x="4666" y="3788"/>
                  </a:lnTo>
                  <a:lnTo>
                    <a:pt x="4624" y="3830"/>
                  </a:lnTo>
                  <a:lnTo>
                    <a:pt x="4541" y="3788"/>
                  </a:lnTo>
                  <a:lnTo>
                    <a:pt x="4457" y="3830"/>
                  </a:lnTo>
                  <a:lnTo>
                    <a:pt x="4352" y="3683"/>
                  </a:lnTo>
                  <a:lnTo>
                    <a:pt x="4352" y="3537"/>
                  </a:lnTo>
                  <a:lnTo>
                    <a:pt x="4248" y="3516"/>
                  </a:lnTo>
                  <a:lnTo>
                    <a:pt x="4143" y="3244"/>
                  </a:lnTo>
                  <a:lnTo>
                    <a:pt x="4101" y="3223"/>
                  </a:lnTo>
                  <a:lnTo>
                    <a:pt x="4080" y="3139"/>
                  </a:lnTo>
                  <a:lnTo>
                    <a:pt x="3934" y="3139"/>
                  </a:lnTo>
                  <a:lnTo>
                    <a:pt x="3871" y="3097"/>
                  </a:lnTo>
                  <a:lnTo>
                    <a:pt x="3808" y="2951"/>
                  </a:lnTo>
                  <a:lnTo>
                    <a:pt x="3683" y="2825"/>
                  </a:lnTo>
                  <a:lnTo>
                    <a:pt x="3662" y="2700"/>
                  </a:lnTo>
                  <a:lnTo>
                    <a:pt x="3578" y="2616"/>
                  </a:lnTo>
                  <a:lnTo>
                    <a:pt x="3494" y="2512"/>
                  </a:lnTo>
                  <a:lnTo>
                    <a:pt x="3515" y="2470"/>
                  </a:lnTo>
                  <a:lnTo>
                    <a:pt x="3766" y="2491"/>
                  </a:lnTo>
                  <a:lnTo>
                    <a:pt x="3976" y="2386"/>
                  </a:lnTo>
                  <a:lnTo>
                    <a:pt x="4017" y="2281"/>
                  </a:lnTo>
                  <a:lnTo>
                    <a:pt x="3997" y="2156"/>
                  </a:lnTo>
                  <a:lnTo>
                    <a:pt x="3829" y="1988"/>
                  </a:lnTo>
                  <a:lnTo>
                    <a:pt x="3704" y="1968"/>
                  </a:lnTo>
                  <a:lnTo>
                    <a:pt x="3662" y="1988"/>
                  </a:lnTo>
                  <a:lnTo>
                    <a:pt x="3557" y="1947"/>
                  </a:lnTo>
                  <a:lnTo>
                    <a:pt x="3348" y="1842"/>
                  </a:lnTo>
                  <a:lnTo>
                    <a:pt x="3243" y="1737"/>
                  </a:lnTo>
                  <a:lnTo>
                    <a:pt x="3097" y="1758"/>
                  </a:lnTo>
                  <a:lnTo>
                    <a:pt x="2846" y="1654"/>
                  </a:lnTo>
                  <a:lnTo>
                    <a:pt x="2825" y="1570"/>
                  </a:lnTo>
                  <a:lnTo>
                    <a:pt x="2867" y="1444"/>
                  </a:lnTo>
                  <a:lnTo>
                    <a:pt x="2888" y="1340"/>
                  </a:lnTo>
                  <a:lnTo>
                    <a:pt x="2825" y="1235"/>
                  </a:lnTo>
                  <a:lnTo>
                    <a:pt x="2616" y="1026"/>
                  </a:lnTo>
                  <a:lnTo>
                    <a:pt x="2553" y="1026"/>
                  </a:lnTo>
                  <a:lnTo>
                    <a:pt x="2511" y="1047"/>
                  </a:lnTo>
                  <a:lnTo>
                    <a:pt x="2448" y="963"/>
                  </a:lnTo>
                  <a:lnTo>
                    <a:pt x="2344" y="900"/>
                  </a:lnTo>
                  <a:lnTo>
                    <a:pt x="2323" y="817"/>
                  </a:lnTo>
                  <a:lnTo>
                    <a:pt x="2197" y="796"/>
                  </a:lnTo>
                  <a:lnTo>
                    <a:pt x="2134" y="712"/>
                  </a:lnTo>
                  <a:lnTo>
                    <a:pt x="2092" y="712"/>
                  </a:lnTo>
                  <a:lnTo>
                    <a:pt x="1988" y="649"/>
                  </a:lnTo>
                  <a:lnTo>
                    <a:pt x="1841" y="649"/>
                  </a:lnTo>
                  <a:lnTo>
                    <a:pt x="1716" y="545"/>
                  </a:lnTo>
                  <a:lnTo>
                    <a:pt x="1590" y="524"/>
                  </a:lnTo>
                  <a:lnTo>
                    <a:pt x="1381" y="398"/>
                  </a:lnTo>
                  <a:lnTo>
                    <a:pt x="1067" y="377"/>
                  </a:lnTo>
                  <a:lnTo>
                    <a:pt x="963" y="315"/>
                  </a:lnTo>
                  <a:lnTo>
                    <a:pt x="879" y="231"/>
                  </a:lnTo>
                  <a:lnTo>
                    <a:pt x="837" y="231"/>
                  </a:lnTo>
                  <a:lnTo>
                    <a:pt x="795" y="273"/>
                  </a:lnTo>
                  <a:lnTo>
                    <a:pt x="565" y="189"/>
                  </a:lnTo>
                  <a:lnTo>
                    <a:pt x="523" y="126"/>
                  </a:lnTo>
                  <a:lnTo>
                    <a:pt x="419" y="84"/>
                  </a:lnTo>
                  <a:lnTo>
                    <a:pt x="23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 name="Google Shape;5920;p93">
              <a:extLst>
                <a:ext uri="{FF2B5EF4-FFF2-40B4-BE49-F238E27FC236}">
                  <a16:creationId xmlns:a16="http://schemas.microsoft.com/office/drawing/2014/main" id="{4C3272A8-5F15-4144-A33D-8B565BB6CA98}"/>
                </a:ext>
              </a:extLst>
            </p:cNvPr>
            <p:cNvSpPr/>
            <p:nvPr/>
          </p:nvSpPr>
          <p:spPr>
            <a:xfrm>
              <a:off x="4567785" y="3016610"/>
              <a:ext cx="54822" cy="91389"/>
            </a:xfrm>
            <a:custGeom>
              <a:avLst/>
              <a:gdLst/>
              <a:ahLst/>
              <a:cxnLst/>
              <a:rect l="l" t="t" r="r" b="b"/>
              <a:pathLst>
                <a:path w="4604" h="8036" extrusionOk="0">
                  <a:moveTo>
                    <a:pt x="586" y="0"/>
                  </a:moveTo>
                  <a:lnTo>
                    <a:pt x="440" y="63"/>
                  </a:lnTo>
                  <a:lnTo>
                    <a:pt x="419" y="189"/>
                  </a:lnTo>
                  <a:lnTo>
                    <a:pt x="314" y="419"/>
                  </a:lnTo>
                  <a:lnTo>
                    <a:pt x="335" y="565"/>
                  </a:lnTo>
                  <a:lnTo>
                    <a:pt x="335" y="795"/>
                  </a:lnTo>
                  <a:lnTo>
                    <a:pt x="251" y="1088"/>
                  </a:lnTo>
                  <a:lnTo>
                    <a:pt x="210" y="1214"/>
                  </a:lnTo>
                  <a:lnTo>
                    <a:pt x="272" y="1402"/>
                  </a:lnTo>
                  <a:lnTo>
                    <a:pt x="272" y="1465"/>
                  </a:lnTo>
                  <a:lnTo>
                    <a:pt x="210" y="1528"/>
                  </a:lnTo>
                  <a:lnTo>
                    <a:pt x="105" y="1507"/>
                  </a:lnTo>
                  <a:lnTo>
                    <a:pt x="21" y="1402"/>
                  </a:lnTo>
                  <a:lnTo>
                    <a:pt x="0" y="1528"/>
                  </a:lnTo>
                  <a:lnTo>
                    <a:pt x="21" y="1653"/>
                  </a:lnTo>
                  <a:lnTo>
                    <a:pt x="105" y="1653"/>
                  </a:lnTo>
                  <a:lnTo>
                    <a:pt x="126" y="1716"/>
                  </a:lnTo>
                  <a:lnTo>
                    <a:pt x="63" y="1779"/>
                  </a:lnTo>
                  <a:lnTo>
                    <a:pt x="126" y="1946"/>
                  </a:lnTo>
                  <a:lnTo>
                    <a:pt x="210" y="2093"/>
                  </a:lnTo>
                  <a:lnTo>
                    <a:pt x="210" y="2302"/>
                  </a:lnTo>
                  <a:lnTo>
                    <a:pt x="251" y="2344"/>
                  </a:lnTo>
                  <a:lnTo>
                    <a:pt x="314" y="2302"/>
                  </a:lnTo>
                  <a:lnTo>
                    <a:pt x="356" y="2344"/>
                  </a:lnTo>
                  <a:lnTo>
                    <a:pt x="356" y="2448"/>
                  </a:lnTo>
                  <a:lnTo>
                    <a:pt x="461" y="2595"/>
                  </a:lnTo>
                  <a:lnTo>
                    <a:pt x="544" y="2595"/>
                  </a:lnTo>
                  <a:lnTo>
                    <a:pt x="628" y="2511"/>
                  </a:lnTo>
                  <a:lnTo>
                    <a:pt x="565" y="2448"/>
                  </a:lnTo>
                  <a:lnTo>
                    <a:pt x="565" y="2365"/>
                  </a:lnTo>
                  <a:lnTo>
                    <a:pt x="691" y="2365"/>
                  </a:lnTo>
                  <a:lnTo>
                    <a:pt x="795" y="2448"/>
                  </a:lnTo>
                  <a:lnTo>
                    <a:pt x="670" y="2595"/>
                  </a:lnTo>
                  <a:lnTo>
                    <a:pt x="628" y="2679"/>
                  </a:lnTo>
                  <a:lnTo>
                    <a:pt x="628" y="2762"/>
                  </a:lnTo>
                  <a:lnTo>
                    <a:pt x="628" y="2888"/>
                  </a:lnTo>
                  <a:lnTo>
                    <a:pt x="691" y="3013"/>
                  </a:lnTo>
                  <a:lnTo>
                    <a:pt x="733" y="2909"/>
                  </a:lnTo>
                  <a:lnTo>
                    <a:pt x="795" y="2888"/>
                  </a:lnTo>
                  <a:lnTo>
                    <a:pt x="858" y="2992"/>
                  </a:lnTo>
                  <a:lnTo>
                    <a:pt x="795" y="3097"/>
                  </a:lnTo>
                  <a:lnTo>
                    <a:pt x="795" y="3097"/>
                  </a:lnTo>
                  <a:lnTo>
                    <a:pt x="879" y="3076"/>
                  </a:lnTo>
                  <a:lnTo>
                    <a:pt x="963" y="3013"/>
                  </a:lnTo>
                  <a:cubicBezTo>
                    <a:pt x="963" y="3097"/>
                    <a:pt x="963" y="3181"/>
                    <a:pt x="984" y="3244"/>
                  </a:cubicBezTo>
                  <a:lnTo>
                    <a:pt x="900" y="3181"/>
                  </a:lnTo>
                  <a:lnTo>
                    <a:pt x="775" y="3202"/>
                  </a:lnTo>
                  <a:lnTo>
                    <a:pt x="649" y="3139"/>
                  </a:lnTo>
                  <a:lnTo>
                    <a:pt x="544" y="3202"/>
                  </a:lnTo>
                  <a:lnTo>
                    <a:pt x="565" y="3244"/>
                  </a:lnTo>
                  <a:lnTo>
                    <a:pt x="649" y="3244"/>
                  </a:lnTo>
                  <a:lnTo>
                    <a:pt x="670" y="3390"/>
                  </a:lnTo>
                  <a:lnTo>
                    <a:pt x="754" y="3411"/>
                  </a:lnTo>
                  <a:lnTo>
                    <a:pt x="816" y="3516"/>
                  </a:lnTo>
                  <a:lnTo>
                    <a:pt x="816" y="3704"/>
                  </a:lnTo>
                  <a:lnTo>
                    <a:pt x="900" y="3746"/>
                  </a:lnTo>
                  <a:lnTo>
                    <a:pt x="900" y="3850"/>
                  </a:lnTo>
                  <a:lnTo>
                    <a:pt x="1005" y="3976"/>
                  </a:lnTo>
                  <a:lnTo>
                    <a:pt x="1109" y="4018"/>
                  </a:lnTo>
                  <a:lnTo>
                    <a:pt x="1214" y="3934"/>
                  </a:lnTo>
                  <a:lnTo>
                    <a:pt x="1214" y="3850"/>
                  </a:lnTo>
                  <a:lnTo>
                    <a:pt x="1277" y="3829"/>
                  </a:lnTo>
                  <a:lnTo>
                    <a:pt x="1277" y="3725"/>
                  </a:lnTo>
                  <a:lnTo>
                    <a:pt x="1214" y="3641"/>
                  </a:lnTo>
                  <a:lnTo>
                    <a:pt x="1277" y="3557"/>
                  </a:lnTo>
                  <a:lnTo>
                    <a:pt x="1277" y="3453"/>
                  </a:lnTo>
                  <a:lnTo>
                    <a:pt x="1172" y="3411"/>
                  </a:lnTo>
                  <a:lnTo>
                    <a:pt x="1109" y="3348"/>
                  </a:lnTo>
                  <a:cubicBezTo>
                    <a:pt x="1130" y="3306"/>
                    <a:pt x="1130" y="3223"/>
                    <a:pt x="1130" y="3181"/>
                  </a:cubicBezTo>
                  <a:lnTo>
                    <a:pt x="1235" y="3097"/>
                  </a:lnTo>
                  <a:lnTo>
                    <a:pt x="1214" y="3013"/>
                  </a:lnTo>
                  <a:lnTo>
                    <a:pt x="1277" y="2930"/>
                  </a:lnTo>
                  <a:lnTo>
                    <a:pt x="1402" y="2930"/>
                  </a:lnTo>
                  <a:lnTo>
                    <a:pt x="1632" y="3034"/>
                  </a:lnTo>
                  <a:lnTo>
                    <a:pt x="1695" y="3118"/>
                  </a:lnTo>
                  <a:lnTo>
                    <a:pt x="1821" y="3202"/>
                  </a:lnTo>
                  <a:lnTo>
                    <a:pt x="1904" y="3327"/>
                  </a:lnTo>
                  <a:lnTo>
                    <a:pt x="1863" y="3306"/>
                  </a:lnTo>
                  <a:cubicBezTo>
                    <a:pt x="1800" y="3264"/>
                    <a:pt x="1716" y="3264"/>
                    <a:pt x="1632" y="3264"/>
                  </a:cubicBezTo>
                  <a:lnTo>
                    <a:pt x="1653" y="3244"/>
                  </a:lnTo>
                  <a:lnTo>
                    <a:pt x="1611" y="3139"/>
                  </a:lnTo>
                  <a:lnTo>
                    <a:pt x="1507" y="3097"/>
                  </a:lnTo>
                  <a:lnTo>
                    <a:pt x="1444" y="3181"/>
                  </a:lnTo>
                  <a:lnTo>
                    <a:pt x="1486" y="3244"/>
                  </a:lnTo>
                  <a:lnTo>
                    <a:pt x="1528" y="3285"/>
                  </a:lnTo>
                  <a:cubicBezTo>
                    <a:pt x="1507" y="3285"/>
                    <a:pt x="1486" y="3306"/>
                    <a:pt x="1444" y="3306"/>
                  </a:cubicBezTo>
                  <a:lnTo>
                    <a:pt x="1444" y="3327"/>
                  </a:lnTo>
                  <a:lnTo>
                    <a:pt x="1591" y="3327"/>
                  </a:lnTo>
                  <a:lnTo>
                    <a:pt x="1611" y="3348"/>
                  </a:lnTo>
                  <a:lnTo>
                    <a:pt x="1611" y="3327"/>
                  </a:lnTo>
                  <a:cubicBezTo>
                    <a:pt x="1695" y="3327"/>
                    <a:pt x="1758" y="3348"/>
                    <a:pt x="1842" y="3390"/>
                  </a:cubicBezTo>
                  <a:cubicBezTo>
                    <a:pt x="1850" y="3393"/>
                    <a:pt x="1858" y="3394"/>
                    <a:pt x="1866" y="3394"/>
                  </a:cubicBezTo>
                  <a:cubicBezTo>
                    <a:pt x="1915" y="3394"/>
                    <a:pt x="1946" y="3342"/>
                    <a:pt x="1946" y="3306"/>
                  </a:cubicBezTo>
                  <a:lnTo>
                    <a:pt x="1967" y="3327"/>
                  </a:lnTo>
                  <a:lnTo>
                    <a:pt x="2030" y="3327"/>
                  </a:lnTo>
                  <a:lnTo>
                    <a:pt x="2009" y="3139"/>
                  </a:lnTo>
                  <a:lnTo>
                    <a:pt x="1863" y="2930"/>
                  </a:lnTo>
                  <a:lnTo>
                    <a:pt x="1904" y="2888"/>
                  </a:lnTo>
                  <a:lnTo>
                    <a:pt x="1946" y="2888"/>
                  </a:lnTo>
                  <a:lnTo>
                    <a:pt x="2030" y="2971"/>
                  </a:lnTo>
                  <a:lnTo>
                    <a:pt x="2114" y="2992"/>
                  </a:lnTo>
                  <a:lnTo>
                    <a:pt x="2176" y="3118"/>
                  </a:lnTo>
                  <a:lnTo>
                    <a:pt x="2344" y="3181"/>
                  </a:lnTo>
                  <a:lnTo>
                    <a:pt x="2386" y="3285"/>
                  </a:lnTo>
                  <a:lnTo>
                    <a:pt x="2386" y="3411"/>
                  </a:lnTo>
                  <a:lnTo>
                    <a:pt x="2469" y="3432"/>
                  </a:lnTo>
                  <a:lnTo>
                    <a:pt x="2595" y="3599"/>
                  </a:lnTo>
                  <a:lnTo>
                    <a:pt x="2699" y="3557"/>
                  </a:lnTo>
                  <a:lnTo>
                    <a:pt x="2699" y="3516"/>
                  </a:lnTo>
                  <a:lnTo>
                    <a:pt x="2804" y="3536"/>
                  </a:lnTo>
                  <a:lnTo>
                    <a:pt x="2804" y="3599"/>
                  </a:lnTo>
                  <a:lnTo>
                    <a:pt x="2741" y="3641"/>
                  </a:lnTo>
                  <a:cubicBezTo>
                    <a:pt x="2741" y="3641"/>
                    <a:pt x="2699" y="3641"/>
                    <a:pt x="2699" y="3662"/>
                  </a:cubicBezTo>
                  <a:cubicBezTo>
                    <a:pt x="2783" y="3913"/>
                    <a:pt x="2992" y="4060"/>
                    <a:pt x="3223" y="4122"/>
                  </a:cubicBezTo>
                  <a:lnTo>
                    <a:pt x="3285" y="4122"/>
                  </a:lnTo>
                  <a:lnTo>
                    <a:pt x="3411" y="4269"/>
                  </a:lnTo>
                  <a:lnTo>
                    <a:pt x="3432" y="4290"/>
                  </a:lnTo>
                  <a:lnTo>
                    <a:pt x="3432" y="4332"/>
                  </a:lnTo>
                  <a:cubicBezTo>
                    <a:pt x="3432" y="4352"/>
                    <a:pt x="3411" y="4394"/>
                    <a:pt x="3411" y="4436"/>
                  </a:cubicBezTo>
                  <a:lnTo>
                    <a:pt x="3411" y="4436"/>
                  </a:lnTo>
                  <a:cubicBezTo>
                    <a:pt x="3411" y="4436"/>
                    <a:pt x="3411" y="4394"/>
                    <a:pt x="3453" y="4394"/>
                  </a:cubicBezTo>
                  <a:lnTo>
                    <a:pt x="3495" y="4436"/>
                  </a:lnTo>
                  <a:lnTo>
                    <a:pt x="3599" y="4478"/>
                  </a:lnTo>
                  <a:lnTo>
                    <a:pt x="3620" y="4562"/>
                  </a:lnTo>
                  <a:lnTo>
                    <a:pt x="3808" y="4562"/>
                  </a:lnTo>
                  <a:lnTo>
                    <a:pt x="3829" y="4583"/>
                  </a:lnTo>
                  <a:lnTo>
                    <a:pt x="3871" y="4562"/>
                  </a:lnTo>
                  <a:lnTo>
                    <a:pt x="3913" y="4583"/>
                  </a:lnTo>
                  <a:lnTo>
                    <a:pt x="3871" y="4499"/>
                  </a:lnTo>
                  <a:lnTo>
                    <a:pt x="3829" y="4394"/>
                  </a:lnTo>
                  <a:lnTo>
                    <a:pt x="3788" y="4352"/>
                  </a:lnTo>
                  <a:lnTo>
                    <a:pt x="3788" y="4185"/>
                  </a:lnTo>
                  <a:lnTo>
                    <a:pt x="3767" y="3976"/>
                  </a:lnTo>
                  <a:lnTo>
                    <a:pt x="3767" y="3934"/>
                  </a:lnTo>
                  <a:lnTo>
                    <a:pt x="3704" y="3913"/>
                  </a:lnTo>
                  <a:lnTo>
                    <a:pt x="3599" y="3767"/>
                  </a:lnTo>
                  <a:lnTo>
                    <a:pt x="3557" y="3662"/>
                  </a:lnTo>
                  <a:lnTo>
                    <a:pt x="3474" y="3662"/>
                  </a:lnTo>
                  <a:lnTo>
                    <a:pt x="3453" y="3704"/>
                  </a:lnTo>
                  <a:lnTo>
                    <a:pt x="3390" y="3662"/>
                  </a:lnTo>
                  <a:lnTo>
                    <a:pt x="3348" y="3662"/>
                  </a:lnTo>
                  <a:lnTo>
                    <a:pt x="3285" y="3725"/>
                  </a:lnTo>
                  <a:lnTo>
                    <a:pt x="3097" y="3725"/>
                  </a:lnTo>
                  <a:lnTo>
                    <a:pt x="3055" y="3704"/>
                  </a:lnTo>
                  <a:lnTo>
                    <a:pt x="3055" y="3767"/>
                  </a:lnTo>
                  <a:lnTo>
                    <a:pt x="3055" y="3808"/>
                  </a:lnTo>
                  <a:cubicBezTo>
                    <a:pt x="2992" y="3767"/>
                    <a:pt x="2972" y="3746"/>
                    <a:pt x="2930" y="3725"/>
                  </a:cubicBezTo>
                  <a:lnTo>
                    <a:pt x="2951" y="3620"/>
                  </a:lnTo>
                  <a:lnTo>
                    <a:pt x="2951" y="3536"/>
                  </a:lnTo>
                  <a:lnTo>
                    <a:pt x="2992" y="3495"/>
                  </a:lnTo>
                  <a:lnTo>
                    <a:pt x="2951" y="3432"/>
                  </a:lnTo>
                  <a:lnTo>
                    <a:pt x="2846" y="3432"/>
                  </a:lnTo>
                  <a:lnTo>
                    <a:pt x="2762" y="3390"/>
                  </a:lnTo>
                  <a:lnTo>
                    <a:pt x="2658" y="3390"/>
                  </a:lnTo>
                  <a:lnTo>
                    <a:pt x="2658" y="3306"/>
                  </a:lnTo>
                  <a:lnTo>
                    <a:pt x="2574" y="3097"/>
                  </a:lnTo>
                  <a:lnTo>
                    <a:pt x="2553" y="2992"/>
                  </a:lnTo>
                  <a:lnTo>
                    <a:pt x="2616" y="2971"/>
                  </a:lnTo>
                  <a:lnTo>
                    <a:pt x="2658" y="2992"/>
                  </a:lnTo>
                  <a:lnTo>
                    <a:pt x="2741" y="2992"/>
                  </a:lnTo>
                  <a:lnTo>
                    <a:pt x="2720" y="2971"/>
                  </a:lnTo>
                  <a:lnTo>
                    <a:pt x="2616" y="2888"/>
                  </a:lnTo>
                  <a:lnTo>
                    <a:pt x="2469" y="2888"/>
                  </a:lnTo>
                  <a:lnTo>
                    <a:pt x="2427" y="2783"/>
                  </a:lnTo>
                  <a:lnTo>
                    <a:pt x="2365" y="2825"/>
                  </a:lnTo>
                  <a:lnTo>
                    <a:pt x="2365" y="2930"/>
                  </a:lnTo>
                  <a:lnTo>
                    <a:pt x="2302" y="2992"/>
                  </a:lnTo>
                  <a:lnTo>
                    <a:pt x="2239" y="2930"/>
                  </a:lnTo>
                  <a:lnTo>
                    <a:pt x="2260" y="2804"/>
                  </a:lnTo>
                  <a:lnTo>
                    <a:pt x="2197" y="2679"/>
                  </a:lnTo>
                  <a:lnTo>
                    <a:pt x="2009" y="2574"/>
                  </a:lnTo>
                  <a:lnTo>
                    <a:pt x="1904" y="2574"/>
                  </a:lnTo>
                  <a:lnTo>
                    <a:pt x="1737" y="2699"/>
                  </a:lnTo>
                  <a:lnTo>
                    <a:pt x="1716" y="2783"/>
                  </a:lnTo>
                  <a:lnTo>
                    <a:pt x="1632" y="2804"/>
                  </a:lnTo>
                  <a:lnTo>
                    <a:pt x="1507" y="2762"/>
                  </a:lnTo>
                  <a:lnTo>
                    <a:pt x="1465" y="2658"/>
                  </a:lnTo>
                  <a:lnTo>
                    <a:pt x="1381" y="2574"/>
                  </a:lnTo>
                  <a:lnTo>
                    <a:pt x="1381" y="2448"/>
                  </a:lnTo>
                  <a:lnTo>
                    <a:pt x="1423" y="2365"/>
                  </a:lnTo>
                  <a:lnTo>
                    <a:pt x="1360" y="2281"/>
                  </a:lnTo>
                  <a:lnTo>
                    <a:pt x="1088" y="2239"/>
                  </a:lnTo>
                  <a:lnTo>
                    <a:pt x="1026" y="2176"/>
                  </a:lnTo>
                  <a:lnTo>
                    <a:pt x="1067" y="2051"/>
                  </a:lnTo>
                  <a:lnTo>
                    <a:pt x="1109" y="1967"/>
                  </a:lnTo>
                  <a:lnTo>
                    <a:pt x="1109" y="1842"/>
                  </a:lnTo>
                  <a:lnTo>
                    <a:pt x="1172" y="1737"/>
                  </a:lnTo>
                  <a:lnTo>
                    <a:pt x="1360" y="1549"/>
                  </a:lnTo>
                  <a:lnTo>
                    <a:pt x="1423" y="1507"/>
                  </a:lnTo>
                  <a:lnTo>
                    <a:pt x="1402" y="1570"/>
                  </a:lnTo>
                  <a:lnTo>
                    <a:pt x="1402" y="1632"/>
                  </a:lnTo>
                  <a:lnTo>
                    <a:pt x="1507" y="1465"/>
                  </a:lnTo>
                  <a:lnTo>
                    <a:pt x="1486" y="1339"/>
                  </a:lnTo>
                  <a:lnTo>
                    <a:pt x="1549" y="1193"/>
                  </a:lnTo>
                  <a:lnTo>
                    <a:pt x="1611" y="921"/>
                  </a:lnTo>
                  <a:lnTo>
                    <a:pt x="1549" y="837"/>
                  </a:lnTo>
                  <a:lnTo>
                    <a:pt x="1528" y="691"/>
                  </a:lnTo>
                  <a:lnTo>
                    <a:pt x="1465" y="649"/>
                  </a:lnTo>
                  <a:lnTo>
                    <a:pt x="1360" y="482"/>
                  </a:lnTo>
                  <a:lnTo>
                    <a:pt x="1381" y="251"/>
                  </a:lnTo>
                  <a:lnTo>
                    <a:pt x="1381" y="189"/>
                  </a:lnTo>
                  <a:lnTo>
                    <a:pt x="1381" y="105"/>
                  </a:lnTo>
                  <a:lnTo>
                    <a:pt x="1298" y="0"/>
                  </a:lnTo>
                  <a:lnTo>
                    <a:pt x="1256" y="42"/>
                  </a:lnTo>
                  <a:lnTo>
                    <a:pt x="1256" y="84"/>
                  </a:lnTo>
                  <a:lnTo>
                    <a:pt x="1172" y="168"/>
                  </a:lnTo>
                  <a:lnTo>
                    <a:pt x="1005" y="168"/>
                  </a:lnTo>
                  <a:lnTo>
                    <a:pt x="984" y="210"/>
                  </a:lnTo>
                  <a:lnTo>
                    <a:pt x="900" y="168"/>
                  </a:lnTo>
                  <a:lnTo>
                    <a:pt x="795" y="63"/>
                  </a:lnTo>
                  <a:lnTo>
                    <a:pt x="586" y="0"/>
                  </a:lnTo>
                  <a:close/>
                  <a:moveTo>
                    <a:pt x="1842" y="4060"/>
                  </a:moveTo>
                  <a:lnTo>
                    <a:pt x="1716" y="4080"/>
                  </a:lnTo>
                  <a:lnTo>
                    <a:pt x="1695" y="4164"/>
                  </a:lnTo>
                  <a:lnTo>
                    <a:pt x="1821" y="4227"/>
                  </a:lnTo>
                  <a:lnTo>
                    <a:pt x="1883" y="4248"/>
                  </a:lnTo>
                  <a:lnTo>
                    <a:pt x="1883" y="4352"/>
                  </a:lnTo>
                  <a:lnTo>
                    <a:pt x="1842" y="4457"/>
                  </a:lnTo>
                  <a:lnTo>
                    <a:pt x="1842" y="4666"/>
                  </a:lnTo>
                  <a:lnTo>
                    <a:pt x="1800" y="4792"/>
                  </a:lnTo>
                  <a:lnTo>
                    <a:pt x="1842" y="4980"/>
                  </a:lnTo>
                  <a:lnTo>
                    <a:pt x="1904" y="4959"/>
                  </a:lnTo>
                  <a:lnTo>
                    <a:pt x="1925" y="4896"/>
                  </a:lnTo>
                  <a:lnTo>
                    <a:pt x="2051" y="4813"/>
                  </a:lnTo>
                  <a:cubicBezTo>
                    <a:pt x="2093" y="4813"/>
                    <a:pt x="2114" y="4855"/>
                    <a:pt x="2135" y="4855"/>
                  </a:cubicBezTo>
                  <a:lnTo>
                    <a:pt x="2114" y="4959"/>
                  </a:lnTo>
                  <a:lnTo>
                    <a:pt x="2197" y="5001"/>
                  </a:lnTo>
                  <a:lnTo>
                    <a:pt x="2260" y="4917"/>
                  </a:lnTo>
                  <a:cubicBezTo>
                    <a:pt x="2323" y="4959"/>
                    <a:pt x="2344" y="5001"/>
                    <a:pt x="2407" y="5022"/>
                  </a:cubicBezTo>
                  <a:lnTo>
                    <a:pt x="2407" y="5106"/>
                  </a:lnTo>
                  <a:lnTo>
                    <a:pt x="2344" y="5231"/>
                  </a:lnTo>
                  <a:lnTo>
                    <a:pt x="2155" y="5294"/>
                  </a:lnTo>
                  <a:lnTo>
                    <a:pt x="2114" y="5378"/>
                  </a:lnTo>
                  <a:lnTo>
                    <a:pt x="2135" y="5545"/>
                  </a:lnTo>
                  <a:lnTo>
                    <a:pt x="2218" y="5545"/>
                  </a:lnTo>
                  <a:lnTo>
                    <a:pt x="2344" y="5629"/>
                  </a:lnTo>
                  <a:lnTo>
                    <a:pt x="2448" y="5629"/>
                  </a:lnTo>
                  <a:lnTo>
                    <a:pt x="2448" y="5754"/>
                  </a:lnTo>
                  <a:lnTo>
                    <a:pt x="2532" y="5817"/>
                  </a:lnTo>
                  <a:lnTo>
                    <a:pt x="2637" y="5754"/>
                  </a:lnTo>
                  <a:lnTo>
                    <a:pt x="2637" y="5650"/>
                  </a:lnTo>
                  <a:lnTo>
                    <a:pt x="2574" y="5587"/>
                  </a:lnTo>
                  <a:cubicBezTo>
                    <a:pt x="2616" y="5545"/>
                    <a:pt x="2637" y="5545"/>
                    <a:pt x="2658" y="5524"/>
                  </a:cubicBezTo>
                  <a:lnTo>
                    <a:pt x="2658" y="5503"/>
                  </a:lnTo>
                  <a:lnTo>
                    <a:pt x="2679" y="5587"/>
                  </a:lnTo>
                  <a:lnTo>
                    <a:pt x="2762" y="5482"/>
                  </a:lnTo>
                  <a:lnTo>
                    <a:pt x="2804" y="5231"/>
                  </a:lnTo>
                  <a:lnTo>
                    <a:pt x="2972" y="5064"/>
                  </a:lnTo>
                  <a:lnTo>
                    <a:pt x="2992" y="4959"/>
                  </a:lnTo>
                  <a:lnTo>
                    <a:pt x="2972" y="4855"/>
                  </a:lnTo>
                  <a:lnTo>
                    <a:pt x="3034" y="4771"/>
                  </a:lnTo>
                  <a:lnTo>
                    <a:pt x="3034" y="4750"/>
                  </a:lnTo>
                  <a:cubicBezTo>
                    <a:pt x="3087" y="4760"/>
                    <a:pt x="3128" y="4766"/>
                    <a:pt x="3170" y="4766"/>
                  </a:cubicBezTo>
                  <a:cubicBezTo>
                    <a:pt x="3212" y="4766"/>
                    <a:pt x="3254" y="4760"/>
                    <a:pt x="3306" y="4750"/>
                  </a:cubicBezTo>
                  <a:cubicBezTo>
                    <a:pt x="3348" y="4750"/>
                    <a:pt x="3369" y="4708"/>
                    <a:pt x="3369" y="4687"/>
                  </a:cubicBezTo>
                  <a:lnTo>
                    <a:pt x="3411" y="4750"/>
                  </a:lnTo>
                  <a:lnTo>
                    <a:pt x="3411" y="4896"/>
                  </a:lnTo>
                  <a:lnTo>
                    <a:pt x="3411" y="4917"/>
                  </a:lnTo>
                  <a:cubicBezTo>
                    <a:pt x="3390" y="4959"/>
                    <a:pt x="3390" y="4980"/>
                    <a:pt x="3411" y="4980"/>
                  </a:cubicBezTo>
                  <a:cubicBezTo>
                    <a:pt x="3453" y="5001"/>
                    <a:pt x="3453" y="5022"/>
                    <a:pt x="3474" y="5085"/>
                  </a:cubicBezTo>
                  <a:lnTo>
                    <a:pt x="3474" y="5189"/>
                  </a:lnTo>
                  <a:lnTo>
                    <a:pt x="3557" y="5231"/>
                  </a:lnTo>
                  <a:cubicBezTo>
                    <a:pt x="3599" y="5336"/>
                    <a:pt x="3683" y="5482"/>
                    <a:pt x="3704" y="5608"/>
                  </a:cubicBezTo>
                  <a:cubicBezTo>
                    <a:pt x="3716" y="5632"/>
                    <a:pt x="3750" y="5643"/>
                    <a:pt x="3780" y="5643"/>
                  </a:cubicBezTo>
                  <a:cubicBezTo>
                    <a:pt x="3801" y="5643"/>
                    <a:pt x="3821" y="5637"/>
                    <a:pt x="3829" y="5629"/>
                  </a:cubicBezTo>
                  <a:lnTo>
                    <a:pt x="3871" y="5754"/>
                  </a:lnTo>
                  <a:lnTo>
                    <a:pt x="3871" y="5838"/>
                  </a:lnTo>
                  <a:lnTo>
                    <a:pt x="3788" y="5733"/>
                  </a:lnTo>
                  <a:lnTo>
                    <a:pt x="3725" y="5733"/>
                  </a:lnTo>
                  <a:lnTo>
                    <a:pt x="3725" y="5901"/>
                  </a:lnTo>
                  <a:lnTo>
                    <a:pt x="3704" y="5943"/>
                  </a:lnTo>
                  <a:lnTo>
                    <a:pt x="3620" y="5901"/>
                  </a:lnTo>
                  <a:lnTo>
                    <a:pt x="3495" y="5838"/>
                  </a:lnTo>
                  <a:lnTo>
                    <a:pt x="3453" y="6068"/>
                  </a:lnTo>
                  <a:lnTo>
                    <a:pt x="3495" y="6110"/>
                  </a:lnTo>
                  <a:lnTo>
                    <a:pt x="3495" y="6173"/>
                  </a:lnTo>
                  <a:lnTo>
                    <a:pt x="3411" y="6215"/>
                  </a:lnTo>
                  <a:lnTo>
                    <a:pt x="3369" y="6068"/>
                  </a:lnTo>
                  <a:lnTo>
                    <a:pt x="3244" y="6131"/>
                  </a:lnTo>
                  <a:lnTo>
                    <a:pt x="3181" y="6340"/>
                  </a:lnTo>
                  <a:lnTo>
                    <a:pt x="3055" y="6424"/>
                  </a:lnTo>
                  <a:lnTo>
                    <a:pt x="2951" y="6445"/>
                  </a:lnTo>
                  <a:lnTo>
                    <a:pt x="2846" y="6549"/>
                  </a:lnTo>
                  <a:lnTo>
                    <a:pt x="2972" y="6361"/>
                  </a:lnTo>
                  <a:lnTo>
                    <a:pt x="2972" y="6173"/>
                  </a:lnTo>
                  <a:lnTo>
                    <a:pt x="2825" y="6047"/>
                  </a:lnTo>
                  <a:lnTo>
                    <a:pt x="2741" y="6047"/>
                  </a:lnTo>
                  <a:lnTo>
                    <a:pt x="2658" y="6152"/>
                  </a:lnTo>
                  <a:lnTo>
                    <a:pt x="2532" y="6215"/>
                  </a:lnTo>
                  <a:lnTo>
                    <a:pt x="2469" y="6319"/>
                  </a:lnTo>
                  <a:lnTo>
                    <a:pt x="2532" y="6424"/>
                  </a:lnTo>
                  <a:lnTo>
                    <a:pt x="2365" y="6445"/>
                  </a:lnTo>
                  <a:lnTo>
                    <a:pt x="2260" y="6424"/>
                  </a:lnTo>
                  <a:lnTo>
                    <a:pt x="2197" y="6487"/>
                  </a:lnTo>
                  <a:lnTo>
                    <a:pt x="2093" y="6529"/>
                  </a:lnTo>
                  <a:lnTo>
                    <a:pt x="1988" y="6654"/>
                  </a:lnTo>
                  <a:lnTo>
                    <a:pt x="2009" y="6738"/>
                  </a:lnTo>
                  <a:lnTo>
                    <a:pt x="1988" y="6884"/>
                  </a:lnTo>
                  <a:lnTo>
                    <a:pt x="1904" y="7052"/>
                  </a:lnTo>
                  <a:lnTo>
                    <a:pt x="2030" y="7177"/>
                  </a:lnTo>
                  <a:lnTo>
                    <a:pt x="2093" y="7093"/>
                  </a:lnTo>
                  <a:lnTo>
                    <a:pt x="2155" y="6863"/>
                  </a:lnTo>
                  <a:lnTo>
                    <a:pt x="2239" y="6801"/>
                  </a:lnTo>
                  <a:lnTo>
                    <a:pt x="2302" y="6675"/>
                  </a:lnTo>
                  <a:lnTo>
                    <a:pt x="2344" y="6654"/>
                  </a:lnTo>
                  <a:lnTo>
                    <a:pt x="2427" y="6738"/>
                  </a:lnTo>
                  <a:lnTo>
                    <a:pt x="2407" y="6863"/>
                  </a:lnTo>
                  <a:lnTo>
                    <a:pt x="2427" y="6884"/>
                  </a:lnTo>
                  <a:lnTo>
                    <a:pt x="2469" y="6863"/>
                  </a:lnTo>
                  <a:lnTo>
                    <a:pt x="2532" y="6884"/>
                  </a:lnTo>
                  <a:lnTo>
                    <a:pt x="2532" y="6780"/>
                  </a:lnTo>
                  <a:lnTo>
                    <a:pt x="2574" y="6759"/>
                  </a:lnTo>
                  <a:lnTo>
                    <a:pt x="2637" y="6780"/>
                  </a:lnTo>
                  <a:lnTo>
                    <a:pt x="2616" y="6863"/>
                  </a:lnTo>
                  <a:lnTo>
                    <a:pt x="2658" y="6863"/>
                  </a:lnTo>
                  <a:lnTo>
                    <a:pt x="2762" y="6947"/>
                  </a:lnTo>
                  <a:lnTo>
                    <a:pt x="2825" y="6947"/>
                  </a:lnTo>
                  <a:lnTo>
                    <a:pt x="2762" y="6863"/>
                  </a:lnTo>
                  <a:lnTo>
                    <a:pt x="2783" y="6801"/>
                  </a:lnTo>
                  <a:lnTo>
                    <a:pt x="2762" y="6759"/>
                  </a:lnTo>
                  <a:lnTo>
                    <a:pt x="2825" y="6696"/>
                  </a:lnTo>
                  <a:lnTo>
                    <a:pt x="2867" y="6696"/>
                  </a:lnTo>
                  <a:lnTo>
                    <a:pt x="2972" y="6801"/>
                  </a:lnTo>
                  <a:lnTo>
                    <a:pt x="3076" y="6842"/>
                  </a:lnTo>
                  <a:lnTo>
                    <a:pt x="3181" y="6905"/>
                  </a:lnTo>
                  <a:lnTo>
                    <a:pt x="3202" y="7010"/>
                  </a:lnTo>
                  <a:lnTo>
                    <a:pt x="3306" y="7093"/>
                  </a:lnTo>
                  <a:lnTo>
                    <a:pt x="3202" y="7073"/>
                  </a:lnTo>
                  <a:lnTo>
                    <a:pt x="3160" y="7093"/>
                  </a:lnTo>
                  <a:lnTo>
                    <a:pt x="3160" y="7156"/>
                  </a:lnTo>
                  <a:lnTo>
                    <a:pt x="3097" y="7219"/>
                  </a:lnTo>
                  <a:lnTo>
                    <a:pt x="3160" y="7282"/>
                  </a:lnTo>
                  <a:lnTo>
                    <a:pt x="3160" y="7365"/>
                  </a:lnTo>
                  <a:lnTo>
                    <a:pt x="3139" y="7428"/>
                  </a:lnTo>
                  <a:lnTo>
                    <a:pt x="3202" y="7533"/>
                  </a:lnTo>
                  <a:lnTo>
                    <a:pt x="3244" y="7637"/>
                  </a:lnTo>
                  <a:lnTo>
                    <a:pt x="3348" y="7784"/>
                  </a:lnTo>
                  <a:lnTo>
                    <a:pt x="3474" y="7784"/>
                  </a:lnTo>
                  <a:lnTo>
                    <a:pt x="3578" y="7847"/>
                  </a:lnTo>
                  <a:lnTo>
                    <a:pt x="3704" y="7909"/>
                  </a:lnTo>
                  <a:lnTo>
                    <a:pt x="3808" y="7847"/>
                  </a:lnTo>
                  <a:lnTo>
                    <a:pt x="3829" y="7805"/>
                  </a:lnTo>
                  <a:lnTo>
                    <a:pt x="3892" y="7742"/>
                  </a:lnTo>
                  <a:lnTo>
                    <a:pt x="3913" y="7805"/>
                  </a:lnTo>
                  <a:lnTo>
                    <a:pt x="3871" y="7889"/>
                  </a:lnTo>
                  <a:lnTo>
                    <a:pt x="3892" y="7993"/>
                  </a:lnTo>
                  <a:lnTo>
                    <a:pt x="3913" y="8035"/>
                  </a:lnTo>
                  <a:lnTo>
                    <a:pt x="3997" y="7993"/>
                  </a:lnTo>
                  <a:lnTo>
                    <a:pt x="4143" y="7784"/>
                  </a:lnTo>
                  <a:lnTo>
                    <a:pt x="4143" y="7637"/>
                  </a:lnTo>
                  <a:lnTo>
                    <a:pt x="4101" y="7575"/>
                  </a:lnTo>
                  <a:lnTo>
                    <a:pt x="4039" y="7407"/>
                  </a:lnTo>
                  <a:lnTo>
                    <a:pt x="3934" y="7324"/>
                  </a:lnTo>
                  <a:lnTo>
                    <a:pt x="3976" y="7219"/>
                  </a:lnTo>
                  <a:lnTo>
                    <a:pt x="4101" y="6989"/>
                  </a:lnTo>
                  <a:lnTo>
                    <a:pt x="4185" y="6947"/>
                  </a:lnTo>
                  <a:lnTo>
                    <a:pt x="4248" y="7052"/>
                  </a:lnTo>
                  <a:lnTo>
                    <a:pt x="4290" y="7156"/>
                  </a:lnTo>
                  <a:lnTo>
                    <a:pt x="4332" y="7219"/>
                  </a:lnTo>
                  <a:lnTo>
                    <a:pt x="4332" y="7324"/>
                  </a:lnTo>
                  <a:lnTo>
                    <a:pt x="4394" y="7512"/>
                  </a:lnTo>
                  <a:lnTo>
                    <a:pt x="4415" y="7596"/>
                  </a:lnTo>
                  <a:lnTo>
                    <a:pt x="4415" y="7512"/>
                  </a:lnTo>
                  <a:lnTo>
                    <a:pt x="4415" y="7386"/>
                  </a:lnTo>
                  <a:lnTo>
                    <a:pt x="4352" y="7219"/>
                  </a:lnTo>
                  <a:lnTo>
                    <a:pt x="4394" y="7156"/>
                  </a:lnTo>
                  <a:lnTo>
                    <a:pt x="4436" y="7156"/>
                  </a:lnTo>
                  <a:lnTo>
                    <a:pt x="4499" y="7219"/>
                  </a:lnTo>
                  <a:lnTo>
                    <a:pt x="4499" y="7156"/>
                  </a:lnTo>
                  <a:lnTo>
                    <a:pt x="4541" y="7156"/>
                  </a:lnTo>
                  <a:lnTo>
                    <a:pt x="4604" y="6989"/>
                  </a:lnTo>
                  <a:lnTo>
                    <a:pt x="4562" y="6801"/>
                  </a:lnTo>
                  <a:lnTo>
                    <a:pt x="4499" y="6696"/>
                  </a:lnTo>
                  <a:lnTo>
                    <a:pt x="4436" y="6591"/>
                  </a:lnTo>
                  <a:lnTo>
                    <a:pt x="4436" y="6466"/>
                  </a:lnTo>
                  <a:lnTo>
                    <a:pt x="4415" y="6340"/>
                  </a:lnTo>
                  <a:lnTo>
                    <a:pt x="4352" y="6424"/>
                  </a:lnTo>
                  <a:lnTo>
                    <a:pt x="4352" y="6277"/>
                  </a:lnTo>
                  <a:lnTo>
                    <a:pt x="4352" y="6215"/>
                  </a:lnTo>
                  <a:lnTo>
                    <a:pt x="4311" y="6215"/>
                  </a:lnTo>
                  <a:lnTo>
                    <a:pt x="4227" y="6131"/>
                  </a:lnTo>
                  <a:lnTo>
                    <a:pt x="4248" y="6068"/>
                  </a:lnTo>
                  <a:lnTo>
                    <a:pt x="4332" y="6068"/>
                  </a:lnTo>
                  <a:lnTo>
                    <a:pt x="4332" y="5922"/>
                  </a:lnTo>
                  <a:lnTo>
                    <a:pt x="4248" y="5796"/>
                  </a:lnTo>
                  <a:lnTo>
                    <a:pt x="4248" y="5712"/>
                  </a:lnTo>
                  <a:lnTo>
                    <a:pt x="4185" y="5796"/>
                  </a:lnTo>
                  <a:lnTo>
                    <a:pt x="4080" y="5692"/>
                  </a:lnTo>
                  <a:lnTo>
                    <a:pt x="3913" y="5545"/>
                  </a:lnTo>
                  <a:lnTo>
                    <a:pt x="3892" y="5440"/>
                  </a:lnTo>
                  <a:lnTo>
                    <a:pt x="3871" y="5440"/>
                  </a:lnTo>
                  <a:lnTo>
                    <a:pt x="3767" y="5420"/>
                  </a:lnTo>
                  <a:lnTo>
                    <a:pt x="3767" y="5503"/>
                  </a:lnTo>
                  <a:cubicBezTo>
                    <a:pt x="3725" y="5482"/>
                    <a:pt x="3725" y="5420"/>
                    <a:pt x="3704" y="5399"/>
                  </a:cubicBezTo>
                  <a:lnTo>
                    <a:pt x="3704" y="5315"/>
                  </a:lnTo>
                  <a:lnTo>
                    <a:pt x="3662" y="5210"/>
                  </a:lnTo>
                  <a:lnTo>
                    <a:pt x="3662" y="5273"/>
                  </a:lnTo>
                  <a:cubicBezTo>
                    <a:pt x="3620" y="5231"/>
                    <a:pt x="3620" y="5210"/>
                    <a:pt x="3599" y="5189"/>
                  </a:cubicBezTo>
                  <a:lnTo>
                    <a:pt x="3683" y="5168"/>
                  </a:lnTo>
                  <a:lnTo>
                    <a:pt x="3683" y="5085"/>
                  </a:lnTo>
                  <a:lnTo>
                    <a:pt x="3578" y="4896"/>
                  </a:lnTo>
                  <a:lnTo>
                    <a:pt x="3495" y="4855"/>
                  </a:lnTo>
                  <a:lnTo>
                    <a:pt x="3474" y="4666"/>
                  </a:lnTo>
                  <a:lnTo>
                    <a:pt x="3411" y="4562"/>
                  </a:lnTo>
                  <a:cubicBezTo>
                    <a:pt x="3411" y="4541"/>
                    <a:pt x="3411" y="4541"/>
                    <a:pt x="3453" y="4499"/>
                  </a:cubicBezTo>
                  <a:cubicBezTo>
                    <a:pt x="3474" y="4478"/>
                    <a:pt x="3453" y="4457"/>
                    <a:pt x="3411" y="4436"/>
                  </a:cubicBezTo>
                  <a:lnTo>
                    <a:pt x="3390" y="4457"/>
                  </a:lnTo>
                  <a:lnTo>
                    <a:pt x="3411" y="4457"/>
                  </a:lnTo>
                  <a:lnTo>
                    <a:pt x="3411" y="4478"/>
                  </a:lnTo>
                  <a:cubicBezTo>
                    <a:pt x="3411" y="4478"/>
                    <a:pt x="3390" y="4478"/>
                    <a:pt x="3390" y="4499"/>
                  </a:cubicBezTo>
                  <a:lnTo>
                    <a:pt x="3390" y="4541"/>
                  </a:lnTo>
                  <a:lnTo>
                    <a:pt x="3306" y="4562"/>
                  </a:lnTo>
                  <a:lnTo>
                    <a:pt x="3202" y="4499"/>
                  </a:lnTo>
                  <a:lnTo>
                    <a:pt x="3139" y="4499"/>
                  </a:lnTo>
                  <a:lnTo>
                    <a:pt x="3181" y="4604"/>
                  </a:lnTo>
                  <a:lnTo>
                    <a:pt x="3181" y="4666"/>
                  </a:lnTo>
                  <a:cubicBezTo>
                    <a:pt x="3097" y="4687"/>
                    <a:pt x="3055" y="4708"/>
                    <a:pt x="2972" y="4750"/>
                  </a:cubicBezTo>
                  <a:lnTo>
                    <a:pt x="2972" y="4583"/>
                  </a:lnTo>
                  <a:lnTo>
                    <a:pt x="2930" y="4604"/>
                  </a:lnTo>
                  <a:lnTo>
                    <a:pt x="2888" y="4750"/>
                  </a:lnTo>
                  <a:lnTo>
                    <a:pt x="2888" y="4792"/>
                  </a:lnTo>
                  <a:lnTo>
                    <a:pt x="2783" y="4980"/>
                  </a:lnTo>
                  <a:lnTo>
                    <a:pt x="2783" y="5106"/>
                  </a:lnTo>
                  <a:lnTo>
                    <a:pt x="2741" y="5273"/>
                  </a:lnTo>
                  <a:lnTo>
                    <a:pt x="2658" y="5378"/>
                  </a:lnTo>
                  <a:lnTo>
                    <a:pt x="2658" y="5482"/>
                  </a:lnTo>
                  <a:cubicBezTo>
                    <a:pt x="2646" y="5459"/>
                    <a:pt x="2622" y="5443"/>
                    <a:pt x="2599" y="5443"/>
                  </a:cubicBezTo>
                  <a:cubicBezTo>
                    <a:pt x="2580" y="5443"/>
                    <a:pt x="2562" y="5454"/>
                    <a:pt x="2553" y="5482"/>
                  </a:cubicBezTo>
                  <a:lnTo>
                    <a:pt x="2553" y="5315"/>
                  </a:lnTo>
                  <a:lnTo>
                    <a:pt x="2637" y="4980"/>
                  </a:lnTo>
                  <a:lnTo>
                    <a:pt x="2741" y="4876"/>
                  </a:lnTo>
                  <a:lnTo>
                    <a:pt x="2741" y="4771"/>
                  </a:lnTo>
                  <a:lnTo>
                    <a:pt x="2658" y="4687"/>
                  </a:lnTo>
                  <a:lnTo>
                    <a:pt x="2616" y="4708"/>
                  </a:lnTo>
                  <a:lnTo>
                    <a:pt x="2532" y="4687"/>
                  </a:lnTo>
                  <a:lnTo>
                    <a:pt x="2448" y="4750"/>
                  </a:lnTo>
                  <a:lnTo>
                    <a:pt x="2448" y="4855"/>
                  </a:lnTo>
                  <a:cubicBezTo>
                    <a:pt x="2427" y="4792"/>
                    <a:pt x="2365" y="4708"/>
                    <a:pt x="2323" y="4666"/>
                  </a:cubicBezTo>
                  <a:lnTo>
                    <a:pt x="2427" y="4583"/>
                  </a:lnTo>
                  <a:lnTo>
                    <a:pt x="2469" y="4457"/>
                  </a:lnTo>
                  <a:lnTo>
                    <a:pt x="2532" y="4394"/>
                  </a:lnTo>
                  <a:lnTo>
                    <a:pt x="2553" y="4290"/>
                  </a:lnTo>
                  <a:lnTo>
                    <a:pt x="2511" y="4227"/>
                  </a:lnTo>
                  <a:lnTo>
                    <a:pt x="2427" y="4269"/>
                  </a:lnTo>
                  <a:lnTo>
                    <a:pt x="2344" y="4373"/>
                  </a:lnTo>
                  <a:lnTo>
                    <a:pt x="2260" y="4269"/>
                  </a:lnTo>
                  <a:lnTo>
                    <a:pt x="2197" y="4248"/>
                  </a:lnTo>
                  <a:lnTo>
                    <a:pt x="2009" y="4248"/>
                  </a:lnTo>
                  <a:lnTo>
                    <a:pt x="2030" y="4185"/>
                  </a:lnTo>
                  <a:lnTo>
                    <a:pt x="1946" y="4164"/>
                  </a:lnTo>
                  <a:lnTo>
                    <a:pt x="1842" y="406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 name="Google Shape;5921;p93">
              <a:extLst>
                <a:ext uri="{FF2B5EF4-FFF2-40B4-BE49-F238E27FC236}">
                  <a16:creationId xmlns:a16="http://schemas.microsoft.com/office/drawing/2014/main" id="{99241128-EB71-4295-B472-C2F04AC2FD28}"/>
                </a:ext>
              </a:extLst>
            </p:cNvPr>
            <p:cNvSpPr/>
            <p:nvPr/>
          </p:nvSpPr>
          <p:spPr>
            <a:xfrm>
              <a:off x="4595934" y="3205063"/>
              <a:ext cx="26673" cy="13340"/>
            </a:xfrm>
            <a:custGeom>
              <a:avLst/>
              <a:gdLst/>
              <a:ahLst/>
              <a:cxnLst/>
              <a:rect l="l" t="t" r="r" b="b"/>
              <a:pathLst>
                <a:path w="2240" h="1173" extrusionOk="0">
                  <a:moveTo>
                    <a:pt x="2177" y="1"/>
                  </a:moveTo>
                  <a:lnTo>
                    <a:pt x="1968" y="43"/>
                  </a:lnTo>
                  <a:lnTo>
                    <a:pt x="1821" y="43"/>
                  </a:lnTo>
                  <a:lnTo>
                    <a:pt x="1675" y="64"/>
                  </a:lnTo>
                  <a:lnTo>
                    <a:pt x="1570" y="64"/>
                  </a:lnTo>
                  <a:lnTo>
                    <a:pt x="1424" y="105"/>
                  </a:lnTo>
                  <a:lnTo>
                    <a:pt x="1193" y="105"/>
                  </a:lnTo>
                  <a:lnTo>
                    <a:pt x="1005" y="252"/>
                  </a:lnTo>
                  <a:lnTo>
                    <a:pt x="880" y="315"/>
                  </a:lnTo>
                  <a:lnTo>
                    <a:pt x="817" y="336"/>
                  </a:lnTo>
                  <a:lnTo>
                    <a:pt x="712" y="357"/>
                  </a:lnTo>
                  <a:lnTo>
                    <a:pt x="628" y="377"/>
                  </a:lnTo>
                  <a:lnTo>
                    <a:pt x="482" y="419"/>
                  </a:lnTo>
                  <a:lnTo>
                    <a:pt x="398" y="482"/>
                  </a:lnTo>
                  <a:lnTo>
                    <a:pt x="377" y="524"/>
                  </a:lnTo>
                  <a:lnTo>
                    <a:pt x="252" y="587"/>
                  </a:lnTo>
                  <a:lnTo>
                    <a:pt x="210" y="733"/>
                  </a:lnTo>
                  <a:lnTo>
                    <a:pt x="105" y="880"/>
                  </a:lnTo>
                  <a:lnTo>
                    <a:pt x="84" y="942"/>
                  </a:lnTo>
                  <a:lnTo>
                    <a:pt x="147" y="984"/>
                  </a:lnTo>
                  <a:lnTo>
                    <a:pt x="147" y="1047"/>
                  </a:lnTo>
                  <a:lnTo>
                    <a:pt x="84" y="1047"/>
                  </a:lnTo>
                  <a:lnTo>
                    <a:pt x="43" y="1005"/>
                  </a:lnTo>
                  <a:lnTo>
                    <a:pt x="1" y="1110"/>
                  </a:lnTo>
                  <a:lnTo>
                    <a:pt x="63" y="1173"/>
                  </a:lnTo>
                  <a:lnTo>
                    <a:pt x="252" y="1152"/>
                  </a:lnTo>
                  <a:lnTo>
                    <a:pt x="419" y="1047"/>
                  </a:lnTo>
                  <a:lnTo>
                    <a:pt x="503" y="1005"/>
                  </a:lnTo>
                  <a:lnTo>
                    <a:pt x="608" y="1005"/>
                  </a:lnTo>
                  <a:lnTo>
                    <a:pt x="712" y="942"/>
                  </a:lnTo>
                  <a:lnTo>
                    <a:pt x="796" y="838"/>
                  </a:lnTo>
                  <a:lnTo>
                    <a:pt x="1005" y="670"/>
                  </a:lnTo>
                  <a:lnTo>
                    <a:pt x="1047" y="587"/>
                  </a:lnTo>
                  <a:lnTo>
                    <a:pt x="1110" y="566"/>
                  </a:lnTo>
                  <a:lnTo>
                    <a:pt x="1131" y="566"/>
                  </a:lnTo>
                  <a:lnTo>
                    <a:pt x="1235" y="461"/>
                  </a:lnTo>
                  <a:lnTo>
                    <a:pt x="1340" y="440"/>
                  </a:lnTo>
                  <a:lnTo>
                    <a:pt x="1444" y="440"/>
                  </a:lnTo>
                  <a:lnTo>
                    <a:pt x="1675" y="419"/>
                  </a:lnTo>
                  <a:lnTo>
                    <a:pt x="1842" y="315"/>
                  </a:lnTo>
                  <a:lnTo>
                    <a:pt x="2030" y="252"/>
                  </a:lnTo>
                  <a:lnTo>
                    <a:pt x="2051" y="168"/>
                  </a:lnTo>
                  <a:lnTo>
                    <a:pt x="2135" y="168"/>
                  </a:lnTo>
                  <a:lnTo>
                    <a:pt x="2240" y="105"/>
                  </a:lnTo>
                  <a:lnTo>
                    <a:pt x="2240" y="43"/>
                  </a:lnTo>
                  <a:lnTo>
                    <a:pt x="217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53" name="Google Shape;5922;p93">
              <a:extLst>
                <a:ext uri="{FF2B5EF4-FFF2-40B4-BE49-F238E27FC236}">
                  <a16:creationId xmlns:a16="http://schemas.microsoft.com/office/drawing/2014/main" id="{2C74FAAE-6279-46D9-928A-C3875FEA63C1}"/>
                </a:ext>
              </a:extLst>
            </p:cNvPr>
            <p:cNvGrpSpPr/>
            <p:nvPr/>
          </p:nvGrpSpPr>
          <p:grpSpPr>
            <a:xfrm>
              <a:off x="4403342" y="3107749"/>
              <a:ext cx="316680" cy="101374"/>
              <a:chOff x="5068275" y="3161675"/>
              <a:chExt cx="664875" cy="222850"/>
            </a:xfrm>
          </p:grpSpPr>
          <p:sp>
            <p:nvSpPr>
              <p:cNvPr id="1299" name="Google Shape;5923;p93">
                <a:extLst>
                  <a:ext uri="{FF2B5EF4-FFF2-40B4-BE49-F238E27FC236}">
                    <a16:creationId xmlns:a16="http://schemas.microsoft.com/office/drawing/2014/main" id="{55BE02AA-B963-419D-A5CC-EB8C23815E55}"/>
                  </a:ext>
                </a:extLst>
              </p:cNvPr>
              <p:cNvSpPr/>
              <p:nvPr/>
            </p:nvSpPr>
            <p:spPr>
              <a:xfrm>
                <a:off x="5408300" y="3224425"/>
                <a:ext cx="96775" cy="107800"/>
              </a:xfrm>
              <a:custGeom>
                <a:avLst/>
                <a:gdLst/>
                <a:ahLst/>
                <a:cxnLst/>
                <a:rect l="l" t="t" r="r" b="b"/>
                <a:pathLst>
                  <a:path w="3871" h="4312" extrusionOk="0">
                    <a:moveTo>
                      <a:pt x="3620" y="1"/>
                    </a:moveTo>
                    <a:lnTo>
                      <a:pt x="3515" y="43"/>
                    </a:lnTo>
                    <a:lnTo>
                      <a:pt x="3494" y="147"/>
                    </a:lnTo>
                    <a:lnTo>
                      <a:pt x="3390" y="231"/>
                    </a:lnTo>
                    <a:lnTo>
                      <a:pt x="3390" y="294"/>
                    </a:lnTo>
                    <a:lnTo>
                      <a:pt x="3285" y="357"/>
                    </a:lnTo>
                    <a:lnTo>
                      <a:pt x="3181" y="398"/>
                    </a:lnTo>
                    <a:lnTo>
                      <a:pt x="3139" y="461"/>
                    </a:lnTo>
                    <a:lnTo>
                      <a:pt x="2992" y="503"/>
                    </a:lnTo>
                    <a:lnTo>
                      <a:pt x="2720" y="440"/>
                    </a:lnTo>
                    <a:lnTo>
                      <a:pt x="2469" y="419"/>
                    </a:lnTo>
                    <a:lnTo>
                      <a:pt x="2448" y="503"/>
                    </a:lnTo>
                    <a:lnTo>
                      <a:pt x="2406" y="503"/>
                    </a:lnTo>
                    <a:lnTo>
                      <a:pt x="2260" y="398"/>
                    </a:lnTo>
                    <a:lnTo>
                      <a:pt x="2092" y="398"/>
                    </a:lnTo>
                    <a:lnTo>
                      <a:pt x="1988" y="357"/>
                    </a:lnTo>
                    <a:lnTo>
                      <a:pt x="1820" y="336"/>
                    </a:lnTo>
                    <a:lnTo>
                      <a:pt x="1737" y="398"/>
                    </a:lnTo>
                    <a:lnTo>
                      <a:pt x="1674" y="336"/>
                    </a:lnTo>
                    <a:lnTo>
                      <a:pt x="1569" y="231"/>
                    </a:lnTo>
                    <a:lnTo>
                      <a:pt x="1381" y="210"/>
                    </a:lnTo>
                    <a:lnTo>
                      <a:pt x="1276" y="210"/>
                    </a:lnTo>
                    <a:lnTo>
                      <a:pt x="1276" y="336"/>
                    </a:lnTo>
                    <a:lnTo>
                      <a:pt x="1193" y="398"/>
                    </a:lnTo>
                    <a:lnTo>
                      <a:pt x="1151" y="503"/>
                    </a:lnTo>
                    <a:lnTo>
                      <a:pt x="1067" y="566"/>
                    </a:lnTo>
                    <a:lnTo>
                      <a:pt x="900" y="524"/>
                    </a:lnTo>
                    <a:lnTo>
                      <a:pt x="774" y="545"/>
                    </a:lnTo>
                    <a:lnTo>
                      <a:pt x="712" y="608"/>
                    </a:lnTo>
                    <a:lnTo>
                      <a:pt x="753" y="650"/>
                    </a:lnTo>
                    <a:lnTo>
                      <a:pt x="586" y="775"/>
                    </a:lnTo>
                    <a:lnTo>
                      <a:pt x="586" y="942"/>
                    </a:lnTo>
                    <a:lnTo>
                      <a:pt x="628" y="1047"/>
                    </a:lnTo>
                    <a:lnTo>
                      <a:pt x="628" y="1235"/>
                    </a:lnTo>
                    <a:lnTo>
                      <a:pt x="586" y="1298"/>
                    </a:lnTo>
                    <a:lnTo>
                      <a:pt x="649" y="1445"/>
                    </a:lnTo>
                    <a:lnTo>
                      <a:pt x="670" y="1549"/>
                    </a:lnTo>
                    <a:lnTo>
                      <a:pt x="628" y="1486"/>
                    </a:lnTo>
                    <a:lnTo>
                      <a:pt x="565" y="1403"/>
                    </a:lnTo>
                    <a:lnTo>
                      <a:pt x="523" y="1445"/>
                    </a:lnTo>
                    <a:lnTo>
                      <a:pt x="440" y="1507"/>
                    </a:lnTo>
                    <a:lnTo>
                      <a:pt x="335" y="1570"/>
                    </a:lnTo>
                    <a:lnTo>
                      <a:pt x="314" y="1675"/>
                    </a:lnTo>
                    <a:lnTo>
                      <a:pt x="335" y="1800"/>
                    </a:lnTo>
                    <a:lnTo>
                      <a:pt x="314" y="1905"/>
                    </a:lnTo>
                    <a:lnTo>
                      <a:pt x="335" y="2135"/>
                    </a:lnTo>
                    <a:lnTo>
                      <a:pt x="314" y="2198"/>
                    </a:lnTo>
                    <a:lnTo>
                      <a:pt x="272" y="2303"/>
                    </a:lnTo>
                    <a:lnTo>
                      <a:pt x="188" y="2323"/>
                    </a:lnTo>
                    <a:lnTo>
                      <a:pt x="188" y="2449"/>
                    </a:lnTo>
                    <a:lnTo>
                      <a:pt x="63" y="2554"/>
                    </a:lnTo>
                    <a:lnTo>
                      <a:pt x="42" y="2721"/>
                    </a:lnTo>
                    <a:lnTo>
                      <a:pt x="42" y="2763"/>
                    </a:lnTo>
                    <a:lnTo>
                      <a:pt x="0" y="2826"/>
                    </a:lnTo>
                    <a:lnTo>
                      <a:pt x="63" y="3035"/>
                    </a:lnTo>
                    <a:lnTo>
                      <a:pt x="126" y="3139"/>
                    </a:lnTo>
                    <a:lnTo>
                      <a:pt x="168" y="3119"/>
                    </a:lnTo>
                    <a:lnTo>
                      <a:pt x="251" y="3119"/>
                    </a:lnTo>
                    <a:lnTo>
                      <a:pt x="335" y="3056"/>
                    </a:lnTo>
                    <a:lnTo>
                      <a:pt x="377" y="3077"/>
                    </a:lnTo>
                    <a:lnTo>
                      <a:pt x="419" y="3223"/>
                    </a:lnTo>
                    <a:lnTo>
                      <a:pt x="523" y="3495"/>
                    </a:lnTo>
                    <a:lnTo>
                      <a:pt x="481" y="3558"/>
                    </a:lnTo>
                    <a:lnTo>
                      <a:pt x="440" y="3704"/>
                    </a:lnTo>
                    <a:lnTo>
                      <a:pt x="356" y="3851"/>
                    </a:lnTo>
                    <a:lnTo>
                      <a:pt x="356" y="4081"/>
                    </a:lnTo>
                    <a:lnTo>
                      <a:pt x="356" y="4269"/>
                    </a:lnTo>
                    <a:lnTo>
                      <a:pt x="440" y="4269"/>
                    </a:lnTo>
                    <a:lnTo>
                      <a:pt x="523" y="4311"/>
                    </a:lnTo>
                    <a:lnTo>
                      <a:pt x="628" y="4311"/>
                    </a:lnTo>
                    <a:lnTo>
                      <a:pt x="670" y="4269"/>
                    </a:lnTo>
                    <a:lnTo>
                      <a:pt x="774" y="4290"/>
                    </a:lnTo>
                    <a:lnTo>
                      <a:pt x="879" y="4269"/>
                    </a:lnTo>
                    <a:lnTo>
                      <a:pt x="963" y="4311"/>
                    </a:lnTo>
                    <a:lnTo>
                      <a:pt x="984" y="4227"/>
                    </a:lnTo>
                    <a:lnTo>
                      <a:pt x="963" y="4102"/>
                    </a:lnTo>
                    <a:lnTo>
                      <a:pt x="879" y="4060"/>
                    </a:lnTo>
                    <a:lnTo>
                      <a:pt x="858" y="3914"/>
                    </a:lnTo>
                    <a:lnTo>
                      <a:pt x="942" y="3809"/>
                    </a:lnTo>
                    <a:lnTo>
                      <a:pt x="963" y="3600"/>
                    </a:lnTo>
                    <a:lnTo>
                      <a:pt x="942" y="3432"/>
                    </a:lnTo>
                    <a:lnTo>
                      <a:pt x="879" y="3391"/>
                    </a:lnTo>
                    <a:lnTo>
                      <a:pt x="1004" y="3223"/>
                    </a:lnTo>
                    <a:lnTo>
                      <a:pt x="1046" y="3056"/>
                    </a:lnTo>
                    <a:lnTo>
                      <a:pt x="1004" y="2909"/>
                    </a:lnTo>
                    <a:lnTo>
                      <a:pt x="942" y="2826"/>
                    </a:lnTo>
                    <a:lnTo>
                      <a:pt x="942" y="2763"/>
                    </a:lnTo>
                    <a:lnTo>
                      <a:pt x="1067" y="2700"/>
                    </a:lnTo>
                    <a:lnTo>
                      <a:pt x="1088" y="2616"/>
                    </a:lnTo>
                    <a:lnTo>
                      <a:pt x="1214" y="2595"/>
                    </a:lnTo>
                    <a:lnTo>
                      <a:pt x="1318" y="2637"/>
                    </a:lnTo>
                    <a:lnTo>
                      <a:pt x="1318" y="2700"/>
                    </a:lnTo>
                    <a:lnTo>
                      <a:pt x="1381" y="2763"/>
                    </a:lnTo>
                    <a:lnTo>
                      <a:pt x="1381" y="2909"/>
                    </a:lnTo>
                    <a:lnTo>
                      <a:pt x="1276" y="3014"/>
                    </a:lnTo>
                    <a:lnTo>
                      <a:pt x="1276" y="3119"/>
                    </a:lnTo>
                    <a:lnTo>
                      <a:pt x="1318" y="3223"/>
                    </a:lnTo>
                    <a:lnTo>
                      <a:pt x="1402" y="3244"/>
                    </a:lnTo>
                    <a:lnTo>
                      <a:pt x="1486" y="3328"/>
                    </a:lnTo>
                    <a:lnTo>
                      <a:pt x="1611" y="3391"/>
                    </a:lnTo>
                    <a:lnTo>
                      <a:pt x="1632" y="3495"/>
                    </a:lnTo>
                    <a:lnTo>
                      <a:pt x="1590" y="3495"/>
                    </a:lnTo>
                    <a:lnTo>
                      <a:pt x="1569" y="3704"/>
                    </a:lnTo>
                    <a:lnTo>
                      <a:pt x="1590" y="3851"/>
                    </a:lnTo>
                    <a:lnTo>
                      <a:pt x="1674" y="3872"/>
                    </a:lnTo>
                    <a:lnTo>
                      <a:pt x="1737" y="3851"/>
                    </a:lnTo>
                    <a:lnTo>
                      <a:pt x="1883" y="3893"/>
                    </a:lnTo>
                    <a:lnTo>
                      <a:pt x="1946" y="3872"/>
                    </a:lnTo>
                    <a:lnTo>
                      <a:pt x="1946" y="3851"/>
                    </a:lnTo>
                    <a:lnTo>
                      <a:pt x="1925" y="3746"/>
                    </a:lnTo>
                    <a:lnTo>
                      <a:pt x="2030" y="3663"/>
                    </a:lnTo>
                    <a:lnTo>
                      <a:pt x="2113" y="3642"/>
                    </a:lnTo>
                    <a:lnTo>
                      <a:pt x="2260" y="3558"/>
                    </a:lnTo>
                    <a:lnTo>
                      <a:pt x="2427" y="3579"/>
                    </a:lnTo>
                    <a:lnTo>
                      <a:pt x="2511" y="3495"/>
                    </a:lnTo>
                    <a:lnTo>
                      <a:pt x="2532" y="3537"/>
                    </a:lnTo>
                    <a:lnTo>
                      <a:pt x="2616" y="3537"/>
                    </a:lnTo>
                    <a:lnTo>
                      <a:pt x="2657" y="3453"/>
                    </a:lnTo>
                    <a:lnTo>
                      <a:pt x="2657" y="3391"/>
                    </a:lnTo>
                    <a:lnTo>
                      <a:pt x="2511" y="3370"/>
                    </a:lnTo>
                    <a:lnTo>
                      <a:pt x="2448" y="3391"/>
                    </a:lnTo>
                    <a:lnTo>
                      <a:pt x="2281" y="3391"/>
                    </a:lnTo>
                    <a:lnTo>
                      <a:pt x="2281" y="3328"/>
                    </a:lnTo>
                    <a:lnTo>
                      <a:pt x="2239" y="3328"/>
                    </a:lnTo>
                    <a:lnTo>
                      <a:pt x="2239" y="3244"/>
                    </a:lnTo>
                    <a:lnTo>
                      <a:pt x="2197" y="3244"/>
                    </a:lnTo>
                    <a:lnTo>
                      <a:pt x="2134" y="3265"/>
                    </a:lnTo>
                    <a:lnTo>
                      <a:pt x="2134" y="3223"/>
                    </a:lnTo>
                    <a:lnTo>
                      <a:pt x="2030" y="3181"/>
                    </a:lnTo>
                    <a:lnTo>
                      <a:pt x="2009" y="3119"/>
                    </a:lnTo>
                    <a:lnTo>
                      <a:pt x="2051" y="3035"/>
                    </a:lnTo>
                    <a:lnTo>
                      <a:pt x="2092" y="2972"/>
                    </a:lnTo>
                    <a:lnTo>
                      <a:pt x="2134" y="3014"/>
                    </a:lnTo>
                    <a:lnTo>
                      <a:pt x="2134" y="3014"/>
                    </a:lnTo>
                    <a:lnTo>
                      <a:pt x="2113" y="2930"/>
                    </a:lnTo>
                    <a:lnTo>
                      <a:pt x="2155" y="2930"/>
                    </a:lnTo>
                    <a:lnTo>
                      <a:pt x="2197" y="2867"/>
                    </a:lnTo>
                    <a:lnTo>
                      <a:pt x="2134" y="2826"/>
                    </a:lnTo>
                    <a:lnTo>
                      <a:pt x="2051" y="2805"/>
                    </a:lnTo>
                    <a:lnTo>
                      <a:pt x="2092" y="2742"/>
                    </a:lnTo>
                    <a:lnTo>
                      <a:pt x="2051" y="2658"/>
                    </a:lnTo>
                    <a:lnTo>
                      <a:pt x="1988" y="2616"/>
                    </a:lnTo>
                    <a:lnTo>
                      <a:pt x="1904" y="2616"/>
                    </a:lnTo>
                    <a:lnTo>
                      <a:pt x="1883" y="2491"/>
                    </a:lnTo>
                    <a:lnTo>
                      <a:pt x="1716" y="2323"/>
                    </a:lnTo>
                    <a:lnTo>
                      <a:pt x="1611" y="2240"/>
                    </a:lnTo>
                    <a:lnTo>
                      <a:pt x="1569" y="2135"/>
                    </a:lnTo>
                    <a:lnTo>
                      <a:pt x="1569" y="2093"/>
                    </a:lnTo>
                    <a:lnTo>
                      <a:pt x="1611" y="2093"/>
                    </a:lnTo>
                    <a:lnTo>
                      <a:pt x="1632" y="2177"/>
                    </a:lnTo>
                    <a:lnTo>
                      <a:pt x="1737" y="2177"/>
                    </a:lnTo>
                    <a:lnTo>
                      <a:pt x="1841" y="2093"/>
                    </a:lnTo>
                    <a:lnTo>
                      <a:pt x="1883" y="2010"/>
                    </a:lnTo>
                    <a:lnTo>
                      <a:pt x="2092" y="1926"/>
                    </a:lnTo>
                    <a:lnTo>
                      <a:pt x="2260" y="1800"/>
                    </a:lnTo>
                    <a:lnTo>
                      <a:pt x="2344" y="1675"/>
                    </a:lnTo>
                    <a:lnTo>
                      <a:pt x="2448" y="1612"/>
                    </a:lnTo>
                    <a:lnTo>
                      <a:pt x="2448" y="1549"/>
                    </a:lnTo>
                    <a:lnTo>
                      <a:pt x="2574" y="1507"/>
                    </a:lnTo>
                    <a:lnTo>
                      <a:pt x="2678" y="1570"/>
                    </a:lnTo>
                    <a:lnTo>
                      <a:pt x="2762" y="1591"/>
                    </a:lnTo>
                    <a:lnTo>
                      <a:pt x="2867" y="1445"/>
                    </a:lnTo>
                    <a:lnTo>
                      <a:pt x="2867" y="1361"/>
                    </a:lnTo>
                    <a:lnTo>
                      <a:pt x="2741" y="1298"/>
                    </a:lnTo>
                    <a:lnTo>
                      <a:pt x="2469" y="1340"/>
                    </a:lnTo>
                    <a:lnTo>
                      <a:pt x="2364" y="1403"/>
                    </a:lnTo>
                    <a:lnTo>
                      <a:pt x="2197" y="1403"/>
                    </a:lnTo>
                    <a:lnTo>
                      <a:pt x="2113" y="1445"/>
                    </a:lnTo>
                    <a:lnTo>
                      <a:pt x="2009" y="1549"/>
                    </a:lnTo>
                    <a:lnTo>
                      <a:pt x="1820" y="1549"/>
                    </a:lnTo>
                    <a:lnTo>
                      <a:pt x="1716" y="1486"/>
                    </a:lnTo>
                    <a:lnTo>
                      <a:pt x="1611" y="1466"/>
                    </a:lnTo>
                    <a:lnTo>
                      <a:pt x="1507" y="1591"/>
                    </a:lnTo>
                    <a:lnTo>
                      <a:pt x="1423" y="1800"/>
                    </a:lnTo>
                    <a:lnTo>
                      <a:pt x="1297" y="1863"/>
                    </a:lnTo>
                    <a:lnTo>
                      <a:pt x="1193" y="1821"/>
                    </a:lnTo>
                    <a:lnTo>
                      <a:pt x="1172" y="1779"/>
                    </a:lnTo>
                    <a:lnTo>
                      <a:pt x="1004" y="1612"/>
                    </a:lnTo>
                    <a:lnTo>
                      <a:pt x="858" y="1486"/>
                    </a:lnTo>
                    <a:lnTo>
                      <a:pt x="774" y="1277"/>
                    </a:lnTo>
                    <a:lnTo>
                      <a:pt x="795" y="1047"/>
                    </a:lnTo>
                    <a:lnTo>
                      <a:pt x="879" y="838"/>
                    </a:lnTo>
                    <a:lnTo>
                      <a:pt x="984" y="733"/>
                    </a:lnTo>
                    <a:lnTo>
                      <a:pt x="1109" y="670"/>
                    </a:lnTo>
                    <a:lnTo>
                      <a:pt x="1276" y="754"/>
                    </a:lnTo>
                    <a:lnTo>
                      <a:pt x="1465" y="775"/>
                    </a:lnTo>
                    <a:lnTo>
                      <a:pt x="1674" y="670"/>
                    </a:lnTo>
                    <a:lnTo>
                      <a:pt x="1820" y="670"/>
                    </a:lnTo>
                    <a:lnTo>
                      <a:pt x="1883" y="754"/>
                    </a:lnTo>
                    <a:lnTo>
                      <a:pt x="1988" y="754"/>
                    </a:lnTo>
                    <a:lnTo>
                      <a:pt x="2051" y="712"/>
                    </a:lnTo>
                    <a:lnTo>
                      <a:pt x="2281" y="733"/>
                    </a:lnTo>
                    <a:lnTo>
                      <a:pt x="2427" y="733"/>
                    </a:lnTo>
                    <a:lnTo>
                      <a:pt x="2448" y="712"/>
                    </a:lnTo>
                    <a:lnTo>
                      <a:pt x="2574" y="712"/>
                    </a:lnTo>
                    <a:lnTo>
                      <a:pt x="2678" y="754"/>
                    </a:lnTo>
                    <a:lnTo>
                      <a:pt x="2720" y="817"/>
                    </a:lnTo>
                    <a:lnTo>
                      <a:pt x="2825" y="859"/>
                    </a:lnTo>
                    <a:lnTo>
                      <a:pt x="3264" y="754"/>
                    </a:lnTo>
                    <a:lnTo>
                      <a:pt x="3453" y="629"/>
                    </a:lnTo>
                    <a:lnTo>
                      <a:pt x="3494" y="524"/>
                    </a:lnTo>
                    <a:lnTo>
                      <a:pt x="3578" y="524"/>
                    </a:lnTo>
                    <a:lnTo>
                      <a:pt x="3620" y="440"/>
                    </a:lnTo>
                    <a:lnTo>
                      <a:pt x="3704" y="398"/>
                    </a:lnTo>
                    <a:lnTo>
                      <a:pt x="3766" y="294"/>
                    </a:lnTo>
                    <a:lnTo>
                      <a:pt x="3808" y="210"/>
                    </a:lnTo>
                    <a:lnTo>
                      <a:pt x="3871" y="147"/>
                    </a:lnTo>
                    <a:lnTo>
                      <a:pt x="3808" y="106"/>
                    </a:lnTo>
                    <a:lnTo>
                      <a:pt x="3787" y="43"/>
                    </a:lnTo>
                    <a:lnTo>
                      <a:pt x="362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 name="Google Shape;5924;p93">
                <a:extLst>
                  <a:ext uri="{FF2B5EF4-FFF2-40B4-BE49-F238E27FC236}">
                    <a16:creationId xmlns:a16="http://schemas.microsoft.com/office/drawing/2014/main" id="{F4F2E1D4-4C8B-4EB7-B847-1DE9BB93A1C8}"/>
                  </a:ext>
                </a:extLst>
              </p:cNvPr>
              <p:cNvSpPr/>
              <p:nvPr/>
            </p:nvSpPr>
            <p:spPr>
              <a:xfrm>
                <a:off x="5587700" y="3253200"/>
                <a:ext cx="145450" cy="131325"/>
              </a:xfrm>
              <a:custGeom>
                <a:avLst/>
                <a:gdLst/>
                <a:ahLst/>
                <a:cxnLst/>
                <a:rect l="l" t="t" r="r" b="b"/>
                <a:pathLst>
                  <a:path w="5818" h="5253" extrusionOk="0">
                    <a:moveTo>
                      <a:pt x="922" y="1"/>
                    </a:moveTo>
                    <a:lnTo>
                      <a:pt x="775" y="22"/>
                    </a:lnTo>
                    <a:lnTo>
                      <a:pt x="712" y="84"/>
                    </a:lnTo>
                    <a:lnTo>
                      <a:pt x="566" y="189"/>
                    </a:lnTo>
                    <a:lnTo>
                      <a:pt x="482" y="210"/>
                    </a:lnTo>
                    <a:lnTo>
                      <a:pt x="398" y="294"/>
                    </a:lnTo>
                    <a:lnTo>
                      <a:pt x="252" y="294"/>
                    </a:lnTo>
                    <a:lnTo>
                      <a:pt x="147" y="356"/>
                    </a:lnTo>
                    <a:lnTo>
                      <a:pt x="189" y="440"/>
                    </a:lnTo>
                    <a:lnTo>
                      <a:pt x="168" y="524"/>
                    </a:lnTo>
                    <a:lnTo>
                      <a:pt x="43" y="608"/>
                    </a:lnTo>
                    <a:lnTo>
                      <a:pt x="1" y="670"/>
                    </a:lnTo>
                    <a:lnTo>
                      <a:pt x="147" y="712"/>
                    </a:lnTo>
                    <a:lnTo>
                      <a:pt x="252" y="649"/>
                    </a:lnTo>
                    <a:lnTo>
                      <a:pt x="273" y="608"/>
                    </a:lnTo>
                    <a:lnTo>
                      <a:pt x="315" y="670"/>
                    </a:lnTo>
                    <a:lnTo>
                      <a:pt x="503" y="754"/>
                    </a:lnTo>
                    <a:lnTo>
                      <a:pt x="566" y="859"/>
                    </a:lnTo>
                    <a:lnTo>
                      <a:pt x="524" y="921"/>
                    </a:lnTo>
                    <a:lnTo>
                      <a:pt x="566" y="1047"/>
                    </a:lnTo>
                    <a:lnTo>
                      <a:pt x="691" y="1131"/>
                    </a:lnTo>
                    <a:lnTo>
                      <a:pt x="796" y="1152"/>
                    </a:lnTo>
                    <a:lnTo>
                      <a:pt x="901" y="1131"/>
                    </a:lnTo>
                    <a:lnTo>
                      <a:pt x="984" y="1172"/>
                    </a:lnTo>
                    <a:lnTo>
                      <a:pt x="1026" y="1131"/>
                    </a:lnTo>
                    <a:lnTo>
                      <a:pt x="1110" y="1152"/>
                    </a:lnTo>
                    <a:lnTo>
                      <a:pt x="1298" y="1131"/>
                    </a:lnTo>
                    <a:lnTo>
                      <a:pt x="1340" y="1152"/>
                    </a:lnTo>
                    <a:lnTo>
                      <a:pt x="1424" y="1131"/>
                    </a:lnTo>
                    <a:lnTo>
                      <a:pt x="1361" y="1068"/>
                    </a:lnTo>
                    <a:lnTo>
                      <a:pt x="1654" y="1089"/>
                    </a:lnTo>
                    <a:lnTo>
                      <a:pt x="1717" y="1172"/>
                    </a:lnTo>
                    <a:lnTo>
                      <a:pt x="1675" y="1298"/>
                    </a:lnTo>
                    <a:lnTo>
                      <a:pt x="1633" y="1277"/>
                    </a:lnTo>
                    <a:lnTo>
                      <a:pt x="1549" y="1361"/>
                    </a:lnTo>
                    <a:lnTo>
                      <a:pt x="1507" y="1465"/>
                    </a:lnTo>
                    <a:lnTo>
                      <a:pt x="1445" y="1361"/>
                    </a:lnTo>
                    <a:lnTo>
                      <a:pt x="1256" y="1277"/>
                    </a:lnTo>
                    <a:lnTo>
                      <a:pt x="1194" y="1298"/>
                    </a:lnTo>
                    <a:lnTo>
                      <a:pt x="1131" y="1465"/>
                    </a:lnTo>
                    <a:lnTo>
                      <a:pt x="1026" y="1507"/>
                    </a:lnTo>
                    <a:lnTo>
                      <a:pt x="922" y="1465"/>
                    </a:lnTo>
                    <a:lnTo>
                      <a:pt x="817" y="1465"/>
                    </a:lnTo>
                    <a:lnTo>
                      <a:pt x="775" y="1403"/>
                    </a:lnTo>
                    <a:lnTo>
                      <a:pt x="629" y="1444"/>
                    </a:lnTo>
                    <a:lnTo>
                      <a:pt x="566" y="1507"/>
                    </a:lnTo>
                    <a:lnTo>
                      <a:pt x="608" y="1570"/>
                    </a:lnTo>
                    <a:lnTo>
                      <a:pt x="733" y="1591"/>
                    </a:lnTo>
                    <a:lnTo>
                      <a:pt x="838" y="1654"/>
                    </a:lnTo>
                    <a:lnTo>
                      <a:pt x="901" y="1779"/>
                    </a:lnTo>
                    <a:lnTo>
                      <a:pt x="942" y="1821"/>
                    </a:lnTo>
                    <a:lnTo>
                      <a:pt x="1005" y="1800"/>
                    </a:lnTo>
                    <a:lnTo>
                      <a:pt x="1026" y="1884"/>
                    </a:lnTo>
                    <a:lnTo>
                      <a:pt x="1026" y="1968"/>
                    </a:lnTo>
                    <a:lnTo>
                      <a:pt x="984" y="1988"/>
                    </a:lnTo>
                    <a:lnTo>
                      <a:pt x="942" y="2072"/>
                    </a:lnTo>
                    <a:lnTo>
                      <a:pt x="1047" y="2240"/>
                    </a:lnTo>
                    <a:lnTo>
                      <a:pt x="1152" y="2281"/>
                    </a:lnTo>
                    <a:lnTo>
                      <a:pt x="1256" y="2240"/>
                    </a:lnTo>
                    <a:lnTo>
                      <a:pt x="1403" y="2114"/>
                    </a:lnTo>
                    <a:lnTo>
                      <a:pt x="1361" y="2009"/>
                    </a:lnTo>
                    <a:lnTo>
                      <a:pt x="1466" y="1863"/>
                    </a:lnTo>
                    <a:lnTo>
                      <a:pt x="1507" y="1821"/>
                    </a:lnTo>
                    <a:lnTo>
                      <a:pt x="1528" y="1758"/>
                    </a:lnTo>
                    <a:lnTo>
                      <a:pt x="1570" y="1612"/>
                    </a:lnTo>
                    <a:lnTo>
                      <a:pt x="1633" y="1507"/>
                    </a:lnTo>
                    <a:lnTo>
                      <a:pt x="1633" y="1654"/>
                    </a:lnTo>
                    <a:lnTo>
                      <a:pt x="1549" y="1716"/>
                    </a:lnTo>
                    <a:lnTo>
                      <a:pt x="1612" y="1863"/>
                    </a:lnTo>
                    <a:lnTo>
                      <a:pt x="1654" y="1988"/>
                    </a:lnTo>
                    <a:lnTo>
                      <a:pt x="1717" y="2072"/>
                    </a:lnTo>
                    <a:lnTo>
                      <a:pt x="1738" y="2009"/>
                    </a:lnTo>
                    <a:lnTo>
                      <a:pt x="1779" y="2009"/>
                    </a:lnTo>
                    <a:lnTo>
                      <a:pt x="1842" y="2030"/>
                    </a:lnTo>
                    <a:lnTo>
                      <a:pt x="1842" y="2135"/>
                    </a:lnTo>
                    <a:lnTo>
                      <a:pt x="1884" y="2093"/>
                    </a:lnTo>
                    <a:lnTo>
                      <a:pt x="1947" y="2093"/>
                    </a:lnTo>
                    <a:lnTo>
                      <a:pt x="1968" y="2135"/>
                    </a:lnTo>
                    <a:lnTo>
                      <a:pt x="2051" y="2177"/>
                    </a:lnTo>
                    <a:lnTo>
                      <a:pt x="2156" y="2135"/>
                    </a:lnTo>
                    <a:lnTo>
                      <a:pt x="2240" y="2135"/>
                    </a:lnTo>
                    <a:lnTo>
                      <a:pt x="2240" y="2177"/>
                    </a:lnTo>
                    <a:lnTo>
                      <a:pt x="2093" y="2177"/>
                    </a:lnTo>
                    <a:lnTo>
                      <a:pt x="2093" y="2281"/>
                    </a:lnTo>
                    <a:lnTo>
                      <a:pt x="2240" y="2302"/>
                    </a:lnTo>
                    <a:lnTo>
                      <a:pt x="2240" y="2323"/>
                    </a:lnTo>
                    <a:lnTo>
                      <a:pt x="2261" y="2386"/>
                    </a:lnTo>
                    <a:lnTo>
                      <a:pt x="2407" y="2449"/>
                    </a:lnTo>
                    <a:lnTo>
                      <a:pt x="2575" y="2449"/>
                    </a:lnTo>
                    <a:lnTo>
                      <a:pt x="2930" y="2553"/>
                    </a:lnTo>
                    <a:lnTo>
                      <a:pt x="3286" y="2658"/>
                    </a:lnTo>
                    <a:lnTo>
                      <a:pt x="3391" y="2658"/>
                    </a:lnTo>
                    <a:lnTo>
                      <a:pt x="3537" y="2721"/>
                    </a:lnTo>
                    <a:lnTo>
                      <a:pt x="3558" y="2825"/>
                    </a:lnTo>
                    <a:lnTo>
                      <a:pt x="3725" y="2867"/>
                    </a:lnTo>
                    <a:lnTo>
                      <a:pt x="3830" y="2867"/>
                    </a:lnTo>
                    <a:lnTo>
                      <a:pt x="3914" y="2825"/>
                    </a:lnTo>
                    <a:lnTo>
                      <a:pt x="3914" y="2825"/>
                    </a:lnTo>
                    <a:lnTo>
                      <a:pt x="3830" y="2951"/>
                    </a:lnTo>
                    <a:lnTo>
                      <a:pt x="3851" y="2972"/>
                    </a:lnTo>
                    <a:lnTo>
                      <a:pt x="3935" y="2951"/>
                    </a:lnTo>
                    <a:lnTo>
                      <a:pt x="3955" y="3014"/>
                    </a:lnTo>
                    <a:lnTo>
                      <a:pt x="4081" y="2972"/>
                    </a:lnTo>
                    <a:lnTo>
                      <a:pt x="4018" y="3035"/>
                    </a:lnTo>
                    <a:lnTo>
                      <a:pt x="4060" y="3076"/>
                    </a:lnTo>
                    <a:lnTo>
                      <a:pt x="4039" y="3139"/>
                    </a:lnTo>
                    <a:lnTo>
                      <a:pt x="4081" y="3181"/>
                    </a:lnTo>
                    <a:lnTo>
                      <a:pt x="4186" y="3160"/>
                    </a:lnTo>
                    <a:lnTo>
                      <a:pt x="4081" y="3265"/>
                    </a:lnTo>
                    <a:lnTo>
                      <a:pt x="4081" y="3328"/>
                    </a:lnTo>
                    <a:lnTo>
                      <a:pt x="4227" y="3453"/>
                    </a:lnTo>
                    <a:lnTo>
                      <a:pt x="4186" y="3558"/>
                    </a:lnTo>
                    <a:lnTo>
                      <a:pt x="4227" y="3641"/>
                    </a:lnTo>
                    <a:lnTo>
                      <a:pt x="4332" y="3704"/>
                    </a:lnTo>
                    <a:lnTo>
                      <a:pt x="4479" y="3809"/>
                    </a:lnTo>
                    <a:lnTo>
                      <a:pt x="4499" y="3872"/>
                    </a:lnTo>
                    <a:lnTo>
                      <a:pt x="4374" y="3872"/>
                    </a:lnTo>
                    <a:lnTo>
                      <a:pt x="4353" y="3955"/>
                    </a:lnTo>
                    <a:lnTo>
                      <a:pt x="4437" y="4018"/>
                    </a:lnTo>
                    <a:lnTo>
                      <a:pt x="4541" y="4081"/>
                    </a:lnTo>
                    <a:lnTo>
                      <a:pt x="4667" y="4060"/>
                    </a:lnTo>
                    <a:lnTo>
                      <a:pt x="4751" y="4081"/>
                    </a:lnTo>
                    <a:lnTo>
                      <a:pt x="4688" y="4081"/>
                    </a:lnTo>
                    <a:lnTo>
                      <a:pt x="4562" y="4123"/>
                    </a:lnTo>
                    <a:lnTo>
                      <a:pt x="4499" y="4102"/>
                    </a:lnTo>
                    <a:lnTo>
                      <a:pt x="4458" y="4123"/>
                    </a:lnTo>
                    <a:lnTo>
                      <a:pt x="4499" y="4206"/>
                    </a:lnTo>
                    <a:lnTo>
                      <a:pt x="4583" y="4227"/>
                    </a:lnTo>
                    <a:lnTo>
                      <a:pt x="4562" y="4395"/>
                    </a:lnTo>
                    <a:lnTo>
                      <a:pt x="4541" y="4416"/>
                    </a:lnTo>
                    <a:lnTo>
                      <a:pt x="4541" y="4499"/>
                    </a:lnTo>
                    <a:lnTo>
                      <a:pt x="4499" y="4583"/>
                    </a:lnTo>
                    <a:lnTo>
                      <a:pt x="4458" y="4604"/>
                    </a:lnTo>
                    <a:lnTo>
                      <a:pt x="4541" y="4709"/>
                    </a:lnTo>
                    <a:lnTo>
                      <a:pt x="4667" y="4625"/>
                    </a:lnTo>
                    <a:lnTo>
                      <a:pt x="4709" y="4688"/>
                    </a:lnTo>
                    <a:lnTo>
                      <a:pt x="4792" y="4688"/>
                    </a:lnTo>
                    <a:lnTo>
                      <a:pt x="4897" y="4625"/>
                    </a:lnTo>
                    <a:lnTo>
                      <a:pt x="5064" y="4625"/>
                    </a:lnTo>
                    <a:lnTo>
                      <a:pt x="5127" y="4583"/>
                    </a:lnTo>
                    <a:lnTo>
                      <a:pt x="5169" y="4478"/>
                    </a:lnTo>
                    <a:lnTo>
                      <a:pt x="5169" y="4583"/>
                    </a:lnTo>
                    <a:lnTo>
                      <a:pt x="5106" y="4688"/>
                    </a:lnTo>
                    <a:lnTo>
                      <a:pt x="5127" y="4750"/>
                    </a:lnTo>
                    <a:lnTo>
                      <a:pt x="5190" y="4792"/>
                    </a:lnTo>
                    <a:lnTo>
                      <a:pt x="5316" y="4897"/>
                    </a:lnTo>
                    <a:lnTo>
                      <a:pt x="5295" y="4939"/>
                    </a:lnTo>
                    <a:lnTo>
                      <a:pt x="5336" y="5022"/>
                    </a:lnTo>
                    <a:lnTo>
                      <a:pt x="5504" y="5211"/>
                    </a:lnTo>
                    <a:lnTo>
                      <a:pt x="5629" y="5232"/>
                    </a:lnTo>
                    <a:lnTo>
                      <a:pt x="5692" y="5253"/>
                    </a:lnTo>
                    <a:lnTo>
                      <a:pt x="5713" y="3851"/>
                    </a:lnTo>
                    <a:lnTo>
                      <a:pt x="5713" y="3788"/>
                    </a:lnTo>
                    <a:lnTo>
                      <a:pt x="5713" y="3704"/>
                    </a:lnTo>
                    <a:lnTo>
                      <a:pt x="5734" y="3537"/>
                    </a:lnTo>
                    <a:lnTo>
                      <a:pt x="5818" y="1382"/>
                    </a:lnTo>
                    <a:lnTo>
                      <a:pt x="5713" y="1403"/>
                    </a:lnTo>
                    <a:lnTo>
                      <a:pt x="5629" y="1382"/>
                    </a:lnTo>
                    <a:lnTo>
                      <a:pt x="5629" y="1298"/>
                    </a:lnTo>
                    <a:lnTo>
                      <a:pt x="5650" y="1256"/>
                    </a:lnTo>
                    <a:lnTo>
                      <a:pt x="5546" y="1193"/>
                    </a:lnTo>
                    <a:lnTo>
                      <a:pt x="5441" y="1193"/>
                    </a:lnTo>
                    <a:lnTo>
                      <a:pt x="5316" y="1172"/>
                    </a:lnTo>
                    <a:lnTo>
                      <a:pt x="5232" y="1152"/>
                    </a:lnTo>
                    <a:lnTo>
                      <a:pt x="5169" y="1172"/>
                    </a:lnTo>
                    <a:lnTo>
                      <a:pt x="4813" y="1026"/>
                    </a:lnTo>
                    <a:lnTo>
                      <a:pt x="4667" y="984"/>
                    </a:lnTo>
                    <a:lnTo>
                      <a:pt x="4562" y="963"/>
                    </a:lnTo>
                    <a:lnTo>
                      <a:pt x="4458" y="880"/>
                    </a:lnTo>
                    <a:lnTo>
                      <a:pt x="4248" y="838"/>
                    </a:lnTo>
                    <a:lnTo>
                      <a:pt x="4060" y="754"/>
                    </a:lnTo>
                    <a:lnTo>
                      <a:pt x="3976" y="670"/>
                    </a:lnTo>
                    <a:lnTo>
                      <a:pt x="3830" y="649"/>
                    </a:lnTo>
                    <a:lnTo>
                      <a:pt x="3537" y="838"/>
                    </a:lnTo>
                    <a:lnTo>
                      <a:pt x="3537" y="880"/>
                    </a:lnTo>
                    <a:lnTo>
                      <a:pt x="3600" y="984"/>
                    </a:lnTo>
                    <a:lnTo>
                      <a:pt x="3558" y="1068"/>
                    </a:lnTo>
                    <a:lnTo>
                      <a:pt x="3391" y="1089"/>
                    </a:lnTo>
                    <a:lnTo>
                      <a:pt x="3286" y="1131"/>
                    </a:lnTo>
                    <a:lnTo>
                      <a:pt x="3223" y="1131"/>
                    </a:lnTo>
                    <a:lnTo>
                      <a:pt x="3181" y="1089"/>
                    </a:lnTo>
                    <a:lnTo>
                      <a:pt x="3119" y="1172"/>
                    </a:lnTo>
                    <a:lnTo>
                      <a:pt x="3119" y="1277"/>
                    </a:lnTo>
                    <a:lnTo>
                      <a:pt x="2993" y="1340"/>
                    </a:lnTo>
                    <a:lnTo>
                      <a:pt x="2888" y="1361"/>
                    </a:lnTo>
                    <a:lnTo>
                      <a:pt x="2805" y="1465"/>
                    </a:lnTo>
                    <a:lnTo>
                      <a:pt x="2805" y="1612"/>
                    </a:lnTo>
                    <a:lnTo>
                      <a:pt x="2763" y="1654"/>
                    </a:lnTo>
                    <a:lnTo>
                      <a:pt x="2700" y="1696"/>
                    </a:lnTo>
                    <a:lnTo>
                      <a:pt x="2658" y="1800"/>
                    </a:lnTo>
                    <a:lnTo>
                      <a:pt x="2554" y="1821"/>
                    </a:lnTo>
                    <a:lnTo>
                      <a:pt x="2449" y="1821"/>
                    </a:lnTo>
                    <a:lnTo>
                      <a:pt x="2386" y="1779"/>
                    </a:lnTo>
                    <a:lnTo>
                      <a:pt x="2261" y="1675"/>
                    </a:lnTo>
                    <a:lnTo>
                      <a:pt x="2240" y="1570"/>
                    </a:lnTo>
                    <a:lnTo>
                      <a:pt x="2177" y="1591"/>
                    </a:lnTo>
                    <a:lnTo>
                      <a:pt x="2156" y="1465"/>
                    </a:lnTo>
                    <a:lnTo>
                      <a:pt x="2156" y="1361"/>
                    </a:lnTo>
                    <a:lnTo>
                      <a:pt x="2072" y="1298"/>
                    </a:lnTo>
                    <a:lnTo>
                      <a:pt x="2031" y="1382"/>
                    </a:lnTo>
                    <a:lnTo>
                      <a:pt x="2051" y="1507"/>
                    </a:lnTo>
                    <a:lnTo>
                      <a:pt x="1989" y="1507"/>
                    </a:lnTo>
                    <a:lnTo>
                      <a:pt x="1926" y="1444"/>
                    </a:lnTo>
                    <a:lnTo>
                      <a:pt x="1863" y="1298"/>
                    </a:lnTo>
                    <a:lnTo>
                      <a:pt x="1842" y="1047"/>
                    </a:lnTo>
                    <a:lnTo>
                      <a:pt x="1821" y="880"/>
                    </a:lnTo>
                    <a:lnTo>
                      <a:pt x="1863" y="775"/>
                    </a:lnTo>
                    <a:lnTo>
                      <a:pt x="1947" y="670"/>
                    </a:lnTo>
                    <a:lnTo>
                      <a:pt x="1884" y="566"/>
                    </a:lnTo>
                    <a:lnTo>
                      <a:pt x="1821" y="503"/>
                    </a:lnTo>
                    <a:lnTo>
                      <a:pt x="1821" y="335"/>
                    </a:lnTo>
                    <a:lnTo>
                      <a:pt x="1842" y="294"/>
                    </a:lnTo>
                    <a:lnTo>
                      <a:pt x="1779" y="231"/>
                    </a:lnTo>
                    <a:lnTo>
                      <a:pt x="1612" y="210"/>
                    </a:lnTo>
                    <a:lnTo>
                      <a:pt x="1424" y="231"/>
                    </a:lnTo>
                    <a:lnTo>
                      <a:pt x="1235" y="105"/>
                    </a:lnTo>
                    <a:lnTo>
                      <a:pt x="92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 name="Google Shape;5925;p93">
                <a:extLst>
                  <a:ext uri="{FF2B5EF4-FFF2-40B4-BE49-F238E27FC236}">
                    <a16:creationId xmlns:a16="http://schemas.microsoft.com/office/drawing/2014/main" id="{38F7169B-2B59-4E5C-B8D7-2A25C70CDB59}"/>
                  </a:ext>
                </a:extLst>
              </p:cNvPr>
              <p:cNvSpPr/>
              <p:nvPr/>
            </p:nvSpPr>
            <p:spPr>
              <a:xfrm>
                <a:off x="5268100" y="3181025"/>
                <a:ext cx="143350" cy="129750"/>
              </a:xfrm>
              <a:custGeom>
                <a:avLst/>
                <a:gdLst/>
                <a:ahLst/>
                <a:cxnLst/>
                <a:rect l="l" t="t" r="r" b="b"/>
                <a:pathLst>
                  <a:path w="5734" h="5190" extrusionOk="0">
                    <a:moveTo>
                      <a:pt x="4060" y="0"/>
                    </a:moveTo>
                    <a:lnTo>
                      <a:pt x="3955" y="147"/>
                    </a:lnTo>
                    <a:lnTo>
                      <a:pt x="3955" y="209"/>
                    </a:lnTo>
                    <a:lnTo>
                      <a:pt x="3892" y="314"/>
                    </a:lnTo>
                    <a:lnTo>
                      <a:pt x="3892" y="398"/>
                    </a:lnTo>
                    <a:lnTo>
                      <a:pt x="3767" y="837"/>
                    </a:lnTo>
                    <a:lnTo>
                      <a:pt x="3579" y="1109"/>
                    </a:lnTo>
                    <a:lnTo>
                      <a:pt x="3516" y="1360"/>
                    </a:lnTo>
                    <a:lnTo>
                      <a:pt x="3265" y="1716"/>
                    </a:lnTo>
                    <a:lnTo>
                      <a:pt x="3307" y="1779"/>
                    </a:lnTo>
                    <a:lnTo>
                      <a:pt x="3014" y="1842"/>
                    </a:lnTo>
                    <a:lnTo>
                      <a:pt x="2783" y="1967"/>
                    </a:lnTo>
                    <a:lnTo>
                      <a:pt x="2637" y="1967"/>
                    </a:lnTo>
                    <a:lnTo>
                      <a:pt x="2595" y="1883"/>
                    </a:lnTo>
                    <a:lnTo>
                      <a:pt x="2470" y="1842"/>
                    </a:lnTo>
                    <a:lnTo>
                      <a:pt x="2177" y="1842"/>
                    </a:lnTo>
                    <a:lnTo>
                      <a:pt x="2093" y="1925"/>
                    </a:lnTo>
                    <a:lnTo>
                      <a:pt x="1758" y="2051"/>
                    </a:lnTo>
                    <a:lnTo>
                      <a:pt x="1444" y="2030"/>
                    </a:lnTo>
                    <a:lnTo>
                      <a:pt x="1361" y="2072"/>
                    </a:lnTo>
                    <a:lnTo>
                      <a:pt x="1235" y="2051"/>
                    </a:lnTo>
                    <a:lnTo>
                      <a:pt x="1214" y="2134"/>
                    </a:lnTo>
                    <a:lnTo>
                      <a:pt x="1047" y="2176"/>
                    </a:lnTo>
                    <a:lnTo>
                      <a:pt x="942" y="2155"/>
                    </a:lnTo>
                    <a:lnTo>
                      <a:pt x="921" y="2051"/>
                    </a:lnTo>
                    <a:lnTo>
                      <a:pt x="796" y="1946"/>
                    </a:lnTo>
                    <a:lnTo>
                      <a:pt x="754" y="1883"/>
                    </a:lnTo>
                    <a:lnTo>
                      <a:pt x="566" y="1758"/>
                    </a:lnTo>
                    <a:lnTo>
                      <a:pt x="440" y="1549"/>
                    </a:lnTo>
                    <a:lnTo>
                      <a:pt x="377" y="1570"/>
                    </a:lnTo>
                    <a:lnTo>
                      <a:pt x="314" y="1653"/>
                    </a:lnTo>
                    <a:lnTo>
                      <a:pt x="168" y="1842"/>
                    </a:lnTo>
                    <a:lnTo>
                      <a:pt x="84" y="1988"/>
                    </a:lnTo>
                    <a:lnTo>
                      <a:pt x="84" y="2072"/>
                    </a:lnTo>
                    <a:lnTo>
                      <a:pt x="105" y="2155"/>
                    </a:lnTo>
                    <a:lnTo>
                      <a:pt x="84" y="2239"/>
                    </a:lnTo>
                    <a:lnTo>
                      <a:pt x="1" y="2281"/>
                    </a:lnTo>
                    <a:lnTo>
                      <a:pt x="22" y="2490"/>
                    </a:lnTo>
                    <a:lnTo>
                      <a:pt x="210" y="2699"/>
                    </a:lnTo>
                    <a:lnTo>
                      <a:pt x="231" y="2804"/>
                    </a:lnTo>
                    <a:lnTo>
                      <a:pt x="189" y="2762"/>
                    </a:lnTo>
                    <a:lnTo>
                      <a:pt x="168" y="2804"/>
                    </a:lnTo>
                    <a:lnTo>
                      <a:pt x="210" y="2930"/>
                    </a:lnTo>
                    <a:lnTo>
                      <a:pt x="335" y="2971"/>
                    </a:lnTo>
                    <a:lnTo>
                      <a:pt x="419" y="2971"/>
                    </a:lnTo>
                    <a:lnTo>
                      <a:pt x="607" y="2909"/>
                    </a:lnTo>
                    <a:lnTo>
                      <a:pt x="733" y="2825"/>
                    </a:lnTo>
                    <a:lnTo>
                      <a:pt x="838" y="2867"/>
                    </a:lnTo>
                    <a:lnTo>
                      <a:pt x="733" y="2867"/>
                    </a:lnTo>
                    <a:lnTo>
                      <a:pt x="607" y="2971"/>
                    </a:lnTo>
                    <a:lnTo>
                      <a:pt x="398" y="3013"/>
                    </a:lnTo>
                    <a:lnTo>
                      <a:pt x="314" y="3097"/>
                    </a:lnTo>
                    <a:lnTo>
                      <a:pt x="210" y="3097"/>
                    </a:lnTo>
                    <a:lnTo>
                      <a:pt x="210" y="3139"/>
                    </a:lnTo>
                    <a:lnTo>
                      <a:pt x="335" y="3181"/>
                    </a:lnTo>
                    <a:lnTo>
                      <a:pt x="503" y="3243"/>
                    </a:lnTo>
                    <a:lnTo>
                      <a:pt x="649" y="3411"/>
                    </a:lnTo>
                    <a:lnTo>
                      <a:pt x="712" y="3515"/>
                    </a:lnTo>
                    <a:lnTo>
                      <a:pt x="733" y="3620"/>
                    </a:lnTo>
                    <a:lnTo>
                      <a:pt x="649" y="3746"/>
                    </a:lnTo>
                    <a:lnTo>
                      <a:pt x="566" y="3829"/>
                    </a:lnTo>
                    <a:lnTo>
                      <a:pt x="607" y="3871"/>
                    </a:lnTo>
                    <a:lnTo>
                      <a:pt x="712" y="3955"/>
                    </a:lnTo>
                    <a:lnTo>
                      <a:pt x="733" y="4227"/>
                    </a:lnTo>
                    <a:lnTo>
                      <a:pt x="733" y="4352"/>
                    </a:lnTo>
                    <a:lnTo>
                      <a:pt x="817" y="4499"/>
                    </a:lnTo>
                    <a:lnTo>
                      <a:pt x="858" y="4499"/>
                    </a:lnTo>
                    <a:lnTo>
                      <a:pt x="963" y="4436"/>
                    </a:lnTo>
                    <a:lnTo>
                      <a:pt x="1005" y="4499"/>
                    </a:lnTo>
                    <a:lnTo>
                      <a:pt x="1130" y="4499"/>
                    </a:lnTo>
                    <a:lnTo>
                      <a:pt x="1214" y="4541"/>
                    </a:lnTo>
                    <a:lnTo>
                      <a:pt x="1361" y="4541"/>
                    </a:lnTo>
                    <a:lnTo>
                      <a:pt x="1444" y="4457"/>
                    </a:lnTo>
                    <a:lnTo>
                      <a:pt x="1528" y="4499"/>
                    </a:lnTo>
                    <a:lnTo>
                      <a:pt x="1591" y="4457"/>
                    </a:lnTo>
                    <a:lnTo>
                      <a:pt x="1654" y="4352"/>
                    </a:lnTo>
                    <a:lnTo>
                      <a:pt x="1654" y="4290"/>
                    </a:lnTo>
                    <a:lnTo>
                      <a:pt x="1674" y="4373"/>
                    </a:lnTo>
                    <a:lnTo>
                      <a:pt x="1654" y="4478"/>
                    </a:lnTo>
                    <a:lnTo>
                      <a:pt x="1695" y="4603"/>
                    </a:lnTo>
                    <a:lnTo>
                      <a:pt x="1737" y="4792"/>
                    </a:lnTo>
                    <a:lnTo>
                      <a:pt x="1695" y="4896"/>
                    </a:lnTo>
                    <a:lnTo>
                      <a:pt x="1779" y="4896"/>
                    </a:lnTo>
                    <a:lnTo>
                      <a:pt x="1905" y="4750"/>
                    </a:lnTo>
                    <a:lnTo>
                      <a:pt x="1988" y="4708"/>
                    </a:lnTo>
                    <a:lnTo>
                      <a:pt x="2051" y="4771"/>
                    </a:lnTo>
                    <a:lnTo>
                      <a:pt x="2114" y="4750"/>
                    </a:lnTo>
                    <a:lnTo>
                      <a:pt x="2135" y="4687"/>
                    </a:lnTo>
                    <a:lnTo>
                      <a:pt x="2302" y="4687"/>
                    </a:lnTo>
                    <a:lnTo>
                      <a:pt x="2386" y="4583"/>
                    </a:lnTo>
                    <a:lnTo>
                      <a:pt x="2428" y="4583"/>
                    </a:lnTo>
                    <a:lnTo>
                      <a:pt x="2532" y="4645"/>
                    </a:lnTo>
                    <a:lnTo>
                      <a:pt x="2616" y="4583"/>
                    </a:lnTo>
                    <a:lnTo>
                      <a:pt x="2658" y="4645"/>
                    </a:lnTo>
                    <a:lnTo>
                      <a:pt x="2658" y="4750"/>
                    </a:lnTo>
                    <a:lnTo>
                      <a:pt x="2721" y="4792"/>
                    </a:lnTo>
                    <a:lnTo>
                      <a:pt x="2825" y="4813"/>
                    </a:lnTo>
                    <a:lnTo>
                      <a:pt x="2804" y="4750"/>
                    </a:lnTo>
                    <a:lnTo>
                      <a:pt x="2825" y="4666"/>
                    </a:lnTo>
                    <a:lnTo>
                      <a:pt x="2888" y="4750"/>
                    </a:lnTo>
                    <a:lnTo>
                      <a:pt x="2993" y="4771"/>
                    </a:lnTo>
                    <a:lnTo>
                      <a:pt x="3035" y="4750"/>
                    </a:lnTo>
                    <a:lnTo>
                      <a:pt x="3097" y="4813"/>
                    </a:lnTo>
                    <a:lnTo>
                      <a:pt x="3139" y="4792"/>
                    </a:lnTo>
                    <a:lnTo>
                      <a:pt x="3160" y="4855"/>
                    </a:lnTo>
                    <a:lnTo>
                      <a:pt x="3223" y="4917"/>
                    </a:lnTo>
                    <a:lnTo>
                      <a:pt x="3181" y="5022"/>
                    </a:lnTo>
                    <a:lnTo>
                      <a:pt x="3244" y="5189"/>
                    </a:lnTo>
                    <a:lnTo>
                      <a:pt x="3348" y="5168"/>
                    </a:lnTo>
                    <a:lnTo>
                      <a:pt x="3579" y="5064"/>
                    </a:lnTo>
                    <a:lnTo>
                      <a:pt x="3746" y="5022"/>
                    </a:lnTo>
                    <a:lnTo>
                      <a:pt x="3955" y="4896"/>
                    </a:lnTo>
                    <a:lnTo>
                      <a:pt x="4060" y="4666"/>
                    </a:lnTo>
                    <a:lnTo>
                      <a:pt x="4060" y="4583"/>
                    </a:lnTo>
                    <a:lnTo>
                      <a:pt x="4102" y="4457"/>
                    </a:lnTo>
                    <a:lnTo>
                      <a:pt x="4143" y="4478"/>
                    </a:lnTo>
                    <a:lnTo>
                      <a:pt x="4185" y="4478"/>
                    </a:lnTo>
                    <a:lnTo>
                      <a:pt x="4269" y="4290"/>
                    </a:lnTo>
                    <a:lnTo>
                      <a:pt x="4227" y="4269"/>
                    </a:lnTo>
                    <a:lnTo>
                      <a:pt x="4185" y="4227"/>
                    </a:lnTo>
                    <a:lnTo>
                      <a:pt x="4185" y="4164"/>
                    </a:lnTo>
                    <a:lnTo>
                      <a:pt x="4206" y="4185"/>
                    </a:lnTo>
                    <a:lnTo>
                      <a:pt x="4290" y="4227"/>
                    </a:lnTo>
                    <a:lnTo>
                      <a:pt x="4353" y="4143"/>
                    </a:lnTo>
                    <a:lnTo>
                      <a:pt x="4311" y="4059"/>
                    </a:lnTo>
                    <a:lnTo>
                      <a:pt x="4269" y="4059"/>
                    </a:lnTo>
                    <a:lnTo>
                      <a:pt x="4206" y="4039"/>
                    </a:lnTo>
                    <a:lnTo>
                      <a:pt x="4290" y="3976"/>
                    </a:lnTo>
                    <a:lnTo>
                      <a:pt x="4290" y="3871"/>
                    </a:lnTo>
                    <a:lnTo>
                      <a:pt x="4143" y="3871"/>
                    </a:lnTo>
                    <a:lnTo>
                      <a:pt x="4185" y="3808"/>
                    </a:lnTo>
                    <a:lnTo>
                      <a:pt x="4164" y="3746"/>
                    </a:lnTo>
                    <a:lnTo>
                      <a:pt x="4164" y="3746"/>
                    </a:lnTo>
                    <a:lnTo>
                      <a:pt x="4227" y="3767"/>
                    </a:lnTo>
                    <a:lnTo>
                      <a:pt x="4353" y="3725"/>
                    </a:lnTo>
                    <a:lnTo>
                      <a:pt x="4374" y="3620"/>
                    </a:lnTo>
                    <a:lnTo>
                      <a:pt x="4457" y="3515"/>
                    </a:lnTo>
                    <a:lnTo>
                      <a:pt x="4478" y="3390"/>
                    </a:lnTo>
                    <a:lnTo>
                      <a:pt x="4457" y="3306"/>
                    </a:lnTo>
                    <a:lnTo>
                      <a:pt x="4499" y="3348"/>
                    </a:lnTo>
                    <a:lnTo>
                      <a:pt x="4562" y="3453"/>
                    </a:lnTo>
                    <a:lnTo>
                      <a:pt x="4625" y="3348"/>
                    </a:lnTo>
                    <a:lnTo>
                      <a:pt x="4708" y="3243"/>
                    </a:lnTo>
                    <a:lnTo>
                      <a:pt x="4667" y="3097"/>
                    </a:lnTo>
                    <a:lnTo>
                      <a:pt x="4813" y="2971"/>
                    </a:lnTo>
                    <a:lnTo>
                      <a:pt x="4834" y="2783"/>
                    </a:lnTo>
                    <a:lnTo>
                      <a:pt x="4897" y="2699"/>
                    </a:lnTo>
                    <a:lnTo>
                      <a:pt x="4918" y="2469"/>
                    </a:lnTo>
                    <a:lnTo>
                      <a:pt x="4980" y="2406"/>
                    </a:lnTo>
                    <a:lnTo>
                      <a:pt x="4980" y="2344"/>
                    </a:lnTo>
                    <a:lnTo>
                      <a:pt x="5106" y="2197"/>
                    </a:lnTo>
                    <a:lnTo>
                      <a:pt x="5148" y="2281"/>
                    </a:lnTo>
                    <a:lnTo>
                      <a:pt x="5190" y="2239"/>
                    </a:lnTo>
                    <a:lnTo>
                      <a:pt x="5148" y="2072"/>
                    </a:lnTo>
                    <a:lnTo>
                      <a:pt x="5148" y="2072"/>
                    </a:lnTo>
                    <a:lnTo>
                      <a:pt x="5336" y="2260"/>
                    </a:lnTo>
                    <a:lnTo>
                      <a:pt x="5462" y="2260"/>
                    </a:lnTo>
                    <a:lnTo>
                      <a:pt x="5545" y="2197"/>
                    </a:lnTo>
                    <a:lnTo>
                      <a:pt x="5629" y="2239"/>
                    </a:lnTo>
                    <a:lnTo>
                      <a:pt x="5713" y="2197"/>
                    </a:lnTo>
                    <a:lnTo>
                      <a:pt x="5734" y="2093"/>
                    </a:lnTo>
                    <a:lnTo>
                      <a:pt x="5629" y="2072"/>
                    </a:lnTo>
                    <a:lnTo>
                      <a:pt x="5608" y="2030"/>
                    </a:lnTo>
                    <a:lnTo>
                      <a:pt x="5503" y="1883"/>
                    </a:lnTo>
                    <a:lnTo>
                      <a:pt x="5420" y="1883"/>
                    </a:lnTo>
                    <a:lnTo>
                      <a:pt x="5190" y="1674"/>
                    </a:lnTo>
                    <a:lnTo>
                      <a:pt x="5106" y="1632"/>
                    </a:lnTo>
                    <a:lnTo>
                      <a:pt x="5085" y="1528"/>
                    </a:lnTo>
                    <a:lnTo>
                      <a:pt x="5022" y="1465"/>
                    </a:lnTo>
                    <a:lnTo>
                      <a:pt x="5043" y="1423"/>
                    </a:lnTo>
                    <a:lnTo>
                      <a:pt x="5190" y="1360"/>
                    </a:lnTo>
                    <a:lnTo>
                      <a:pt x="5231" y="1256"/>
                    </a:lnTo>
                    <a:lnTo>
                      <a:pt x="5148" y="1193"/>
                    </a:lnTo>
                    <a:lnTo>
                      <a:pt x="4980" y="1005"/>
                    </a:lnTo>
                    <a:lnTo>
                      <a:pt x="4918" y="879"/>
                    </a:lnTo>
                    <a:lnTo>
                      <a:pt x="4834" y="795"/>
                    </a:lnTo>
                    <a:lnTo>
                      <a:pt x="4876" y="712"/>
                    </a:lnTo>
                    <a:lnTo>
                      <a:pt x="4918" y="691"/>
                    </a:lnTo>
                    <a:lnTo>
                      <a:pt x="4918" y="628"/>
                    </a:lnTo>
                    <a:lnTo>
                      <a:pt x="4876" y="607"/>
                    </a:lnTo>
                    <a:lnTo>
                      <a:pt x="4750" y="482"/>
                    </a:lnTo>
                    <a:lnTo>
                      <a:pt x="4813" y="461"/>
                    </a:lnTo>
                    <a:lnTo>
                      <a:pt x="4939" y="482"/>
                    </a:lnTo>
                    <a:lnTo>
                      <a:pt x="5085" y="461"/>
                    </a:lnTo>
                    <a:lnTo>
                      <a:pt x="4980" y="314"/>
                    </a:lnTo>
                    <a:lnTo>
                      <a:pt x="4834" y="272"/>
                    </a:lnTo>
                    <a:lnTo>
                      <a:pt x="4897" y="209"/>
                    </a:lnTo>
                    <a:lnTo>
                      <a:pt x="4876" y="168"/>
                    </a:lnTo>
                    <a:lnTo>
                      <a:pt x="4939" y="147"/>
                    </a:lnTo>
                    <a:lnTo>
                      <a:pt x="4939" y="105"/>
                    </a:lnTo>
                    <a:lnTo>
                      <a:pt x="4813" y="84"/>
                    </a:lnTo>
                    <a:lnTo>
                      <a:pt x="4667" y="84"/>
                    </a:lnTo>
                    <a:lnTo>
                      <a:pt x="4604" y="42"/>
                    </a:lnTo>
                    <a:lnTo>
                      <a:pt x="4164" y="42"/>
                    </a:lnTo>
                    <a:lnTo>
                      <a:pt x="406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 name="Google Shape;5926;p93">
                <a:extLst>
                  <a:ext uri="{FF2B5EF4-FFF2-40B4-BE49-F238E27FC236}">
                    <a16:creationId xmlns:a16="http://schemas.microsoft.com/office/drawing/2014/main" id="{828188A0-BEDE-4F2B-B059-8B5E552182BA}"/>
                  </a:ext>
                </a:extLst>
              </p:cNvPr>
              <p:cNvSpPr/>
              <p:nvPr/>
            </p:nvSpPr>
            <p:spPr>
              <a:xfrm>
                <a:off x="5068275" y="3161675"/>
                <a:ext cx="431050" cy="221800"/>
              </a:xfrm>
              <a:custGeom>
                <a:avLst/>
                <a:gdLst/>
                <a:ahLst/>
                <a:cxnLst/>
                <a:rect l="l" t="t" r="r" b="b"/>
                <a:pathLst>
                  <a:path w="17242" h="8872" extrusionOk="0">
                    <a:moveTo>
                      <a:pt x="16991" y="8202"/>
                    </a:moveTo>
                    <a:lnTo>
                      <a:pt x="16886" y="8265"/>
                    </a:lnTo>
                    <a:lnTo>
                      <a:pt x="16928" y="8286"/>
                    </a:lnTo>
                    <a:lnTo>
                      <a:pt x="16907" y="8307"/>
                    </a:lnTo>
                    <a:cubicBezTo>
                      <a:pt x="16886" y="8307"/>
                      <a:pt x="16823" y="8349"/>
                      <a:pt x="16802" y="8349"/>
                    </a:cubicBezTo>
                    <a:lnTo>
                      <a:pt x="16802" y="8307"/>
                    </a:lnTo>
                    <a:lnTo>
                      <a:pt x="16782" y="8349"/>
                    </a:lnTo>
                    <a:cubicBezTo>
                      <a:pt x="16677" y="8370"/>
                      <a:pt x="16572" y="8370"/>
                      <a:pt x="16489" y="8390"/>
                    </a:cubicBezTo>
                    <a:lnTo>
                      <a:pt x="16593" y="8286"/>
                    </a:lnTo>
                    <a:lnTo>
                      <a:pt x="16551" y="8265"/>
                    </a:lnTo>
                    <a:lnTo>
                      <a:pt x="16468" y="8307"/>
                    </a:lnTo>
                    <a:lnTo>
                      <a:pt x="16384" y="8307"/>
                    </a:lnTo>
                    <a:lnTo>
                      <a:pt x="16342" y="8349"/>
                    </a:lnTo>
                    <a:lnTo>
                      <a:pt x="16363" y="8390"/>
                    </a:lnTo>
                    <a:lnTo>
                      <a:pt x="16300" y="8453"/>
                    </a:lnTo>
                    <a:lnTo>
                      <a:pt x="16196" y="8453"/>
                    </a:lnTo>
                    <a:lnTo>
                      <a:pt x="16258" y="8495"/>
                    </a:lnTo>
                    <a:lnTo>
                      <a:pt x="16384" y="8474"/>
                    </a:lnTo>
                    <a:lnTo>
                      <a:pt x="16447" y="8411"/>
                    </a:lnTo>
                    <a:cubicBezTo>
                      <a:pt x="16489" y="8411"/>
                      <a:pt x="16551" y="8411"/>
                      <a:pt x="16614" y="8390"/>
                    </a:cubicBezTo>
                    <a:lnTo>
                      <a:pt x="16614" y="8390"/>
                    </a:lnTo>
                    <a:lnTo>
                      <a:pt x="16593" y="8411"/>
                    </a:lnTo>
                    <a:lnTo>
                      <a:pt x="16677" y="8411"/>
                    </a:lnTo>
                    <a:lnTo>
                      <a:pt x="16719" y="8474"/>
                    </a:lnTo>
                    <a:lnTo>
                      <a:pt x="16802" y="8370"/>
                    </a:lnTo>
                    <a:cubicBezTo>
                      <a:pt x="16823" y="8370"/>
                      <a:pt x="16886" y="8349"/>
                      <a:pt x="16907" y="8349"/>
                    </a:cubicBezTo>
                    <a:lnTo>
                      <a:pt x="16907" y="8370"/>
                    </a:lnTo>
                    <a:lnTo>
                      <a:pt x="17012" y="8390"/>
                    </a:lnTo>
                    <a:lnTo>
                      <a:pt x="17200" y="8307"/>
                    </a:lnTo>
                    <a:lnTo>
                      <a:pt x="17242" y="8244"/>
                    </a:lnTo>
                    <a:lnTo>
                      <a:pt x="17200" y="8202"/>
                    </a:lnTo>
                    <a:lnTo>
                      <a:pt x="17033" y="8244"/>
                    </a:lnTo>
                    <a:lnTo>
                      <a:pt x="16991" y="8202"/>
                    </a:lnTo>
                    <a:close/>
                    <a:moveTo>
                      <a:pt x="16070" y="8411"/>
                    </a:moveTo>
                    <a:lnTo>
                      <a:pt x="16007" y="8443"/>
                    </a:lnTo>
                    <a:lnTo>
                      <a:pt x="16007" y="8443"/>
                    </a:lnTo>
                    <a:cubicBezTo>
                      <a:pt x="16026" y="8475"/>
                      <a:pt x="16037" y="8501"/>
                      <a:pt x="16036" y="8525"/>
                    </a:cubicBezTo>
                    <a:lnTo>
                      <a:pt x="16036" y="8525"/>
                    </a:lnTo>
                    <a:lnTo>
                      <a:pt x="16049" y="8474"/>
                    </a:lnTo>
                    <a:lnTo>
                      <a:pt x="16133" y="8453"/>
                    </a:lnTo>
                    <a:lnTo>
                      <a:pt x="16196" y="8453"/>
                    </a:lnTo>
                    <a:lnTo>
                      <a:pt x="16237" y="8411"/>
                    </a:lnTo>
                    <a:close/>
                    <a:moveTo>
                      <a:pt x="16036" y="8525"/>
                    </a:moveTo>
                    <a:lnTo>
                      <a:pt x="16028" y="8558"/>
                    </a:lnTo>
                    <a:cubicBezTo>
                      <a:pt x="16034" y="8547"/>
                      <a:pt x="16036" y="8536"/>
                      <a:pt x="16036" y="8525"/>
                    </a:cubicBezTo>
                    <a:close/>
                    <a:moveTo>
                      <a:pt x="105" y="0"/>
                    </a:moveTo>
                    <a:lnTo>
                      <a:pt x="22" y="42"/>
                    </a:lnTo>
                    <a:lnTo>
                      <a:pt x="1" y="105"/>
                    </a:lnTo>
                    <a:lnTo>
                      <a:pt x="22" y="251"/>
                    </a:lnTo>
                    <a:lnTo>
                      <a:pt x="168" y="565"/>
                    </a:lnTo>
                    <a:lnTo>
                      <a:pt x="252" y="628"/>
                    </a:lnTo>
                    <a:lnTo>
                      <a:pt x="524" y="879"/>
                    </a:lnTo>
                    <a:lnTo>
                      <a:pt x="587" y="879"/>
                    </a:lnTo>
                    <a:lnTo>
                      <a:pt x="754" y="1067"/>
                    </a:lnTo>
                    <a:lnTo>
                      <a:pt x="838" y="1088"/>
                    </a:lnTo>
                    <a:lnTo>
                      <a:pt x="900" y="1067"/>
                    </a:lnTo>
                    <a:lnTo>
                      <a:pt x="1089" y="1214"/>
                    </a:lnTo>
                    <a:lnTo>
                      <a:pt x="1298" y="1528"/>
                    </a:lnTo>
                    <a:lnTo>
                      <a:pt x="1507" y="1716"/>
                    </a:lnTo>
                    <a:lnTo>
                      <a:pt x="1570" y="1716"/>
                    </a:lnTo>
                    <a:lnTo>
                      <a:pt x="1570" y="1883"/>
                    </a:lnTo>
                    <a:lnTo>
                      <a:pt x="1612" y="1925"/>
                    </a:lnTo>
                    <a:lnTo>
                      <a:pt x="1633" y="2092"/>
                    </a:lnTo>
                    <a:lnTo>
                      <a:pt x="1716" y="2155"/>
                    </a:lnTo>
                    <a:lnTo>
                      <a:pt x="1842" y="2155"/>
                    </a:lnTo>
                    <a:lnTo>
                      <a:pt x="2009" y="2344"/>
                    </a:lnTo>
                    <a:lnTo>
                      <a:pt x="2093" y="2406"/>
                    </a:lnTo>
                    <a:lnTo>
                      <a:pt x="2156" y="2406"/>
                    </a:lnTo>
                    <a:lnTo>
                      <a:pt x="2198" y="2448"/>
                    </a:lnTo>
                    <a:lnTo>
                      <a:pt x="2135" y="2532"/>
                    </a:lnTo>
                    <a:lnTo>
                      <a:pt x="2219" y="2616"/>
                    </a:lnTo>
                    <a:lnTo>
                      <a:pt x="2261" y="2762"/>
                    </a:lnTo>
                    <a:lnTo>
                      <a:pt x="2261" y="2783"/>
                    </a:lnTo>
                    <a:lnTo>
                      <a:pt x="2365" y="3097"/>
                    </a:lnTo>
                    <a:lnTo>
                      <a:pt x="2428" y="3264"/>
                    </a:lnTo>
                    <a:lnTo>
                      <a:pt x="2574" y="3306"/>
                    </a:lnTo>
                    <a:lnTo>
                      <a:pt x="2763" y="3411"/>
                    </a:lnTo>
                    <a:lnTo>
                      <a:pt x="2763" y="3515"/>
                    </a:lnTo>
                    <a:lnTo>
                      <a:pt x="2888" y="3787"/>
                    </a:lnTo>
                    <a:lnTo>
                      <a:pt x="3035" y="3892"/>
                    </a:lnTo>
                    <a:lnTo>
                      <a:pt x="3056" y="4185"/>
                    </a:lnTo>
                    <a:lnTo>
                      <a:pt x="3265" y="4561"/>
                    </a:lnTo>
                    <a:lnTo>
                      <a:pt x="3265" y="4729"/>
                    </a:lnTo>
                    <a:lnTo>
                      <a:pt x="3307" y="4875"/>
                    </a:lnTo>
                    <a:lnTo>
                      <a:pt x="3516" y="5043"/>
                    </a:lnTo>
                    <a:lnTo>
                      <a:pt x="3725" y="5294"/>
                    </a:lnTo>
                    <a:lnTo>
                      <a:pt x="3788" y="5440"/>
                    </a:lnTo>
                    <a:lnTo>
                      <a:pt x="3934" y="5461"/>
                    </a:lnTo>
                    <a:lnTo>
                      <a:pt x="3997" y="5545"/>
                    </a:lnTo>
                    <a:lnTo>
                      <a:pt x="4123" y="5608"/>
                    </a:lnTo>
                    <a:lnTo>
                      <a:pt x="4144" y="5775"/>
                    </a:lnTo>
                    <a:lnTo>
                      <a:pt x="4290" y="5859"/>
                    </a:lnTo>
                    <a:lnTo>
                      <a:pt x="4437" y="6005"/>
                    </a:lnTo>
                    <a:lnTo>
                      <a:pt x="4709" y="6173"/>
                    </a:lnTo>
                    <a:lnTo>
                      <a:pt x="4750" y="6298"/>
                    </a:lnTo>
                    <a:lnTo>
                      <a:pt x="4918" y="6361"/>
                    </a:lnTo>
                    <a:lnTo>
                      <a:pt x="5253" y="6633"/>
                    </a:lnTo>
                    <a:lnTo>
                      <a:pt x="5274" y="6779"/>
                    </a:lnTo>
                    <a:lnTo>
                      <a:pt x="5357" y="6800"/>
                    </a:lnTo>
                    <a:lnTo>
                      <a:pt x="5441" y="6926"/>
                    </a:lnTo>
                    <a:lnTo>
                      <a:pt x="5483" y="6884"/>
                    </a:lnTo>
                    <a:lnTo>
                      <a:pt x="5483" y="6779"/>
                    </a:lnTo>
                    <a:lnTo>
                      <a:pt x="5462" y="6717"/>
                    </a:lnTo>
                    <a:lnTo>
                      <a:pt x="5462" y="6675"/>
                    </a:lnTo>
                    <a:lnTo>
                      <a:pt x="5566" y="6696"/>
                    </a:lnTo>
                    <a:lnTo>
                      <a:pt x="5797" y="6905"/>
                    </a:lnTo>
                    <a:lnTo>
                      <a:pt x="5859" y="6884"/>
                    </a:lnTo>
                    <a:lnTo>
                      <a:pt x="5859" y="6717"/>
                    </a:lnTo>
                    <a:lnTo>
                      <a:pt x="5901" y="6633"/>
                    </a:lnTo>
                    <a:lnTo>
                      <a:pt x="5985" y="6675"/>
                    </a:lnTo>
                    <a:cubicBezTo>
                      <a:pt x="5985" y="6696"/>
                      <a:pt x="6006" y="6696"/>
                      <a:pt x="6006" y="6717"/>
                    </a:cubicBezTo>
                    <a:lnTo>
                      <a:pt x="6090" y="6842"/>
                    </a:lnTo>
                    <a:lnTo>
                      <a:pt x="6110" y="6842"/>
                    </a:lnTo>
                    <a:cubicBezTo>
                      <a:pt x="6173" y="6905"/>
                      <a:pt x="6215" y="6989"/>
                      <a:pt x="6278" y="7030"/>
                    </a:cubicBezTo>
                    <a:lnTo>
                      <a:pt x="6236" y="7051"/>
                    </a:lnTo>
                    <a:lnTo>
                      <a:pt x="6236" y="7198"/>
                    </a:lnTo>
                    <a:lnTo>
                      <a:pt x="6194" y="7323"/>
                    </a:lnTo>
                    <a:lnTo>
                      <a:pt x="6069" y="7344"/>
                    </a:lnTo>
                    <a:lnTo>
                      <a:pt x="6069" y="7449"/>
                    </a:lnTo>
                    <a:lnTo>
                      <a:pt x="5985" y="7470"/>
                    </a:lnTo>
                    <a:lnTo>
                      <a:pt x="5922" y="7428"/>
                    </a:lnTo>
                    <a:lnTo>
                      <a:pt x="5880" y="7428"/>
                    </a:lnTo>
                    <a:lnTo>
                      <a:pt x="5880" y="7512"/>
                    </a:lnTo>
                    <a:lnTo>
                      <a:pt x="5964" y="7554"/>
                    </a:lnTo>
                    <a:lnTo>
                      <a:pt x="6194" y="7554"/>
                    </a:lnTo>
                    <a:lnTo>
                      <a:pt x="6320" y="7512"/>
                    </a:lnTo>
                    <a:lnTo>
                      <a:pt x="6382" y="7616"/>
                    </a:lnTo>
                    <a:lnTo>
                      <a:pt x="6445" y="7658"/>
                    </a:lnTo>
                    <a:lnTo>
                      <a:pt x="6529" y="7637"/>
                    </a:lnTo>
                    <a:lnTo>
                      <a:pt x="6613" y="7637"/>
                    </a:lnTo>
                    <a:lnTo>
                      <a:pt x="6550" y="7679"/>
                    </a:lnTo>
                    <a:lnTo>
                      <a:pt x="6466" y="7826"/>
                    </a:lnTo>
                    <a:lnTo>
                      <a:pt x="6529" y="7867"/>
                    </a:lnTo>
                    <a:lnTo>
                      <a:pt x="6696" y="7888"/>
                    </a:lnTo>
                    <a:lnTo>
                      <a:pt x="6822" y="7951"/>
                    </a:lnTo>
                    <a:lnTo>
                      <a:pt x="6926" y="7888"/>
                    </a:lnTo>
                    <a:lnTo>
                      <a:pt x="6989" y="7951"/>
                    </a:lnTo>
                    <a:lnTo>
                      <a:pt x="7178" y="7951"/>
                    </a:lnTo>
                    <a:lnTo>
                      <a:pt x="7366" y="8077"/>
                    </a:lnTo>
                    <a:lnTo>
                      <a:pt x="7638" y="8160"/>
                    </a:lnTo>
                    <a:lnTo>
                      <a:pt x="7743" y="8035"/>
                    </a:lnTo>
                    <a:lnTo>
                      <a:pt x="7805" y="8035"/>
                    </a:lnTo>
                    <a:lnTo>
                      <a:pt x="7889" y="8139"/>
                    </a:lnTo>
                    <a:lnTo>
                      <a:pt x="7994" y="8160"/>
                    </a:lnTo>
                    <a:lnTo>
                      <a:pt x="8077" y="8077"/>
                    </a:lnTo>
                    <a:lnTo>
                      <a:pt x="8140" y="8077"/>
                    </a:lnTo>
                    <a:lnTo>
                      <a:pt x="8287" y="8181"/>
                    </a:lnTo>
                    <a:lnTo>
                      <a:pt x="8454" y="8181"/>
                    </a:lnTo>
                    <a:lnTo>
                      <a:pt x="8747" y="8370"/>
                    </a:lnTo>
                    <a:lnTo>
                      <a:pt x="9061" y="8474"/>
                    </a:lnTo>
                    <a:lnTo>
                      <a:pt x="9186" y="8390"/>
                    </a:lnTo>
                    <a:lnTo>
                      <a:pt x="9395" y="8390"/>
                    </a:lnTo>
                    <a:lnTo>
                      <a:pt x="9521" y="8495"/>
                    </a:lnTo>
                    <a:lnTo>
                      <a:pt x="9647" y="8390"/>
                    </a:lnTo>
                    <a:lnTo>
                      <a:pt x="9793" y="8411"/>
                    </a:lnTo>
                    <a:lnTo>
                      <a:pt x="9960" y="8495"/>
                    </a:lnTo>
                    <a:lnTo>
                      <a:pt x="10149" y="8495"/>
                    </a:lnTo>
                    <a:lnTo>
                      <a:pt x="10295" y="8411"/>
                    </a:lnTo>
                    <a:lnTo>
                      <a:pt x="10379" y="8411"/>
                    </a:lnTo>
                    <a:lnTo>
                      <a:pt x="10483" y="8516"/>
                    </a:lnTo>
                    <a:lnTo>
                      <a:pt x="10609" y="8558"/>
                    </a:lnTo>
                    <a:lnTo>
                      <a:pt x="10776" y="8683"/>
                    </a:lnTo>
                    <a:lnTo>
                      <a:pt x="10902" y="8662"/>
                    </a:lnTo>
                    <a:lnTo>
                      <a:pt x="10986" y="8725"/>
                    </a:lnTo>
                    <a:lnTo>
                      <a:pt x="11048" y="8704"/>
                    </a:lnTo>
                    <a:lnTo>
                      <a:pt x="11028" y="8516"/>
                    </a:lnTo>
                    <a:lnTo>
                      <a:pt x="10965" y="8474"/>
                    </a:lnTo>
                    <a:lnTo>
                      <a:pt x="11007" y="8453"/>
                    </a:lnTo>
                    <a:cubicBezTo>
                      <a:pt x="11132" y="8453"/>
                      <a:pt x="11237" y="8474"/>
                      <a:pt x="11341" y="8495"/>
                    </a:cubicBezTo>
                    <a:lnTo>
                      <a:pt x="11467" y="8579"/>
                    </a:lnTo>
                    <a:lnTo>
                      <a:pt x="11488" y="8662"/>
                    </a:lnTo>
                    <a:lnTo>
                      <a:pt x="11551" y="8579"/>
                    </a:lnTo>
                    <a:lnTo>
                      <a:pt x="11634" y="8516"/>
                    </a:lnTo>
                    <a:cubicBezTo>
                      <a:pt x="11697" y="8579"/>
                      <a:pt x="11781" y="8600"/>
                      <a:pt x="11864" y="8621"/>
                    </a:cubicBezTo>
                    <a:lnTo>
                      <a:pt x="11844" y="8662"/>
                    </a:lnTo>
                    <a:lnTo>
                      <a:pt x="11864" y="8704"/>
                    </a:lnTo>
                    <a:lnTo>
                      <a:pt x="12053" y="8767"/>
                    </a:lnTo>
                    <a:lnTo>
                      <a:pt x="12157" y="8704"/>
                    </a:lnTo>
                    <a:lnTo>
                      <a:pt x="12220" y="8725"/>
                    </a:lnTo>
                    <a:lnTo>
                      <a:pt x="12220" y="8704"/>
                    </a:lnTo>
                    <a:cubicBezTo>
                      <a:pt x="12262" y="8725"/>
                      <a:pt x="12304" y="8725"/>
                      <a:pt x="12325" y="8767"/>
                    </a:cubicBezTo>
                    <a:lnTo>
                      <a:pt x="12388" y="8809"/>
                    </a:lnTo>
                    <a:lnTo>
                      <a:pt x="12492" y="8872"/>
                    </a:lnTo>
                    <a:lnTo>
                      <a:pt x="12597" y="8830"/>
                    </a:lnTo>
                    <a:lnTo>
                      <a:pt x="12680" y="8830"/>
                    </a:lnTo>
                    <a:lnTo>
                      <a:pt x="12722" y="8872"/>
                    </a:lnTo>
                    <a:lnTo>
                      <a:pt x="12848" y="8809"/>
                    </a:lnTo>
                    <a:lnTo>
                      <a:pt x="12911" y="8725"/>
                    </a:lnTo>
                    <a:lnTo>
                      <a:pt x="13015" y="8767"/>
                    </a:lnTo>
                    <a:lnTo>
                      <a:pt x="13141" y="8704"/>
                    </a:lnTo>
                    <a:lnTo>
                      <a:pt x="13245" y="8725"/>
                    </a:lnTo>
                    <a:lnTo>
                      <a:pt x="13371" y="8621"/>
                    </a:lnTo>
                    <a:lnTo>
                      <a:pt x="13413" y="8704"/>
                    </a:lnTo>
                    <a:lnTo>
                      <a:pt x="13517" y="8683"/>
                    </a:lnTo>
                    <a:lnTo>
                      <a:pt x="13664" y="8704"/>
                    </a:lnTo>
                    <a:lnTo>
                      <a:pt x="13580" y="8662"/>
                    </a:lnTo>
                    <a:lnTo>
                      <a:pt x="13894" y="8662"/>
                    </a:lnTo>
                    <a:lnTo>
                      <a:pt x="13936" y="8683"/>
                    </a:lnTo>
                    <a:lnTo>
                      <a:pt x="13936" y="8662"/>
                    </a:lnTo>
                    <a:lnTo>
                      <a:pt x="14166" y="8662"/>
                    </a:lnTo>
                    <a:lnTo>
                      <a:pt x="14250" y="8683"/>
                    </a:lnTo>
                    <a:lnTo>
                      <a:pt x="14313" y="8683"/>
                    </a:lnTo>
                    <a:lnTo>
                      <a:pt x="14396" y="8704"/>
                    </a:lnTo>
                    <a:lnTo>
                      <a:pt x="14480" y="8683"/>
                    </a:lnTo>
                    <a:lnTo>
                      <a:pt x="14564" y="8683"/>
                    </a:lnTo>
                    <a:lnTo>
                      <a:pt x="14626" y="8725"/>
                    </a:lnTo>
                    <a:lnTo>
                      <a:pt x="14731" y="8683"/>
                    </a:lnTo>
                    <a:lnTo>
                      <a:pt x="14794" y="8704"/>
                    </a:lnTo>
                    <a:lnTo>
                      <a:pt x="14877" y="8704"/>
                    </a:lnTo>
                    <a:lnTo>
                      <a:pt x="14898" y="8683"/>
                    </a:lnTo>
                    <a:lnTo>
                      <a:pt x="15024" y="8621"/>
                    </a:lnTo>
                    <a:lnTo>
                      <a:pt x="15212" y="8662"/>
                    </a:lnTo>
                    <a:lnTo>
                      <a:pt x="15359" y="8579"/>
                    </a:lnTo>
                    <a:lnTo>
                      <a:pt x="15547" y="8579"/>
                    </a:lnTo>
                    <a:lnTo>
                      <a:pt x="15631" y="8600"/>
                    </a:lnTo>
                    <a:lnTo>
                      <a:pt x="15652" y="8579"/>
                    </a:lnTo>
                    <a:cubicBezTo>
                      <a:pt x="15683" y="8589"/>
                      <a:pt x="15714" y="8594"/>
                      <a:pt x="15748" y="8594"/>
                    </a:cubicBezTo>
                    <a:cubicBezTo>
                      <a:pt x="15782" y="8594"/>
                      <a:pt x="15819" y="8589"/>
                      <a:pt x="15861" y="8579"/>
                    </a:cubicBezTo>
                    <a:cubicBezTo>
                      <a:pt x="15882" y="8579"/>
                      <a:pt x="15924" y="8558"/>
                      <a:pt x="15945" y="8516"/>
                    </a:cubicBezTo>
                    <a:lnTo>
                      <a:pt x="15986" y="8453"/>
                    </a:lnTo>
                    <a:lnTo>
                      <a:pt x="16007" y="8443"/>
                    </a:lnTo>
                    <a:lnTo>
                      <a:pt x="16007" y="8443"/>
                    </a:lnTo>
                    <a:cubicBezTo>
                      <a:pt x="16001" y="8433"/>
                      <a:pt x="15994" y="8423"/>
                      <a:pt x="15986" y="8411"/>
                    </a:cubicBezTo>
                    <a:lnTo>
                      <a:pt x="16049" y="8390"/>
                    </a:lnTo>
                    <a:lnTo>
                      <a:pt x="16091" y="8286"/>
                    </a:lnTo>
                    <a:lnTo>
                      <a:pt x="16091" y="8181"/>
                    </a:lnTo>
                    <a:lnTo>
                      <a:pt x="15965" y="8139"/>
                    </a:lnTo>
                    <a:lnTo>
                      <a:pt x="15861" y="8202"/>
                    </a:lnTo>
                    <a:lnTo>
                      <a:pt x="15924" y="8244"/>
                    </a:lnTo>
                    <a:lnTo>
                      <a:pt x="15840" y="8349"/>
                    </a:lnTo>
                    <a:lnTo>
                      <a:pt x="15735" y="8370"/>
                    </a:lnTo>
                    <a:lnTo>
                      <a:pt x="15714" y="8390"/>
                    </a:lnTo>
                    <a:lnTo>
                      <a:pt x="15673" y="8390"/>
                    </a:lnTo>
                    <a:cubicBezTo>
                      <a:pt x="15652" y="8390"/>
                      <a:pt x="15631" y="8411"/>
                      <a:pt x="15610" y="8453"/>
                    </a:cubicBezTo>
                    <a:lnTo>
                      <a:pt x="15526" y="8453"/>
                    </a:lnTo>
                    <a:lnTo>
                      <a:pt x="15442" y="8390"/>
                    </a:lnTo>
                    <a:lnTo>
                      <a:pt x="15296" y="8390"/>
                    </a:lnTo>
                    <a:lnTo>
                      <a:pt x="15149" y="8453"/>
                    </a:lnTo>
                    <a:lnTo>
                      <a:pt x="15003" y="8349"/>
                    </a:lnTo>
                    <a:lnTo>
                      <a:pt x="14836" y="8307"/>
                    </a:lnTo>
                    <a:lnTo>
                      <a:pt x="14773" y="8349"/>
                    </a:lnTo>
                    <a:lnTo>
                      <a:pt x="14626" y="8265"/>
                    </a:lnTo>
                    <a:lnTo>
                      <a:pt x="14354" y="8307"/>
                    </a:lnTo>
                    <a:lnTo>
                      <a:pt x="14166" y="8411"/>
                    </a:lnTo>
                    <a:lnTo>
                      <a:pt x="14166" y="8453"/>
                    </a:lnTo>
                    <a:lnTo>
                      <a:pt x="13999" y="8453"/>
                    </a:lnTo>
                    <a:lnTo>
                      <a:pt x="13894" y="8411"/>
                    </a:lnTo>
                    <a:lnTo>
                      <a:pt x="13894" y="8474"/>
                    </a:lnTo>
                    <a:cubicBezTo>
                      <a:pt x="13852" y="8474"/>
                      <a:pt x="13769" y="8474"/>
                      <a:pt x="13727" y="8495"/>
                    </a:cubicBezTo>
                    <a:lnTo>
                      <a:pt x="13685" y="8453"/>
                    </a:lnTo>
                    <a:lnTo>
                      <a:pt x="13685" y="8370"/>
                    </a:lnTo>
                    <a:lnTo>
                      <a:pt x="13559" y="8349"/>
                    </a:lnTo>
                    <a:lnTo>
                      <a:pt x="13580" y="8453"/>
                    </a:lnTo>
                    <a:lnTo>
                      <a:pt x="13538" y="8474"/>
                    </a:lnTo>
                    <a:lnTo>
                      <a:pt x="13538" y="8370"/>
                    </a:lnTo>
                    <a:lnTo>
                      <a:pt x="13434" y="8286"/>
                    </a:lnTo>
                    <a:lnTo>
                      <a:pt x="13329" y="8349"/>
                    </a:lnTo>
                    <a:lnTo>
                      <a:pt x="13224" y="8265"/>
                    </a:lnTo>
                    <a:lnTo>
                      <a:pt x="13120" y="8202"/>
                    </a:lnTo>
                    <a:lnTo>
                      <a:pt x="12994" y="8286"/>
                    </a:lnTo>
                    <a:lnTo>
                      <a:pt x="12994" y="8349"/>
                    </a:lnTo>
                    <a:lnTo>
                      <a:pt x="13224" y="8411"/>
                    </a:lnTo>
                    <a:lnTo>
                      <a:pt x="13308" y="8495"/>
                    </a:lnTo>
                    <a:lnTo>
                      <a:pt x="13162" y="8495"/>
                    </a:lnTo>
                    <a:lnTo>
                      <a:pt x="13162" y="8516"/>
                    </a:lnTo>
                    <a:lnTo>
                      <a:pt x="13099" y="8579"/>
                    </a:lnTo>
                    <a:lnTo>
                      <a:pt x="13057" y="8579"/>
                    </a:lnTo>
                    <a:cubicBezTo>
                      <a:pt x="13094" y="8560"/>
                      <a:pt x="13098" y="8492"/>
                      <a:pt x="13055" y="8492"/>
                    </a:cubicBezTo>
                    <a:cubicBezTo>
                      <a:pt x="13049" y="8492"/>
                      <a:pt x="13043" y="8493"/>
                      <a:pt x="13036" y="8495"/>
                    </a:cubicBezTo>
                    <a:lnTo>
                      <a:pt x="12952" y="8495"/>
                    </a:lnTo>
                    <a:lnTo>
                      <a:pt x="12932" y="8390"/>
                    </a:lnTo>
                    <a:lnTo>
                      <a:pt x="12848" y="8370"/>
                    </a:lnTo>
                    <a:lnTo>
                      <a:pt x="12743" y="8390"/>
                    </a:lnTo>
                    <a:lnTo>
                      <a:pt x="12639" y="8370"/>
                    </a:lnTo>
                    <a:lnTo>
                      <a:pt x="12492" y="8411"/>
                    </a:lnTo>
                    <a:lnTo>
                      <a:pt x="12408" y="8516"/>
                    </a:lnTo>
                    <a:lnTo>
                      <a:pt x="12388" y="8600"/>
                    </a:lnTo>
                    <a:lnTo>
                      <a:pt x="12283" y="8600"/>
                    </a:lnTo>
                    <a:lnTo>
                      <a:pt x="12283" y="8579"/>
                    </a:lnTo>
                    <a:lnTo>
                      <a:pt x="12283" y="8558"/>
                    </a:lnTo>
                    <a:lnTo>
                      <a:pt x="12304" y="8558"/>
                    </a:lnTo>
                    <a:cubicBezTo>
                      <a:pt x="12325" y="8558"/>
                      <a:pt x="12304" y="8516"/>
                      <a:pt x="12304" y="8516"/>
                    </a:cubicBezTo>
                    <a:lnTo>
                      <a:pt x="12325" y="8495"/>
                    </a:lnTo>
                    <a:lnTo>
                      <a:pt x="12367" y="8370"/>
                    </a:lnTo>
                    <a:lnTo>
                      <a:pt x="12178" y="8307"/>
                    </a:lnTo>
                    <a:lnTo>
                      <a:pt x="12053" y="8390"/>
                    </a:lnTo>
                    <a:lnTo>
                      <a:pt x="12011" y="8516"/>
                    </a:lnTo>
                    <a:cubicBezTo>
                      <a:pt x="11885" y="8495"/>
                      <a:pt x="11781" y="8474"/>
                      <a:pt x="11676" y="8453"/>
                    </a:cubicBezTo>
                    <a:lnTo>
                      <a:pt x="11781" y="8411"/>
                    </a:lnTo>
                    <a:lnTo>
                      <a:pt x="11802" y="8349"/>
                    </a:lnTo>
                    <a:lnTo>
                      <a:pt x="11676" y="8181"/>
                    </a:lnTo>
                    <a:lnTo>
                      <a:pt x="11530" y="8160"/>
                    </a:lnTo>
                    <a:lnTo>
                      <a:pt x="11362" y="8202"/>
                    </a:lnTo>
                    <a:lnTo>
                      <a:pt x="11237" y="8181"/>
                    </a:lnTo>
                    <a:lnTo>
                      <a:pt x="11111" y="8202"/>
                    </a:lnTo>
                    <a:lnTo>
                      <a:pt x="11111" y="8244"/>
                    </a:lnTo>
                    <a:cubicBezTo>
                      <a:pt x="11069" y="8244"/>
                      <a:pt x="11069" y="8244"/>
                      <a:pt x="11048" y="8202"/>
                    </a:cubicBezTo>
                    <a:lnTo>
                      <a:pt x="11069" y="8056"/>
                    </a:lnTo>
                    <a:lnTo>
                      <a:pt x="11028" y="7972"/>
                    </a:lnTo>
                    <a:lnTo>
                      <a:pt x="10923" y="7951"/>
                    </a:lnTo>
                    <a:lnTo>
                      <a:pt x="10902" y="7930"/>
                    </a:lnTo>
                    <a:lnTo>
                      <a:pt x="10797" y="7930"/>
                    </a:lnTo>
                    <a:lnTo>
                      <a:pt x="10714" y="7972"/>
                    </a:lnTo>
                    <a:lnTo>
                      <a:pt x="10609" y="7972"/>
                    </a:lnTo>
                    <a:lnTo>
                      <a:pt x="10525" y="7930"/>
                    </a:lnTo>
                    <a:lnTo>
                      <a:pt x="10400" y="7972"/>
                    </a:lnTo>
                    <a:lnTo>
                      <a:pt x="10274" y="7930"/>
                    </a:lnTo>
                    <a:lnTo>
                      <a:pt x="10191" y="7846"/>
                    </a:lnTo>
                    <a:lnTo>
                      <a:pt x="10191" y="7763"/>
                    </a:lnTo>
                    <a:lnTo>
                      <a:pt x="10086" y="7595"/>
                    </a:lnTo>
                    <a:lnTo>
                      <a:pt x="10086" y="7449"/>
                    </a:lnTo>
                    <a:lnTo>
                      <a:pt x="9939" y="7449"/>
                    </a:lnTo>
                    <a:lnTo>
                      <a:pt x="9856" y="7470"/>
                    </a:lnTo>
                    <a:lnTo>
                      <a:pt x="9772" y="7386"/>
                    </a:lnTo>
                    <a:lnTo>
                      <a:pt x="9667" y="7386"/>
                    </a:lnTo>
                    <a:lnTo>
                      <a:pt x="9542" y="7282"/>
                    </a:lnTo>
                    <a:lnTo>
                      <a:pt x="9458" y="7240"/>
                    </a:lnTo>
                    <a:lnTo>
                      <a:pt x="9354" y="7261"/>
                    </a:lnTo>
                    <a:lnTo>
                      <a:pt x="9270" y="7261"/>
                    </a:lnTo>
                    <a:lnTo>
                      <a:pt x="9144" y="7114"/>
                    </a:lnTo>
                    <a:lnTo>
                      <a:pt x="9040" y="7114"/>
                    </a:lnTo>
                    <a:lnTo>
                      <a:pt x="9019" y="7344"/>
                    </a:lnTo>
                    <a:lnTo>
                      <a:pt x="8935" y="7449"/>
                    </a:lnTo>
                    <a:lnTo>
                      <a:pt x="8684" y="7491"/>
                    </a:lnTo>
                    <a:lnTo>
                      <a:pt x="8370" y="7449"/>
                    </a:lnTo>
                    <a:lnTo>
                      <a:pt x="8015" y="7449"/>
                    </a:lnTo>
                    <a:lnTo>
                      <a:pt x="7805" y="7365"/>
                    </a:lnTo>
                    <a:lnTo>
                      <a:pt x="7763" y="7323"/>
                    </a:lnTo>
                    <a:lnTo>
                      <a:pt x="7784" y="7219"/>
                    </a:lnTo>
                    <a:lnTo>
                      <a:pt x="7701" y="7072"/>
                    </a:lnTo>
                    <a:lnTo>
                      <a:pt x="7450" y="7051"/>
                    </a:lnTo>
                    <a:lnTo>
                      <a:pt x="7240" y="7010"/>
                    </a:lnTo>
                    <a:lnTo>
                      <a:pt x="7136" y="6926"/>
                    </a:lnTo>
                    <a:lnTo>
                      <a:pt x="6947" y="6926"/>
                    </a:lnTo>
                    <a:lnTo>
                      <a:pt x="6906" y="6968"/>
                    </a:lnTo>
                    <a:lnTo>
                      <a:pt x="6843" y="7030"/>
                    </a:lnTo>
                    <a:lnTo>
                      <a:pt x="6759" y="6947"/>
                    </a:lnTo>
                    <a:lnTo>
                      <a:pt x="6592" y="6926"/>
                    </a:lnTo>
                    <a:lnTo>
                      <a:pt x="6487" y="6926"/>
                    </a:lnTo>
                    <a:cubicBezTo>
                      <a:pt x="6403" y="6842"/>
                      <a:pt x="6320" y="6758"/>
                      <a:pt x="6278" y="6654"/>
                    </a:cubicBezTo>
                    <a:lnTo>
                      <a:pt x="6278" y="6486"/>
                    </a:lnTo>
                    <a:lnTo>
                      <a:pt x="6320" y="6173"/>
                    </a:lnTo>
                    <a:lnTo>
                      <a:pt x="6278" y="5963"/>
                    </a:lnTo>
                    <a:lnTo>
                      <a:pt x="6382" y="5712"/>
                    </a:lnTo>
                    <a:lnTo>
                      <a:pt x="6320" y="5649"/>
                    </a:lnTo>
                    <a:lnTo>
                      <a:pt x="6320" y="5461"/>
                    </a:lnTo>
                    <a:lnTo>
                      <a:pt x="6424" y="5398"/>
                    </a:lnTo>
                    <a:lnTo>
                      <a:pt x="6487" y="5336"/>
                    </a:lnTo>
                    <a:lnTo>
                      <a:pt x="6445" y="5231"/>
                    </a:lnTo>
                    <a:lnTo>
                      <a:pt x="6382" y="5168"/>
                    </a:lnTo>
                    <a:lnTo>
                      <a:pt x="6278" y="5085"/>
                    </a:lnTo>
                    <a:lnTo>
                      <a:pt x="6215" y="4959"/>
                    </a:lnTo>
                    <a:lnTo>
                      <a:pt x="6131" y="4938"/>
                    </a:lnTo>
                    <a:lnTo>
                      <a:pt x="6110" y="4854"/>
                    </a:lnTo>
                    <a:lnTo>
                      <a:pt x="6006" y="4813"/>
                    </a:lnTo>
                    <a:lnTo>
                      <a:pt x="5818" y="4833"/>
                    </a:lnTo>
                    <a:lnTo>
                      <a:pt x="5713" y="4813"/>
                    </a:lnTo>
                    <a:lnTo>
                      <a:pt x="5692" y="4624"/>
                    </a:lnTo>
                    <a:lnTo>
                      <a:pt x="5608" y="4520"/>
                    </a:lnTo>
                    <a:lnTo>
                      <a:pt x="5546" y="4561"/>
                    </a:lnTo>
                    <a:lnTo>
                      <a:pt x="5587" y="4457"/>
                    </a:lnTo>
                    <a:lnTo>
                      <a:pt x="5483" y="4415"/>
                    </a:lnTo>
                    <a:lnTo>
                      <a:pt x="5462" y="4122"/>
                    </a:lnTo>
                    <a:lnTo>
                      <a:pt x="5336" y="4185"/>
                    </a:lnTo>
                    <a:lnTo>
                      <a:pt x="5274" y="4122"/>
                    </a:lnTo>
                    <a:lnTo>
                      <a:pt x="5043" y="4122"/>
                    </a:lnTo>
                    <a:lnTo>
                      <a:pt x="4855" y="3996"/>
                    </a:lnTo>
                    <a:lnTo>
                      <a:pt x="4855" y="3892"/>
                    </a:lnTo>
                    <a:lnTo>
                      <a:pt x="4960" y="3850"/>
                    </a:lnTo>
                    <a:lnTo>
                      <a:pt x="5085" y="3766"/>
                    </a:lnTo>
                    <a:lnTo>
                      <a:pt x="5002" y="3704"/>
                    </a:lnTo>
                    <a:lnTo>
                      <a:pt x="4876" y="3745"/>
                    </a:lnTo>
                    <a:lnTo>
                      <a:pt x="4813" y="3704"/>
                    </a:lnTo>
                    <a:lnTo>
                      <a:pt x="4667" y="3766"/>
                    </a:lnTo>
                    <a:lnTo>
                      <a:pt x="4750" y="3683"/>
                    </a:lnTo>
                    <a:lnTo>
                      <a:pt x="4876" y="3578"/>
                    </a:lnTo>
                    <a:lnTo>
                      <a:pt x="5064" y="3557"/>
                    </a:lnTo>
                    <a:lnTo>
                      <a:pt x="5043" y="3432"/>
                    </a:lnTo>
                    <a:lnTo>
                      <a:pt x="4855" y="3222"/>
                    </a:lnTo>
                    <a:lnTo>
                      <a:pt x="4750" y="3222"/>
                    </a:lnTo>
                    <a:lnTo>
                      <a:pt x="4625" y="3285"/>
                    </a:lnTo>
                    <a:lnTo>
                      <a:pt x="4478" y="3369"/>
                    </a:lnTo>
                    <a:lnTo>
                      <a:pt x="4332" y="3369"/>
                    </a:lnTo>
                    <a:lnTo>
                      <a:pt x="4416" y="3348"/>
                    </a:lnTo>
                    <a:lnTo>
                      <a:pt x="4457" y="3285"/>
                    </a:lnTo>
                    <a:lnTo>
                      <a:pt x="4520" y="3264"/>
                    </a:lnTo>
                    <a:lnTo>
                      <a:pt x="4562" y="3180"/>
                    </a:lnTo>
                    <a:lnTo>
                      <a:pt x="4541" y="3097"/>
                    </a:lnTo>
                    <a:lnTo>
                      <a:pt x="4416" y="3055"/>
                    </a:lnTo>
                    <a:lnTo>
                      <a:pt x="4206" y="3055"/>
                    </a:lnTo>
                    <a:lnTo>
                      <a:pt x="4081" y="2929"/>
                    </a:lnTo>
                    <a:lnTo>
                      <a:pt x="4081" y="2846"/>
                    </a:lnTo>
                    <a:lnTo>
                      <a:pt x="4039" y="2678"/>
                    </a:lnTo>
                    <a:lnTo>
                      <a:pt x="3809" y="2448"/>
                    </a:lnTo>
                    <a:lnTo>
                      <a:pt x="3725" y="2427"/>
                    </a:lnTo>
                    <a:lnTo>
                      <a:pt x="3662" y="2448"/>
                    </a:lnTo>
                    <a:lnTo>
                      <a:pt x="3558" y="2364"/>
                    </a:lnTo>
                    <a:lnTo>
                      <a:pt x="3516" y="2155"/>
                    </a:lnTo>
                    <a:lnTo>
                      <a:pt x="3369" y="2009"/>
                    </a:lnTo>
                    <a:lnTo>
                      <a:pt x="3160" y="1883"/>
                    </a:lnTo>
                    <a:lnTo>
                      <a:pt x="3035" y="1883"/>
                    </a:lnTo>
                    <a:lnTo>
                      <a:pt x="2993" y="1925"/>
                    </a:lnTo>
                    <a:lnTo>
                      <a:pt x="2930" y="1883"/>
                    </a:lnTo>
                    <a:lnTo>
                      <a:pt x="2888" y="1716"/>
                    </a:lnTo>
                    <a:lnTo>
                      <a:pt x="2825" y="1800"/>
                    </a:lnTo>
                    <a:lnTo>
                      <a:pt x="2763" y="1716"/>
                    </a:lnTo>
                    <a:lnTo>
                      <a:pt x="2763" y="1528"/>
                    </a:lnTo>
                    <a:lnTo>
                      <a:pt x="2658" y="1402"/>
                    </a:lnTo>
                    <a:lnTo>
                      <a:pt x="2533" y="1381"/>
                    </a:lnTo>
                    <a:lnTo>
                      <a:pt x="2470" y="1297"/>
                    </a:lnTo>
                    <a:lnTo>
                      <a:pt x="2135" y="1088"/>
                    </a:lnTo>
                    <a:lnTo>
                      <a:pt x="2030" y="1088"/>
                    </a:lnTo>
                    <a:lnTo>
                      <a:pt x="1905" y="942"/>
                    </a:lnTo>
                    <a:lnTo>
                      <a:pt x="1779" y="900"/>
                    </a:lnTo>
                    <a:lnTo>
                      <a:pt x="1737" y="837"/>
                    </a:lnTo>
                    <a:lnTo>
                      <a:pt x="1716" y="649"/>
                    </a:lnTo>
                    <a:lnTo>
                      <a:pt x="1612" y="586"/>
                    </a:lnTo>
                    <a:lnTo>
                      <a:pt x="1528" y="460"/>
                    </a:lnTo>
                    <a:lnTo>
                      <a:pt x="1486" y="439"/>
                    </a:lnTo>
                    <a:lnTo>
                      <a:pt x="1403" y="272"/>
                    </a:lnTo>
                    <a:lnTo>
                      <a:pt x="1277" y="230"/>
                    </a:lnTo>
                    <a:lnTo>
                      <a:pt x="1152" y="230"/>
                    </a:lnTo>
                    <a:lnTo>
                      <a:pt x="1068" y="251"/>
                    </a:lnTo>
                    <a:lnTo>
                      <a:pt x="1005" y="209"/>
                    </a:lnTo>
                    <a:lnTo>
                      <a:pt x="859" y="209"/>
                    </a:lnTo>
                    <a:lnTo>
                      <a:pt x="670" y="251"/>
                    </a:lnTo>
                    <a:lnTo>
                      <a:pt x="587" y="209"/>
                    </a:lnTo>
                    <a:lnTo>
                      <a:pt x="336" y="21"/>
                    </a:lnTo>
                    <a:lnTo>
                      <a:pt x="10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54" name="Google Shape;5927;p93">
              <a:extLst>
                <a:ext uri="{FF2B5EF4-FFF2-40B4-BE49-F238E27FC236}">
                  <a16:creationId xmlns:a16="http://schemas.microsoft.com/office/drawing/2014/main" id="{82636FC4-50D6-4DD7-B488-55D29C3269B0}"/>
                </a:ext>
              </a:extLst>
            </p:cNvPr>
            <p:cNvSpPr/>
            <p:nvPr/>
          </p:nvSpPr>
          <p:spPr>
            <a:xfrm>
              <a:off x="4437231" y="3100607"/>
              <a:ext cx="29912" cy="37370"/>
            </a:xfrm>
            <a:custGeom>
              <a:avLst/>
              <a:gdLst/>
              <a:ahLst/>
              <a:cxnLst/>
              <a:rect l="l" t="t" r="r" b="b"/>
              <a:pathLst>
                <a:path w="2512" h="3286" extrusionOk="0">
                  <a:moveTo>
                    <a:pt x="126" y="0"/>
                  </a:moveTo>
                  <a:lnTo>
                    <a:pt x="42" y="84"/>
                  </a:lnTo>
                  <a:lnTo>
                    <a:pt x="0" y="210"/>
                  </a:lnTo>
                  <a:lnTo>
                    <a:pt x="126" y="419"/>
                  </a:lnTo>
                  <a:lnTo>
                    <a:pt x="189" y="879"/>
                  </a:lnTo>
                  <a:lnTo>
                    <a:pt x="251" y="1047"/>
                  </a:lnTo>
                  <a:lnTo>
                    <a:pt x="314" y="1172"/>
                  </a:lnTo>
                  <a:lnTo>
                    <a:pt x="314" y="1360"/>
                  </a:lnTo>
                  <a:lnTo>
                    <a:pt x="251" y="1402"/>
                  </a:lnTo>
                  <a:lnTo>
                    <a:pt x="293" y="1507"/>
                  </a:lnTo>
                  <a:lnTo>
                    <a:pt x="356" y="1611"/>
                  </a:lnTo>
                  <a:lnTo>
                    <a:pt x="335" y="1674"/>
                  </a:lnTo>
                  <a:lnTo>
                    <a:pt x="419" y="1758"/>
                  </a:lnTo>
                  <a:lnTo>
                    <a:pt x="565" y="1863"/>
                  </a:lnTo>
                  <a:lnTo>
                    <a:pt x="649" y="2009"/>
                  </a:lnTo>
                  <a:lnTo>
                    <a:pt x="754" y="2072"/>
                  </a:lnTo>
                  <a:lnTo>
                    <a:pt x="837" y="2176"/>
                  </a:lnTo>
                  <a:lnTo>
                    <a:pt x="754" y="2281"/>
                  </a:lnTo>
                  <a:lnTo>
                    <a:pt x="733" y="2344"/>
                  </a:lnTo>
                  <a:lnTo>
                    <a:pt x="816" y="2407"/>
                  </a:lnTo>
                  <a:lnTo>
                    <a:pt x="1005" y="2490"/>
                  </a:lnTo>
                  <a:lnTo>
                    <a:pt x="1193" y="2616"/>
                  </a:lnTo>
                  <a:lnTo>
                    <a:pt x="1172" y="2720"/>
                  </a:lnTo>
                  <a:lnTo>
                    <a:pt x="1339" y="2867"/>
                  </a:lnTo>
                  <a:lnTo>
                    <a:pt x="1486" y="2867"/>
                  </a:lnTo>
                  <a:lnTo>
                    <a:pt x="1528" y="2909"/>
                  </a:lnTo>
                  <a:lnTo>
                    <a:pt x="1611" y="3013"/>
                  </a:lnTo>
                  <a:lnTo>
                    <a:pt x="1800" y="3118"/>
                  </a:lnTo>
                  <a:lnTo>
                    <a:pt x="1988" y="3139"/>
                  </a:lnTo>
                  <a:lnTo>
                    <a:pt x="2051" y="3223"/>
                  </a:lnTo>
                  <a:lnTo>
                    <a:pt x="2197" y="3264"/>
                  </a:lnTo>
                  <a:lnTo>
                    <a:pt x="2218" y="3244"/>
                  </a:lnTo>
                  <a:lnTo>
                    <a:pt x="2281" y="3285"/>
                  </a:lnTo>
                  <a:lnTo>
                    <a:pt x="2386" y="3223"/>
                  </a:lnTo>
                  <a:lnTo>
                    <a:pt x="2386" y="3181"/>
                  </a:lnTo>
                  <a:lnTo>
                    <a:pt x="2344" y="3181"/>
                  </a:lnTo>
                  <a:lnTo>
                    <a:pt x="2386" y="3118"/>
                  </a:lnTo>
                  <a:lnTo>
                    <a:pt x="2323" y="3076"/>
                  </a:lnTo>
                  <a:lnTo>
                    <a:pt x="2407" y="3118"/>
                  </a:lnTo>
                  <a:lnTo>
                    <a:pt x="2407" y="3181"/>
                  </a:lnTo>
                  <a:lnTo>
                    <a:pt x="2407" y="3223"/>
                  </a:lnTo>
                  <a:lnTo>
                    <a:pt x="2511" y="3244"/>
                  </a:lnTo>
                  <a:lnTo>
                    <a:pt x="2511" y="3118"/>
                  </a:lnTo>
                  <a:lnTo>
                    <a:pt x="2386" y="2846"/>
                  </a:lnTo>
                  <a:lnTo>
                    <a:pt x="2344" y="2846"/>
                  </a:lnTo>
                  <a:lnTo>
                    <a:pt x="2344" y="2804"/>
                  </a:lnTo>
                  <a:lnTo>
                    <a:pt x="2323" y="2762"/>
                  </a:lnTo>
                  <a:lnTo>
                    <a:pt x="2281" y="2741"/>
                  </a:lnTo>
                  <a:lnTo>
                    <a:pt x="2239" y="2553"/>
                  </a:lnTo>
                  <a:lnTo>
                    <a:pt x="2281" y="2511"/>
                  </a:lnTo>
                  <a:lnTo>
                    <a:pt x="2239" y="2448"/>
                  </a:lnTo>
                  <a:lnTo>
                    <a:pt x="2176" y="2448"/>
                  </a:lnTo>
                  <a:lnTo>
                    <a:pt x="2009" y="2344"/>
                  </a:lnTo>
                  <a:lnTo>
                    <a:pt x="1967" y="2197"/>
                  </a:lnTo>
                  <a:lnTo>
                    <a:pt x="1967" y="1904"/>
                  </a:lnTo>
                  <a:lnTo>
                    <a:pt x="1904" y="1821"/>
                  </a:lnTo>
                  <a:lnTo>
                    <a:pt x="1904" y="1716"/>
                  </a:lnTo>
                  <a:lnTo>
                    <a:pt x="1925" y="1674"/>
                  </a:lnTo>
                  <a:lnTo>
                    <a:pt x="1904" y="1381"/>
                  </a:lnTo>
                  <a:lnTo>
                    <a:pt x="1967" y="1339"/>
                  </a:lnTo>
                  <a:lnTo>
                    <a:pt x="1904" y="1088"/>
                  </a:lnTo>
                  <a:lnTo>
                    <a:pt x="1779" y="879"/>
                  </a:lnTo>
                  <a:lnTo>
                    <a:pt x="1360" y="461"/>
                  </a:lnTo>
                  <a:lnTo>
                    <a:pt x="1277" y="314"/>
                  </a:lnTo>
                  <a:lnTo>
                    <a:pt x="1235" y="335"/>
                  </a:lnTo>
                  <a:lnTo>
                    <a:pt x="1172" y="398"/>
                  </a:lnTo>
                  <a:lnTo>
                    <a:pt x="1088" y="398"/>
                  </a:lnTo>
                  <a:lnTo>
                    <a:pt x="1067" y="419"/>
                  </a:lnTo>
                  <a:lnTo>
                    <a:pt x="1067" y="523"/>
                  </a:lnTo>
                  <a:lnTo>
                    <a:pt x="984" y="565"/>
                  </a:lnTo>
                  <a:lnTo>
                    <a:pt x="921" y="523"/>
                  </a:lnTo>
                  <a:lnTo>
                    <a:pt x="816" y="523"/>
                  </a:lnTo>
                  <a:lnTo>
                    <a:pt x="670" y="628"/>
                  </a:lnTo>
                  <a:lnTo>
                    <a:pt x="523" y="607"/>
                  </a:lnTo>
                  <a:lnTo>
                    <a:pt x="523" y="523"/>
                  </a:lnTo>
                  <a:lnTo>
                    <a:pt x="607" y="440"/>
                  </a:lnTo>
                  <a:lnTo>
                    <a:pt x="607" y="251"/>
                  </a:lnTo>
                  <a:lnTo>
                    <a:pt x="544" y="189"/>
                  </a:lnTo>
                  <a:lnTo>
                    <a:pt x="419" y="189"/>
                  </a:lnTo>
                  <a:lnTo>
                    <a:pt x="398" y="126"/>
                  </a:lnTo>
                  <a:lnTo>
                    <a:pt x="231" y="84"/>
                  </a:lnTo>
                  <a:lnTo>
                    <a:pt x="12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 name="Google Shape;5928;p93">
              <a:extLst>
                <a:ext uri="{FF2B5EF4-FFF2-40B4-BE49-F238E27FC236}">
                  <a16:creationId xmlns:a16="http://schemas.microsoft.com/office/drawing/2014/main" id="{3EE58E07-B680-4DEB-9B84-F4F74549D318}"/>
                </a:ext>
              </a:extLst>
            </p:cNvPr>
            <p:cNvSpPr/>
            <p:nvPr/>
          </p:nvSpPr>
          <p:spPr>
            <a:xfrm>
              <a:off x="4503746" y="3099174"/>
              <a:ext cx="65289" cy="42135"/>
            </a:xfrm>
            <a:custGeom>
              <a:avLst/>
              <a:gdLst/>
              <a:ahLst/>
              <a:cxnLst/>
              <a:rect l="l" t="t" r="r" b="b"/>
              <a:pathLst>
                <a:path w="5483" h="3705" extrusionOk="0">
                  <a:moveTo>
                    <a:pt x="4186" y="1"/>
                  </a:moveTo>
                  <a:lnTo>
                    <a:pt x="4144" y="22"/>
                  </a:lnTo>
                  <a:lnTo>
                    <a:pt x="4165" y="126"/>
                  </a:lnTo>
                  <a:lnTo>
                    <a:pt x="4039" y="252"/>
                  </a:lnTo>
                  <a:lnTo>
                    <a:pt x="3976" y="231"/>
                  </a:lnTo>
                  <a:lnTo>
                    <a:pt x="4039" y="126"/>
                  </a:lnTo>
                  <a:lnTo>
                    <a:pt x="4018" y="43"/>
                  </a:lnTo>
                  <a:lnTo>
                    <a:pt x="3935" y="43"/>
                  </a:lnTo>
                  <a:lnTo>
                    <a:pt x="3851" y="273"/>
                  </a:lnTo>
                  <a:lnTo>
                    <a:pt x="3767" y="315"/>
                  </a:lnTo>
                  <a:lnTo>
                    <a:pt x="3642" y="587"/>
                  </a:lnTo>
                  <a:lnTo>
                    <a:pt x="3642" y="754"/>
                  </a:lnTo>
                  <a:lnTo>
                    <a:pt x="3432" y="963"/>
                  </a:lnTo>
                  <a:lnTo>
                    <a:pt x="3328" y="963"/>
                  </a:lnTo>
                  <a:lnTo>
                    <a:pt x="3140" y="1005"/>
                  </a:lnTo>
                  <a:lnTo>
                    <a:pt x="3098" y="1089"/>
                  </a:lnTo>
                  <a:lnTo>
                    <a:pt x="3181" y="1089"/>
                  </a:lnTo>
                  <a:lnTo>
                    <a:pt x="3119" y="1152"/>
                  </a:lnTo>
                  <a:lnTo>
                    <a:pt x="3181" y="1173"/>
                  </a:lnTo>
                  <a:lnTo>
                    <a:pt x="3307" y="1152"/>
                  </a:lnTo>
                  <a:lnTo>
                    <a:pt x="3244" y="1214"/>
                  </a:lnTo>
                  <a:lnTo>
                    <a:pt x="3181" y="1277"/>
                  </a:lnTo>
                  <a:lnTo>
                    <a:pt x="3140" y="1298"/>
                  </a:lnTo>
                  <a:lnTo>
                    <a:pt x="3140" y="1319"/>
                  </a:lnTo>
                  <a:lnTo>
                    <a:pt x="3223" y="1528"/>
                  </a:lnTo>
                  <a:lnTo>
                    <a:pt x="3181" y="1633"/>
                  </a:lnTo>
                  <a:lnTo>
                    <a:pt x="3098" y="1591"/>
                  </a:lnTo>
                  <a:lnTo>
                    <a:pt x="3098" y="1465"/>
                  </a:lnTo>
                  <a:lnTo>
                    <a:pt x="3077" y="1361"/>
                  </a:lnTo>
                  <a:lnTo>
                    <a:pt x="3035" y="1361"/>
                  </a:lnTo>
                  <a:lnTo>
                    <a:pt x="3035" y="1319"/>
                  </a:lnTo>
                  <a:lnTo>
                    <a:pt x="2993" y="1319"/>
                  </a:lnTo>
                  <a:lnTo>
                    <a:pt x="2930" y="1424"/>
                  </a:lnTo>
                  <a:lnTo>
                    <a:pt x="2972" y="1675"/>
                  </a:lnTo>
                  <a:lnTo>
                    <a:pt x="2909" y="1717"/>
                  </a:lnTo>
                  <a:lnTo>
                    <a:pt x="2805" y="1612"/>
                  </a:lnTo>
                  <a:lnTo>
                    <a:pt x="2700" y="1465"/>
                  </a:lnTo>
                  <a:lnTo>
                    <a:pt x="2658" y="1465"/>
                  </a:lnTo>
                  <a:lnTo>
                    <a:pt x="2554" y="1403"/>
                  </a:lnTo>
                  <a:lnTo>
                    <a:pt x="2470" y="1507"/>
                  </a:lnTo>
                  <a:lnTo>
                    <a:pt x="2470" y="1633"/>
                  </a:lnTo>
                  <a:lnTo>
                    <a:pt x="2344" y="1779"/>
                  </a:lnTo>
                  <a:lnTo>
                    <a:pt x="2261" y="1884"/>
                  </a:lnTo>
                  <a:lnTo>
                    <a:pt x="2093" y="2030"/>
                  </a:lnTo>
                  <a:lnTo>
                    <a:pt x="2072" y="2135"/>
                  </a:lnTo>
                  <a:lnTo>
                    <a:pt x="1926" y="2323"/>
                  </a:lnTo>
                  <a:lnTo>
                    <a:pt x="1779" y="2449"/>
                  </a:lnTo>
                  <a:lnTo>
                    <a:pt x="1319" y="2554"/>
                  </a:lnTo>
                  <a:lnTo>
                    <a:pt x="1256" y="2574"/>
                  </a:lnTo>
                  <a:lnTo>
                    <a:pt x="1298" y="2742"/>
                  </a:lnTo>
                  <a:lnTo>
                    <a:pt x="1340" y="2784"/>
                  </a:lnTo>
                  <a:lnTo>
                    <a:pt x="1256" y="2763"/>
                  </a:lnTo>
                  <a:lnTo>
                    <a:pt x="1173" y="2826"/>
                  </a:lnTo>
                  <a:lnTo>
                    <a:pt x="1047" y="2846"/>
                  </a:lnTo>
                  <a:lnTo>
                    <a:pt x="984" y="2888"/>
                  </a:lnTo>
                  <a:lnTo>
                    <a:pt x="943" y="3035"/>
                  </a:lnTo>
                  <a:lnTo>
                    <a:pt x="943" y="3181"/>
                  </a:lnTo>
                  <a:lnTo>
                    <a:pt x="838" y="3349"/>
                  </a:lnTo>
                  <a:lnTo>
                    <a:pt x="838" y="3370"/>
                  </a:lnTo>
                  <a:lnTo>
                    <a:pt x="629" y="3349"/>
                  </a:lnTo>
                  <a:lnTo>
                    <a:pt x="399" y="3265"/>
                  </a:lnTo>
                  <a:lnTo>
                    <a:pt x="210" y="3265"/>
                  </a:lnTo>
                  <a:lnTo>
                    <a:pt x="168" y="3181"/>
                  </a:lnTo>
                  <a:lnTo>
                    <a:pt x="64" y="3056"/>
                  </a:lnTo>
                  <a:lnTo>
                    <a:pt x="1" y="3077"/>
                  </a:lnTo>
                  <a:lnTo>
                    <a:pt x="127" y="3286"/>
                  </a:lnTo>
                  <a:lnTo>
                    <a:pt x="315" y="3411"/>
                  </a:lnTo>
                  <a:lnTo>
                    <a:pt x="357" y="3474"/>
                  </a:lnTo>
                  <a:lnTo>
                    <a:pt x="482" y="3579"/>
                  </a:lnTo>
                  <a:lnTo>
                    <a:pt x="503" y="3683"/>
                  </a:lnTo>
                  <a:lnTo>
                    <a:pt x="608" y="3704"/>
                  </a:lnTo>
                  <a:lnTo>
                    <a:pt x="775" y="3662"/>
                  </a:lnTo>
                  <a:lnTo>
                    <a:pt x="796" y="3579"/>
                  </a:lnTo>
                  <a:lnTo>
                    <a:pt x="922" y="3600"/>
                  </a:lnTo>
                  <a:lnTo>
                    <a:pt x="1005" y="3558"/>
                  </a:lnTo>
                  <a:lnTo>
                    <a:pt x="1319" y="3579"/>
                  </a:lnTo>
                  <a:lnTo>
                    <a:pt x="1654" y="3453"/>
                  </a:lnTo>
                  <a:lnTo>
                    <a:pt x="1738" y="3370"/>
                  </a:lnTo>
                  <a:lnTo>
                    <a:pt x="2031" y="3370"/>
                  </a:lnTo>
                  <a:lnTo>
                    <a:pt x="2156" y="3411"/>
                  </a:lnTo>
                  <a:lnTo>
                    <a:pt x="2198" y="3495"/>
                  </a:lnTo>
                  <a:lnTo>
                    <a:pt x="2344" y="3495"/>
                  </a:lnTo>
                  <a:lnTo>
                    <a:pt x="2575" y="3370"/>
                  </a:lnTo>
                  <a:lnTo>
                    <a:pt x="2868" y="3307"/>
                  </a:lnTo>
                  <a:lnTo>
                    <a:pt x="2826" y="3244"/>
                  </a:lnTo>
                  <a:lnTo>
                    <a:pt x="3077" y="2888"/>
                  </a:lnTo>
                  <a:lnTo>
                    <a:pt x="3140" y="2637"/>
                  </a:lnTo>
                  <a:lnTo>
                    <a:pt x="3328" y="2365"/>
                  </a:lnTo>
                  <a:lnTo>
                    <a:pt x="3453" y="1926"/>
                  </a:lnTo>
                  <a:lnTo>
                    <a:pt x="3453" y="1842"/>
                  </a:lnTo>
                  <a:lnTo>
                    <a:pt x="3516" y="1737"/>
                  </a:lnTo>
                  <a:lnTo>
                    <a:pt x="3516" y="1675"/>
                  </a:lnTo>
                  <a:lnTo>
                    <a:pt x="3621" y="1528"/>
                  </a:lnTo>
                  <a:lnTo>
                    <a:pt x="3725" y="1570"/>
                  </a:lnTo>
                  <a:lnTo>
                    <a:pt x="4165" y="1570"/>
                  </a:lnTo>
                  <a:lnTo>
                    <a:pt x="4228" y="1612"/>
                  </a:lnTo>
                  <a:lnTo>
                    <a:pt x="4374" y="1612"/>
                  </a:lnTo>
                  <a:lnTo>
                    <a:pt x="4500" y="1633"/>
                  </a:lnTo>
                  <a:lnTo>
                    <a:pt x="4500" y="1591"/>
                  </a:lnTo>
                  <a:lnTo>
                    <a:pt x="4667" y="1675"/>
                  </a:lnTo>
                  <a:lnTo>
                    <a:pt x="4751" y="1696"/>
                  </a:lnTo>
                  <a:lnTo>
                    <a:pt x="4876" y="1633"/>
                  </a:lnTo>
                  <a:lnTo>
                    <a:pt x="5023" y="1612"/>
                  </a:lnTo>
                  <a:lnTo>
                    <a:pt x="5023" y="1528"/>
                  </a:lnTo>
                  <a:lnTo>
                    <a:pt x="4876" y="1403"/>
                  </a:lnTo>
                  <a:lnTo>
                    <a:pt x="4876" y="1277"/>
                  </a:lnTo>
                  <a:lnTo>
                    <a:pt x="4918" y="1214"/>
                  </a:lnTo>
                  <a:lnTo>
                    <a:pt x="5169" y="1256"/>
                  </a:lnTo>
                  <a:lnTo>
                    <a:pt x="5357" y="1193"/>
                  </a:lnTo>
                  <a:lnTo>
                    <a:pt x="5483" y="1089"/>
                  </a:lnTo>
                  <a:lnTo>
                    <a:pt x="5441" y="1005"/>
                  </a:lnTo>
                  <a:lnTo>
                    <a:pt x="5357" y="1005"/>
                  </a:lnTo>
                  <a:lnTo>
                    <a:pt x="5232" y="984"/>
                  </a:lnTo>
                  <a:lnTo>
                    <a:pt x="5127" y="880"/>
                  </a:lnTo>
                  <a:lnTo>
                    <a:pt x="5023" y="901"/>
                  </a:lnTo>
                  <a:lnTo>
                    <a:pt x="4897" y="775"/>
                  </a:lnTo>
                  <a:lnTo>
                    <a:pt x="4813" y="775"/>
                  </a:lnTo>
                  <a:lnTo>
                    <a:pt x="4709" y="859"/>
                  </a:lnTo>
                  <a:lnTo>
                    <a:pt x="4667" y="796"/>
                  </a:lnTo>
                  <a:lnTo>
                    <a:pt x="4792" y="691"/>
                  </a:lnTo>
                  <a:lnTo>
                    <a:pt x="4709" y="629"/>
                  </a:lnTo>
                  <a:lnTo>
                    <a:pt x="4688" y="649"/>
                  </a:lnTo>
                  <a:lnTo>
                    <a:pt x="4604" y="754"/>
                  </a:lnTo>
                  <a:lnTo>
                    <a:pt x="4562" y="670"/>
                  </a:lnTo>
                  <a:lnTo>
                    <a:pt x="4500" y="670"/>
                  </a:lnTo>
                  <a:lnTo>
                    <a:pt x="4500" y="482"/>
                  </a:lnTo>
                  <a:lnTo>
                    <a:pt x="4604" y="461"/>
                  </a:lnTo>
                  <a:lnTo>
                    <a:pt x="4604" y="377"/>
                  </a:lnTo>
                  <a:lnTo>
                    <a:pt x="4458" y="273"/>
                  </a:lnTo>
                  <a:lnTo>
                    <a:pt x="4437" y="336"/>
                  </a:lnTo>
                  <a:lnTo>
                    <a:pt x="4290" y="231"/>
                  </a:lnTo>
                  <a:lnTo>
                    <a:pt x="4290" y="64"/>
                  </a:lnTo>
                  <a:lnTo>
                    <a:pt x="418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 name="Google Shape;5929;p93">
              <a:extLst>
                <a:ext uri="{FF2B5EF4-FFF2-40B4-BE49-F238E27FC236}">
                  <a16:creationId xmlns:a16="http://schemas.microsoft.com/office/drawing/2014/main" id="{B2E2795C-00B8-4035-8BC2-A0CE54B95B3A}"/>
                </a:ext>
              </a:extLst>
            </p:cNvPr>
            <p:cNvSpPr/>
            <p:nvPr/>
          </p:nvSpPr>
          <p:spPr>
            <a:xfrm>
              <a:off x="4442708" y="2983061"/>
              <a:ext cx="56823" cy="104945"/>
            </a:xfrm>
            <a:custGeom>
              <a:avLst/>
              <a:gdLst/>
              <a:ahLst/>
              <a:cxnLst/>
              <a:rect l="l" t="t" r="r" b="b"/>
              <a:pathLst>
                <a:path w="4772" h="9228" extrusionOk="0">
                  <a:moveTo>
                    <a:pt x="1821" y="0"/>
                  </a:moveTo>
                  <a:lnTo>
                    <a:pt x="1737" y="84"/>
                  </a:lnTo>
                  <a:lnTo>
                    <a:pt x="1591" y="84"/>
                  </a:lnTo>
                  <a:lnTo>
                    <a:pt x="1465" y="126"/>
                  </a:lnTo>
                  <a:lnTo>
                    <a:pt x="1507" y="314"/>
                  </a:lnTo>
                  <a:lnTo>
                    <a:pt x="1298" y="398"/>
                  </a:lnTo>
                  <a:lnTo>
                    <a:pt x="1193" y="314"/>
                  </a:lnTo>
                  <a:lnTo>
                    <a:pt x="1026" y="377"/>
                  </a:lnTo>
                  <a:lnTo>
                    <a:pt x="1026" y="440"/>
                  </a:lnTo>
                  <a:lnTo>
                    <a:pt x="900" y="502"/>
                  </a:lnTo>
                  <a:lnTo>
                    <a:pt x="879" y="419"/>
                  </a:lnTo>
                  <a:lnTo>
                    <a:pt x="796" y="419"/>
                  </a:lnTo>
                  <a:lnTo>
                    <a:pt x="733" y="502"/>
                  </a:lnTo>
                  <a:lnTo>
                    <a:pt x="607" y="398"/>
                  </a:lnTo>
                  <a:lnTo>
                    <a:pt x="524" y="440"/>
                  </a:lnTo>
                  <a:lnTo>
                    <a:pt x="503" y="544"/>
                  </a:lnTo>
                  <a:lnTo>
                    <a:pt x="419" y="544"/>
                  </a:lnTo>
                  <a:lnTo>
                    <a:pt x="377" y="523"/>
                  </a:lnTo>
                  <a:lnTo>
                    <a:pt x="398" y="440"/>
                  </a:lnTo>
                  <a:lnTo>
                    <a:pt x="315" y="419"/>
                  </a:lnTo>
                  <a:lnTo>
                    <a:pt x="189" y="481"/>
                  </a:lnTo>
                  <a:lnTo>
                    <a:pt x="147" y="523"/>
                  </a:lnTo>
                  <a:lnTo>
                    <a:pt x="105" y="586"/>
                  </a:lnTo>
                  <a:lnTo>
                    <a:pt x="63" y="607"/>
                  </a:lnTo>
                  <a:lnTo>
                    <a:pt x="1" y="628"/>
                  </a:lnTo>
                  <a:lnTo>
                    <a:pt x="63" y="712"/>
                  </a:lnTo>
                  <a:lnTo>
                    <a:pt x="252" y="795"/>
                  </a:lnTo>
                  <a:lnTo>
                    <a:pt x="356" y="942"/>
                  </a:lnTo>
                  <a:lnTo>
                    <a:pt x="461" y="1025"/>
                  </a:lnTo>
                  <a:lnTo>
                    <a:pt x="482" y="1151"/>
                  </a:lnTo>
                  <a:lnTo>
                    <a:pt x="419" y="1235"/>
                  </a:lnTo>
                  <a:lnTo>
                    <a:pt x="628" y="1423"/>
                  </a:lnTo>
                  <a:lnTo>
                    <a:pt x="733" y="1632"/>
                  </a:lnTo>
                  <a:lnTo>
                    <a:pt x="984" y="1632"/>
                  </a:lnTo>
                  <a:lnTo>
                    <a:pt x="1131" y="1674"/>
                  </a:lnTo>
                  <a:lnTo>
                    <a:pt x="1256" y="1590"/>
                  </a:lnTo>
                  <a:lnTo>
                    <a:pt x="1423" y="1590"/>
                  </a:lnTo>
                  <a:lnTo>
                    <a:pt x="1507" y="1695"/>
                  </a:lnTo>
                  <a:lnTo>
                    <a:pt x="1654" y="1737"/>
                  </a:lnTo>
                  <a:lnTo>
                    <a:pt x="1675" y="1841"/>
                  </a:lnTo>
                  <a:lnTo>
                    <a:pt x="1654" y="1946"/>
                  </a:lnTo>
                  <a:lnTo>
                    <a:pt x="1842" y="1988"/>
                  </a:lnTo>
                  <a:lnTo>
                    <a:pt x="1842" y="2072"/>
                  </a:lnTo>
                  <a:lnTo>
                    <a:pt x="1758" y="2092"/>
                  </a:lnTo>
                  <a:lnTo>
                    <a:pt x="1675" y="2302"/>
                  </a:lnTo>
                  <a:lnTo>
                    <a:pt x="1633" y="2385"/>
                  </a:lnTo>
                  <a:lnTo>
                    <a:pt x="1507" y="2385"/>
                  </a:lnTo>
                  <a:lnTo>
                    <a:pt x="1340" y="2469"/>
                  </a:lnTo>
                  <a:lnTo>
                    <a:pt x="1256" y="2469"/>
                  </a:lnTo>
                  <a:lnTo>
                    <a:pt x="1256" y="2532"/>
                  </a:lnTo>
                  <a:lnTo>
                    <a:pt x="1403" y="2699"/>
                  </a:lnTo>
                  <a:lnTo>
                    <a:pt x="1319" y="2783"/>
                  </a:lnTo>
                  <a:lnTo>
                    <a:pt x="1340" y="2846"/>
                  </a:lnTo>
                  <a:lnTo>
                    <a:pt x="1423" y="2846"/>
                  </a:lnTo>
                  <a:lnTo>
                    <a:pt x="1507" y="3013"/>
                  </a:lnTo>
                  <a:lnTo>
                    <a:pt x="1675" y="3013"/>
                  </a:lnTo>
                  <a:lnTo>
                    <a:pt x="1863" y="3118"/>
                  </a:lnTo>
                  <a:lnTo>
                    <a:pt x="1968" y="3118"/>
                  </a:lnTo>
                  <a:lnTo>
                    <a:pt x="2114" y="3327"/>
                  </a:lnTo>
                  <a:lnTo>
                    <a:pt x="2281" y="3411"/>
                  </a:lnTo>
                  <a:lnTo>
                    <a:pt x="2407" y="3557"/>
                  </a:lnTo>
                  <a:lnTo>
                    <a:pt x="2386" y="3641"/>
                  </a:lnTo>
                  <a:lnTo>
                    <a:pt x="2574" y="3850"/>
                  </a:lnTo>
                  <a:lnTo>
                    <a:pt x="2616" y="3976"/>
                  </a:lnTo>
                  <a:lnTo>
                    <a:pt x="2700" y="4038"/>
                  </a:lnTo>
                  <a:lnTo>
                    <a:pt x="2825" y="4038"/>
                  </a:lnTo>
                  <a:lnTo>
                    <a:pt x="2909" y="4143"/>
                  </a:lnTo>
                  <a:lnTo>
                    <a:pt x="2909" y="4206"/>
                  </a:lnTo>
                  <a:lnTo>
                    <a:pt x="2993" y="4289"/>
                  </a:lnTo>
                  <a:lnTo>
                    <a:pt x="3035" y="4289"/>
                  </a:lnTo>
                  <a:lnTo>
                    <a:pt x="3118" y="4310"/>
                  </a:lnTo>
                  <a:lnTo>
                    <a:pt x="3097" y="4415"/>
                  </a:lnTo>
                  <a:lnTo>
                    <a:pt x="3139" y="4478"/>
                  </a:lnTo>
                  <a:lnTo>
                    <a:pt x="3286" y="4478"/>
                  </a:lnTo>
                  <a:lnTo>
                    <a:pt x="3348" y="4582"/>
                  </a:lnTo>
                  <a:lnTo>
                    <a:pt x="3411" y="4603"/>
                  </a:lnTo>
                  <a:lnTo>
                    <a:pt x="3516" y="4561"/>
                  </a:lnTo>
                  <a:lnTo>
                    <a:pt x="3558" y="4624"/>
                  </a:lnTo>
                  <a:lnTo>
                    <a:pt x="3495" y="4708"/>
                  </a:lnTo>
                  <a:lnTo>
                    <a:pt x="3453" y="4875"/>
                  </a:lnTo>
                  <a:lnTo>
                    <a:pt x="3516" y="4938"/>
                  </a:lnTo>
                  <a:lnTo>
                    <a:pt x="3600" y="4938"/>
                  </a:lnTo>
                  <a:lnTo>
                    <a:pt x="3600" y="5105"/>
                  </a:lnTo>
                  <a:lnTo>
                    <a:pt x="3432" y="5231"/>
                  </a:lnTo>
                  <a:lnTo>
                    <a:pt x="3453" y="5357"/>
                  </a:lnTo>
                  <a:lnTo>
                    <a:pt x="3495" y="5440"/>
                  </a:lnTo>
                  <a:lnTo>
                    <a:pt x="3516" y="5629"/>
                  </a:lnTo>
                  <a:lnTo>
                    <a:pt x="3411" y="5670"/>
                  </a:lnTo>
                  <a:lnTo>
                    <a:pt x="3390" y="5670"/>
                  </a:lnTo>
                  <a:lnTo>
                    <a:pt x="3453" y="5859"/>
                  </a:lnTo>
                  <a:lnTo>
                    <a:pt x="3558" y="5921"/>
                  </a:lnTo>
                  <a:lnTo>
                    <a:pt x="3662" y="6152"/>
                  </a:lnTo>
                  <a:lnTo>
                    <a:pt x="3641" y="6340"/>
                  </a:lnTo>
                  <a:lnTo>
                    <a:pt x="3662" y="6445"/>
                  </a:lnTo>
                  <a:lnTo>
                    <a:pt x="3641" y="6591"/>
                  </a:lnTo>
                  <a:lnTo>
                    <a:pt x="3662" y="6717"/>
                  </a:lnTo>
                  <a:lnTo>
                    <a:pt x="3558" y="6905"/>
                  </a:lnTo>
                  <a:lnTo>
                    <a:pt x="3495" y="6926"/>
                  </a:lnTo>
                  <a:lnTo>
                    <a:pt x="3453" y="7010"/>
                  </a:lnTo>
                  <a:lnTo>
                    <a:pt x="3307" y="7072"/>
                  </a:lnTo>
                  <a:lnTo>
                    <a:pt x="3139" y="7177"/>
                  </a:lnTo>
                  <a:lnTo>
                    <a:pt x="3076" y="7282"/>
                  </a:lnTo>
                  <a:lnTo>
                    <a:pt x="2867" y="7282"/>
                  </a:lnTo>
                  <a:lnTo>
                    <a:pt x="2763" y="7344"/>
                  </a:lnTo>
                  <a:lnTo>
                    <a:pt x="2784" y="7554"/>
                  </a:lnTo>
                  <a:lnTo>
                    <a:pt x="2909" y="7595"/>
                  </a:lnTo>
                  <a:lnTo>
                    <a:pt x="3014" y="7700"/>
                  </a:lnTo>
                  <a:lnTo>
                    <a:pt x="2993" y="7763"/>
                  </a:lnTo>
                  <a:lnTo>
                    <a:pt x="3035" y="7909"/>
                  </a:lnTo>
                  <a:lnTo>
                    <a:pt x="2867" y="7909"/>
                  </a:lnTo>
                  <a:lnTo>
                    <a:pt x="2825" y="7826"/>
                  </a:lnTo>
                  <a:lnTo>
                    <a:pt x="2721" y="7763"/>
                  </a:lnTo>
                  <a:lnTo>
                    <a:pt x="2449" y="7826"/>
                  </a:lnTo>
                  <a:lnTo>
                    <a:pt x="2386" y="7805"/>
                  </a:lnTo>
                  <a:lnTo>
                    <a:pt x="2260" y="7805"/>
                  </a:lnTo>
                  <a:lnTo>
                    <a:pt x="2198" y="7951"/>
                  </a:lnTo>
                  <a:lnTo>
                    <a:pt x="2072" y="7972"/>
                  </a:lnTo>
                  <a:lnTo>
                    <a:pt x="1968" y="8118"/>
                  </a:lnTo>
                  <a:lnTo>
                    <a:pt x="1988" y="8139"/>
                  </a:lnTo>
                  <a:lnTo>
                    <a:pt x="1988" y="8244"/>
                  </a:lnTo>
                  <a:lnTo>
                    <a:pt x="1988" y="8265"/>
                  </a:lnTo>
                  <a:lnTo>
                    <a:pt x="2093" y="8286"/>
                  </a:lnTo>
                  <a:lnTo>
                    <a:pt x="2156" y="8265"/>
                  </a:lnTo>
                  <a:lnTo>
                    <a:pt x="2198" y="8286"/>
                  </a:lnTo>
                  <a:lnTo>
                    <a:pt x="2281" y="8265"/>
                  </a:lnTo>
                  <a:lnTo>
                    <a:pt x="2407" y="8286"/>
                  </a:lnTo>
                  <a:lnTo>
                    <a:pt x="2491" y="8265"/>
                  </a:lnTo>
                  <a:lnTo>
                    <a:pt x="2449" y="8328"/>
                  </a:lnTo>
                  <a:lnTo>
                    <a:pt x="2281" y="8453"/>
                  </a:lnTo>
                  <a:lnTo>
                    <a:pt x="2198" y="8579"/>
                  </a:lnTo>
                  <a:lnTo>
                    <a:pt x="2198" y="8767"/>
                  </a:lnTo>
                  <a:lnTo>
                    <a:pt x="2177" y="8851"/>
                  </a:lnTo>
                  <a:lnTo>
                    <a:pt x="2240" y="8851"/>
                  </a:lnTo>
                  <a:lnTo>
                    <a:pt x="2198" y="8872"/>
                  </a:lnTo>
                  <a:lnTo>
                    <a:pt x="2198" y="9018"/>
                  </a:lnTo>
                  <a:lnTo>
                    <a:pt x="2281" y="9081"/>
                  </a:lnTo>
                  <a:lnTo>
                    <a:pt x="2344" y="9060"/>
                  </a:lnTo>
                  <a:lnTo>
                    <a:pt x="2344" y="9060"/>
                  </a:lnTo>
                  <a:lnTo>
                    <a:pt x="2281" y="9123"/>
                  </a:lnTo>
                  <a:lnTo>
                    <a:pt x="2177" y="9165"/>
                  </a:lnTo>
                  <a:lnTo>
                    <a:pt x="2072" y="9227"/>
                  </a:lnTo>
                  <a:lnTo>
                    <a:pt x="2240" y="9227"/>
                  </a:lnTo>
                  <a:lnTo>
                    <a:pt x="2470" y="9123"/>
                  </a:lnTo>
                  <a:lnTo>
                    <a:pt x="2470" y="9102"/>
                  </a:lnTo>
                  <a:lnTo>
                    <a:pt x="2491" y="9102"/>
                  </a:lnTo>
                  <a:lnTo>
                    <a:pt x="2574" y="9018"/>
                  </a:lnTo>
                  <a:lnTo>
                    <a:pt x="2595" y="8914"/>
                  </a:lnTo>
                  <a:lnTo>
                    <a:pt x="2616" y="8851"/>
                  </a:lnTo>
                  <a:lnTo>
                    <a:pt x="2700" y="8872"/>
                  </a:lnTo>
                  <a:lnTo>
                    <a:pt x="2721" y="8851"/>
                  </a:lnTo>
                  <a:lnTo>
                    <a:pt x="2867" y="8746"/>
                  </a:lnTo>
                  <a:lnTo>
                    <a:pt x="2909" y="8746"/>
                  </a:lnTo>
                  <a:lnTo>
                    <a:pt x="2930" y="8683"/>
                  </a:lnTo>
                  <a:lnTo>
                    <a:pt x="2993" y="8662"/>
                  </a:lnTo>
                  <a:lnTo>
                    <a:pt x="2972" y="8600"/>
                  </a:lnTo>
                  <a:lnTo>
                    <a:pt x="2972" y="8579"/>
                  </a:lnTo>
                  <a:lnTo>
                    <a:pt x="2930" y="8495"/>
                  </a:lnTo>
                  <a:lnTo>
                    <a:pt x="2993" y="8495"/>
                  </a:lnTo>
                  <a:lnTo>
                    <a:pt x="3035" y="8558"/>
                  </a:lnTo>
                  <a:lnTo>
                    <a:pt x="3097" y="8579"/>
                  </a:lnTo>
                  <a:lnTo>
                    <a:pt x="3139" y="8537"/>
                  </a:lnTo>
                  <a:lnTo>
                    <a:pt x="3139" y="8453"/>
                  </a:lnTo>
                  <a:lnTo>
                    <a:pt x="3035" y="8349"/>
                  </a:lnTo>
                  <a:lnTo>
                    <a:pt x="3160" y="8453"/>
                  </a:lnTo>
                  <a:lnTo>
                    <a:pt x="3244" y="8390"/>
                  </a:lnTo>
                  <a:lnTo>
                    <a:pt x="3223" y="8286"/>
                  </a:lnTo>
                  <a:lnTo>
                    <a:pt x="3244" y="8244"/>
                  </a:lnTo>
                  <a:lnTo>
                    <a:pt x="3097" y="8181"/>
                  </a:lnTo>
                  <a:lnTo>
                    <a:pt x="3160" y="8181"/>
                  </a:lnTo>
                  <a:lnTo>
                    <a:pt x="3223" y="8160"/>
                  </a:lnTo>
                  <a:lnTo>
                    <a:pt x="3223" y="8139"/>
                  </a:lnTo>
                  <a:lnTo>
                    <a:pt x="3139" y="8077"/>
                  </a:lnTo>
                  <a:lnTo>
                    <a:pt x="3244" y="8118"/>
                  </a:lnTo>
                  <a:lnTo>
                    <a:pt x="3286" y="8077"/>
                  </a:lnTo>
                  <a:lnTo>
                    <a:pt x="3307" y="8014"/>
                  </a:lnTo>
                  <a:lnTo>
                    <a:pt x="3307" y="8077"/>
                  </a:lnTo>
                  <a:lnTo>
                    <a:pt x="3286" y="8160"/>
                  </a:lnTo>
                  <a:lnTo>
                    <a:pt x="3307" y="8160"/>
                  </a:lnTo>
                  <a:lnTo>
                    <a:pt x="3411" y="8139"/>
                  </a:lnTo>
                  <a:lnTo>
                    <a:pt x="3495" y="8181"/>
                  </a:lnTo>
                  <a:lnTo>
                    <a:pt x="3620" y="8160"/>
                  </a:lnTo>
                  <a:lnTo>
                    <a:pt x="3872" y="8014"/>
                  </a:lnTo>
                  <a:lnTo>
                    <a:pt x="3955" y="7951"/>
                  </a:lnTo>
                  <a:lnTo>
                    <a:pt x="4060" y="7951"/>
                  </a:lnTo>
                  <a:lnTo>
                    <a:pt x="4060" y="7846"/>
                  </a:lnTo>
                  <a:lnTo>
                    <a:pt x="4164" y="7763"/>
                  </a:lnTo>
                  <a:lnTo>
                    <a:pt x="4269" y="7721"/>
                  </a:lnTo>
                  <a:lnTo>
                    <a:pt x="4395" y="7595"/>
                  </a:lnTo>
                  <a:lnTo>
                    <a:pt x="4457" y="7554"/>
                  </a:lnTo>
                  <a:lnTo>
                    <a:pt x="4478" y="7428"/>
                  </a:lnTo>
                  <a:lnTo>
                    <a:pt x="4541" y="7407"/>
                  </a:lnTo>
                  <a:lnTo>
                    <a:pt x="4604" y="7323"/>
                  </a:lnTo>
                  <a:lnTo>
                    <a:pt x="4583" y="7282"/>
                  </a:lnTo>
                  <a:lnTo>
                    <a:pt x="4604" y="7177"/>
                  </a:lnTo>
                  <a:lnTo>
                    <a:pt x="4541" y="7072"/>
                  </a:lnTo>
                  <a:lnTo>
                    <a:pt x="4646" y="6989"/>
                  </a:lnTo>
                  <a:lnTo>
                    <a:pt x="4646" y="6905"/>
                  </a:lnTo>
                  <a:lnTo>
                    <a:pt x="4688" y="6884"/>
                  </a:lnTo>
                  <a:lnTo>
                    <a:pt x="4688" y="6821"/>
                  </a:lnTo>
                  <a:lnTo>
                    <a:pt x="4646" y="6758"/>
                  </a:lnTo>
                  <a:lnTo>
                    <a:pt x="4646" y="6675"/>
                  </a:lnTo>
                  <a:lnTo>
                    <a:pt x="4688" y="6654"/>
                  </a:lnTo>
                  <a:lnTo>
                    <a:pt x="4709" y="6696"/>
                  </a:lnTo>
                  <a:lnTo>
                    <a:pt x="4709" y="6717"/>
                  </a:lnTo>
                  <a:lnTo>
                    <a:pt x="4729" y="6717"/>
                  </a:lnTo>
                  <a:lnTo>
                    <a:pt x="4771" y="6654"/>
                  </a:lnTo>
                  <a:lnTo>
                    <a:pt x="4688" y="6507"/>
                  </a:lnTo>
                  <a:lnTo>
                    <a:pt x="4667" y="6445"/>
                  </a:lnTo>
                  <a:lnTo>
                    <a:pt x="4604" y="6403"/>
                  </a:lnTo>
                  <a:lnTo>
                    <a:pt x="4604" y="6361"/>
                  </a:lnTo>
                  <a:lnTo>
                    <a:pt x="4583" y="6194"/>
                  </a:lnTo>
                  <a:lnTo>
                    <a:pt x="4604" y="6173"/>
                  </a:lnTo>
                  <a:lnTo>
                    <a:pt x="4562" y="6068"/>
                  </a:lnTo>
                  <a:lnTo>
                    <a:pt x="4583" y="6026"/>
                  </a:lnTo>
                  <a:lnTo>
                    <a:pt x="4583" y="5921"/>
                  </a:lnTo>
                  <a:lnTo>
                    <a:pt x="4541" y="5859"/>
                  </a:lnTo>
                  <a:lnTo>
                    <a:pt x="4499" y="5670"/>
                  </a:lnTo>
                  <a:lnTo>
                    <a:pt x="4457" y="5649"/>
                  </a:lnTo>
                  <a:lnTo>
                    <a:pt x="4437" y="5440"/>
                  </a:lnTo>
                  <a:lnTo>
                    <a:pt x="4332" y="5315"/>
                  </a:lnTo>
                  <a:lnTo>
                    <a:pt x="4353" y="5252"/>
                  </a:lnTo>
                  <a:lnTo>
                    <a:pt x="4332" y="5210"/>
                  </a:lnTo>
                  <a:lnTo>
                    <a:pt x="4332" y="5147"/>
                  </a:lnTo>
                  <a:lnTo>
                    <a:pt x="4185" y="5022"/>
                  </a:lnTo>
                  <a:lnTo>
                    <a:pt x="4185" y="4938"/>
                  </a:lnTo>
                  <a:lnTo>
                    <a:pt x="4164" y="4938"/>
                  </a:lnTo>
                  <a:lnTo>
                    <a:pt x="4144" y="4833"/>
                  </a:lnTo>
                  <a:lnTo>
                    <a:pt x="4060" y="4708"/>
                  </a:lnTo>
                  <a:lnTo>
                    <a:pt x="3809" y="4499"/>
                  </a:lnTo>
                  <a:lnTo>
                    <a:pt x="3746" y="4394"/>
                  </a:lnTo>
                  <a:lnTo>
                    <a:pt x="3453" y="4185"/>
                  </a:lnTo>
                  <a:lnTo>
                    <a:pt x="3139" y="4038"/>
                  </a:lnTo>
                  <a:lnTo>
                    <a:pt x="3139" y="3976"/>
                  </a:lnTo>
                  <a:lnTo>
                    <a:pt x="3014" y="3934"/>
                  </a:lnTo>
                  <a:lnTo>
                    <a:pt x="2784" y="3745"/>
                  </a:lnTo>
                  <a:lnTo>
                    <a:pt x="2763" y="3662"/>
                  </a:lnTo>
                  <a:lnTo>
                    <a:pt x="2721" y="3536"/>
                  </a:lnTo>
                  <a:lnTo>
                    <a:pt x="2721" y="3473"/>
                  </a:lnTo>
                  <a:lnTo>
                    <a:pt x="2721" y="3432"/>
                  </a:lnTo>
                  <a:lnTo>
                    <a:pt x="2679" y="3306"/>
                  </a:lnTo>
                  <a:lnTo>
                    <a:pt x="2595" y="3306"/>
                  </a:lnTo>
                  <a:lnTo>
                    <a:pt x="2470" y="3139"/>
                  </a:lnTo>
                  <a:lnTo>
                    <a:pt x="2281" y="3055"/>
                  </a:lnTo>
                  <a:lnTo>
                    <a:pt x="2177" y="3034"/>
                  </a:lnTo>
                  <a:lnTo>
                    <a:pt x="2281" y="2992"/>
                  </a:lnTo>
                  <a:lnTo>
                    <a:pt x="2281" y="2929"/>
                  </a:lnTo>
                  <a:lnTo>
                    <a:pt x="2177" y="2825"/>
                  </a:lnTo>
                  <a:lnTo>
                    <a:pt x="2240" y="2720"/>
                  </a:lnTo>
                  <a:lnTo>
                    <a:pt x="2281" y="2532"/>
                  </a:lnTo>
                  <a:lnTo>
                    <a:pt x="2260" y="2490"/>
                  </a:lnTo>
                  <a:lnTo>
                    <a:pt x="2198" y="2490"/>
                  </a:lnTo>
                  <a:lnTo>
                    <a:pt x="2198" y="2385"/>
                  </a:lnTo>
                  <a:lnTo>
                    <a:pt x="2260" y="2323"/>
                  </a:lnTo>
                  <a:lnTo>
                    <a:pt x="2281" y="2218"/>
                  </a:lnTo>
                  <a:lnTo>
                    <a:pt x="2344" y="2197"/>
                  </a:lnTo>
                  <a:lnTo>
                    <a:pt x="2365" y="2155"/>
                  </a:lnTo>
                  <a:lnTo>
                    <a:pt x="2386" y="2176"/>
                  </a:lnTo>
                  <a:lnTo>
                    <a:pt x="2449" y="2176"/>
                  </a:lnTo>
                  <a:lnTo>
                    <a:pt x="2553" y="2051"/>
                  </a:lnTo>
                  <a:lnTo>
                    <a:pt x="2574" y="2051"/>
                  </a:lnTo>
                  <a:lnTo>
                    <a:pt x="2616" y="1988"/>
                  </a:lnTo>
                  <a:lnTo>
                    <a:pt x="2574" y="1904"/>
                  </a:lnTo>
                  <a:lnTo>
                    <a:pt x="2595" y="1883"/>
                  </a:lnTo>
                  <a:lnTo>
                    <a:pt x="2595" y="1800"/>
                  </a:lnTo>
                  <a:lnTo>
                    <a:pt x="2595" y="1737"/>
                  </a:lnTo>
                  <a:lnTo>
                    <a:pt x="2574" y="1674"/>
                  </a:lnTo>
                  <a:lnTo>
                    <a:pt x="2616" y="1632"/>
                  </a:lnTo>
                  <a:lnTo>
                    <a:pt x="2616" y="1548"/>
                  </a:lnTo>
                  <a:lnTo>
                    <a:pt x="2679" y="1548"/>
                  </a:lnTo>
                  <a:lnTo>
                    <a:pt x="2700" y="1590"/>
                  </a:lnTo>
                  <a:lnTo>
                    <a:pt x="2721" y="1590"/>
                  </a:lnTo>
                  <a:lnTo>
                    <a:pt x="2804" y="1548"/>
                  </a:lnTo>
                  <a:lnTo>
                    <a:pt x="2888" y="1528"/>
                  </a:lnTo>
                  <a:lnTo>
                    <a:pt x="2930" y="1548"/>
                  </a:lnTo>
                  <a:lnTo>
                    <a:pt x="2972" y="1528"/>
                  </a:lnTo>
                  <a:lnTo>
                    <a:pt x="3014" y="1465"/>
                  </a:lnTo>
                  <a:lnTo>
                    <a:pt x="2993" y="1381"/>
                  </a:lnTo>
                  <a:lnTo>
                    <a:pt x="3014" y="1339"/>
                  </a:lnTo>
                  <a:lnTo>
                    <a:pt x="3118" y="1318"/>
                  </a:lnTo>
                  <a:lnTo>
                    <a:pt x="3223" y="1339"/>
                  </a:lnTo>
                  <a:lnTo>
                    <a:pt x="3328" y="1256"/>
                  </a:lnTo>
                  <a:lnTo>
                    <a:pt x="3390" y="1256"/>
                  </a:lnTo>
                  <a:lnTo>
                    <a:pt x="3432" y="1235"/>
                  </a:lnTo>
                  <a:lnTo>
                    <a:pt x="3495" y="1172"/>
                  </a:lnTo>
                  <a:lnTo>
                    <a:pt x="3453" y="1130"/>
                  </a:lnTo>
                  <a:lnTo>
                    <a:pt x="3348" y="1067"/>
                  </a:lnTo>
                  <a:lnTo>
                    <a:pt x="3286" y="1109"/>
                  </a:lnTo>
                  <a:lnTo>
                    <a:pt x="3223" y="1046"/>
                  </a:lnTo>
                  <a:lnTo>
                    <a:pt x="3118" y="1109"/>
                  </a:lnTo>
                  <a:lnTo>
                    <a:pt x="3014" y="1025"/>
                  </a:lnTo>
                  <a:lnTo>
                    <a:pt x="2888" y="1004"/>
                  </a:lnTo>
                  <a:lnTo>
                    <a:pt x="2867" y="900"/>
                  </a:lnTo>
                  <a:lnTo>
                    <a:pt x="2616" y="816"/>
                  </a:lnTo>
                  <a:lnTo>
                    <a:pt x="2595" y="712"/>
                  </a:lnTo>
                  <a:lnTo>
                    <a:pt x="2512" y="691"/>
                  </a:lnTo>
                  <a:lnTo>
                    <a:pt x="2574" y="481"/>
                  </a:lnTo>
                  <a:lnTo>
                    <a:pt x="2679" y="440"/>
                  </a:lnTo>
                  <a:lnTo>
                    <a:pt x="2679" y="335"/>
                  </a:lnTo>
                  <a:lnTo>
                    <a:pt x="2595" y="272"/>
                  </a:lnTo>
                  <a:lnTo>
                    <a:pt x="2449" y="314"/>
                  </a:lnTo>
                  <a:lnTo>
                    <a:pt x="2386" y="272"/>
                  </a:lnTo>
                  <a:lnTo>
                    <a:pt x="2114" y="272"/>
                  </a:lnTo>
                  <a:lnTo>
                    <a:pt x="2072" y="188"/>
                  </a:lnTo>
                  <a:lnTo>
                    <a:pt x="1947" y="168"/>
                  </a:lnTo>
                  <a:lnTo>
                    <a:pt x="1947" y="84"/>
                  </a:lnTo>
                  <a:lnTo>
                    <a:pt x="182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 name="Google Shape;5930;p93">
              <a:extLst>
                <a:ext uri="{FF2B5EF4-FFF2-40B4-BE49-F238E27FC236}">
                  <a16:creationId xmlns:a16="http://schemas.microsoft.com/office/drawing/2014/main" id="{107E4F3D-BEA9-4F86-879D-56EF28500CE4}"/>
                </a:ext>
              </a:extLst>
            </p:cNvPr>
            <p:cNvSpPr/>
            <p:nvPr/>
          </p:nvSpPr>
          <p:spPr>
            <a:xfrm>
              <a:off x="4450186" y="3045644"/>
              <a:ext cx="36139" cy="29750"/>
            </a:xfrm>
            <a:custGeom>
              <a:avLst/>
              <a:gdLst/>
              <a:ahLst/>
              <a:cxnLst/>
              <a:rect l="l" t="t" r="r" b="b"/>
              <a:pathLst>
                <a:path w="3035" h="2616" extrusionOk="0">
                  <a:moveTo>
                    <a:pt x="2407" y="0"/>
                  </a:moveTo>
                  <a:lnTo>
                    <a:pt x="2239" y="42"/>
                  </a:lnTo>
                  <a:lnTo>
                    <a:pt x="2135" y="126"/>
                  </a:lnTo>
                  <a:lnTo>
                    <a:pt x="2260" y="251"/>
                  </a:lnTo>
                  <a:lnTo>
                    <a:pt x="2239" y="356"/>
                  </a:lnTo>
                  <a:lnTo>
                    <a:pt x="2260" y="460"/>
                  </a:lnTo>
                  <a:lnTo>
                    <a:pt x="2260" y="544"/>
                  </a:lnTo>
                  <a:lnTo>
                    <a:pt x="2072" y="481"/>
                  </a:lnTo>
                  <a:lnTo>
                    <a:pt x="1967" y="314"/>
                  </a:lnTo>
                  <a:lnTo>
                    <a:pt x="1821" y="314"/>
                  </a:lnTo>
                  <a:lnTo>
                    <a:pt x="1758" y="230"/>
                  </a:lnTo>
                  <a:lnTo>
                    <a:pt x="1632" y="126"/>
                  </a:lnTo>
                  <a:lnTo>
                    <a:pt x="1549" y="167"/>
                  </a:lnTo>
                  <a:lnTo>
                    <a:pt x="1444" y="105"/>
                  </a:lnTo>
                  <a:lnTo>
                    <a:pt x="1298" y="126"/>
                  </a:lnTo>
                  <a:lnTo>
                    <a:pt x="1151" y="63"/>
                  </a:lnTo>
                  <a:lnTo>
                    <a:pt x="1026" y="63"/>
                  </a:lnTo>
                  <a:lnTo>
                    <a:pt x="879" y="146"/>
                  </a:lnTo>
                  <a:lnTo>
                    <a:pt x="816" y="105"/>
                  </a:lnTo>
                  <a:lnTo>
                    <a:pt x="670" y="105"/>
                  </a:lnTo>
                  <a:lnTo>
                    <a:pt x="398" y="167"/>
                  </a:lnTo>
                  <a:lnTo>
                    <a:pt x="272" y="167"/>
                  </a:lnTo>
                  <a:lnTo>
                    <a:pt x="168" y="335"/>
                  </a:lnTo>
                  <a:lnTo>
                    <a:pt x="105" y="523"/>
                  </a:lnTo>
                  <a:lnTo>
                    <a:pt x="42" y="649"/>
                  </a:lnTo>
                  <a:lnTo>
                    <a:pt x="0" y="858"/>
                  </a:lnTo>
                  <a:lnTo>
                    <a:pt x="63" y="1088"/>
                  </a:lnTo>
                  <a:lnTo>
                    <a:pt x="168" y="1151"/>
                  </a:lnTo>
                  <a:lnTo>
                    <a:pt x="210" y="1255"/>
                  </a:lnTo>
                  <a:lnTo>
                    <a:pt x="189" y="1486"/>
                  </a:lnTo>
                  <a:lnTo>
                    <a:pt x="189" y="1569"/>
                  </a:lnTo>
                  <a:lnTo>
                    <a:pt x="272" y="1632"/>
                  </a:lnTo>
                  <a:lnTo>
                    <a:pt x="272" y="1779"/>
                  </a:lnTo>
                  <a:lnTo>
                    <a:pt x="356" y="1820"/>
                  </a:lnTo>
                  <a:lnTo>
                    <a:pt x="356" y="1925"/>
                  </a:lnTo>
                  <a:lnTo>
                    <a:pt x="419" y="2051"/>
                  </a:lnTo>
                  <a:lnTo>
                    <a:pt x="482" y="2030"/>
                  </a:lnTo>
                  <a:lnTo>
                    <a:pt x="523" y="2113"/>
                  </a:lnTo>
                  <a:lnTo>
                    <a:pt x="503" y="2218"/>
                  </a:lnTo>
                  <a:lnTo>
                    <a:pt x="565" y="2260"/>
                  </a:lnTo>
                  <a:lnTo>
                    <a:pt x="565" y="2364"/>
                  </a:lnTo>
                  <a:lnTo>
                    <a:pt x="733" y="2364"/>
                  </a:lnTo>
                  <a:lnTo>
                    <a:pt x="733" y="2260"/>
                  </a:lnTo>
                  <a:lnTo>
                    <a:pt x="795" y="2218"/>
                  </a:lnTo>
                  <a:lnTo>
                    <a:pt x="837" y="2155"/>
                  </a:lnTo>
                  <a:lnTo>
                    <a:pt x="837" y="2239"/>
                  </a:lnTo>
                  <a:lnTo>
                    <a:pt x="900" y="2323"/>
                  </a:lnTo>
                  <a:lnTo>
                    <a:pt x="879" y="2406"/>
                  </a:lnTo>
                  <a:lnTo>
                    <a:pt x="816" y="2469"/>
                  </a:lnTo>
                  <a:lnTo>
                    <a:pt x="837" y="2553"/>
                  </a:lnTo>
                  <a:lnTo>
                    <a:pt x="879" y="2574"/>
                  </a:lnTo>
                  <a:lnTo>
                    <a:pt x="921" y="2574"/>
                  </a:lnTo>
                  <a:lnTo>
                    <a:pt x="1026" y="2511"/>
                  </a:lnTo>
                  <a:lnTo>
                    <a:pt x="1026" y="2469"/>
                  </a:lnTo>
                  <a:lnTo>
                    <a:pt x="1088" y="2532"/>
                  </a:lnTo>
                  <a:lnTo>
                    <a:pt x="1214" y="2553"/>
                  </a:lnTo>
                  <a:lnTo>
                    <a:pt x="1235" y="2532"/>
                  </a:lnTo>
                  <a:lnTo>
                    <a:pt x="1340" y="2615"/>
                  </a:lnTo>
                  <a:lnTo>
                    <a:pt x="1444" y="2469"/>
                  </a:lnTo>
                  <a:lnTo>
                    <a:pt x="1570" y="2448"/>
                  </a:lnTo>
                  <a:lnTo>
                    <a:pt x="1632" y="2302"/>
                  </a:lnTo>
                  <a:lnTo>
                    <a:pt x="1758" y="2302"/>
                  </a:lnTo>
                  <a:lnTo>
                    <a:pt x="1821" y="2323"/>
                  </a:lnTo>
                  <a:lnTo>
                    <a:pt x="2093" y="2260"/>
                  </a:lnTo>
                  <a:lnTo>
                    <a:pt x="2197" y="2323"/>
                  </a:lnTo>
                  <a:lnTo>
                    <a:pt x="2239" y="2406"/>
                  </a:lnTo>
                  <a:lnTo>
                    <a:pt x="2407" y="2406"/>
                  </a:lnTo>
                  <a:lnTo>
                    <a:pt x="2365" y="2260"/>
                  </a:lnTo>
                  <a:lnTo>
                    <a:pt x="2386" y="2197"/>
                  </a:lnTo>
                  <a:lnTo>
                    <a:pt x="2281" y="2092"/>
                  </a:lnTo>
                  <a:lnTo>
                    <a:pt x="2156" y="2051"/>
                  </a:lnTo>
                  <a:lnTo>
                    <a:pt x="2135" y="1841"/>
                  </a:lnTo>
                  <a:lnTo>
                    <a:pt x="2239" y="1779"/>
                  </a:lnTo>
                  <a:lnTo>
                    <a:pt x="2448" y="1779"/>
                  </a:lnTo>
                  <a:lnTo>
                    <a:pt x="2511" y="1674"/>
                  </a:lnTo>
                  <a:lnTo>
                    <a:pt x="2679" y="1569"/>
                  </a:lnTo>
                  <a:lnTo>
                    <a:pt x="2825" y="1507"/>
                  </a:lnTo>
                  <a:lnTo>
                    <a:pt x="2867" y="1423"/>
                  </a:lnTo>
                  <a:lnTo>
                    <a:pt x="2930" y="1402"/>
                  </a:lnTo>
                  <a:lnTo>
                    <a:pt x="3034" y="1214"/>
                  </a:lnTo>
                  <a:lnTo>
                    <a:pt x="3013" y="1088"/>
                  </a:lnTo>
                  <a:lnTo>
                    <a:pt x="3034" y="942"/>
                  </a:lnTo>
                  <a:lnTo>
                    <a:pt x="3013" y="837"/>
                  </a:lnTo>
                  <a:lnTo>
                    <a:pt x="3034" y="649"/>
                  </a:lnTo>
                  <a:lnTo>
                    <a:pt x="2930" y="418"/>
                  </a:lnTo>
                  <a:lnTo>
                    <a:pt x="2825" y="356"/>
                  </a:lnTo>
                  <a:lnTo>
                    <a:pt x="2762" y="167"/>
                  </a:lnTo>
                  <a:lnTo>
                    <a:pt x="2679" y="167"/>
                  </a:lnTo>
                  <a:lnTo>
                    <a:pt x="2574" y="126"/>
                  </a:lnTo>
                  <a:lnTo>
                    <a:pt x="2469" y="105"/>
                  </a:lnTo>
                  <a:lnTo>
                    <a:pt x="240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 name="Google Shape;5931;p93">
              <a:extLst>
                <a:ext uri="{FF2B5EF4-FFF2-40B4-BE49-F238E27FC236}">
                  <a16:creationId xmlns:a16="http://schemas.microsoft.com/office/drawing/2014/main" id="{3123ACB1-B003-4044-B4F5-2DBA5FED53D8}"/>
                </a:ext>
              </a:extLst>
            </p:cNvPr>
            <p:cNvSpPr/>
            <p:nvPr/>
          </p:nvSpPr>
          <p:spPr>
            <a:xfrm>
              <a:off x="4429753" y="2990191"/>
              <a:ext cx="55822" cy="61650"/>
            </a:xfrm>
            <a:custGeom>
              <a:avLst/>
              <a:gdLst/>
              <a:ahLst/>
              <a:cxnLst/>
              <a:rect l="l" t="t" r="r" b="b"/>
              <a:pathLst>
                <a:path w="4688" h="5421" extrusionOk="0">
                  <a:moveTo>
                    <a:pt x="879" y="1"/>
                  </a:moveTo>
                  <a:lnTo>
                    <a:pt x="879" y="85"/>
                  </a:lnTo>
                  <a:lnTo>
                    <a:pt x="817" y="126"/>
                  </a:lnTo>
                  <a:lnTo>
                    <a:pt x="817" y="336"/>
                  </a:lnTo>
                  <a:lnTo>
                    <a:pt x="859" y="440"/>
                  </a:lnTo>
                  <a:lnTo>
                    <a:pt x="859" y="587"/>
                  </a:lnTo>
                  <a:lnTo>
                    <a:pt x="879" y="733"/>
                  </a:lnTo>
                  <a:lnTo>
                    <a:pt x="775" y="712"/>
                  </a:lnTo>
                  <a:lnTo>
                    <a:pt x="649" y="754"/>
                  </a:lnTo>
                  <a:lnTo>
                    <a:pt x="587" y="649"/>
                  </a:lnTo>
                  <a:lnTo>
                    <a:pt x="524" y="608"/>
                  </a:lnTo>
                  <a:lnTo>
                    <a:pt x="419" y="712"/>
                  </a:lnTo>
                  <a:lnTo>
                    <a:pt x="252" y="733"/>
                  </a:lnTo>
                  <a:lnTo>
                    <a:pt x="231" y="838"/>
                  </a:lnTo>
                  <a:lnTo>
                    <a:pt x="189" y="942"/>
                  </a:lnTo>
                  <a:lnTo>
                    <a:pt x="231" y="1026"/>
                  </a:lnTo>
                  <a:lnTo>
                    <a:pt x="105" y="1110"/>
                  </a:lnTo>
                  <a:lnTo>
                    <a:pt x="43" y="1110"/>
                  </a:lnTo>
                  <a:lnTo>
                    <a:pt x="1" y="1256"/>
                  </a:lnTo>
                  <a:lnTo>
                    <a:pt x="43" y="1382"/>
                  </a:lnTo>
                  <a:lnTo>
                    <a:pt x="210" y="1361"/>
                  </a:lnTo>
                  <a:lnTo>
                    <a:pt x="315" y="1486"/>
                  </a:lnTo>
                  <a:lnTo>
                    <a:pt x="335" y="1675"/>
                  </a:lnTo>
                  <a:lnTo>
                    <a:pt x="252" y="1758"/>
                  </a:lnTo>
                  <a:lnTo>
                    <a:pt x="335" y="1884"/>
                  </a:lnTo>
                  <a:lnTo>
                    <a:pt x="440" y="1947"/>
                  </a:lnTo>
                  <a:lnTo>
                    <a:pt x="524" y="1863"/>
                  </a:lnTo>
                  <a:lnTo>
                    <a:pt x="733" y="1863"/>
                  </a:lnTo>
                  <a:lnTo>
                    <a:pt x="754" y="1968"/>
                  </a:lnTo>
                  <a:lnTo>
                    <a:pt x="670" y="2093"/>
                  </a:lnTo>
                  <a:lnTo>
                    <a:pt x="754" y="2198"/>
                  </a:lnTo>
                  <a:lnTo>
                    <a:pt x="733" y="2281"/>
                  </a:lnTo>
                  <a:lnTo>
                    <a:pt x="670" y="2386"/>
                  </a:lnTo>
                  <a:lnTo>
                    <a:pt x="733" y="2512"/>
                  </a:lnTo>
                  <a:lnTo>
                    <a:pt x="733" y="2721"/>
                  </a:lnTo>
                  <a:lnTo>
                    <a:pt x="733" y="3014"/>
                  </a:lnTo>
                  <a:lnTo>
                    <a:pt x="879" y="2930"/>
                  </a:lnTo>
                  <a:lnTo>
                    <a:pt x="1047" y="2909"/>
                  </a:lnTo>
                  <a:lnTo>
                    <a:pt x="1047" y="2784"/>
                  </a:lnTo>
                  <a:lnTo>
                    <a:pt x="1235" y="2700"/>
                  </a:lnTo>
                  <a:lnTo>
                    <a:pt x="1444" y="2805"/>
                  </a:lnTo>
                  <a:lnTo>
                    <a:pt x="1549" y="2805"/>
                  </a:lnTo>
                  <a:lnTo>
                    <a:pt x="1633" y="2930"/>
                  </a:lnTo>
                  <a:lnTo>
                    <a:pt x="1884" y="2909"/>
                  </a:lnTo>
                  <a:lnTo>
                    <a:pt x="2009" y="2637"/>
                  </a:lnTo>
                  <a:lnTo>
                    <a:pt x="2198" y="2595"/>
                  </a:lnTo>
                  <a:lnTo>
                    <a:pt x="2449" y="2679"/>
                  </a:lnTo>
                  <a:lnTo>
                    <a:pt x="2532" y="2826"/>
                  </a:lnTo>
                  <a:lnTo>
                    <a:pt x="2804" y="3014"/>
                  </a:lnTo>
                  <a:lnTo>
                    <a:pt x="2930" y="3118"/>
                  </a:lnTo>
                  <a:lnTo>
                    <a:pt x="2972" y="3244"/>
                  </a:lnTo>
                  <a:lnTo>
                    <a:pt x="2972" y="3328"/>
                  </a:lnTo>
                  <a:lnTo>
                    <a:pt x="2930" y="3411"/>
                  </a:lnTo>
                  <a:lnTo>
                    <a:pt x="2972" y="3537"/>
                  </a:lnTo>
                  <a:lnTo>
                    <a:pt x="2972" y="3725"/>
                  </a:lnTo>
                  <a:lnTo>
                    <a:pt x="2951" y="3788"/>
                  </a:lnTo>
                  <a:lnTo>
                    <a:pt x="3056" y="3872"/>
                  </a:lnTo>
                  <a:lnTo>
                    <a:pt x="3160" y="3997"/>
                  </a:lnTo>
                  <a:lnTo>
                    <a:pt x="3286" y="3997"/>
                  </a:lnTo>
                  <a:lnTo>
                    <a:pt x="3369" y="4060"/>
                  </a:lnTo>
                  <a:lnTo>
                    <a:pt x="3348" y="4102"/>
                  </a:lnTo>
                  <a:lnTo>
                    <a:pt x="3495" y="4206"/>
                  </a:lnTo>
                  <a:lnTo>
                    <a:pt x="3495" y="4290"/>
                  </a:lnTo>
                  <a:lnTo>
                    <a:pt x="3474" y="4416"/>
                  </a:lnTo>
                  <a:lnTo>
                    <a:pt x="3474" y="4499"/>
                  </a:lnTo>
                  <a:lnTo>
                    <a:pt x="3453" y="4604"/>
                  </a:lnTo>
                  <a:lnTo>
                    <a:pt x="3474" y="4688"/>
                  </a:lnTo>
                  <a:lnTo>
                    <a:pt x="3474" y="4897"/>
                  </a:lnTo>
                  <a:lnTo>
                    <a:pt x="3390" y="4981"/>
                  </a:lnTo>
                  <a:lnTo>
                    <a:pt x="3348" y="5002"/>
                  </a:lnTo>
                  <a:lnTo>
                    <a:pt x="3474" y="5106"/>
                  </a:lnTo>
                  <a:lnTo>
                    <a:pt x="3537" y="5190"/>
                  </a:lnTo>
                  <a:lnTo>
                    <a:pt x="3683" y="5190"/>
                  </a:lnTo>
                  <a:lnTo>
                    <a:pt x="3788" y="5357"/>
                  </a:lnTo>
                  <a:lnTo>
                    <a:pt x="3976" y="5420"/>
                  </a:lnTo>
                  <a:lnTo>
                    <a:pt x="3976" y="5336"/>
                  </a:lnTo>
                  <a:lnTo>
                    <a:pt x="3955" y="5232"/>
                  </a:lnTo>
                  <a:lnTo>
                    <a:pt x="3976" y="5127"/>
                  </a:lnTo>
                  <a:lnTo>
                    <a:pt x="3851" y="5002"/>
                  </a:lnTo>
                  <a:lnTo>
                    <a:pt x="3955" y="4918"/>
                  </a:lnTo>
                  <a:lnTo>
                    <a:pt x="4123" y="4876"/>
                  </a:lnTo>
                  <a:lnTo>
                    <a:pt x="4185" y="4981"/>
                  </a:lnTo>
                  <a:lnTo>
                    <a:pt x="4290" y="5002"/>
                  </a:lnTo>
                  <a:lnTo>
                    <a:pt x="4395" y="5043"/>
                  </a:lnTo>
                  <a:lnTo>
                    <a:pt x="4499" y="5043"/>
                  </a:lnTo>
                  <a:lnTo>
                    <a:pt x="4604" y="5002"/>
                  </a:lnTo>
                  <a:lnTo>
                    <a:pt x="4583" y="4813"/>
                  </a:lnTo>
                  <a:lnTo>
                    <a:pt x="4541" y="4730"/>
                  </a:lnTo>
                  <a:lnTo>
                    <a:pt x="4520" y="4604"/>
                  </a:lnTo>
                  <a:lnTo>
                    <a:pt x="4688" y="4478"/>
                  </a:lnTo>
                  <a:lnTo>
                    <a:pt x="4688" y="4311"/>
                  </a:lnTo>
                  <a:lnTo>
                    <a:pt x="4604" y="4311"/>
                  </a:lnTo>
                  <a:lnTo>
                    <a:pt x="4541" y="4248"/>
                  </a:lnTo>
                  <a:lnTo>
                    <a:pt x="4583" y="4081"/>
                  </a:lnTo>
                  <a:lnTo>
                    <a:pt x="4646" y="3997"/>
                  </a:lnTo>
                  <a:lnTo>
                    <a:pt x="4604" y="3934"/>
                  </a:lnTo>
                  <a:lnTo>
                    <a:pt x="4499" y="3976"/>
                  </a:lnTo>
                  <a:lnTo>
                    <a:pt x="4436" y="3955"/>
                  </a:lnTo>
                  <a:lnTo>
                    <a:pt x="4374" y="3851"/>
                  </a:lnTo>
                  <a:lnTo>
                    <a:pt x="4227" y="3851"/>
                  </a:lnTo>
                  <a:lnTo>
                    <a:pt x="4185" y="3788"/>
                  </a:lnTo>
                  <a:lnTo>
                    <a:pt x="4206" y="3683"/>
                  </a:lnTo>
                  <a:lnTo>
                    <a:pt x="4123" y="3662"/>
                  </a:lnTo>
                  <a:lnTo>
                    <a:pt x="4081" y="3662"/>
                  </a:lnTo>
                  <a:lnTo>
                    <a:pt x="3997" y="3579"/>
                  </a:lnTo>
                  <a:lnTo>
                    <a:pt x="3997" y="3516"/>
                  </a:lnTo>
                  <a:lnTo>
                    <a:pt x="3913" y="3411"/>
                  </a:lnTo>
                  <a:lnTo>
                    <a:pt x="3788" y="3411"/>
                  </a:lnTo>
                  <a:lnTo>
                    <a:pt x="3704" y="3349"/>
                  </a:lnTo>
                  <a:lnTo>
                    <a:pt x="3662" y="3223"/>
                  </a:lnTo>
                  <a:lnTo>
                    <a:pt x="3474" y="3014"/>
                  </a:lnTo>
                  <a:lnTo>
                    <a:pt x="3495" y="2930"/>
                  </a:lnTo>
                  <a:lnTo>
                    <a:pt x="3369" y="2784"/>
                  </a:lnTo>
                  <a:lnTo>
                    <a:pt x="3202" y="2700"/>
                  </a:lnTo>
                  <a:lnTo>
                    <a:pt x="3056" y="2491"/>
                  </a:lnTo>
                  <a:lnTo>
                    <a:pt x="2951" y="2491"/>
                  </a:lnTo>
                  <a:lnTo>
                    <a:pt x="2763" y="2386"/>
                  </a:lnTo>
                  <a:lnTo>
                    <a:pt x="2595" y="2386"/>
                  </a:lnTo>
                  <a:lnTo>
                    <a:pt x="2511" y="2219"/>
                  </a:lnTo>
                  <a:lnTo>
                    <a:pt x="2428" y="2219"/>
                  </a:lnTo>
                  <a:lnTo>
                    <a:pt x="2407" y="2156"/>
                  </a:lnTo>
                  <a:lnTo>
                    <a:pt x="2491" y="2072"/>
                  </a:lnTo>
                  <a:lnTo>
                    <a:pt x="2344" y="1905"/>
                  </a:lnTo>
                  <a:lnTo>
                    <a:pt x="2344" y="1842"/>
                  </a:lnTo>
                  <a:lnTo>
                    <a:pt x="2428" y="1842"/>
                  </a:lnTo>
                  <a:lnTo>
                    <a:pt x="2595" y="1758"/>
                  </a:lnTo>
                  <a:lnTo>
                    <a:pt x="2721" y="1758"/>
                  </a:lnTo>
                  <a:lnTo>
                    <a:pt x="2763" y="1675"/>
                  </a:lnTo>
                  <a:lnTo>
                    <a:pt x="2846" y="1465"/>
                  </a:lnTo>
                  <a:lnTo>
                    <a:pt x="2930" y="1445"/>
                  </a:lnTo>
                  <a:lnTo>
                    <a:pt x="2930" y="1361"/>
                  </a:lnTo>
                  <a:lnTo>
                    <a:pt x="2742" y="1319"/>
                  </a:lnTo>
                  <a:lnTo>
                    <a:pt x="2763" y="1214"/>
                  </a:lnTo>
                  <a:lnTo>
                    <a:pt x="2742" y="1110"/>
                  </a:lnTo>
                  <a:lnTo>
                    <a:pt x="2595" y="1068"/>
                  </a:lnTo>
                  <a:lnTo>
                    <a:pt x="2511" y="963"/>
                  </a:lnTo>
                  <a:lnTo>
                    <a:pt x="2344" y="963"/>
                  </a:lnTo>
                  <a:lnTo>
                    <a:pt x="2219" y="1047"/>
                  </a:lnTo>
                  <a:lnTo>
                    <a:pt x="2072" y="1005"/>
                  </a:lnTo>
                  <a:lnTo>
                    <a:pt x="1821" y="1005"/>
                  </a:lnTo>
                  <a:lnTo>
                    <a:pt x="1716" y="796"/>
                  </a:lnTo>
                  <a:lnTo>
                    <a:pt x="1507" y="608"/>
                  </a:lnTo>
                  <a:lnTo>
                    <a:pt x="1570" y="524"/>
                  </a:lnTo>
                  <a:lnTo>
                    <a:pt x="1549" y="398"/>
                  </a:lnTo>
                  <a:lnTo>
                    <a:pt x="1444" y="315"/>
                  </a:lnTo>
                  <a:lnTo>
                    <a:pt x="1340" y="168"/>
                  </a:lnTo>
                  <a:lnTo>
                    <a:pt x="1151" y="85"/>
                  </a:lnTo>
                  <a:lnTo>
                    <a:pt x="108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 name="Google Shape;5932;p93">
              <a:extLst>
                <a:ext uri="{FF2B5EF4-FFF2-40B4-BE49-F238E27FC236}">
                  <a16:creationId xmlns:a16="http://schemas.microsoft.com/office/drawing/2014/main" id="{680718DB-A98A-4300-8AEB-918B37FBF59A}"/>
                </a:ext>
              </a:extLst>
            </p:cNvPr>
            <p:cNvSpPr/>
            <p:nvPr/>
          </p:nvSpPr>
          <p:spPr>
            <a:xfrm>
              <a:off x="4413309" y="3004475"/>
              <a:ext cx="58061" cy="103285"/>
            </a:xfrm>
            <a:custGeom>
              <a:avLst/>
              <a:gdLst/>
              <a:ahLst/>
              <a:cxnLst/>
              <a:rect l="l" t="t" r="r" b="b"/>
              <a:pathLst>
                <a:path w="4876" h="9082" extrusionOk="0">
                  <a:moveTo>
                    <a:pt x="1361" y="0"/>
                  </a:moveTo>
                  <a:lnTo>
                    <a:pt x="1193" y="21"/>
                  </a:lnTo>
                  <a:lnTo>
                    <a:pt x="1068" y="63"/>
                  </a:lnTo>
                  <a:lnTo>
                    <a:pt x="1068" y="126"/>
                  </a:lnTo>
                  <a:lnTo>
                    <a:pt x="1110" y="209"/>
                  </a:lnTo>
                  <a:lnTo>
                    <a:pt x="1089" y="293"/>
                  </a:lnTo>
                  <a:lnTo>
                    <a:pt x="921" y="272"/>
                  </a:lnTo>
                  <a:lnTo>
                    <a:pt x="859" y="314"/>
                  </a:lnTo>
                  <a:lnTo>
                    <a:pt x="859" y="481"/>
                  </a:lnTo>
                  <a:lnTo>
                    <a:pt x="838" y="523"/>
                  </a:lnTo>
                  <a:lnTo>
                    <a:pt x="691" y="523"/>
                  </a:lnTo>
                  <a:lnTo>
                    <a:pt x="566" y="628"/>
                  </a:lnTo>
                  <a:lnTo>
                    <a:pt x="335" y="544"/>
                  </a:lnTo>
                  <a:lnTo>
                    <a:pt x="252" y="691"/>
                  </a:lnTo>
                  <a:lnTo>
                    <a:pt x="273" y="858"/>
                  </a:lnTo>
                  <a:lnTo>
                    <a:pt x="210" y="942"/>
                  </a:lnTo>
                  <a:lnTo>
                    <a:pt x="210" y="1130"/>
                  </a:lnTo>
                  <a:lnTo>
                    <a:pt x="231" y="1214"/>
                  </a:lnTo>
                  <a:lnTo>
                    <a:pt x="126" y="1277"/>
                  </a:lnTo>
                  <a:lnTo>
                    <a:pt x="1" y="1360"/>
                  </a:lnTo>
                  <a:lnTo>
                    <a:pt x="1" y="1444"/>
                  </a:lnTo>
                  <a:lnTo>
                    <a:pt x="63" y="1465"/>
                  </a:lnTo>
                  <a:lnTo>
                    <a:pt x="168" y="1653"/>
                  </a:lnTo>
                  <a:lnTo>
                    <a:pt x="252" y="1737"/>
                  </a:lnTo>
                  <a:lnTo>
                    <a:pt x="315" y="1800"/>
                  </a:lnTo>
                  <a:lnTo>
                    <a:pt x="440" y="1904"/>
                  </a:lnTo>
                  <a:lnTo>
                    <a:pt x="587" y="2197"/>
                  </a:lnTo>
                  <a:lnTo>
                    <a:pt x="670" y="2260"/>
                  </a:lnTo>
                  <a:lnTo>
                    <a:pt x="754" y="2386"/>
                  </a:lnTo>
                  <a:lnTo>
                    <a:pt x="754" y="2511"/>
                  </a:lnTo>
                  <a:lnTo>
                    <a:pt x="879" y="2574"/>
                  </a:lnTo>
                  <a:lnTo>
                    <a:pt x="879" y="2699"/>
                  </a:lnTo>
                  <a:lnTo>
                    <a:pt x="775" y="2741"/>
                  </a:lnTo>
                  <a:lnTo>
                    <a:pt x="754" y="2825"/>
                  </a:lnTo>
                  <a:lnTo>
                    <a:pt x="796" y="3118"/>
                  </a:lnTo>
                  <a:lnTo>
                    <a:pt x="775" y="3222"/>
                  </a:lnTo>
                  <a:lnTo>
                    <a:pt x="670" y="3264"/>
                  </a:lnTo>
                  <a:lnTo>
                    <a:pt x="754" y="3474"/>
                  </a:lnTo>
                  <a:lnTo>
                    <a:pt x="754" y="3578"/>
                  </a:lnTo>
                  <a:lnTo>
                    <a:pt x="900" y="3766"/>
                  </a:lnTo>
                  <a:lnTo>
                    <a:pt x="1089" y="3892"/>
                  </a:lnTo>
                  <a:lnTo>
                    <a:pt x="1256" y="4059"/>
                  </a:lnTo>
                  <a:lnTo>
                    <a:pt x="1298" y="4311"/>
                  </a:lnTo>
                  <a:lnTo>
                    <a:pt x="1277" y="4394"/>
                  </a:lnTo>
                  <a:lnTo>
                    <a:pt x="1298" y="4520"/>
                  </a:lnTo>
                  <a:lnTo>
                    <a:pt x="1277" y="4624"/>
                  </a:lnTo>
                  <a:lnTo>
                    <a:pt x="1361" y="4708"/>
                  </a:lnTo>
                  <a:lnTo>
                    <a:pt x="1382" y="4896"/>
                  </a:lnTo>
                  <a:lnTo>
                    <a:pt x="1424" y="5001"/>
                  </a:lnTo>
                  <a:lnTo>
                    <a:pt x="1403" y="5147"/>
                  </a:lnTo>
                  <a:lnTo>
                    <a:pt x="1486" y="5294"/>
                  </a:lnTo>
                  <a:lnTo>
                    <a:pt x="1486" y="5461"/>
                  </a:lnTo>
                  <a:lnTo>
                    <a:pt x="1403" y="5524"/>
                  </a:lnTo>
                  <a:lnTo>
                    <a:pt x="1277" y="5880"/>
                  </a:lnTo>
                  <a:lnTo>
                    <a:pt x="1152" y="5963"/>
                  </a:lnTo>
                  <a:lnTo>
                    <a:pt x="1152" y="6131"/>
                  </a:lnTo>
                  <a:lnTo>
                    <a:pt x="1089" y="6194"/>
                  </a:lnTo>
                  <a:lnTo>
                    <a:pt x="1068" y="6298"/>
                  </a:lnTo>
                  <a:lnTo>
                    <a:pt x="1047" y="6487"/>
                  </a:lnTo>
                  <a:lnTo>
                    <a:pt x="1089" y="6487"/>
                  </a:lnTo>
                  <a:lnTo>
                    <a:pt x="1005" y="6591"/>
                  </a:lnTo>
                  <a:lnTo>
                    <a:pt x="1047" y="6654"/>
                  </a:lnTo>
                  <a:lnTo>
                    <a:pt x="963" y="6779"/>
                  </a:lnTo>
                  <a:lnTo>
                    <a:pt x="1047" y="6779"/>
                  </a:lnTo>
                  <a:lnTo>
                    <a:pt x="984" y="6863"/>
                  </a:lnTo>
                  <a:lnTo>
                    <a:pt x="921" y="6863"/>
                  </a:lnTo>
                  <a:lnTo>
                    <a:pt x="921" y="7072"/>
                  </a:lnTo>
                  <a:lnTo>
                    <a:pt x="859" y="7114"/>
                  </a:lnTo>
                  <a:lnTo>
                    <a:pt x="879" y="7282"/>
                  </a:lnTo>
                  <a:lnTo>
                    <a:pt x="859" y="7324"/>
                  </a:lnTo>
                  <a:lnTo>
                    <a:pt x="879" y="7533"/>
                  </a:lnTo>
                  <a:lnTo>
                    <a:pt x="921" y="7616"/>
                  </a:lnTo>
                  <a:lnTo>
                    <a:pt x="1005" y="7616"/>
                  </a:lnTo>
                  <a:lnTo>
                    <a:pt x="984" y="7512"/>
                  </a:lnTo>
                  <a:lnTo>
                    <a:pt x="1110" y="7449"/>
                  </a:lnTo>
                  <a:lnTo>
                    <a:pt x="1089" y="7512"/>
                  </a:lnTo>
                  <a:lnTo>
                    <a:pt x="1172" y="7554"/>
                  </a:lnTo>
                  <a:lnTo>
                    <a:pt x="1172" y="7637"/>
                  </a:lnTo>
                  <a:lnTo>
                    <a:pt x="1277" y="7658"/>
                  </a:lnTo>
                  <a:lnTo>
                    <a:pt x="1319" y="7868"/>
                  </a:lnTo>
                  <a:lnTo>
                    <a:pt x="1424" y="7868"/>
                  </a:lnTo>
                  <a:lnTo>
                    <a:pt x="1570" y="8035"/>
                  </a:lnTo>
                  <a:lnTo>
                    <a:pt x="1570" y="8119"/>
                  </a:lnTo>
                  <a:lnTo>
                    <a:pt x="1675" y="8140"/>
                  </a:lnTo>
                  <a:lnTo>
                    <a:pt x="1696" y="8244"/>
                  </a:lnTo>
                  <a:lnTo>
                    <a:pt x="1779" y="8244"/>
                  </a:lnTo>
                  <a:lnTo>
                    <a:pt x="1779" y="8286"/>
                  </a:lnTo>
                  <a:lnTo>
                    <a:pt x="1716" y="8370"/>
                  </a:lnTo>
                  <a:lnTo>
                    <a:pt x="1716" y="8391"/>
                  </a:lnTo>
                  <a:lnTo>
                    <a:pt x="1968" y="8579"/>
                  </a:lnTo>
                  <a:lnTo>
                    <a:pt x="2009" y="8663"/>
                  </a:lnTo>
                  <a:lnTo>
                    <a:pt x="2051" y="8537"/>
                  </a:lnTo>
                  <a:lnTo>
                    <a:pt x="2135" y="8453"/>
                  </a:lnTo>
                  <a:lnTo>
                    <a:pt x="2240" y="8537"/>
                  </a:lnTo>
                  <a:lnTo>
                    <a:pt x="2407" y="8579"/>
                  </a:lnTo>
                  <a:lnTo>
                    <a:pt x="2428" y="8642"/>
                  </a:lnTo>
                  <a:lnTo>
                    <a:pt x="2553" y="8642"/>
                  </a:lnTo>
                  <a:lnTo>
                    <a:pt x="2616" y="8704"/>
                  </a:lnTo>
                  <a:lnTo>
                    <a:pt x="2616" y="8893"/>
                  </a:lnTo>
                  <a:lnTo>
                    <a:pt x="2532" y="8976"/>
                  </a:lnTo>
                  <a:lnTo>
                    <a:pt x="2532" y="9060"/>
                  </a:lnTo>
                  <a:lnTo>
                    <a:pt x="2679" y="9081"/>
                  </a:lnTo>
                  <a:lnTo>
                    <a:pt x="2825" y="8976"/>
                  </a:lnTo>
                  <a:lnTo>
                    <a:pt x="2930" y="8976"/>
                  </a:lnTo>
                  <a:lnTo>
                    <a:pt x="2993" y="9018"/>
                  </a:lnTo>
                  <a:lnTo>
                    <a:pt x="3076" y="8976"/>
                  </a:lnTo>
                  <a:lnTo>
                    <a:pt x="3076" y="8872"/>
                  </a:lnTo>
                  <a:lnTo>
                    <a:pt x="3097" y="8851"/>
                  </a:lnTo>
                  <a:lnTo>
                    <a:pt x="3076" y="8788"/>
                  </a:lnTo>
                  <a:lnTo>
                    <a:pt x="2972" y="8704"/>
                  </a:lnTo>
                  <a:lnTo>
                    <a:pt x="2930" y="8642"/>
                  </a:lnTo>
                  <a:lnTo>
                    <a:pt x="2846" y="8474"/>
                  </a:lnTo>
                  <a:lnTo>
                    <a:pt x="2742" y="8432"/>
                  </a:lnTo>
                  <a:lnTo>
                    <a:pt x="2637" y="8432"/>
                  </a:lnTo>
                  <a:lnTo>
                    <a:pt x="2574" y="8453"/>
                  </a:lnTo>
                  <a:lnTo>
                    <a:pt x="2491" y="8391"/>
                  </a:lnTo>
                  <a:lnTo>
                    <a:pt x="2344" y="8244"/>
                  </a:lnTo>
                  <a:lnTo>
                    <a:pt x="2260" y="8160"/>
                  </a:lnTo>
                  <a:lnTo>
                    <a:pt x="2260" y="8056"/>
                  </a:lnTo>
                  <a:lnTo>
                    <a:pt x="2219" y="8035"/>
                  </a:lnTo>
                  <a:lnTo>
                    <a:pt x="2198" y="8140"/>
                  </a:lnTo>
                  <a:lnTo>
                    <a:pt x="2030" y="8056"/>
                  </a:lnTo>
                  <a:lnTo>
                    <a:pt x="2051" y="7972"/>
                  </a:lnTo>
                  <a:lnTo>
                    <a:pt x="2135" y="7930"/>
                  </a:lnTo>
                  <a:lnTo>
                    <a:pt x="2156" y="7951"/>
                  </a:lnTo>
                  <a:lnTo>
                    <a:pt x="2198" y="7930"/>
                  </a:lnTo>
                  <a:lnTo>
                    <a:pt x="2219" y="7868"/>
                  </a:lnTo>
                  <a:lnTo>
                    <a:pt x="2156" y="7637"/>
                  </a:lnTo>
                  <a:lnTo>
                    <a:pt x="2114" y="7616"/>
                  </a:lnTo>
                  <a:lnTo>
                    <a:pt x="2114" y="7533"/>
                  </a:lnTo>
                  <a:lnTo>
                    <a:pt x="2030" y="7428"/>
                  </a:lnTo>
                  <a:lnTo>
                    <a:pt x="2009" y="7344"/>
                  </a:lnTo>
                  <a:lnTo>
                    <a:pt x="2009" y="7386"/>
                  </a:lnTo>
                  <a:lnTo>
                    <a:pt x="2009" y="7449"/>
                  </a:lnTo>
                  <a:lnTo>
                    <a:pt x="1947" y="7449"/>
                  </a:lnTo>
                  <a:lnTo>
                    <a:pt x="1884" y="7324"/>
                  </a:lnTo>
                  <a:lnTo>
                    <a:pt x="1821" y="7303"/>
                  </a:lnTo>
                  <a:lnTo>
                    <a:pt x="1842" y="7177"/>
                  </a:lnTo>
                  <a:lnTo>
                    <a:pt x="1800" y="7114"/>
                  </a:lnTo>
                  <a:lnTo>
                    <a:pt x="1779" y="6989"/>
                  </a:lnTo>
                  <a:lnTo>
                    <a:pt x="1716" y="6926"/>
                  </a:lnTo>
                  <a:lnTo>
                    <a:pt x="1633" y="6926"/>
                  </a:lnTo>
                  <a:lnTo>
                    <a:pt x="1612" y="6905"/>
                  </a:lnTo>
                  <a:lnTo>
                    <a:pt x="1570" y="6968"/>
                  </a:lnTo>
                  <a:lnTo>
                    <a:pt x="1528" y="7010"/>
                  </a:lnTo>
                  <a:lnTo>
                    <a:pt x="1486" y="7031"/>
                  </a:lnTo>
                  <a:lnTo>
                    <a:pt x="1424" y="6989"/>
                  </a:lnTo>
                  <a:lnTo>
                    <a:pt x="1486" y="6884"/>
                  </a:lnTo>
                  <a:lnTo>
                    <a:pt x="1382" y="6717"/>
                  </a:lnTo>
                  <a:lnTo>
                    <a:pt x="1382" y="6654"/>
                  </a:lnTo>
                  <a:lnTo>
                    <a:pt x="1361" y="6507"/>
                  </a:lnTo>
                  <a:lnTo>
                    <a:pt x="1361" y="6466"/>
                  </a:lnTo>
                  <a:lnTo>
                    <a:pt x="1403" y="6382"/>
                  </a:lnTo>
                  <a:lnTo>
                    <a:pt x="1382" y="6361"/>
                  </a:lnTo>
                  <a:lnTo>
                    <a:pt x="1319" y="6361"/>
                  </a:lnTo>
                  <a:lnTo>
                    <a:pt x="1382" y="6256"/>
                  </a:lnTo>
                  <a:lnTo>
                    <a:pt x="1382" y="6131"/>
                  </a:lnTo>
                  <a:lnTo>
                    <a:pt x="1507" y="5943"/>
                  </a:lnTo>
                  <a:lnTo>
                    <a:pt x="1528" y="5503"/>
                  </a:lnTo>
                  <a:lnTo>
                    <a:pt x="1612" y="5399"/>
                  </a:lnTo>
                  <a:lnTo>
                    <a:pt x="1633" y="5252"/>
                  </a:lnTo>
                  <a:lnTo>
                    <a:pt x="1716" y="5147"/>
                  </a:lnTo>
                  <a:lnTo>
                    <a:pt x="1737" y="5001"/>
                  </a:lnTo>
                  <a:lnTo>
                    <a:pt x="1696" y="4980"/>
                  </a:lnTo>
                  <a:lnTo>
                    <a:pt x="1716" y="4896"/>
                  </a:lnTo>
                  <a:lnTo>
                    <a:pt x="1716" y="4771"/>
                  </a:lnTo>
                  <a:lnTo>
                    <a:pt x="1779" y="4666"/>
                  </a:lnTo>
                  <a:lnTo>
                    <a:pt x="1779" y="4562"/>
                  </a:lnTo>
                  <a:lnTo>
                    <a:pt x="1675" y="4520"/>
                  </a:lnTo>
                  <a:lnTo>
                    <a:pt x="1696" y="4457"/>
                  </a:lnTo>
                  <a:lnTo>
                    <a:pt x="1696" y="4415"/>
                  </a:lnTo>
                  <a:lnTo>
                    <a:pt x="1800" y="4415"/>
                  </a:lnTo>
                  <a:lnTo>
                    <a:pt x="1821" y="4394"/>
                  </a:lnTo>
                  <a:lnTo>
                    <a:pt x="1884" y="4415"/>
                  </a:lnTo>
                  <a:lnTo>
                    <a:pt x="1926" y="4415"/>
                  </a:lnTo>
                  <a:lnTo>
                    <a:pt x="2030" y="4373"/>
                  </a:lnTo>
                  <a:lnTo>
                    <a:pt x="2051" y="4394"/>
                  </a:lnTo>
                  <a:lnTo>
                    <a:pt x="2135" y="4394"/>
                  </a:lnTo>
                  <a:lnTo>
                    <a:pt x="2219" y="4415"/>
                  </a:lnTo>
                  <a:lnTo>
                    <a:pt x="2260" y="4499"/>
                  </a:lnTo>
                  <a:lnTo>
                    <a:pt x="2219" y="4520"/>
                  </a:lnTo>
                  <a:lnTo>
                    <a:pt x="2219" y="4687"/>
                  </a:lnTo>
                  <a:lnTo>
                    <a:pt x="2260" y="4792"/>
                  </a:lnTo>
                  <a:lnTo>
                    <a:pt x="2240" y="4813"/>
                  </a:lnTo>
                  <a:lnTo>
                    <a:pt x="2198" y="4917"/>
                  </a:lnTo>
                  <a:lnTo>
                    <a:pt x="2302" y="4896"/>
                  </a:lnTo>
                  <a:lnTo>
                    <a:pt x="2365" y="4917"/>
                  </a:lnTo>
                  <a:lnTo>
                    <a:pt x="2470" y="4896"/>
                  </a:lnTo>
                  <a:lnTo>
                    <a:pt x="2616" y="4917"/>
                  </a:lnTo>
                  <a:lnTo>
                    <a:pt x="2658" y="4980"/>
                  </a:lnTo>
                  <a:lnTo>
                    <a:pt x="2658" y="4938"/>
                  </a:lnTo>
                  <a:lnTo>
                    <a:pt x="2658" y="4917"/>
                  </a:lnTo>
                  <a:lnTo>
                    <a:pt x="2721" y="4875"/>
                  </a:lnTo>
                  <a:lnTo>
                    <a:pt x="2784" y="4896"/>
                  </a:lnTo>
                  <a:lnTo>
                    <a:pt x="2951" y="5043"/>
                  </a:lnTo>
                  <a:lnTo>
                    <a:pt x="3014" y="5085"/>
                  </a:lnTo>
                  <a:lnTo>
                    <a:pt x="3014" y="5127"/>
                  </a:lnTo>
                  <a:lnTo>
                    <a:pt x="3076" y="5127"/>
                  </a:lnTo>
                  <a:lnTo>
                    <a:pt x="3181" y="5231"/>
                  </a:lnTo>
                  <a:lnTo>
                    <a:pt x="3202" y="5252"/>
                  </a:lnTo>
                  <a:lnTo>
                    <a:pt x="3244" y="5252"/>
                  </a:lnTo>
                  <a:lnTo>
                    <a:pt x="3244" y="5189"/>
                  </a:lnTo>
                  <a:lnTo>
                    <a:pt x="3286" y="5189"/>
                  </a:lnTo>
                  <a:lnTo>
                    <a:pt x="3286" y="5106"/>
                  </a:lnTo>
                  <a:lnTo>
                    <a:pt x="3307" y="4875"/>
                  </a:lnTo>
                  <a:lnTo>
                    <a:pt x="3265" y="4771"/>
                  </a:lnTo>
                  <a:lnTo>
                    <a:pt x="3160" y="4708"/>
                  </a:lnTo>
                  <a:lnTo>
                    <a:pt x="3097" y="4478"/>
                  </a:lnTo>
                  <a:lnTo>
                    <a:pt x="3139" y="4269"/>
                  </a:lnTo>
                  <a:lnTo>
                    <a:pt x="3202" y="4143"/>
                  </a:lnTo>
                  <a:lnTo>
                    <a:pt x="3265" y="3955"/>
                  </a:lnTo>
                  <a:lnTo>
                    <a:pt x="3369" y="3787"/>
                  </a:lnTo>
                  <a:lnTo>
                    <a:pt x="3495" y="3787"/>
                  </a:lnTo>
                  <a:lnTo>
                    <a:pt x="3767" y="3725"/>
                  </a:lnTo>
                  <a:lnTo>
                    <a:pt x="3913" y="3725"/>
                  </a:lnTo>
                  <a:lnTo>
                    <a:pt x="3976" y="3766"/>
                  </a:lnTo>
                  <a:lnTo>
                    <a:pt x="4123" y="3683"/>
                  </a:lnTo>
                  <a:lnTo>
                    <a:pt x="4248" y="3683"/>
                  </a:lnTo>
                  <a:lnTo>
                    <a:pt x="4395" y="3746"/>
                  </a:lnTo>
                  <a:lnTo>
                    <a:pt x="4541" y="3725"/>
                  </a:lnTo>
                  <a:lnTo>
                    <a:pt x="4646" y="3787"/>
                  </a:lnTo>
                  <a:lnTo>
                    <a:pt x="4771" y="3725"/>
                  </a:lnTo>
                  <a:lnTo>
                    <a:pt x="4855" y="3641"/>
                  </a:lnTo>
                  <a:lnTo>
                    <a:pt x="4855" y="3432"/>
                  </a:lnTo>
                  <a:lnTo>
                    <a:pt x="4834" y="3348"/>
                  </a:lnTo>
                  <a:lnTo>
                    <a:pt x="4855" y="3243"/>
                  </a:lnTo>
                  <a:lnTo>
                    <a:pt x="4855" y="3160"/>
                  </a:lnTo>
                  <a:lnTo>
                    <a:pt x="4876" y="3034"/>
                  </a:lnTo>
                  <a:lnTo>
                    <a:pt x="4876" y="2950"/>
                  </a:lnTo>
                  <a:lnTo>
                    <a:pt x="4729" y="2846"/>
                  </a:lnTo>
                  <a:lnTo>
                    <a:pt x="4750" y="2804"/>
                  </a:lnTo>
                  <a:lnTo>
                    <a:pt x="4667" y="2741"/>
                  </a:lnTo>
                  <a:lnTo>
                    <a:pt x="4541" y="2741"/>
                  </a:lnTo>
                  <a:lnTo>
                    <a:pt x="4437" y="2616"/>
                  </a:lnTo>
                  <a:lnTo>
                    <a:pt x="4332" y="2532"/>
                  </a:lnTo>
                  <a:lnTo>
                    <a:pt x="4353" y="2469"/>
                  </a:lnTo>
                  <a:lnTo>
                    <a:pt x="4353" y="2281"/>
                  </a:lnTo>
                  <a:lnTo>
                    <a:pt x="4311" y="2155"/>
                  </a:lnTo>
                  <a:lnTo>
                    <a:pt x="4353" y="2072"/>
                  </a:lnTo>
                  <a:lnTo>
                    <a:pt x="4353" y="1988"/>
                  </a:lnTo>
                  <a:lnTo>
                    <a:pt x="4311" y="1862"/>
                  </a:lnTo>
                  <a:lnTo>
                    <a:pt x="4185" y="1758"/>
                  </a:lnTo>
                  <a:lnTo>
                    <a:pt x="3913" y="1570"/>
                  </a:lnTo>
                  <a:lnTo>
                    <a:pt x="3830" y="1423"/>
                  </a:lnTo>
                  <a:lnTo>
                    <a:pt x="3579" y="1339"/>
                  </a:lnTo>
                  <a:lnTo>
                    <a:pt x="3390" y="1381"/>
                  </a:lnTo>
                  <a:lnTo>
                    <a:pt x="3265" y="1653"/>
                  </a:lnTo>
                  <a:lnTo>
                    <a:pt x="3014" y="1674"/>
                  </a:lnTo>
                  <a:lnTo>
                    <a:pt x="2930" y="1549"/>
                  </a:lnTo>
                  <a:lnTo>
                    <a:pt x="2825" y="1549"/>
                  </a:lnTo>
                  <a:lnTo>
                    <a:pt x="2616" y="1444"/>
                  </a:lnTo>
                  <a:lnTo>
                    <a:pt x="2428" y="1528"/>
                  </a:lnTo>
                  <a:lnTo>
                    <a:pt x="2428" y="1653"/>
                  </a:lnTo>
                  <a:lnTo>
                    <a:pt x="2260" y="1674"/>
                  </a:lnTo>
                  <a:lnTo>
                    <a:pt x="2114" y="1758"/>
                  </a:lnTo>
                  <a:lnTo>
                    <a:pt x="2114" y="1465"/>
                  </a:lnTo>
                  <a:lnTo>
                    <a:pt x="2114" y="1256"/>
                  </a:lnTo>
                  <a:lnTo>
                    <a:pt x="2051" y="1130"/>
                  </a:lnTo>
                  <a:lnTo>
                    <a:pt x="2114" y="1025"/>
                  </a:lnTo>
                  <a:lnTo>
                    <a:pt x="2135" y="942"/>
                  </a:lnTo>
                  <a:lnTo>
                    <a:pt x="2051" y="837"/>
                  </a:lnTo>
                  <a:lnTo>
                    <a:pt x="2135" y="712"/>
                  </a:lnTo>
                  <a:lnTo>
                    <a:pt x="2114" y="607"/>
                  </a:lnTo>
                  <a:lnTo>
                    <a:pt x="1905" y="607"/>
                  </a:lnTo>
                  <a:lnTo>
                    <a:pt x="1821" y="691"/>
                  </a:lnTo>
                  <a:lnTo>
                    <a:pt x="1716" y="628"/>
                  </a:lnTo>
                  <a:lnTo>
                    <a:pt x="1633" y="502"/>
                  </a:lnTo>
                  <a:lnTo>
                    <a:pt x="1716" y="419"/>
                  </a:lnTo>
                  <a:lnTo>
                    <a:pt x="1696" y="230"/>
                  </a:lnTo>
                  <a:lnTo>
                    <a:pt x="1591" y="105"/>
                  </a:lnTo>
                  <a:lnTo>
                    <a:pt x="1424" y="126"/>
                  </a:lnTo>
                  <a:lnTo>
                    <a:pt x="138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 name="Google Shape;5933;p93">
              <a:extLst>
                <a:ext uri="{FF2B5EF4-FFF2-40B4-BE49-F238E27FC236}">
                  <a16:creationId xmlns:a16="http://schemas.microsoft.com/office/drawing/2014/main" id="{2AE46866-A627-4FF2-B02E-D6189CF67E41}"/>
                </a:ext>
              </a:extLst>
            </p:cNvPr>
            <p:cNvSpPr/>
            <p:nvPr/>
          </p:nvSpPr>
          <p:spPr>
            <a:xfrm>
              <a:off x="4375443" y="2948079"/>
              <a:ext cx="61050" cy="131125"/>
            </a:xfrm>
            <a:custGeom>
              <a:avLst/>
              <a:gdLst/>
              <a:ahLst/>
              <a:cxnLst/>
              <a:rect l="l" t="t" r="r" b="b"/>
              <a:pathLst>
                <a:path w="5127" h="11530" extrusionOk="0">
                  <a:moveTo>
                    <a:pt x="2407" y="0"/>
                  </a:moveTo>
                  <a:lnTo>
                    <a:pt x="2302" y="42"/>
                  </a:lnTo>
                  <a:lnTo>
                    <a:pt x="2344" y="63"/>
                  </a:lnTo>
                  <a:lnTo>
                    <a:pt x="2365" y="147"/>
                  </a:lnTo>
                  <a:lnTo>
                    <a:pt x="2260" y="251"/>
                  </a:lnTo>
                  <a:lnTo>
                    <a:pt x="2260" y="419"/>
                  </a:lnTo>
                  <a:lnTo>
                    <a:pt x="2281" y="523"/>
                  </a:lnTo>
                  <a:lnTo>
                    <a:pt x="2155" y="461"/>
                  </a:lnTo>
                  <a:lnTo>
                    <a:pt x="2072" y="377"/>
                  </a:lnTo>
                  <a:lnTo>
                    <a:pt x="1925" y="482"/>
                  </a:lnTo>
                  <a:lnTo>
                    <a:pt x="1716" y="544"/>
                  </a:lnTo>
                  <a:lnTo>
                    <a:pt x="1653" y="691"/>
                  </a:lnTo>
                  <a:lnTo>
                    <a:pt x="1528" y="858"/>
                  </a:lnTo>
                  <a:lnTo>
                    <a:pt x="1402" y="900"/>
                  </a:lnTo>
                  <a:lnTo>
                    <a:pt x="1214" y="1193"/>
                  </a:lnTo>
                  <a:lnTo>
                    <a:pt x="1193" y="1360"/>
                  </a:lnTo>
                  <a:lnTo>
                    <a:pt x="1235" y="1402"/>
                  </a:lnTo>
                  <a:lnTo>
                    <a:pt x="1151" y="1632"/>
                  </a:lnTo>
                  <a:lnTo>
                    <a:pt x="1005" y="1904"/>
                  </a:lnTo>
                  <a:lnTo>
                    <a:pt x="1005" y="2009"/>
                  </a:lnTo>
                  <a:lnTo>
                    <a:pt x="1130" y="2051"/>
                  </a:lnTo>
                  <a:lnTo>
                    <a:pt x="1005" y="2365"/>
                  </a:lnTo>
                  <a:lnTo>
                    <a:pt x="942" y="2616"/>
                  </a:lnTo>
                  <a:lnTo>
                    <a:pt x="879" y="2825"/>
                  </a:lnTo>
                  <a:lnTo>
                    <a:pt x="712" y="2825"/>
                  </a:lnTo>
                  <a:lnTo>
                    <a:pt x="607" y="2783"/>
                  </a:lnTo>
                  <a:lnTo>
                    <a:pt x="502" y="2783"/>
                  </a:lnTo>
                  <a:lnTo>
                    <a:pt x="565" y="3076"/>
                  </a:lnTo>
                  <a:lnTo>
                    <a:pt x="565" y="3202"/>
                  </a:lnTo>
                  <a:lnTo>
                    <a:pt x="565" y="3411"/>
                  </a:lnTo>
                  <a:lnTo>
                    <a:pt x="419" y="3411"/>
                  </a:lnTo>
                  <a:lnTo>
                    <a:pt x="440" y="3578"/>
                  </a:lnTo>
                  <a:lnTo>
                    <a:pt x="419" y="3704"/>
                  </a:lnTo>
                  <a:lnTo>
                    <a:pt x="440" y="3808"/>
                  </a:lnTo>
                  <a:lnTo>
                    <a:pt x="398" y="4018"/>
                  </a:lnTo>
                  <a:lnTo>
                    <a:pt x="314" y="4039"/>
                  </a:lnTo>
                  <a:lnTo>
                    <a:pt x="272" y="4018"/>
                  </a:lnTo>
                  <a:lnTo>
                    <a:pt x="251" y="4122"/>
                  </a:lnTo>
                  <a:lnTo>
                    <a:pt x="251" y="4206"/>
                  </a:lnTo>
                  <a:lnTo>
                    <a:pt x="251" y="4332"/>
                  </a:lnTo>
                  <a:lnTo>
                    <a:pt x="189" y="4457"/>
                  </a:lnTo>
                  <a:lnTo>
                    <a:pt x="147" y="4436"/>
                  </a:lnTo>
                  <a:lnTo>
                    <a:pt x="42" y="4562"/>
                  </a:lnTo>
                  <a:lnTo>
                    <a:pt x="0" y="4666"/>
                  </a:lnTo>
                  <a:lnTo>
                    <a:pt x="0" y="4729"/>
                  </a:lnTo>
                  <a:lnTo>
                    <a:pt x="84" y="4834"/>
                  </a:lnTo>
                  <a:lnTo>
                    <a:pt x="105" y="4980"/>
                  </a:lnTo>
                  <a:lnTo>
                    <a:pt x="377" y="5231"/>
                  </a:lnTo>
                  <a:lnTo>
                    <a:pt x="377" y="5231"/>
                  </a:lnTo>
                  <a:lnTo>
                    <a:pt x="314" y="5127"/>
                  </a:lnTo>
                  <a:lnTo>
                    <a:pt x="314" y="5064"/>
                  </a:lnTo>
                  <a:lnTo>
                    <a:pt x="398" y="5148"/>
                  </a:lnTo>
                  <a:lnTo>
                    <a:pt x="523" y="5148"/>
                  </a:lnTo>
                  <a:lnTo>
                    <a:pt x="419" y="5231"/>
                  </a:lnTo>
                  <a:lnTo>
                    <a:pt x="440" y="5273"/>
                  </a:lnTo>
                  <a:lnTo>
                    <a:pt x="565" y="5273"/>
                  </a:lnTo>
                  <a:lnTo>
                    <a:pt x="565" y="5189"/>
                  </a:lnTo>
                  <a:lnTo>
                    <a:pt x="586" y="5273"/>
                  </a:lnTo>
                  <a:lnTo>
                    <a:pt x="691" y="5273"/>
                  </a:lnTo>
                  <a:lnTo>
                    <a:pt x="733" y="5357"/>
                  </a:lnTo>
                  <a:lnTo>
                    <a:pt x="921" y="5399"/>
                  </a:lnTo>
                  <a:lnTo>
                    <a:pt x="1026" y="5566"/>
                  </a:lnTo>
                  <a:lnTo>
                    <a:pt x="1026" y="5671"/>
                  </a:lnTo>
                  <a:lnTo>
                    <a:pt x="942" y="5692"/>
                  </a:lnTo>
                  <a:lnTo>
                    <a:pt x="900" y="5608"/>
                  </a:lnTo>
                  <a:lnTo>
                    <a:pt x="816" y="5671"/>
                  </a:lnTo>
                  <a:lnTo>
                    <a:pt x="900" y="5754"/>
                  </a:lnTo>
                  <a:lnTo>
                    <a:pt x="921" y="5775"/>
                  </a:lnTo>
                  <a:lnTo>
                    <a:pt x="900" y="5796"/>
                  </a:lnTo>
                  <a:lnTo>
                    <a:pt x="795" y="5775"/>
                  </a:lnTo>
                  <a:lnTo>
                    <a:pt x="774" y="5671"/>
                  </a:lnTo>
                  <a:lnTo>
                    <a:pt x="670" y="5671"/>
                  </a:lnTo>
                  <a:lnTo>
                    <a:pt x="670" y="5712"/>
                  </a:lnTo>
                  <a:lnTo>
                    <a:pt x="795" y="5817"/>
                  </a:lnTo>
                  <a:lnTo>
                    <a:pt x="795" y="5880"/>
                  </a:lnTo>
                  <a:lnTo>
                    <a:pt x="900" y="6005"/>
                  </a:lnTo>
                  <a:lnTo>
                    <a:pt x="1109" y="6068"/>
                  </a:lnTo>
                  <a:lnTo>
                    <a:pt x="1088" y="5880"/>
                  </a:lnTo>
                  <a:lnTo>
                    <a:pt x="1026" y="5775"/>
                  </a:lnTo>
                  <a:lnTo>
                    <a:pt x="1151" y="5859"/>
                  </a:lnTo>
                  <a:lnTo>
                    <a:pt x="1151" y="5964"/>
                  </a:lnTo>
                  <a:lnTo>
                    <a:pt x="1214" y="6068"/>
                  </a:lnTo>
                  <a:lnTo>
                    <a:pt x="1298" y="6131"/>
                  </a:lnTo>
                  <a:lnTo>
                    <a:pt x="1319" y="6298"/>
                  </a:lnTo>
                  <a:lnTo>
                    <a:pt x="1402" y="6382"/>
                  </a:lnTo>
                  <a:lnTo>
                    <a:pt x="1360" y="6403"/>
                  </a:lnTo>
                  <a:lnTo>
                    <a:pt x="1402" y="6445"/>
                  </a:lnTo>
                  <a:lnTo>
                    <a:pt x="1465" y="6487"/>
                  </a:lnTo>
                  <a:lnTo>
                    <a:pt x="1465" y="6717"/>
                  </a:lnTo>
                  <a:lnTo>
                    <a:pt x="1570" y="6947"/>
                  </a:lnTo>
                  <a:lnTo>
                    <a:pt x="1632" y="7010"/>
                  </a:lnTo>
                  <a:lnTo>
                    <a:pt x="1486" y="7114"/>
                  </a:lnTo>
                  <a:lnTo>
                    <a:pt x="1402" y="7658"/>
                  </a:lnTo>
                  <a:lnTo>
                    <a:pt x="1444" y="7784"/>
                  </a:lnTo>
                  <a:lnTo>
                    <a:pt x="1423" y="7847"/>
                  </a:lnTo>
                  <a:lnTo>
                    <a:pt x="1444" y="7889"/>
                  </a:lnTo>
                  <a:lnTo>
                    <a:pt x="1528" y="7742"/>
                  </a:lnTo>
                  <a:lnTo>
                    <a:pt x="1653" y="7637"/>
                  </a:lnTo>
                  <a:lnTo>
                    <a:pt x="1716" y="7470"/>
                  </a:lnTo>
                  <a:lnTo>
                    <a:pt x="1716" y="7658"/>
                  </a:lnTo>
                  <a:lnTo>
                    <a:pt x="1549" y="7805"/>
                  </a:lnTo>
                  <a:lnTo>
                    <a:pt x="1549" y="7972"/>
                  </a:lnTo>
                  <a:lnTo>
                    <a:pt x="1632" y="7951"/>
                  </a:lnTo>
                  <a:lnTo>
                    <a:pt x="1632" y="7868"/>
                  </a:lnTo>
                  <a:lnTo>
                    <a:pt x="1779" y="7784"/>
                  </a:lnTo>
                  <a:lnTo>
                    <a:pt x="1863" y="7868"/>
                  </a:lnTo>
                  <a:lnTo>
                    <a:pt x="1925" y="7868"/>
                  </a:lnTo>
                  <a:lnTo>
                    <a:pt x="1925" y="7805"/>
                  </a:lnTo>
                  <a:lnTo>
                    <a:pt x="1946" y="7847"/>
                  </a:lnTo>
                  <a:lnTo>
                    <a:pt x="1988" y="7847"/>
                  </a:lnTo>
                  <a:lnTo>
                    <a:pt x="2009" y="7805"/>
                  </a:lnTo>
                  <a:lnTo>
                    <a:pt x="2135" y="7805"/>
                  </a:lnTo>
                  <a:lnTo>
                    <a:pt x="2365" y="7658"/>
                  </a:lnTo>
                  <a:lnTo>
                    <a:pt x="2386" y="7575"/>
                  </a:lnTo>
                  <a:lnTo>
                    <a:pt x="2448" y="7596"/>
                  </a:lnTo>
                  <a:lnTo>
                    <a:pt x="2511" y="7596"/>
                  </a:lnTo>
                  <a:lnTo>
                    <a:pt x="2658" y="7533"/>
                  </a:lnTo>
                  <a:lnTo>
                    <a:pt x="2574" y="7491"/>
                  </a:lnTo>
                  <a:lnTo>
                    <a:pt x="2574" y="7470"/>
                  </a:lnTo>
                  <a:lnTo>
                    <a:pt x="2511" y="7365"/>
                  </a:lnTo>
                  <a:lnTo>
                    <a:pt x="2574" y="7365"/>
                  </a:lnTo>
                  <a:lnTo>
                    <a:pt x="2616" y="7449"/>
                  </a:lnTo>
                  <a:lnTo>
                    <a:pt x="2720" y="7470"/>
                  </a:lnTo>
                  <a:lnTo>
                    <a:pt x="2888" y="7345"/>
                  </a:lnTo>
                  <a:lnTo>
                    <a:pt x="2867" y="7282"/>
                  </a:lnTo>
                  <a:lnTo>
                    <a:pt x="2909" y="7240"/>
                  </a:lnTo>
                  <a:lnTo>
                    <a:pt x="2909" y="7114"/>
                  </a:lnTo>
                  <a:lnTo>
                    <a:pt x="2867" y="7052"/>
                  </a:lnTo>
                  <a:lnTo>
                    <a:pt x="2867" y="7010"/>
                  </a:lnTo>
                  <a:lnTo>
                    <a:pt x="2888" y="6947"/>
                  </a:lnTo>
                  <a:lnTo>
                    <a:pt x="2804" y="6863"/>
                  </a:lnTo>
                  <a:lnTo>
                    <a:pt x="2909" y="6947"/>
                  </a:lnTo>
                  <a:lnTo>
                    <a:pt x="2909" y="7010"/>
                  </a:lnTo>
                  <a:lnTo>
                    <a:pt x="2992" y="7010"/>
                  </a:lnTo>
                  <a:lnTo>
                    <a:pt x="2992" y="7073"/>
                  </a:lnTo>
                  <a:lnTo>
                    <a:pt x="3118" y="7282"/>
                  </a:lnTo>
                  <a:lnTo>
                    <a:pt x="3181" y="7365"/>
                  </a:lnTo>
                  <a:lnTo>
                    <a:pt x="3202" y="7491"/>
                  </a:lnTo>
                  <a:lnTo>
                    <a:pt x="3306" y="7491"/>
                  </a:lnTo>
                  <a:lnTo>
                    <a:pt x="3390" y="7470"/>
                  </a:lnTo>
                  <a:lnTo>
                    <a:pt x="3411" y="7386"/>
                  </a:lnTo>
                  <a:lnTo>
                    <a:pt x="3411" y="7470"/>
                  </a:lnTo>
                  <a:lnTo>
                    <a:pt x="3390" y="7533"/>
                  </a:lnTo>
                  <a:lnTo>
                    <a:pt x="3432" y="7658"/>
                  </a:lnTo>
                  <a:lnTo>
                    <a:pt x="3432" y="7700"/>
                  </a:lnTo>
                  <a:lnTo>
                    <a:pt x="3411" y="7742"/>
                  </a:lnTo>
                  <a:lnTo>
                    <a:pt x="3432" y="7847"/>
                  </a:lnTo>
                  <a:lnTo>
                    <a:pt x="3495" y="7889"/>
                  </a:lnTo>
                  <a:lnTo>
                    <a:pt x="3536" y="8307"/>
                  </a:lnTo>
                  <a:lnTo>
                    <a:pt x="3578" y="8328"/>
                  </a:lnTo>
                  <a:lnTo>
                    <a:pt x="3578" y="8516"/>
                  </a:lnTo>
                  <a:lnTo>
                    <a:pt x="3725" y="8600"/>
                  </a:lnTo>
                  <a:lnTo>
                    <a:pt x="3704" y="8642"/>
                  </a:lnTo>
                  <a:lnTo>
                    <a:pt x="3704" y="8788"/>
                  </a:lnTo>
                  <a:lnTo>
                    <a:pt x="3767" y="8851"/>
                  </a:lnTo>
                  <a:lnTo>
                    <a:pt x="3767" y="9123"/>
                  </a:lnTo>
                  <a:lnTo>
                    <a:pt x="3829" y="9228"/>
                  </a:lnTo>
                  <a:lnTo>
                    <a:pt x="3829" y="9332"/>
                  </a:lnTo>
                  <a:lnTo>
                    <a:pt x="3850" y="9311"/>
                  </a:lnTo>
                  <a:lnTo>
                    <a:pt x="3871" y="9123"/>
                  </a:lnTo>
                  <a:lnTo>
                    <a:pt x="3955" y="9249"/>
                  </a:lnTo>
                  <a:lnTo>
                    <a:pt x="3976" y="9374"/>
                  </a:lnTo>
                  <a:lnTo>
                    <a:pt x="4059" y="9458"/>
                  </a:lnTo>
                  <a:lnTo>
                    <a:pt x="4080" y="9793"/>
                  </a:lnTo>
                  <a:lnTo>
                    <a:pt x="4164" y="9855"/>
                  </a:lnTo>
                  <a:lnTo>
                    <a:pt x="4185" y="9960"/>
                  </a:lnTo>
                  <a:lnTo>
                    <a:pt x="4143" y="10002"/>
                  </a:lnTo>
                  <a:lnTo>
                    <a:pt x="4164" y="10169"/>
                  </a:lnTo>
                  <a:lnTo>
                    <a:pt x="4227" y="10253"/>
                  </a:lnTo>
                  <a:lnTo>
                    <a:pt x="4290" y="10316"/>
                  </a:lnTo>
                  <a:lnTo>
                    <a:pt x="4227" y="10399"/>
                  </a:lnTo>
                  <a:lnTo>
                    <a:pt x="4269" y="10567"/>
                  </a:lnTo>
                  <a:lnTo>
                    <a:pt x="4248" y="10609"/>
                  </a:lnTo>
                  <a:lnTo>
                    <a:pt x="4227" y="10630"/>
                  </a:lnTo>
                  <a:lnTo>
                    <a:pt x="4185" y="10797"/>
                  </a:lnTo>
                  <a:lnTo>
                    <a:pt x="4227" y="10818"/>
                  </a:lnTo>
                  <a:lnTo>
                    <a:pt x="4227" y="10922"/>
                  </a:lnTo>
                  <a:lnTo>
                    <a:pt x="4143" y="11027"/>
                  </a:lnTo>
                  <a:lnTo>
                    <a:pt x="4101" y="11048"/>
                  </a:lnTo>
                  <a:lnTo>
                    <a:pt x="4059" y="11048"/>
                  </a:lnTo>
                  <a:lnTo>
                    <a:pt x="4059" y="11111"/>
                  </a:lnTo>
                  <a:lnTo>
                    <a:pt x="4101" y="11194"/>
                  </a:lnTo>
                  <a:lnTo>
                    <a:pt x="4101" y="11341"/>
                  </a:lnTo>
                  <a:lnTo>
                    <a:pt x="4164" y="11529"/>
                  </a:lnTo>
                  <a:lnTo>
                    <a:pt x="4185" y="11341"/>
                  </a:lnTo>
                  <a:lnTo>
                    <a:pt x="4248" y="11236"/>
                  </a:lnTo>
                  <a:lnTo>
                    <a:pt x="4248" y="11257"/>
                  </a:lnTo>
                  <a:lnTo>
                    <a:pt x="4269" y="11153"/>
                  </a:lnTo>
                  <a:lnTo>
                    <a:pt x="4332" y="11090"/>
                  </a:lnTo>
                  <a:lnTo>
                    <a:pt x="4332" y="10922"/>
                  </a:lnTo>
                  <a:lnTo>
                    <a:pt x="4457" y="10839"/>
                  </a:lnTo>
                  <a:lnTo>
                    <a:pt x="4583" y="10483"/>
                  </a:lnTo>
                  <a:lnTo>
                    <a:pt x="4666" y="10420"/>
                  </a:lnTo>
                  <a:lnTo>
                    <a:pt x="4666" y="10253"/>
                  </a:lnTo>
                  <a:lnTo>
                    <a:pt x="4583" y="10106"/>
                  </a:lnTo>
                  <a:lnTo>
                    <a:pt x="4604" y="9960"/>
                  </a:lnTo>
                  <a:lnTo>
                    <a:pt x="4562" y="9855"/>
                  </a:lnTo>
                  <a:lnTo>
                    <a:pt x="4541" y="9667"/>
                  </a:lnTo>
                  <a:lnTo>
                    <a:pt x="4457" y="9583"/>
                  </a:lnTo>
                  <a:lnTo>
                    <a:pt x="4478" y="9479"/>
                  </a:lnTo>
                  <a:lnTo>
                    <a:pt x="4457" y="9353"/>
                  </a:lnTo>
                  <a:lnTo>
                    <a:pt x="4478" y="9270"/>
                  </a:lnTo>
                  <a:lnTo>
                    <a:pt x="4436" y="9018"/>
                  </a:lnTo>
                  <a:lnTo>
                    <a:pt x="4269" y="8851"/>
                  </a:lnTo>
                  <a:lnTo>
                    <a:pt x="4080" y="8725"/>
                  </a:lnTo>
                  <a:lnTo>
                    <a:pt x="3934" y="8537"/>
                  </a:lnTo>
                  <a:lnTo>
                    <a:pt x="3934" y="8433"/>
                  </a:lnTo>
                  <a:lnTo>
                    <a:pt x="3850" y="8223"/>
                  </a:lnTo>
                  <a:lnTo>
                    <a:pt x="3955" y="8181"/>
                  </a:lnTo>
                  <a:lnTo>
                    <a:pt x="3976" y="8077"/>
                  </a:lnTo>
                  <a:lnTo>
                    <a:pt x="3934" y="7784"/>
                  </a:lnTo>
                  <a:lnTo>
                    <a:pt x="3955" y="7700"/>
                  </a:lnTo>
                  <a:lnTo>
                    <a:pt x="4059" y="7658"/>
                  </a:lnTo>
                  <a:lnTo>
                    <a:pt x="4059" y="7533"/>
                  </a:lnTo>
                  <a:lnTo>
                    <a:pt x="3934" y="7470"/>
                  </a:lnTo>
                  <a:lnTo>
                    <a:pt x="3934" y="7345"/>
                  </a:lnTo>
                  <a:lnTo>
                    <a:pt x="3850" y="7219"/>
                  </a:lnTo>
                  <a:lnTo>
                    <a:pt x="3767" y="7156"/>
                  </a:lnTo>
                  <a:lnTo>
                    <a:pt x="3620" y="6863"/>
                  </a:lnTo>
                  <a:lnTo>
                    <a:pt x="3495" y="6759"/>
                  </a:lnTo>
                  <a:lnTo>
                    <a:pt x="3432" y="6696"/>
                  </a:lnTo>
                  <a:lnTo>
                    <a:pt x="3348" y="6612"/>
                  </a:lnTo>
                  <a:lnTo>
                    <a:pt x="3243" y="6424"/>
                  </a:lnTo>
                  <a:lnTo>
                    <a:pt x="3181" y="6403"/>
                  </a:lnTo>
                  <a:lnTo>
                    <a:pt x="3181" y="6319"/>
                  </a:lnTo>
                  <a:lnTo>
                    <a:pt x="3306" y="6236"/>
                  </a:lnTo>
                  <a:lnTo>
                    <a:pt x="3411" y="6173"/>
                  </a:lnTo>
                  <a:lnTo>
                    <a:pt x="3390" y="6089"/>
                  </a:lnTo>
                  <a:lnTo>
                    <a:pt x="3390" y="5901"/>
                  </a:lnTo>
                  <a:lnTo>
                    <a:pt x="3453" y="5817"/>
                  </a:lnTo>
                  <a:lnTo>
                    <a:pt x="3432" y="5650"/>
                  </a:lnTo>
                  <a:lnTo>
                    <a:pt x="3515" y="5503"/>
                  </a:lnTo>
                  <a:lnTo>
                    <a:pt x="3746" y="5587"/>
                  </a:lnTo>
                  <a:lnTo>
                    <a:pt x="3871" y="5482"/>
                  </a:lnTo>
                  <a:lnTo>
                    <a:pt x="4018" y="5482"/>
                  </a:lnTo>
                  <a:lnTo>
                    <a:pt x="4039" y="5440"/>
                  </a:lnTo>
                  <a:lnTo>
                    <a:pt x="4039" y="5273"/>
                  </a:lnTo>
                  <a:lnTo>
                    <a:pt x="4101" y="5231"/>
                  </a:lnTo>
                  <a:lnTo>
                    <a:pt x="4269" y="5252"/>
                  </a:lnTo>
                  <a:lnTo>
                    <a:pt x="4290" y="5168"/>
                  </a:lnTo>
                  <a:lnTo>
                    <a:pt x="4248" y="5085"/>
                  </a:lnTo>
                  <a:lnTo>
                    <a:pt x="4248" y="5022"/>
                  </a:lnTo>
                  <a:lnTo>
                    <a:pt x="4373" y="4980"/>
                  </a:lnTo>
                  <a:lnTo>
                    <a:pt x="4541" y="4959"/>
                  </a:lnTo>
                  <a:lnTo>
                    <a:pt x="4562" y="4959"/>
                  </a:lnTo>
                  <a:lnTo>
                    <a:pt x="4604" y="4813"/>
                  </a:lnTo>
                  <a:lnTo>
                    <a:pt x="4666" y="4813"/>
                  </a:lnTo>
                  <a:lnTo>
                    <a:pt x="4792" y="4729"/>
                  </a:lnTo>
                  <a:lnTo>
                    <a:pt x="4750" y="4645"/>
                  </a:lnTo>
                  <a:lnTo>
                    <a:pt x="4792" y="4541"/>
                  </a:lnTo>
                  <a:lnTo>
                    <a:pt x="4813" y="4436"/>
                  </a:lnTo>
                  <a:lnTo>
                    <a:pt x="4980" y="4415"/>
                  </a:lnTo>
                  <a:lnTo>
                    <a:pt x="5085" y="4311"/>
                  </a:lnTo>
                  <a:lnTo>
                    <a:pt x="5127" y="4290"/>
                  </a:lnTo>
                  <a:lnTo>
                    <a:pt x="5127" y="4143"/>
                  </a:lnTo>
                  <a:lnTo>
                    <a:pt x="5022" y="4122"/>
                  </a:lnTo>
                  <a:lnTo>
                    <a:pt x="4771" y="4227"/>
                  </a:lnTo>
                  <a:lnTo>
                    <a:pt x="4624" y="4227"/>
                  </a:lnTo>
                  <a:lnTo>
                    <a:pt x="4562" y="4311"/>
                  </a:lnTo>
                  <a:lnTo>
                    <a:pt x="4436" y="4248"/>
                  </a:lnTo>
                  <a:lnTo>
                    <a:pt x="4394" y="4122"/>
                  </a:lnTo>
                  <a:lnTo>
                    <a:pt x="4436" y="3997"/>
                  </a:lnTo>
                  <a:lnTo>
                    <a:pt x="4352" y="3892"/>
                  </a:lnTo>
                  <a:lnTo>
                    <a:pt x="4269" y="3976"/>
                  </a:lnTo>
                  <a:lnTo>
                    <a:pt x="4227" y="3913"/>
                  </a:lnTo>
                  <a:lnTo>
                    <a:pt x="4039" y="3913"/>
                  </a:lnTo>
                  <a:lnTo>
                    <a:pt x="3955" y="3934"/>
                  </a:lnTo>
                  <a:lnTo>
                    <a:pt x="3934" y="3871"/>
                  </a:lnTo>
                  <a:lnTo>
                    <a:pt x="4039" y="3767"/>
                  </a:lnTo>
                  <a:lnTo>
                    <a:pt x="4185" y="3578"/>
                  </a:lnTo>
                  <a:lnTo>
                    <a:pt x="4164" y="3495"/>
                  </a:lnTo>
                  <a:lnTo>
                    <a:pt x="4227" y="3390"/>
                  </a:lnTo>
                  <a:lnTo>
                    <a:pt x="4227" y="3306"/>
                  </a:lnTo>
                  <a:lnTo>
                    <a:pt x="4101" y="3244"/>
                  </a:lnTo>
                  <a:lnTo>
                    <a:pt x="3955" y="3244"/>
                  </a:lnTo>
                  <a:lnTo>
                    <a:pt x="3934" y="3285"/>
                  </a:lnTo>
                  <a:lnTo>
                    <a:pt x="3871" y="3202"/>
                  </a:lnTo>
                  <a:lnTo>
                    <a:pt x="3913" y="3160"/>
                  </a:lnTo>
                  <a:lnTo>
                    <a:pt x="3767" y="3139"/>
                  </a:lnTo>
                  <a:lnTo>
                    <a:pt x="3704" y="3055"/>
                  </a:lnTo>
                  <a:lnTo>
                    <a:pt x="3725" y="2951"/>
                  </a:lnTo>
                  <a:lnTo>
                    <a:pt x="3704" y="2846"/>
                  </a:lnTo>
                  <a:lnTo>
                    <a:pt x="3557" y="2867"/>
                  </a:lnTo>
                  <a:lnTo>
                    <a:pt x="3495" y="2825"/>
                  </a:lnTo>
                  <a:lnTo>
                    <a:pt x="3515" y="2741"/>
                  </a:lnTo>
                  <a:lnTo>
                    <a:pt x="3495" y="2658"/>
                  </a:lnTo>
                  <a:lnTo>
                    <a:pt x="3223" y="2720"/>
                  </a:lnTo>
                  <a:lnTo>
                    <a:pt x="3097" y="2825"/>
                  </a:lnTo>
                  <a:lnTo>
                    <a:pt x="3034" y="2679"/>
                  </a:lnTo>
                  <a:lnTo>
                    <a:pt x="3055" y="2532"/>
                  </a:lnTo>
                  <a:lnTo>
                    <a:pt x="2992" y="2469"/>
                  </a:lnTo>
                  <a:lnTo>
                    <a:pt x="2930" y="2407"/>
                  </a:lnTo>
                  <a:lnTo>
                    <a:pt x="2825" y="2344"/>
                  </a:lnTo>
                  <a:lnTo>
                    <a:pt x="2825" y="2239"/>
                  </a:lnTo>
                  <a:lnTo>
                    <a:pt x="2888" y="2155"/>
                  </a:lnTo>
                  <a:lnTo>
                    <a:pt x="2825" y="2093"/>
                  </a:lnTo>
                  <a:lnTo>
                    <a:pt x="2888" y="2009"/>
                  </a:lnTo>
                  <a:lnTo>
                    <a:pt x="2971" y="1904"/>
                  </a:lnTo>
                  <a:lnTo>
                    <a:pt x="3034" y="1925"/>
                  </a:lnTo>
                  <a:lnTo>
                    <a:pt x="3097" y="1883"/>
                  </a:lnTo>
                  <a:lnTo>
                    <a:pt x="3034" y="1779"/>
                  </a:lnTo>
                  <a:lnTo>
                    <a:pt x="3055" y="1695"/>
                  </a:lnTo>
                  <a:lnTo>
                    <a:pt x="3118" y="1674"/>
                  </a:lnTo>
                  <a:lnTo>
                    <a:pt x="3139" y="1570"/>
                  </a:lnTo>
                  <a:lnTo>
                    <a:pt x="3243" y="1507"/>
                  </a:lnTo>
                  <a:lnTo>
                    <a:pt x="3285" y="1423"/>
                  </a:lnTo>
                  <a:lnTo>
                    <a:pt x="3285" y="1319"/>
                  </a:lnTo>
                  <a:lnTo>
                    <a:pt x="3306" y="1067"/>
                  </a:lnTo>
                  <a:lnTo>
                    <a:pt x="3285" y="900"/>
                  </a:lnTo>
                  <a:lnTo>
                    <a:pt x="3202" y="691"/>
                  </a:lnTo>
                  <a:lnTo>
                    <a:pt x="3202" y="544"/>
                  </a:lnTo>
                  <a:lnTo>
                    <a:pt x="3097" y="419"/>
                  </a:lnTo>
                  <a:lnTo>
                    <a:pt x="2992" y="419"/>
                  </a:lnTo>
                  <a:lnTo>
                    <a:pt x="2971" y="251"/>
                  </a:lnTo>
                  <a:lnTo>
                    <a:pt x="2825" y="147"/>
                  </a:lnTo>
                  <a:lnTo>
                    <a:pt x="2783" y="0"/>
                  </a:lnTo>
                  <a:lnTo>
                    <a:pt x="2616" y="0"/>
                  </a:lnTo>
                  <a:lnTo>
                    <a:pt x="2532" y="42"/>
                  </a:lnTo>
                  <a:lnTo>
                    <a:pt x="240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 name="Google Shape;5934;p93">
              <a:extLst>
                <a:ext uri="{FF2B5EF4-FFF2-40B4-BE49-F238E27FC236}">
                  <a16:creationId xmlns:a16="http://schemas.microsoft.com/office/drawing/2014/main" id="{506B8BB0-F4D6-40EC-9301-086DD0A2CB94}"/>
                </a:ext>
              </a:extLst>
            </p:cNvPr>
            <p:cNvSpPr/>
            <p:nvPr/>
          </p:nvSpPr>
          <p:spPr>
            <a:xfrm>
              <a:off x="4343054" y="2959975"/>
              <a:ext cx="35389" cy="43557"/>
            </a:xfrm>
            <a:custGeom>
              <a:avLst/>
              <a:gdLst/>
              <a:ahLst/>
              <a:cxnLst/>
              <a:rect l="l" t="t" r="r" b="b"/>
              <a:pathLst>
                <a:path w="2972" h="3830" extrusionOk="0">
                  <a:moveTo>
                    <a:pt x="209" y="1"/>
                  </a:moveTo>
                  <a:lnTo>
                    <a:pt x="189" y="63"/>
                  </a:lnTo>
                  <a:lnTo>
                    <a:pt x="147" y="63"/>
                  </a:lnTo>
                  <a:lnTo>
                    <a:pt x="147" y="147"/>
                  </a:lnTo>
                  <a:lnTo>
                    <a:pt x="189" y="210"/>
                  </a:lnTo>
                  <a:lnTo>
                    <a:pt x="147" y="356"/>
                  </a:lnTo>
                  <a:lnTo>
                    <a:pt x="21" y="482"/>
                  </a:lnTo>
                  <a:lnTo>
                    <a:pt x="0" y="628"/>
                  </a:lnTo>
                  <a:lnTo>
                    <a:pt x="293" y="733"/>
                  </a:lnTo>
                  <a:lnTo>
                    <a:pt x="398" y="670"/>
                  </a:lnTo>
                  <a:lnTo>
                    <a:pt x="523" y="691"/>
                  </a:lnTo>
                  <a:lnTo>
                    <a:pt x="502" y="754"/>
                  </a:lnTo>
                  <a:lnTo>
                    <a:pt x="544" y="900"/>
                  </a:lnTo>
                  <a:lnTo>
                    <a:pt x="481" y="963"/>
                  </a:lnTo>
                  <a:lnTo>
                    <a:pt x="398" y="942"/>
                  </a:lnTo>
                  <a:lnTo>
                    <a:pt x="314" y="984"/>
                  </a:lnTo>
                  <a:lnTo>
                    <a:pt x="272" y="1151"/>
                  </a:lnTo>
                  <a:lnTo>
                    <a:pt x="168" y="1172"/>
                  </a:lnTo>
                  <a:lnTo>
                    <a:pt x="168" y="1402"/>
                  </a:lnTo>
                  <a:lnTo>
                    <a:pt x="293" y="1570"/>
                  </a:lnTo>
                  <a:lnTo>
                    <a:pt x="419" y="1612"/>
                  </a:lnTo>
                  <a:lnTo>
                    <a:pt x="586" y="1800"/>
                  </a:lnTo>
                  <a:lnTo>
                    <a:pt x="586" y="1988"/>
                  </a:lnTo>
                  <a:lnTo>
                    <a:pt x="628" y="2114"/>
                  </a:lnTo>
                  <a:lnTo>
                    <a:pt x="607" y="2218"/>
                  </a:lnTo>
                  <a:lnTo>
                    <a:pt x="628" y="2407"/>
                  </a:lnTo>
                  <a:lnTo>
                    <a:pt x="816" y="2637"/>
                  </a:lnTo>
                  <a:lnTo>
                    <a:pt x="816" y="2783"/>
                  </a:lnTo>
                  <a:lnTo>
                    <a:pt x="837" y="2888"/>
                  </a:lnTo>
                  <a:lnTo>
                    <a:pt x="879" y="3076"/>
                  </a:lnTo>
                  <a:lnTo>
                    <a:pt x="921" y="3055"/>
                  </a:lnTo>
                  <a:lnTo>
                    <a:pt x="984" y="3160"/>
                  </a:lnTo>
                  <a:lnTo>
                    <a:pt x="1005" y="3202"/>
                  </a:lnTo>
                  <a:lnTo>
                    <a:pt x="1046" y="3202"/>
                  </a:lnTo>
                  <a:lnTo>
                    <a:pt x="1067" y="3139"/>
                  </a:lnTo>
                  <a:lnTo>
                    <a:pt x="1130" y="3097"/>
                  </a:lnTo>
                  <a:lnTo>
                    <a:pt x="1214" y="3160"/>
                  </a:lnTo>
                  <a:lnTo>
                    <a:pt x="1214" y="3181"/>
                  </a:lnTo>
                  <a:lnTo>
                    <a:pt x="1256" y="3160"/>
                  </a:lnTo>
                  <a:lnTo>
                    <a:pt x="1298" y="3055"/>
                  </a:lnTo>
                  <a:lnTo>
                    <a:pt x="1214" y="2930"/>
                  </a:lnTo>
                  <a:lnTo>
                    <a:pt x="1256" y="2888"/>
                  </a:lnTo>
                  <a:lnTo>
                    <a:pt x="1256" y="2783"/>
                  </a:lnTo>
                  <a:lnTo>
                    <a:pt x="1318" y="2721"/>
                  </a:lnTo>
                  <a:lnTo>
                    <a:pt x="1318" y="2742"/>
                  </a:lnTo>
                  <a:lnTo>
                    <a:pt x="1256" y="2951"/>
                  </a:lnTo>
                  <a:lnTo>
                    <a:pt x="1339" y="3055"/>
                  </a:lnTo>
                  <a:lnTo>
                    <a:pt x="1423" y="2930"/>
                  </a:lnTo>
                  <a:lnTo>
                    <a:pt x="1507" y="2888"/>
                  </a:lnTo>
                  <a:lnTo>
                    <a:pt x="1507" y="2888"/>
                  </a:lnTo>
                  <a:lnTo>
                    <a:pt x="1465" y="2951"/>
                  </a:lnTo>
                  <a:lnTo>
                    <a:pt x="1423" y="2972"/>
                  </a:lnTo>
                  <a:lnTo>
                    <a:pt x="1360" y="3076"/>
                  </a:lnTo>
                  <a:lnTo>
                    <a:pt x="1465" y="3139"/>
                  </a:lnTo>
                  <a:lnTo>
                    <a:pt x="1549" y="2951"/>
                  </a:lnTo>
                  <a:lnTo>
                    <a:pt x="1653" y="2930"/>
                  </a:lnTo>
                  <a:lnTo>
                    <a:pt x="1674" y="2762"/>
                  </a:lnTo>
                  <a:lnTo>
                    <a:pt x="1590" y="2637"/>
                  </a:lnTo>
                  <a:lnTo>
                    <a:pt x="1528" y="2616"/>
                  </a:lnTo>
                  <a:lnTo>
                    <a:pt x="1632" y="2553"/>
                  </a:lnTo>
                  <a:lnTo>
                    <a:pt x="1653" y="2511"/>
                  </a:lnTo>
                  <a:lnTo>
                    <a:pt x="1570" y="2365"/>
                  </a:lnTo>
                  <a:lnTo>
                    <a:pt x="1549" y="2156"/>
                  </a:lnTo>
                  <a:lnTo>
                    <a:pt x="1590" y="2344"/>
                  </a:lnTo>
                  <a:lnTo>
                    <a:pt x="1716" y="2449"/>
                  </a:lnTo>
                  <a:lnTo>
                    <a:pt x="1779" y="2428"/>
                  </a:lnTo>
                  <a:lnTo>
                    <a:pt x="1779" y="2470"/>
                  </a:lnTo>
                  <a:lnTo>
                    <a:pt x="1988" y="2574"/>
                  </a:lnTo>
                  <a:lnTo>
                    <a:pt x="2093" y="2511"/>
                  </a:lnTo>
                  <a:lnTo>
                    <a:pt x="2155" y="2532"/>
                  </a:lnTo>
                  <a:lnTo>
                    <a:pt x="2155" y="2470"/>
                  </a:lnTo>
                  <a:lnTo>
                    <a:pt x="2197" y="2470"/>
                  </a:lnTo>
                  <a:lnTo>
                    <a:pt x="2365" y="2888"/>
                  </a:lnTo>
                  <a:lnTo>
                    <a:pt x="2448" y="2951"/>
                  </a:lnTo>
                  <a:lnTo>
                    <a:pt x="2448" y="3034"/>
                  </a:lnTo>
                  <a:lnTo>
                    <a:pt x="2406" y="3160"/>
                  </a:lnTo>
                  <a:lnTo>
                    <a:pt x="2469" y="3181"/>
                  </a:lnTo>
                  <a:lnTo>
                    <a:pt x="2406" y="3348"/>
                  </a:lnTo>
                  <a:lnTo>
                    <a:pt x="2448" y="3369"/>
                  </a:lnTo>
                  <a:lnTo>
                    <a:pt x="2511" y="3306"/>
                  </a:lnTo>
                  <a:lnTo>
                    <a:pt x="2553" y="3265"/>
                  </a:lnTo>
                  <a:lnTo>
                    <a:pt x="2553" y="3265"/>
                  </a:lnTo>
                  <a:lnTo>
                    <a:pt x="2511" y="3369"/>
                  </a:lnTo>
                  <a:lnTo>
                    <a:pt x="2490" y="3411"/>
                  </a:lnTo>
                  <a:lnTo>
                    <a:pt x="2553" y="3495"/>
                  </a:lnTo>
                  <a:lnTo>
                    <a:pt x="2637" y="3620"/>
                  </a:lnTo>
                  <a:lnTo>
                    <a:pt x="2720" y="3830"/>
                  </a:lnTo>
                  <a:lnTo>
                    <a:pt x="2762" y="3830"/>
                  </a:lnTo>
                  <a:lnTo>
                    <a:pt x="2720" y="3683"/>
                  </a:lnTo>
                  <a:lnTo>
                    <a:pt x="2720" y="3620"/>
                  </a:lnTo>
                  <a:lnTo>
                    <a:pt x="2762" y="3516"/>
                  </a:lnTo>
                  <a:lnTo>
                    <a:pt x="2867" y="3390"/>
                  </a:lnTo>
                  <a:lnTo>
                    <a:pt x="2909" y="3411"/>
                  </a:lnTo>
                  <a:lnTo>
                    <a:pt x="2971" y="3286"/>
                  </a:lnTo>
                  <a:lnTo>
                    <a:pt x="2971" y="3160"/>
                  </a:lnTo>
                  <a:lnTo>
                    <a:pt x="2930" y="3139"/>
                  </a:lnTo>
                  <a:lnTo>
                    <a:pt x="2909" y="3076"/>
                  </a:lnTo>
                  <a:lnTo>
                    <a:pt x="2909" y="3034"/>
                  </a:lnTo>
                  <a:lnTo>
                    <a:pt x="2888" y="2972"/>
                  </a:lnTo>
                  <a:lnTo>
                    <a:pt x="2867" y="2888"/>
                  </a:lnTo>
                  <a:lnTo>
                    <a:pt x="2804" y="2742"/>
                  </a:lnTo>
                  <a:lnTo>
                    <a:pt x="2783" y="2511"/>
                  </a:lnTo>
                  <a:lnTo>
                    <a:pt x="2720" y="2428"/>
                  </a:lnTo>
                  <a:lnTo>
                    <a:pt x="2720" y="2302"/>
                  </a:lnTo>
                  <a:lnTo>
                    <a:pt x="2699" y="2135"/>
                  </a:lnTo>
                  <a:lnTo>
                    <a:pt x="2637" y="2051"/>
                  </a:lnTo>
                  <a:lnTo>
                    <a:pt x="2595" y="2009"/>
                  </a:lnTo>
                  <a:lnTo>
                    <a:pt x="2511" y="2009"/>
                  </a:lnTo>
                  <a:lnTo>
                    <a:pt x="2448" y="1946"/>
                  </a:lnTo>
                  <a:lnTo>
                    <a:pt x="2386" y="2009"/>
                  </a:lnTo>
                  <a:lnTo>
                    <a:pt x="2406" y="2051"/>
                  </a:lnTo>
                  <a:lnTo>
                    <a:pt x="2386" y="2114"/>
                  </a:lnTo>
                  <a:lnTo>
                    <a:pt x="2386" y="2156"/>
                  </a:lnTo>
                  <a:lnTo>
                    <a:pt x="2344" y="2239"/>
                  </a:lnTo>
                  <a:lnTo>
                    <a:pt x="2365" y="2302"/>
                  </a:lnTo>
                  <a:lnTo>
                    <a:pt x="2365" y="2365"/>
                  </a:lnTo>
                  <a:lnTo>
                    <a:pt x="2281" y="2365"/>
                  </a:lnTo>
                  <a:lnTo>
                    <a:pt x="2197" y="2260"/>
                  </a:lnTo>
                  <a:lnTo>
                    <a:pt x="2093" y="2156"/>
                  </a:lnTo>
                  <a:lnTo>
                    <a:pt x="2093" y="2114"/>
                  </a:lnTo>
                  <a:lnTo>
                    <a:pt x="2030" y="2051"/>
                  </a:lnTo>
                  <a:lnTo>
                    <a:pt x="1967" y="1905"/>
                  </a:lnTo>
                  <a:lnTo>
                    <a:pt x="1967" y="1821"/>
                  </a:lnTo>
                  <a:lnTo>
                    <a:pt x="2030" y="1800"/>
                  </a:lnTo>
                  <a:lnTo>
                    <a:pt x="2051" y="1716"/>
                  </a:lnTo>
                  <a:lnTo>
                    <a:pt x="2155" y="1633"/>
                  </a:lnTo>
                  <a:lnTo>
                    <a:pt x="2176" y="1695"/>
                  </a:lnTo>
                  <a:lnTo>
                    <a:pt x="2260" y="1695"/>
                  </a:lnTo>
                  <a:lnTo>
                    <a:pt x="2302" y="1633"/>
                  </a:lnTo>
                  <a:lnTo>
                    <a:pt x="2302" y="1570"/>
                  </a:lnTo>
                  <a:lnTo>
                    <a:pt x="2365" y="1528"/>
                  </a:lnTo>
                  <a:lnTo>
                    <a:pt x="2448" y="1319"/>
                  </a:lnTo>
                  <a:lnTo>
                    <a:pt x="2469" y="1193"/>
                  </a:lnTo>
                  <a:lnTo>
                    <a:pt x="2511" y="1068"/>
                  </a:lnTo>
                  <a:lnTo>
                    <a:pt x="2469" y="1047"/>
                  </a:lnTo>
                  <a:lnTo>
                    <a:pt x="2365" y="942"/>
                  </a:lnTo>
                  <a:lnTo>
                    <a:pt x="2302" y="963"/>
                  </a:lnTo>
                  <a:lnTo>
                    <a:pt x="2260" y="942"/>
                  </a:lnTo>
                  <a:lnTo>
                    <a:pt x="2176" y="942"/>
                  </a:lnTo>
                  <a:lnTo>
                    <a:pt x="1967" y="963"/>
                  </a:lnTo>
                  <a:lnTo>
                    <a:pt x="1779" y="942"/>
                  </a:lnTo>
                  <a:lnTo>
                    <a:pt x="1423" y="942"/>
                  </a:lnTo>
                  <a:lnTo>
                    <a:pt x="1298" y="879"/>
                  </a:lnTo>
                  <a:lnTo>
                    <a:pt x="1193" y="900"/>
                  </a:lnTo>
                  <a:lnTo>
                    <a:pt x="1067" y="858"/>
                  </a:lnTo>
                  <a:lnTo>
                    <a:pt x="1067" y="775"/>
                  </a:lnTo>
                  <a:lnTo>
                    <a:pt x="1026" y="649"/>
                  </a:lnTo>
                  <a:lnTo>
                    <a:pt x="1026" y="565"/>
                  </a:lnTo>
                  <a:lnTo>
                    <a:pt x="1005" y="440"/>
                  </a:lnTo>
                  <a:lnTo>
                    <a:pt x="921" y="314"/>
                  </a:lnTo>
                  <a:lnTo>
                    <a:pt x="879" y="314"/>
                  </a:lnTo>
                  <a:lnTo>
                    <a:pt x="837" y="356"/>
                  </a:lnTo>
                  <a:lnTo>
                    <a:pt x="733" y="314"/>
                  </a:lnTo>
                  <a:lnTo>
                    <a:pt x="691" y="252"/>
                  </a:lnTo>
                  <a:lnTo>
                    <a:pt x="607" y="168"/>
                  </a:lnTo>
                  <a:lnTo>
                    <a:pt x="544" y="168"/>
                  </a:lnTo>
                  <a:lnTo>
                    <a:pt x="523" y="252"/>
                  </a:lnTo>
                  <a:lnTo>
                    <a:pt x="607" y="314"/>
                  </a:lnTo>
                  <a:lnTo>
                    <a:pt x="544" y="335"/>
                  </a:lnTo>
                  <a:lnTo>
                    <a:pt x="419" y="314"/>
                  </a:lnTo>
                  <a:lnTo>
                    <a:pt x="356" y="210"/>
                  </a:lnTo>
                  <a:lnTo>
                    <a:pt x="356" y="147"/>
                  </a:lnTo>
                  <a:lnTo>
                    <a:pt x="272" y="42"/>
                  </a:lnTo>
                  <a:lnTo>
                    <a:pt x="20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 name="Google Shape;5935;p93">
              <a:extLst>
                <a:ext uri="{FF2B5EF4-FFF2-40B4-BE49-F238E27FC236}">
                  <a16:creationId xmlns:a16="http://schemas.microsoft.com/office/drawing/2014/main" id="{A766DBD6-A9B2-4684-B1C8-2E790D5393B5}"/>
                </a:ext>
              </a:extLst>
            </p:cNvPr>
            <p:cNvSpPr/>
            <p:nvPr/>
          </p:nvSpPr>
          <p:spPr>
            <a:xfrm>
              <a:off x="3793178" y="2712975"/>
              <a:ext cx="26423" cy="30945"/>
            </a:xfrm>
            <a:custGeom>
              <a:avLst/>
              <a:gdLst/>
              <a:ahLst/>
              <a:cxnLst/>
              <a:rect l="l" t="t" r="r" b="b"/>
              <a:pathLst>
                <a:path w="2219" h="2721" extrusionOk="0">
                  <a:moveTo>
                    <a:pt x="1298" y="1"/>
                  </a:moveTo>
                  <a:lnTo>
                    <a:pt x="1152" y="168"/>
                  </a:lnTo>
                  <a:lnTo>
                    <a:pt x="984" y="231"/>
                  </a:lnTo>
                  <a:lnTo>
                    <a:pt x="880" y="231"/>
                  </a:lnTo>
                  <a:lnTo>
                    <a:pt x="817" y="336"/>
                  </a:lnTo>
                  <a:lnTo>
                    <a:pt x="754" y="482"/>
                  </a:lnTo>
                  <a:lnTo>
                    <a:pt x="649" y="545"/>
                  </a:lnTo>
                  <a:lnTo>
                    <a:pt x="524" y="545"/>
                  </a:lnTo>
                  <a:lnTo>
                    <a:pt x="357" y="649"/>
                  </a:lnTo>
                  <a:lnTo>
                    <a:pt x="315" y="629"/>
                  </a:lnTo>
                  <a:lnTo>
                    <a:pt x="231" y="629"/>
                  </a:lnTo>
                  <a:lnTo>
                    <a:pt x="210" y="754"/>
                  </a:lnTo>
                  <a:lnTo>
                    <a:pt x="126" y="838"/>
                  </a:lnTo>
                  <a:lnTo>
                    <a:pt x="189" y="901"/>
                  </a:lnTo>
                  <a:lnTo>
                    <a:pt x="231" y="859"/>
                  </a:lnTo>
                  <a:lnTo>
                    <a:pt x="357" y="1005"/>
                  </a:lnTo>
                  <a:lnTo>
                    <a:pt x="336" y="838"/>
                  </a:lnTo>
                  <a:lnTo>
                    <a:pt x="357" y="754"/>
                  </a:lnTo>
                  <a:lnTo>
                    <a:pt x="545" y="629"/>
                  </a:lnTo>
                  <a:lnTo>
                    <a:pt x="566" y="649"/>
                  </a:lnTo>
                  <a:lnTo>
                    <a:pt x="670" y="629"/>
                  </a:lnTo>
                  <a:lnTo>
                    <a:pt x="817" y="649"/>
                  </a:lnTo>
                  <a:lnTo>
                    <a:pt x="859" y="629"/>
                  </a:lnTo>
                  <a:lnTo>
                    <a:pt x="859" y="629"/>
                  </a:lnTo>
                  <a:cubicBezTo>
                    <a:pt x="859" y="649"/>
                    <a:pt x="838" y="649"/>
                    <a:pt x="838" y="691"/>
                  </a:cubicBezTo>
                  <a:lnTo>
                    <a:pt x="754" y="712"/>
                  </a:lnTo>
                  <a:lnTo>
                    <a:pt x="670" y="712"/>
                  </a:lnTo>
                  <a:lnTo>
                    <a:pt x="629" y="733"/>
                  </a:lnTo>
                  <a:lnTo>
                    <a:pt x="733" y="859"/>
                  </a:lnTo>
                  <a:lnTo>
                    <a:pt x="691" y="921"/>
                  </a:lnTo>
                  <a:lnTo>
                    <a:pt x="775" y="1026"/>
                  </a:lnTo>
                  <a:lnTo>
                    <a:pt x="775" y="1047"/>
                  </a:lnTo>
                  <a:lnTo>
                    <a:pt x="691" y="1026"/>
                  </a:lnTo>
                  <a:lnTo>
                    <a:pt x="587" y="1047"/>
                  </a:lnTo>
                  <a:lnTo>
                    <a:pt x="566" y="1005"/>
                  </a:lnTo>
                  <a:lnTo>
                    <a:pt x="629" y="942"/>
                  </a:lnTo>
                  <a:lnTo>
                    <a:pt x="566" y="838"/>
                  </a:lnTo>
                  <a:lnTo>
                    <a:pt x="545" y="838"/>
                  </a:lnTo>
                  <a:lnTo>
                    <a:pt x="461" y="963"/>
                  </a:lnTo>
                  <a:lnTo>
                    <a:pt x="524" y="1047"/>
                  </a:lnTo>
                  <a:lnTo>
                    <a:pt x="419" y="1131"/>
                  </a:lnTo>
                  <a:lnTo>
                    <a:pt x="336" y="1047"/>
                  </a:lnTo>
                  <a:lnTo>
                    <a:pt x="231" y="1047"/>
                  </a:lnTo>
                  <a:lnTo>
                    <a:pt x="147" y="1026"/>
                  </a:lnTo>
                  <a:lnTo>
                    <a:pt x="64" y="1110"/>
                  </a:lnTo>
                  <a:lnTo>
                    <a:pt x="210" y="1173"/>
                  </a:lnTo>
                  <a:lnTo>
                    <a:pt x="210" y="1277"/>
                  </a:lnTo>
                  <a:lnTo>
                    <a:pt x="126" y="1235"/>
                  </a:lnTo>
                  <a:lnTo>
                    <a:pt x="64" y="1256"/>
                  </a:lnTo>
                  <a:lnTo>
                    <a:pt x="105" y="1424"/>
                  </a:lnTo>
                  <a:lnTo>
                    <a:pt x="168" y="1465"/>
                  </a:lnTo>
                  <a:lnTo>
                    <a:pt x="168" y="1591"/>
                  </a:lnTo>
                  <a:lnTo>
                    <a:pt x="231" y="1675"/>
                  </a:lnTo>
                  <a:lnTo>
                    <a:pt x="64" y="1758"/>
                  </a:lnTo>
                  <a:lnTo>
                    <a:pt x="1" y="1905"/>
                  </a:lnTo>
                  <a:lnTo>
                    <a:pt x="64" y="1968"/>
                  </a:lnTo>
                  <a:lnTo>
                    <a:pt x="168" y="1905"/>
                  </a:lnTo>
                  <a:lnTo>
                    <a:pt x="315" y="2051"/>
                  </a:lnTo>
                  <a:lnTo>
                    <a:pt x="336" y="2219"/>
                  </a:lnTo>
                  <a:lnTo>
                    <a:pt x="273" y="2261"/>
                  </a:lnTo>
                  <a:lnTo>
                    <a:pt x="315" y="2323"/>
                  </a:lnTo>
                  <a:lnTo>
                    <a:pt x="461" y="2323"/>
                  </a:lnTo>
                  <a:lnTo>
                    <a:pt x="608" y="2533"/>
                  </a:lnTo>
                  <a:lnTo>
                    <a:pt x="649" y="2574"/>
                  </a:lnTo>
                  <a:lnTo>
                    <a:pt x="754" y="2533"/>
                  </a:lnTo>
                  <a:lnTo>
                    <a:pt x="775" y="2470"/>
                  </a:lnTo>
                  <a:lnTo>
                    <a:pt x="691" y="2386"/>
                  </a:lnTo>
                  <a:lnTo>
                    <a:pt x="649" y="2386"/>
                  </a:lnTo>
                  <a:lnTo>
                    <a:pt x="649" y="2302"/>
                  </a:lnTo>
                  <a:lnTo>
                    <a:pt x="733" y="2261"/>
                  </a:lnTo>
                  <a:lnTo>
                    <a:pt x="733" y="2177"/>
                  </a:lnTo>
                  <a:lnTo>
                    <a:pt x="670" y="2135"/>
                  </a:lnTo>
                  <a:lnTo>
                    <a:pt x="670" y="2072"/>
                  </a:lnTo>
                  <a:lnTo>
                    <a:pt x="754" y="2009"/>
                  </a:lnTo>
                  <a:cubicBezTo>
                    <a:pt x="775" y="2051"/>
                    <a:pt x="817" y="2093"/>
                    <a:pt x="838" y="2135"/>
                  </a:cubicBezTo>
                  <a:lnTo>
                    <a:pt x="838" y="2177"/>
                  </a:lnTo>
                  <a:lnTo>
                    <a:pt x="880" y="2302"/>
                  </a:lnTo>
                  <a:lnTo>
                    <a:pt x="984" y="2407"/>
                  </a:lnTo>
                  <a:lnTo>
                    <a:pt x="1089" y="2407"/>
                  </a:lnTo>
                  <a:lnTo>
                    <a:pt x="1152" y="2449"/>
                  </a:lnTo>
                  <a:lnTo>
                    <a:pt x="1256" y="2428"/>
                  </a:lnTo>
                  <a:cubicBezTo>
                    <a:pt x="1277" y="2428"/>
                    <a:pt x="1298" y="2428"/>
                    <a:pt x="1298" y="2407"/>
                  </a:cubicBezTo>
                  <a:cubicBezTo>
                    <a:pt x="1319" y="2407"/>
                    <a:pt x="1319" y="2428"/>
                    <a:pt x="1361" y="2428"/>
                  </a:cubicBezTo>
                  <a:lnTo>
                    <a:pt x="1361" y="2449"/>
                  </a:lnTo>
                  <a:lnTo>
                    <a:pt x="1298" y="2533"/>
                  </a:lnTo>
                  <a:lnTo>
                    <a:pt x="1319" y="2595"/>
                  </a:lnTo>
                  <a:lnTo>
                    <a:pt x="1382" y="2512"/>
                  </a:lnTo>
                  <a:lnTo>
                    <a:pt x="1403" y="2449"/>
                  </a:lnTo>
                  <a:cubicBezTo>
                    <a:pt x="1445" y="2491"/>
                    <a:pt x="1486" y="2512"/>
                    <a:pt x="1507" y="2553"/>
                  </a:cubicBezTo>
                  <a:lnTo>
                    <a:pt x="1507" y="2595"/>
                  </a:lnTo>
                  <a:lnTo>
                    <a:pt x="1465" y="2616"/>
                  </a:lnTo>
                  <a:lnTo>
                    <a:pt x="1507" y="2658"/>
                  </a:lnTo>
                  <a:lnTo>
                    <a:pt x="1675" y="2721"/>
                  </a:lnTo>
                  <a:lnTo>
                    <a:pt x="1821" y="2700"/>
                  </a:lnTo>
                  <a:lnTo>
                    <a:pt x="1884" y="2616"/>
                  </a:lnTo>
                  <a:lnTo>
                    <a:pt x="1905" y="2700"/>
                  </a:lnTo>
                  <a:lnTo>
                    <a:pt x="1926" y="2721"/>
                  </a:lnTo>
                  <a:lnTo>
                    <a:pt x="1926" y="2616"/>
                  </a:lnTo>
                  <a:lnTo>
                    <a:pt x="1968" y="2574"/>
                  </a:lnTo>
                  <a:cubicBezTo>
                    <a:pt x="2009" y="2533"/>
                    <a:pt x="2030" y="2512"/>
                    <a:pt x="2030" y="2470"/>
                  </a:cubicBezTo>
                  <a:lnTo>
                    <a:pt x="2093" y="2386"/>
                  </a:lnTo>
                  <a:lnTo>
                    <a:pt x="2177" y="2344"/>
                  </a:lnTo>
                  <a:lnTo>
                    <a:pt x="2135" y="2302"/>
                  </a:lnTo>
                  <a:lnTo>
                    <a:pt x="2072" y="2323"/>
                  </a:lnTo>
                  <a:lnTo>
                    <a:pt x="2009" y="2407"/>
                  </a:lnTo>
                  <a:lnTo>
                    <a:pt x="2009" y="2386"/>
                  </a:lnTo>
                  <a:cubicBezTo>
                    <a:pt x="1989" y="2344"/>
                    <a:pt x="1989" y="2344"/>
                    <a:pt x="1989" y="2323"/>
                  </a:cubicBezTo>
                  <a:lnTo>
                    <a:pt x="2009" y="2302"/>
                  </a:lnTo>
                  <a:lnTo>
                    <a:pt x="2009" y="2219"/>
                  </a:lnTo>
                  <a:lnTo>
                    <a:pt x="2135" y="2177"/>
                  </a:lnTo>
                  <a:lnTo>
                    <a:pt x="2198" y="2114"/>
                  </a:lnTo>
                  <a:lnTo>
                    <a:pt x="2177" y="2051"/>
                  </a:lnTo>
                  <a:lnTo>
                    <a:pt x="2072" y="1968"/>
                  </a:lnTo>
                  <a:lnTo>
                    <a:pt x="2072" y="1905"/>
                  </a:lnTo>
                  <a:lnTo>
                    <a:pt x="2198" y="1863"/>
                  </a:lnTo>
                  <a:lnTo>
                    <a:pt x="2219" y="1737"/>
                  </a:lnTo>
                  <a:lnTo>
                    <a:pt x="2219" y="1591"/>
                  </a:lnTo>
                  <a:lnTo>
                    <a:pt x="2198" y="1486"/>
                  </a:lnTo>
                  <a:lnTo>
                    <a:pt x="2072" y="1486"/>
                  </a:lnTo>
                  <a:lnTo>
                    <a:pt x="1905" y="1528"/>
                  </a:lnTo>
                  <a:lnTo>
                    <a:pt x="1863" y="1633"/>
                  </a:lnTo>
                  <a:lnTo>
                    <a:pt x="1905" y="1675"/>
                  </a:lnTo>
                  <a:lnTo>
                    <a:pt x="1989" y="1737"/>
                  </a:lnTo>
                  <a:lnTo>
                    <a:pt x="1989" y="1779"/>
                  </a:lnTo>
                  <a:lnTo>
                    <a:pt x="1926" y="1758"/>
                  </a:lnTo>
                  <a:lnTo>
                    <a:pt x="1905" y="1779"/>
                  </a:lnTo>
                  <a:lnTo>
                    <a:pt x="1800" y="1696"/>
                  </a:lnTo>
                  <a:lnTo>
                    <a:pt x="1800" y="1654"/>
                  </a:lnTo>
                  <a:lnTo>
                    <a:pt x="1758" y="1570"/>
                  </a:lnTo>
                  <a:lnTo>
                    <a:pt x="1696" y="1591"/>
                  </a:lnTo>
                  <a:lnTo>
                    <a:pt x="1654" y="1675"/>
                  </a:lnTo>
                  <a:lnTo>
                    <a:pt x="1570" y="1696"/>
                  </a:lnTo>
                  <a:lnTo>
                    <a:pt x="1591" y="1779"/>
                  </a:lnTo>
                  <a:lnTo>
                    <a:pt x="1654" y="1863"/>
                  </a:lnTo>
                  <a:lnTo>
                    <a:pt x="1654" y="1989"/>
                  </a:lnTo>
                  <a:lnTo>
                    <a:pt x="1717" y="2072"/>
                  </a:lnTo>
                  <a:lnTo>
                    <a:pt x="1800" y="2072"/>
                  </a:lnTo>
                  <a:lnTo>
                    <a:pt x="1926" y="2093"/>
                  </a:lnTo>
                  <a:lnTo>
                    <a:pt x="1968" y="2156"/>
                  </a:lnTo>
                  <a:lnTo>
                    <a:pt x="1905" y="2198"/>
                  </a:lnTo>
                  <a:lnTo>
                    <a:pt x="1968" y="2261"/>
                  </a:lnTo>
                  <a:cubicBezTo>
                    <a:pt x="1926" y="2281"/>
                    <a:pt x="1926" y="2323"/>
                    <a:pt x="1926" y="2365"/>
                  </a:cubicBezTo>
                  <a:lnTo>
                    <a:pt x="1905" y="2386"/>
                  </a:lnTo>
                  <a:lnTo>
                    <a:pt x="1863" y="2386"/>
                  </a:lnTo>
                  <a:lnTo>
                    <a:pt x="1779" y="2407"/>
                  </a:lnTo>
                  <a:lnTo>
                    <a:pt x="1675" y="2261"/>
                  </a:lnTo>
                  <a:lnTo>
                    <a:pt x="1612" y="2281"/>
                  </a:lnTo>
                  <a:cubicBezTo>
                    <a:pt x="1591" y="2261"/>
                    <a:pt x="1570" y="2261"/>
                    <a:pt x="1549" y="2219"/>
                  </a:cubicBezTo>
                  <a:lnTo>
                    <a:pt x="1549" y="2198"/>
                  </a:lnTo>
                  <a:lnTo>
                    <a:pt x="1465" y="2114"/>
                  </a:lnTo>
                  <a:lnTo>
                    <a:pt x="1465" y="2177"/>
                  </a:lnTo>
                  <a:cubicBezTo>
                    <a:pt x="1465" y="2177"/>
                    <a:pt x="1445" y="2177"/>
                    <a:pt x="1445" y="2156"/>
                  </a:cubicBezTo>
                  <a:cubicBezTo>
                    <a:pt x="1403" y="2156"/>
                    <a:pt x="1403" y="2156"/>
                    <a:pt x="1382" y="2177"/>
                  </a:cubicBezTo>
                  <a:lnTo>
                    <a:pt x="1403" y="2093"/>
                  </a:lnTo>
                  <a:lnTo>
                    <a:pt x="1382" y="2009"/>
                  </a:lnTo>
                  <a:lnTo>
                    <a:pt x="1298" y="1863"/>
                  </a:lnTo>
                  <a:lnTo>
                    <a:pt x="1235" y="1863"/>
                  </a:lnTo>
                  <a:lnTo>
                    <a:pt x="1089" y="1779"/>
                  </a:lnTo>
                  <a:lnTo>
                    <a:pt x="1026" y="1612"/>
                  </a:lnTo>
                  <a:lnTo>
                    <a:pt x="1047" y="1654"/>
                  </a:lnTo>
                  <a:lnTo>
                    <a:pt x="1173" y="1591"/>
                  </a:lnTo>
                  <a:lnTo>
                    <a:pt x="1173" y="1445"/>
                  </a:lnTo>
                  <a:lnTo>
                    <a:pt x="1131" y="1340"/>
                  </a:lnTo>
                  <a:lnTo>
                    <a:pt x="1193" y="1256"/>
                  </a:lnTo>
                  <a:lnTo>
                    <a:pt x="1298" y="1235"/>
                  </a:lnTo>
                  <a:lnTo>
                    <a:pt x="1382" y="1298"/>
                  </a:lnTo>
                  <a:lnTo>
                    <a:pt x="1445" y="1277"/>
                  </a:lnTo>
                  <a:lnTo>
                    <a:pt x="1486" y="1298"/>
                  </a:lnTo>
                  <a:lnTo>
                    <a:pt x="1507" y="1256"/>
                  </a:lnTo>
                  <a:lnTo>
                    <a:pt x="1549" y="1152"/>
                  </a:lnTo>
                  <a:lnTo>
                    <a:pt x="1445" y="1047"/>
                  </a:lnTo>
                  <a:lnTo>
                    <a:pt x="1382" y="1110"/>
                  </a:lnTo>
                  <a:lnTo>
                    <a:pt x="1256" y="1110"/>
                  </a:lnTo>
                  <a:lnTo>
                    <a:pt x="1193" y="1026"/>
                  </a:lnTo>
                  <a:lnTo>
                    <a:pt x="1152" y="921"/>
                  </a:lnTo>
                  <a:lnTo>
                    <a:pt x="1089" y="921"/>
                  </a:lnTo>
                  <a:lnTo>
                    <a:pt x="1152" y="859"/>
                  </a:lnTo>
                  <a:lnTo>
                    <a:pt x="1152" y="754"/>
                  </a:lnTo>
                  <a:lnTo>
                    <a:pt x="1131" y="754"/>
                  </a:lnTo>
                  <a:cubicBezTo>
                    <a:pt x="1131" y="733"/>
                    <a:pt x="1152" y="712"/>
                    <a:pt x="1152" y="691"/>
                  </a:cubicBezTo>
                  <a:lnTo>
                    <a:pt x="1173" y="691"/>
                  </a:lnTo>
                  <a:lnTo>
                    <a:pt x="1277" y="503"/>
                  </a:lnTo>
                  <a:lnTo>
                    <a:pt x="1256" y="377"/>
                  </a:lnTo>
                  <a:lnTo>
                    <a:pt x="1277" y="315"/>
                  </a:lnTo>
                  <a:lnTo>
                    <a:pt x="1256" y="210"/>
                  </a:lnTo>
                  <a:lnTo>
                    <a:pt x="1340" y="64"/>
                  </a:lnTo>
                  <a:lnTo>
                    <a:pt x="129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 name="Google Shape;5936;p93">
              <a:extLst>
                <a:ext uri="{FF2B5EF4-FFF2-40B4-BE49-F238E27FC236}">
                  <a16:creationId xmlns:a16="http://schemas.microsoft.com/office/drawing/2014/main" id="{BBDCD59F-8D5A-4320-B382-17C177973479}"/>
                </a:ext>
              </a:extLst>
            </p:cNvPr>
            <p:cNvSpPr/>
            <p:nvPr/>
          </p:nvSpPr>
          <p:spPr>
            <a:xfrm>
              <a:off x="3772256" y="2560208"/>
              <a:ext cx="138282" cy="153495"/>
            </a:xfrm>
            <a:custGeom>
              <a:avLst/>
              <a:gdLst/>
              <a:ahLst/>
              <a:cxnLst/>
              <a:rect l="l" t="t" r="r" b="b"/>
              <a:pathLst>
                <a:path w="11613" h="13497" extrusionOk="0">
                  <a:moveTo>
                    <a:pt x="9792" y="1"/>
                  </a:moveTo>
                  <a:lnTo>
                    <a:pt x="9709" y="64"/>
                  </a:lnTo>
                  <a:lnTo>
                    <a:pt x="9709" y="126"/>
                  </a:lnTo>
                  <a:lnTo>
                    <a:pt x="9792" y="231"/>
                  </a:lnTo>
                  <a:lnTo>
                    <a:pt x="9730" y="273"/>
                  </a:lnTo>
                  <a:lnTo>
                    <a:pt x="9688" y="273"/>
                  </a:lnTo>
                  <a:lnTo>
                    <a:pt x="9604" y="168"/>
                  </a:lnTo>
                  <a:lnTo>
                    <a:pt x="9541" y="231"/>
                  </a:lnTo>
                  <a:lnTo>
                    <a:pt x="9520" y="336"/>
                  </a:lnTo>
                  <a:lnTo>
                    <a:pt x="9541" y="357"/>
                  </a:lnTo>
                  <a:lnTo>
                    <a:pt x="9625" y="357"/>
                  </a:lnTo>
                  <a:lnTo>
                    <a:pt x="9688" y="419"/>
                  </a:lnTo>
                  <a:lnTo>
                    <a:pt x="9646" y="440"/>
                  </a:lnTo>
                  <a:lnTo>
                    <a:pt x="9604" y="482"/>
                  </a:lnTo>
                  <a:lnTo>
                    <a:pt x="9604" y="566"/>
                  </a:lnTo>
                  <a:lnTo>
                    <a:pt x="9520" y="587"/>
                  </a:lnTo>
                  <a:lnTo>
                    <a:pt x="9520" y="670"/>
                  </a:lnTo>
                  <a:lnTo>
                    <a:pt x="9541" y="691"/>
                  </a:lnTo>
                  <a:lnTo>
                    <a:pt x="9479" y="754"/>
                  </a:lnTo>
                  <a:lnTo>
                    <a:pt x="9520" y="859"/>
                  </a:lnTo>
                  <a:lnTo>
                    <a:pt x="9479" y="901"/>
                  </a:lnTo>
                  <a:lnTo>
                    <a:pt x="9416" y="859"/>
                  </a:lnTo>
                  <a:lnTo>
                    <a:pt x="9332" y="901"/>
                  </a:lnTo>
                  <a:lnTo>
                    <a:pt x="9332" y="942"/>
                  </a:lnTo>
                  <a:lnTo>
                    <a:pt x="9269" y="984"/>
                  </a:lnTo>
                  <a:lnTo>
                    <a:pt x="9228" y="880"/>
                  </a:lnTo>
                  <a:lnTo>
                    <a:pt x="9332" y="670"/>
                  </a:lnTo>
                  <a:lnTo>
                    <a:pt x="9269" y="649"/>
                  </a:lnTo>
                  <a:lnTo>
                    <a:pt x="9269" y="587"/>
                  </a:lnTo>
                  <a:lnTo>
                    <a:pt x="9311" y="545"/>
                  </a:lnTo>
                  <a:lnTo>
                    <a:pt x="9311" y="357"/>
                  </a:lnTo>
                  <a:lnTo>
                    <a:pt x="9290" y="315"/>
                  </a:lnTo>
                  <a:lnTo>
                    <a:pt x="9228" y="315"/>
                  </a:lnTo>
                  <a:lnTo>
                    <a:pt x="9102" y="545"/>
                  </a:lnTo>
                  <a:lnTo>
                    <a:pt x="9081" y="670"/>
                  </a:lnTo>
                  <a:lnTo>
                    <a:pt x="8956" y="880"/>
                  </a:lnTo>
                  <a:lnTo>
                    <a:pt x="8893" y="1005"/>
                  </a:lnTo>
                  <a:lnTo>
                    <a:pt x="8956" y="1068"/>
                  </a:lnTo>
                  <a:lnTo>
                    <a:pt x="8914" y="1193"/>
                  </a:lnTo>
                  <a:lnTo>
                    <a:pt x="8767" y="1361"/>
                  </a:lnTo>
                  <a:lnTo>
                    <a:pt x="8704" y="1382"/>
                  </a:lnTo>
                  <a:lnTo>
                    <a:pt x="8704" y="1298"/>
                  </a:lnTo>
                  <a:lnTo>
                    <a:pt x="8663" y="1214"/>
                  </a:lnTo>
                  <a:lnTo>
                    <a:pt x="8767" y="1068"/>
                  </a:lnTo>
                  <a:lnTo>
                    <a:pt x="8746" y="963"/>
                  </a:lnTo>
                  <a:lnTo>
                    <a:pt x="8788" y="880"/>
                  </a:lnTo>
                  <a:lnTo>
                    <a:pt x="8746" y="775"/>
                  </a:lnTo>
                  <a:lnTo>
                    <a:pt x="8893" y="587"/>
                  </a:lnTo>
                  <a:lnTo>
                    <a:pt x="8914" y="482"/>
                  </a:lnTo>
                  <a:lnTo>
                    <a:pt x="8956" y="461"/>
                  </a:lnTo>
                  <a:lnTo>
                    <a:pt x="8956" y="419"/>
                  </a:lnTo>
                  <a:lnTo>
                    <a:pt x="8851" y="419"/>
                  </a:lnTo>
                  <a:lnTo>
                    <a:pt x="8767" y="315"/>
                  </a:lnTo>
                  <a:lnTo>
                    <a:pt x="8704" y="336"/>
                  </a:lnTo>
                  <a:lnTo>
                    <a:pt x="8746" y="440"/>
                  </a:lnTo>
                  <a:lnTo>
                    <a:pt x="8663" y="482"/>
                  </a:lnTo>
                  <a:lnTo>
                    <a:pt x="8663" y="419"/>
                  </a:lnTo>
                  <a:lnTo>
                    <a:pt x="8579" y="336"/>
                  </a:lnTo>
                  <a:lnTo>
                    <a:pt x="8495" y="315"/>
                  </a:lnTo>
                  <a:lnTo>
                    <a:pt x="8432" y="336"/>
                  </a:lnTo>
                  <a:lnTo>
                    <a:pt x="8453" y="482"/>
                  </a:lnTo>
                  <a:lnTo>
                    <a:pt x="8391" y="545"/>
                  </a:lnTo>
                  <a:lnTo>
                    <a:pt x="8349" y="482"/>
                  </a:lnTo>
                  <a:lnTo>
                    <a:pt x="8286" y="461"/>
                  </a:lnTo>
                  <a:lnTo>
                    <a:pt x="8244" y="482"/>
                  </a:lnTo>
                  <a:lnTo>
                    <a:pt x="8265" y="545"/>
                  </a:lnTo>
                  <a:lnTo>
                    <a:pt x="8391" y="608"/>
                  </a:lnTo>
                  <a:lnTo>
                    <a:pt x="8432" y="733"/>
                  </a:lnTo>
                  <a:lnTo>
                    <a:pt x="8391" y="775"/>
                  </a:lnTo>
                  <a:lnTo>
                    <a:pt x="8349" y="691"/>
                  </a:lnTo>
                  <a:lnTo>
                    <a:pt x="8265" y="775"/>
                  </a:lnTo>
                  <a:lnTo>
                    <a:pt x="8265" y="838"/>
                  </a:lnTo>
                  <a:lnTo>
                    <a:pt x="8286" y="880"/>
                  </a:lnTo>
                  <a:lnTo>
                    <a:pt x="8265" y="901"/>
                  </a:lnTo>
                  <a:lnTo>
                    <a:pt x="8160" y="859"/>
                  </a:lnTo>
                  <a:lnTo>
                    <a:pt x="8119" y="859"/>
                  </a:lnTo>
                  <a:lnTo>
                    <a:pt x="8035" y="963"/>
                  </a:lnTo>
                  <a:lnTo>
                    <a:pt x="7951" y="1005"/>
                  </a:lnTo>
                  <a:lnTo>
                    <a:pt x="7951" y="1047"/>
                  </a:lnTo>
                  <a:lnTo>
                    <a:pt x="8014" y="1068"/>
                  </a:lnTo>
                  <a:lnTo>
                    <a:pt x="7909" y="1131"/>
                  </a:lnTo>
                  <a:lnTo>
                    <a:pt x="7868" y="1214"/>
                  </a:lnTo>
                  <a:lnTo>
                    <a:pt x="7972" y="1319"/>
                  </a:lnTo>
                  <a:lnTo>
                    <a:pt x="7909" y="1382"/>
                  </a:lnTo>
                  <a:lnTo>
                    <a:pt x="7972" y="1424"/>
                  </a:lnTo>
                  <a:lnTo>
                    <a:pt x="8035" y="1466"/>
                  </a:lnTo>
                  <a:lnTo>
                    <a:pt x="7972" y="1507"/>
                  </a:lnTo>
                  <a:lnTo>
                    <a:pt x="7847" y="1507"/>
                  </a:lnTo>
                  <a:lnTo>
                    <a:pt x="7805" y="1361"/>
                  </a:lnTo>
                  <a:lnTo>
                    <a:pt x="7742" y="1319"/>
                  </a:lnTo>
                  <a:lnTo>
                    <a:pt x="7805" y="1277"/>
                  </a:lnTo>
                  <a:lnTo>
                    <a:pt x="7721" y="1214"/>
                  </a:lnTo>
                  <a:lnTo>
                    <a:pt x="7491" y="1214"/>
                  </a:lnTo>
                  <a:lnTo>
                    <a:pt x="7303" y="1089"/>
                  </a:lnTo>
                  <a:lnTo>
                    <a:pt x="7240" y="1089"/>
                  </a:lnTo>
                  <a:lnTo>
                    <a:pt x="7198" y="1131"/>
                  </a:lnTo>
                  <a:lnTo>
                    <a:pt x="7177" y="1068"/>
                  </a:lnTo>
                  <a:lnTo>
                    <a:pt x="7072" y="1173"/>
                  </a:lnTo>
                  <a:lnTo>
                    <a:pt x="6968" y="1173"/>
                  </a:lnTo>
                  <a:lnTo>
                    <a:pt x="6968" y="1214"/>
                  </a:lnTo>
                  <a:lnTo>
                    <a:pt x="7093" y="1382"/>
                  </a:lnTo>
                  <a:lnTo>
                    <a:pt x="7177" y="1382"/>
                  </a:lnTo>
                  <a:lnTo>
                    <a:pt x="7219" y="1424"/>
                  </a:lnTo>
                  <a:lnTo>
                    <a:pt x="7344" y="1424"/>
                  </a:lnTo>
                  <a:lnTo>
                    <a:pt x="7303" y="1528"/>
                  </a:lnTo>
                  <a:lnTo>
                    <a:pt x="7303" y="1633"/>
                  </a:lnTo>
                  <a:lnTo>
                    <a:pt x="7407" y="1779"/>
                  </a:lnTo>
                  <a:lnTo>
                    <a:pt x="7386" y="1842"/>
                  </a:lnTo>
                  <a:lnTo>
                    <a:pt x="7303" y="1800"/>
                  </a:lnTo>
                  <a:lnTo>
                    <a:pt x="7219" y="1654"/>
                  </a:lnTo>
                  <a:lnTo>
                    <a:pt x="7114" y="1612"/>
                  </a:lnTo>
                  <a:lnTo>
                    <a:pt x="7072" y="1528"/>
                  </a:lnTo>
                  <a:lnTo>
                    <a:pt x="7031" y="1633"/>
                  </a:lnTo>
                  <a:lnTo>
                    <a:pt x="6968" y="1717"/>
                  </a:lnTo>
                  <a:lnTo>
                    <a:pt x="6926" y="1591"/>
                  </a:lnTo>
                  <a:lnTo>
                    <a:pt x="6863" y="1633"/>
                  </a:lnTo>
                  <a:lnTo>
                    <a:pt x="6863" y="1717"/>
                  </a:lnTo>
                  <a:lnTo>
                    <a:pt x="6759" y="1800"/>
                  </a:lnTo>
                  <a:lnTo>
                    <a:pt x="6759" y="1884"/>
                  </a:lnTo>
                  <a:lnTo>
                    <a:pt x="6884" y="1947"/>
                  </a:lnTo>
                  <a:lnTo>
                    <a:pt x="6926" y="2051"/>
                  </a:lnTo>
                  <a:lnTo>
                    <a:pt x="6821" y="2030"/>
                  </a:lnTo>
                  <a:lnTo>
                    <a:pt x="6779" y="1989"/>
                  </a:lnTo>
                  <a:lnTo>
                    <a:pt x="6696" y="2114"/>
                  </a:lnTo>
                  <a:lnTo>
                    <a:pt x="6675" y="2177"/>
                  </a:lnTo>
                  <a:lnTo>
                    <a:pt x="6549" y="2302"/>
                  </a:lnTo>
                  <a:lnTo>
                    <a:pt x="6549" y="2219"/>
                  </a:lnTo>
                  <a:lnTo>
                    <a:pt x="6654" y="2156"/>
                  </a:lnTo>
                  <a:lnTo>
                    <a:pt x="6591" y="2093"/>
                  </a:lnTo>
                  <a:lnTo>
                    <a:pt x="6696" y="1926"/>
                  </a:lnTo>
                  <a:lnTo>
                    <a:pt x="6612" y="1612"/>
                  </a:lnTo>
                  <a:lnTo>
                    <a:pt x="6549" y="1654"/>
                  </a:lnTo>
                  <a:lnTo>
                    <a:pt x="6403" y="1842"/>
                  </a:lnTo>
                  <a:lnTo>
                    <a:pt x="6403" y="2010"/>
                  </a:lnTo>
                  <a:lnTo>
                    <a:pt x="6445" y="2051"/>
                  </a:lnTo>
                  <a:lnTo>
                    <a:pt x="6340" y="2156"/>
                  </a:lnTo>
                  <a:lnTo>
                    <a:pt x="6340" y="2051"/>
                  </a:lnTo>
                  <a:lnTo>
                    <a:pt x="6382" y="1947"/>
                  </a:lnTo>
                  <a:lnTo>
                    <a:pt x="6340" y="1800"/>
                  </a:lnTo>
                  <a:lnTo>
                    <a:pt x="6277" y="1779"/>
                  </a:lnTo>
                  <a:lnTo>
                    <a:pt x="6173" y="1842"/>
                  </a:lnTo>
                  <a:lnTo>
                    <a:pt x="6089" y="1989"/>
                  </a:lnTo>
                  <a:lnTo>
                    <a:pt x="6152" y="2114"/>
                  </a:lnTo>
                  <a:lnTo>
                    <a:pt x="6152" y="2177"/>
                  </a:lnTo>
                  <a:lnTo>
                    <a:pt x="6298" y="2323"/>
                  </a:lnTo>
                  <a:lnTo>
                    <a:pt x="6340" y="2407"/>
                  </a:lnTo>
                  <a:lnTo>
                    <a:pt x="6277" y="2512"/>
                  </a:lnTo>
                  <a:lnTo>
                    <a:pt x="6235" y="2344"/>
                  </a:lnTo>
                  <a:lnTo>
                    <a:pt x="6131" y="2302"/>
                  </a:lnTo>
                  <a:lnTo>
                    <a:pt x="6047" y="2114"/>
                  </a:lnTo>
                  <a:lnTo>
                    <a:pt x="5984" y="2093"/>
                  </a:lnTo>
                  <a:lnTo>
                    <a:pt x="5859" y="2135"/>
                  </a:lnTo>
                  <a:lnTo>
                    <a:pt x="5838" y="2219"/>
                  </a:lnTo>
                  <a:lnTo>
                    <a:pt x="5984" y="2323"/>
                  </a:lnTo>
                  <a:lnTo>
                    <a:pt x="6047" y="2323"/>
                  </a:lnTo>
                  <a:lnTo>
                    <a:pt x="6089" y="2365"/>
                  </a:lnTo>
                  <a:lnTo>
                    <a:pt x="5984" y="2344"/>
                  </a:lnTo>
                  <a:lnTo>
                    <a:pt x="5880" y="2407"/>
                  </a:lnTo>
                  <a:lnTo>
                    <a:pt x="5963" y="2512"/>
                  </a:lnTo>
                  <a:lnTo>
                    <a:pt x="5838" y="2428"/>
                  </a:lnTo>
                  <a:lnTo>
                    <a:pt x="5838" y="2302"/>
                  </a:lnTo>
                  <a:lnTo>
                    <a:pt x="5775" y="2261"/>
                  </a:lnTo>
                  <a:lnTo>
                    <a:pt x="5754" y="2156"/>
                  </a:lnTo>
                  <a:lnTo>
                    <a:pt x="5712" y="2219"/>
                  </a:lnTo>
                  <a:lnTo>
                    <a:pt x="5671" y="2365"/>
                  </a:lnTo>
                  <a:lnTo>
                    <a:pt x="5733" y="2428"/>
                  </a:lnTo>
                  <a:lnTo>
                    <a:pt x="5712" y="2554"/>
                  </a:lnTo>
                  <a:lnTo>
                    <a:pt x="5629" y="2512"/>
                  </a:lnTo>
                  <a:lnTo>
                    <a:pt x="5545" y="2533"/>
                  </a:lnTo>
                  <a:lnTo>
                    <a:pt x="5419" y="2658"/>
                  </a:lnTo>
                  <a:lnTo>
                    <a:pt x="5440" y="2679"/>
                  </a:lnTo>
                  <a:lnTo>
                    <a:pt x="5524" y="2658"/>
                  </a:lnTo>
                  <a:lnTo>
                    <a:pt x="5608" y="2763"/>
                  </a:lnTo>
                  <a:lnTo>
                    <a:pt x="5503" y="2763"/>
                  </a:lnTo>
                  <a:lnTo>
                    <a:pt x="5440" y="2826"/>
                  </a:lnTo>
                  <a:lnTo>
                    <a:pt x="5503" y="2846"/>
                  </a:lnTo>
                  <a:lnTo>
                    <a:pt x="5461" y="2888"/>
                  </a:lnTo>
                  <a:lnTo>
                    <a:pt x="5357" y="2930"/>
                  </a:lnTo>
                  <a:lnTo>
                    <a:pt x="5357" y="2972"/>
                  </a:lnTo>
                  <a:lnTo>
                    <a:pt x="5399" y="2993"/>
                  </a:lnTo>
                  <a:lnTo>
                    <a:pt x="5336" y="2993"/>
                  </a:lnTo>
                  <a:lnTo>
                    <a:pt x="5294" y="2951"/>
                  </a:lnTo>
                  <a:lnTo>
                    <a:pt x="5210" y="2972"/>
                  </a:lnTo>
                  <a:lnTo>
                    <a:pt x="5127" y="3077"/>
                  </a:lnTo>
                  <a:lnTo>
                    <a:pt x="5147" y="3139"/>
                  </a:lnTo>
                  <a:lnTo>
                    <a:pt x="5127" y="3160"/>
                  </a:lnTo>
                  <a:lnTo>
                    <a:pt x="5022" y="3160"/>
                  </a:lnTo>
                  <a:lnTo>
                    <a:pt x="4938" y="3265"/>
                  </a:lnTo>
                  <a:lnTo>
                    <a:pt x="5043" y="3307"/>
                  </a:lnTo>
                  <a:lnTo>
                    <a:pt x="5315" y="3223"/>
                  </a:lnTo>
                  <a:lnTo>
                    <a:pt x="5357" y="3265"/>
                  </a:lnTo>
                  <a:lnTo>
                    <a:pt x="5461" y="3202"/>
                  </a:lnTo>
                  <a:lnTo>
                    <a:pt x="5524" y="3202"/>
                  </a:lnTo>
                  <a:lnTo>
                    <a:pt x="5524" y="3286"/>
                  </a:lnTo>
                  <a:lnTo>
                    <a:pt x="5461" y="3370"/>
                  </a:lnTo>
                  <a:lnTo>
                    <a:pt x="5440" y="3516"/>
                  </a:lnTo>
                  <a:lnTo>
                    <a:pt x="5419" y="3558"/>
                  </a:lnTo>
                  <a:lnTo>
                    <a:pt x="5357" y="3495"/>
                  </a:lnTo>
                  <a:lnTo>
                    <a:pt x="5336" y="3411"/>
                  </a:lnTo>
                  <a:lnTo>
                    <a:pt x="5252" y="3453"/>
                  </a:lnTo>
                  <a:lnTo>
                    <a:pt x="5210" y="3390"/>
                  </a:lnTo>
                  <a:lnTo>
                    <a:pt x="5106" y="3390"/>
                  </a:lnTo>
                  <a:lnTo>
                    <a:pt x="5127" y="3453"/>
                  </a:lnTo>
                  <a:lnTo>
                    <a:pt x="5106" y="3495"/>
                  </a:lnTo>
                  <a:lnTo>
                    <a:pt x="5022" y="3453"/>
                  </a:lnTo>
                  <a:lnTo>
                    <a:pt x="4938" y="3474"/>
                  </a:lnTo>
                  <a:lnTo>
                    <a:pt x="5043" y="3516"/>
                  </a:lnTo>
                  <a:lnTo>
                    <a:pt x="5085" y="3600"/>
                  </a:lnTo>
                  <a:lnTo>
                    <a:pt x="5022" y="3621"/>
                  </a:lnTo>
                  <a:lnTo>
                    <a:pt x="5001" y="3683"/>
                  </a:lnTo>
                  <a:lnTo>
                    <a:pt x="5001" y="3746"/>
                  </a:lnTo>
                  <a:lnTo>
                    <a:pt x="4980" y="3809"/>
                  </a:lnTo>
                  <a:lnTo>
                    <a:pt x="4938" y="3725"/>
                  </a:lnTo>
                  <a:lnTo>
                    <a:pt x="4938" y="3621"/>
                  </a:lnTo>
                  <a:lnTo>
                    <a:pt x="4875" y="3558"/>
                  </a:lnTo>
                  <a:lnTo>
                    <a:pt x="4792" y="3621"/>
                  </a:lnTo>
                  <a:lnTo>
                    <a:pt x="4708" y="3662"/>
                  </a:lnTo>
                  <a:lnTo>
                    <a:pt x="4666" y="3579"/>
                  </a:lnTo>
                  <a:lnTo>
                    <a:pt x="4687" y="3516"/>
                  </a:lnTo>
                  <a:lnTo>
                    <a:pt x="4624" y="3516"/>
                  </a:lnTo>
                  <a:lnTo>
                    <a:pt x="4520" y="3621"/>
                  </a:lnTo>
                  <a:lnTo>
                    <a:pt x="4603" y="3704"/>
                  </a:lnTo>
                  <a:lnTo>
                    <a:pt x="4729" y="3704"/>
                  </a:lnTo>
                  <a:lnTo>
                    <a:pt x="4834" y="3746"/>
                  </a:lnTo>
                  <a:lnTo>
                    <a:pt x="4792" y="3830"/>
                  </a:lnTo>
                  <a:lnTo>
                    <a:pt x="4583" y="3893"/>
                  </a:lnTo>
                  <a:lnTo>
                    <a:pt x="4520" y="3830"/>
                  </a:lnTo>
                  <a:lnTo>
                    <a:pt x="4457" y="3830"/>
                  </a:lnTo>
                  <a:lnTo>
                    <a:pt x="4394" y="3934"/>
                  </a:lnTo>
                  <a:lnTo>
                    <a:pt x="4478" y="4018"/>
                  </a:lnTo>
                  <a:lnTo>
                    <a:pt x="4394" y="4102"/>
                  </a:lnTo>
                  <a:lnTo>
                    <a:pt x="4478" y="4102"/>
                  </a:lnTo>
                  <a:lnTo>
                    <a:pt x="4583" y="3976"/>
                  </a:lnTo>
                  <a:lnTo>
                    <a:pt x="4687" y="3976"/>
                  </a:lnTo>
                  <a:lnTo>
                    <a:pt x="4729" y="4039"/>
                  </a:lnTo>
                  <a:lnTo>
                    <a:pt x="4583" y="4081"/>
                  </a:lnTo>
                  <a:lnTo>
                    <a:pt x="4562" y="4186"/>
                  </a:lnTo>
                  <a:lnTo>
                    <a:pt x="4603" y="4248"/>
                  </a:lnTo>
                  <a:lnTo>
                    <a:pt x="4729" y="4332"/>
                  </a:lnTo>
                  <a:lnTo>
                    <a:pt x="4729" y="4416"/>
                  </a:lnTo>
                  <a:lnTo>
                    <a:pt x="4666" y="4353"/>
                  </a:lnTo>
                  <a:lnTo>
                    <a:pt x="4583" y="4353"/>
                  </a:lnTo>
                  <a:lnTo>
                    <a:pt x="4499" y="4248"/>
                  </a:lnTo>
                  <a:lnTo>
                    <a:pt x="4457" y="4248"/>
                  </a:lnTo>
                  <a:lnTo>
                    <a:pt x="4373" y="4332"/>
                  </a:lnTo>
                  <a:lnTo>
                    <a:pt x="4457" y="4395"/>
                  </a:lnTo>
                  <a:lnTo>
                    <a:pt x="4352" y="4416"/>
                  </a:lnTo>
                  <a:lnTo>
                    <a:pt x="4248" y="4499"/>
                  </a:lnTo>
                  <a:lnTo>
                    <a:pt x="4248" y="4541"/>
                  </a:lnTo>
                  <a:lnTo>
                    <a:pt x="4352" y="4604"/>
                  </a:lnTo>
                  <a:lnTo>
                    <a:pt x="4457" y="4541"/>
                  </a:lnTo>
                  <a:lnTo>
                    <a:pt x="4499" y="4604"/>
                  </a:lnTo>
                  <a:lnTo>
                    <a:pt x="4603" y="4562"/>
                  </a:lnTo>
                  <a:lnTo>
                    <a:pt x="4624" y="4646"/>
                  </a:lnTo>
                  <a:lnTo>
                    <a:pt x="4708" y="4709"/>
                  </a:lnTo>
                  <a:lnTo>
                    <a:pt x="4708" y="4751"/>
                  </a:lnTo>
                  <a:lnTo>
                    <a:pt x="4562" y="4667"/>
                  </a:lnTo>
                  <a:lnTo>
                    <a:pt x="4415" y="4667"/>
                  </a:lnTo>
                  <a:lnTo>
                    <a:pt x="4373" y="4709"/>
                  </a:lnTo>
                  <a:lnTo>
                    <a:pt x="4206" y="4730"/>
                  </a:lnTo>
                  <a:lnTo>
                    <a:pt x="4206" y="4792"/>
                  </a:lnTo>
                  <a:lnTo>
                    <a:pt x="4143" y="4855"/>
                  </a:lnTo>
                  <a:lnTo>
                    <a:pt x="4080" y="4834"/>
                  </a:lnTo>
                  <a:lnTo>
                    <a:pt x="3955" y="4918"/>
                  </a:lnTo>
                  <a:lnTo>
                    <a:pt x="3871" y="4918"/>
                  </a:lnTo>
                  <a:lnTo>
                    <a:pt x="3850" y="4960"/>
                  </a:lnTo>
                  <a:lnTo>
                    <a:pt x="3955" y="4981"/>
                  </a:lnTo>
                  <a:lnTo>
                    <a:pt x="3997" y="5064"/>
                  </a:lnTo>
                  <a:lnTo>
                    <a:pt x="3934" y="5127"/>
                  </a:lnTo>
                  <a:lnTo>
                    <a:pt x="3871" y="5085"/>
                  </a:lnTo>
                  <a:lnTo>
                    <a:pt x="3850" y="5127"/>
                  </a:lnTo>
                  <a:lnTo>
                    <a:pt x="3934" y="5169"/>
                  </a:lnTo>
                  <a:lnTo>
                    <a:pt x="3892" y="5232"/>
                  </a:lnTo>
                  <a:lnTo>
                    <a:pt x="3787" y="5190"/>
                  </a:lnTo>
                  <a:lnTo>
                    <a:pt x="3766" y="5169"/>
                  </a:lnTo>
                  <a:lnTo>
                    <a:pt x="3746" y="5190"/>
                  </a:lnTo>
                  <a:lnTo>
                    <a:pt x="3829" y="5274"/>
                  </a:lnTo>
                  <a:lnTo>
                    <a:pt x="3766" y="5295"/>
                  </a:lnTo>
                  <a:lnTo>
                    <a:pt x="3787" y="5378"/>
                  </a:lnTo>
                  <a:lnTo>
                    <a:pt x="3850" y="5378"/>
                  </a:lnTo>
                  <a:lnTo>
                    <a:pt x="3787" y="5399"/>
                  </a:lnTo>
                  <a:lnTo>
                    <a:pt x="3725" y="5441"/>
                  </a:lnTo>
                  <a:lnTo>
                    <a:pt x="3662" y="5378"/>
                  </a:lnTo>
                  <a:lnTo>
                    <a:pt x="3662" y="5462"/>
                  </a:lnTo>
                  <a:lnTo>
                    <a:pt x="3641" y="5504"/>
                  </a:lnTo>
                  <a:lnTo>
                    <a:pt x="3683" y="5546"/>
                  </a:lnTo>
                  <a:lnTo>
                    <a:pt x="3850" y="5587"/>
                  </a:lnTo>
                  <a:lnTo>
                    <a:pt x="3871" y="5671"/>
                  </a:lnTo>
                  <a:lnTo>
                    <a:pt x="3934" y="5671"/>
                  </a:lnTo>
                  <a:lnTo>
                    <a:pt x="4039" y="5650"/>
                  </a:lnTo>
                  <a:lnTo>
                    <a:pt x="3955" y="5692"/>
                  </a:lnTo>
                  <a:lnTo>
                    <a:pt x="3955" y="5755"/>
                  </a:lnTo>
                  <a:lnTo>
                    <a:pt x="3850" y="5755"/>
                  </a:lnTo>
                  <a:lnTo>
                    <a:pt x="3829" y="5713"/>
                  </a:lnTo>
                  <a:lnTo>
                    <a:pt x="3662" y="5713"/>
                  </a:lnTo>
                  <a:lnTo>
                    <a:pt x="3557" y="5818"/>
                  </a:lnTo>
                  <a:lnTo>
                    <a:pt x="3578" y="5839"/>
                  </a:lnTo>
                  <a:lnTo>
                    <a:pt x="3683" y="5839"/>
                  </a:lnTo>
                  <a:lnTo>
                    <a:pt x="3725" y="5922"/>
                  </a:lnTo>
                  <a:lnTo>
                    <a:pt x="3766" y="5985"/>
                  </a:lnTo>
                  <a:lnTo>
                    <a:pt x="3766" y="6069"/>
                  </a:lnTo>
                  <a:lnTo>
                    <a:pt x="3683" y="6006"/>
                  </a:lnTo>
                  <a:lnTo>
                    <a:pt x="3641" y="6006"/>
                  </a:lnTo>
                  <a:lnTo>
                    <a:pt x="3578" y="6069"/>
                  </a:lnTo>
                  <a:lnTo>
                    <a:pt x="3578" y="6131"/>
                  </a:lnTo>
                  <a:lnTo>
                    <a:pt x="3557" y="6173"/>
                  </a:lnTo>
                  <a:lnTo>
                    <a:pt x="3620" y="6215"/>
                  </a:lnTo>
                  <a:lnTo>
                    <a:pt x="3641" y="6299"/>
                  </a:lnTo>
                  <a:lnTo>
                    <a:pt x="3578" y="6299"/>
                  </a:lnTo>
                  <a:lnTo>
                    <a:pt x="3515" y="6236"/>
                  </a:lnTo>
                  <a:lnTo>
                    <a:pt x="3474" y="6278"/>
                  </a:lnTo>
                  <a:lnTo>
                    <a:pt x="3474" y="6341"/>
                  </a:lnTo>
                  <a:lnTo>
                    <a:pt x="3578" y="6362"/>
                  </a:lnTo>
                  <a:lnTo>
                    <a:pt x="3578" y="6424"/>
                  </a:lnTo>
                  <a:lnTo>
                    <a:pt x="3578" y="6508"/>
                  </a:lnTo>
                  <a:lnTo>
                    <a:pt x="3453" y="6403"/>
                  </a:lnTo>
                  <a:lnTo>
                    <a:pt x="3411" y="6445"/>
                  </a:lnTo>
                  <a:lnTo>
                    <a:pt x="3411" y="6529"/>
                  </a:lnTo>
                  <a:lnTo>
                    <a:pt x="3432" y="6529"/>
                  </a:lnTo>
                  <a:lnTo>
                    <a:pt x="3432" y="6634"/>
                  </a:lnTo>
                  <a:lnTo>
                    <a:pt x="3474" y="6738"/>
                  </a:lnTo>
                  <a:lnTo>
                    <a:pt x="3536" y="6738"/>
                  </a:lnTo>
                  <a:lnTo>
                    <a:pt x="3578" y="6634"/>
                  </a:lnTo>
                  <a:lnTo>
                    <a:pt x="3641" y="6634"/>
                  </a:lnTo>
                  <a:lnTo>
                    <a:pt x="3578" y="6759"/>
                  </a:lnTo>
                  <a:lnTo>
                    <a:pt x="3536" y="6801"/>
                  </a:lnTo>
                  <a:lnTo>
                    <a:pt x="3432" y="6885"/>
                  </a:lnTo>
                  <a:lnTo>
                    <a:pt x="3348" y="6885"/>
                  </a:lnTo>
                  <a:lnTo>
                    <a:pt x="3264" y="6927"/>
                  </a:lnTo>
                  <a:lnTo>
                    <a:pt x="3264" y="6968"/>
                  </a:lnTo>
                  <a:lnTo>
                    <a:pt x="3202" y="7031"/>
                  </a:lnTo>
                  <a:lnTo>
                    <a:pt x="3118" y="7073"/>
                  </a:lnTo>
                  <a:lnTo>
                    <a:pt x="3202" y="7136"/>
                  </a:lnTo>
                  <a:lnTo>
                    <a:pt x="3160" y="7157"/>
                  </a:lnTo>
                  <a:lnTo>
                    <a:pt x="3013" y="7178"/>
                  </a:lnTo>
                  <a:lnTo>
                    <a:pt x="2950" y="7261"/>
                  </a:lnTo>
                  <a:lnTo>
                    <a:pt x="2950" y="7324"/>
                  </a:lnTo>
                  <a:lnTo>
                    <a:pt x="3055" y="7345"/>
                  </a:lnTo>
                  <a:lnTo>
                    <a:pt x="2992" y="7387"/>
                  </a:lnTo>
                  <a:lnTo>
                    <a:pt x="2930" y="7492"/>
                  </a:lnTo>
                  <a:lnTo>
                    <a:pt x="2846" y="7492"/>
                  </a:lnTo>
                  <a:lnTo>
                    <a:pt x="2825" y="7408"/>
                  </a:lnTo>
                  <a:lnTo>
                    <a:pt x="2783" y="7366"/>
                  </a:lnTo>
                  <a:lnTo>
                    <a:pt x="2741" y="7408"/>
                  </a:lnTo>
                  <a:lnTo>
                    <a:pt x="2678" y="7408"/>
                  </a:lnTo>
                  <a:lnTo>
                    <a:pt x="2699" y="7492"/>
                  </a:lnTo>
                  <a:lnTo>
                    <a:pt x="2637" y="7554"/>
                  </a:lnTo>
                  <a:lnTo>
                    <a:pt x="2637" y="7596"/>
                  </a:lnTo>
                  <a:lnTo>
                    <a:pt x="2678" y="7659"/>
                  </a:lnTo>
                  <a:lnTo>
                    <a:pt x="2532" y="7659"/>
                  </a:lnTo>
                  <a:lnTo>
                    <a:pt x="2490" y="7680"/>
                  </a:lnTo>
                  <a:lnTo>
                    <a:pt x="2490" y="7805"/>
                  </a:lnTo>
                  <a:lnTo>
                    <a:pt x="2386" y="7868"/>
                  </a:lnTo>
                  <a:lnTo>
                    <a:pt x="2406" y="7910"/>
                  </a:lnTo>
                  <a:lnTo>
                    <a:pt x="2386" y="8015"/>
                  </a:lnTo>
                  <a:lnTo>
                    <a:pt x="2302" y="8098"/>
                  </a:lnTo>
                  <a:lnTo>
                    <a:pt x="2197" y="8182"/>
                  </a:lnTo>
                  <a:lnTo>
                    <a:pt x="2218" y="8224"/>
                  </a:lnTo>
                  <a:lnTo>
                    <a:pt x="2365" y="8161"/>
                  </a:lnTo>
                  <a:lnTo>
                    <a:pt x="2406" y="8161"/>
                  </a:lnTo>
                  <a:lnTo>
                    <a:pt x="2406" y="8224"/>
                  </a:lnTo>
                  <a:lnTo>
                    <a:pt x="2323" y="8266"/>
                  </a:lnTo>
                  <a:lnTo>
                    <a:pt x="2323" y="8370"/>
                  </a:lnTo>
                  <a:lnTo>
                    <a:pt x="2386" y="8454"/>
                  </a:lnTo>
                  <a:lnTo>
                    <a:pt x="2511" y="8391"/>
                  </a:lnTo>
                  <a:lnTo>
                    <a:pt x="2637" y="8370"/>
                  </a:lnTo>
                  <a:lnTo>
                    <a:pt x="2804" y="8203"/>
                  </a:lnTo>
                  <a:lnTo>
                    <a:pt x="2804" y="8119"/>
                  </a:lnTo>
                  <a:lnTo>
                    <a:pt x="2720" y="8161"/>
                  </a:lnTo>
                  <a:lnTo>
                    <a:pt x="2804" y="8056"/>
                  </a:lnTo>
                  <a:lnTo>
                    <a:pt x="2825" y="7910"/>
                  </a:lnTo>
                  <a:lnTo>
                    <a:pt x="2846" y="7910"/>
                  </a:lnTo>
                  <a:lnTo>
                    <a:pt x="2909" y="7868"/>
                  </a:lnTo>
                  <a:lnTo>
                    <a:pt x="3013" y="7889"/>
                  </a:lnTo>
                  <a:lnTo>
                    <a:pt x="3055" y="7889"/>
                  </a:lnTo>
                  <a:lnTo>
                    <a:pt x="2909" y="7994"/>
                  </a:lnTo>
                  <a:lnTo>
                    <a:pt x="2909" y="8056"/>
                  </a:lnTo>
                  <a:lnTo>
                    <a:pt x="3055" y="8098"/>
                  </a:lnTo>
                  <a:lnTo>
                    <a:pt x="3013" y="8182"/>
                  </a:lnTo>
                  <a:lnTo>
                    <a:pt x="2930" y="8182"/>
                  </a:lnTo>
                  <a:lnTo>
                    <a:pt x="2783" y="8370"/>
                  </a:lnTo>
                  <a:lnTo>
                    <a:pt x="2888" y="8412"/>
                  </a:lnTo>
                  <a:lnTo>
                    <a:pt x="2804" y="8496"/>
                  </a:lnTo>
                  <a:lnTo>
                    <a:pt x="2825" y="8600"/>
                  </a:lnTo>
                  <a:lnTo>
                    <a:pt x="2720" y="8580"/>
                  </a:lnTo>
                  <a:lnTo>
                    <a:pt x="2637" y="8496"/>
                  </a:lnTo>
                  <a:lnTo>
                    <a:pt x="2511" y="8496"/>
                  </a:lnTo>
                  <a:lnTo>
                    <a:pt x="2427" y="8538"/>
                  </a:lnTo>
                  <a:lnTo>
                    <a:pt x="2427" y="8642"/>
                  </a:lnTo>
                  <a:lnTo>
                    <a:pt x="2365" y="8705"/>
                  </a:lnTo>
                  <a:lnTo>
                    <a:pt x="2260" y="8747"/>
                  </a:lnTo>
                  <a:lnTo>
                    <a:pt x="2260" y="8747"/>
                  </a:lnTo>
                  <a:lnTo>
                    <a:pt x="2323" y="8684"/>
                  </a:lnTo>
                  <a:lnTo>
                    <a:pt x="2386" y="8642"/>
                  </a:lnTo>
                  <a:lnTo>
                    <a:pt x="2302" y="8538"/>
                  </a:lnTo>
                  <a:lnTo>
                    <a:pt x="2302" y="8433"/>
                  </a:lnTo>
                  <a:lnTo>
                    <a:pt x="2218" y="8328"/>
                  </a:lnTo>
                  <a:lnTo>
                    <a:pt x="2155" y="8328"/>
                  </a:lnTo>
                  <a:lnTo>
                    <a:pt x="2093" y="8412"/>
                  </a:lnTo>
                  <a:lnTo>
                    <a:pt x="1988" y="8412"/>
                  </a:lnTo>
                  <a:lnTo>
                    <a:pt x="1988" y="8454"/>
                  </a:lnTo>
                  <a:lnTo>
                    <a:pt x="2155" y="8454"/>
                  </a:lnTo>
                  <a:lnTo>
                    <a:pt x="1988" y="8600"/>
                  </a:lnTo>
                  <a:lnTo>
                    <a:pt x="1883" y="8580"/>
                  </a:lnTo>
                  <a:lnTo>
                    <a:pt x="1800" y="8580"/>
                  </a:lnTo>
                  <a:lnTo>
                    <a:pt x="1695" y="8684"/>
                  </a:lnTo>
                  <a:lnTo>
                    <a:pt x="1758" y="8705"/>
                  </a:lnTo>
                  <a:lnTo>
                    <a:pt x="1842" y="8684"/>
                  </a:lnTo>
                  <a:lnTo>
                    <a:pt x="1862" y="8705"/>
                  </a:lnTo>
                  <a:lnTo>
                    <a:pt x="1737" y="8789"/>
                  </a:lnTo>
                  <a:lnTo>
                    <a:pt x="1674" y="8831"/>
                  </a:lnTo>
                  <a:lnTo>
                    <a:pt x="1632" y="8789"/>
                  </a:lnTo>
                  <a:lnTo>
                    <a:pt x="1549" y="8789"/>
                  </a:lnTo>
                  <a:lnTo>
                    <a:pt x="1549" y="8831"/>
                  </a:lnTo>
                  <a:lnTo>
                    <a:pt x="1674" y="8914"/>
                  </a:lnTo>
                  <a:lnTo>
                    <a:pt x="1800" y="8914"/>
                  </a:lnTo>
                  <a:lnTo>
                    <a:pt x="1779" y="8977"/>
                  </a:lnTo>
                  <a:lnTo>
                    <a:pt x="1862" y="9019"/>
                  </a:lnTo>
                  <a:lnTo>
                    <a:pt x="1842" y="9103"/>
                  </a:lnTo>
                  <a:lnTo>
                    <a:pt x="1695" y="9040"/>
                  </a:lnTo>
                  <a:lnTo>
                    <a:pt x="1695" y="8956"/>
                  </a:lnTo>
                  <a:lnTo>
                    <a:pt x="1590" y="8956"/>
                  </a:lnTo>
                  <a:lnTo>
                    <a:pt x="1486" y="8893"/>
                  </a:lnTo>
                  <a:lnTo>
                    <a:pt x="1465" y="8810"/>
                  </a:lnTo>
                  <a:lnTo>
                    <a:pt x="1444" y="8810"/>
                  </a:lnTo>
                  <a:lnTo>
                    <a:pt x="1423" y="8914"/>
                  </a:lnTo>
                  <a:lnTo>
                    <a:pt x="1528" y="9040"/>
                  </a:lnTo>
                  <a:lnTo>
                    <a:pt x="1632" y="9124"/>
                  </a:lnTo>
                  <a:lnTo>
                    <a:pt x="1695" y="9124"/>
                  </a:lnTo>
                  <a:lnTo>
                    <a:pt x="1758" y="9165"/>
                  </a:lnTo>
                  <a:lnTo>
                    <a:pt x="1653" y="9165"/>
                  </a:lnTo>
                  <a:lnTo>
                    <a:pt x="1486" y="9124"/>
                  </a:lnTo>
                  <a:lnTo>
                    <a:pt x="1360" y="8956"/>
                  </a:lnTo>
                  <a:lnTo>
                    <a:pt x="1277" y="8977"/>
                  </a:lnTo>
                  <a:lnTo>
                    <a:pt x="1214" y="8935"/>
                  </a:lnTo>
                  <a:lnTo>
                    <a:pt x="1067" y="8935"/>
                  </a:lnTo>
                  <a:lnTo>
                    <a:pt x="1026" y="8893"/>
                  </a:lnTo>
                  <a:lnTo>
                    <a:pt x="963" y="8935"/>
                  </a:lnTo>
                  <a:lnTo>
                    <a:pt x="1005" y="9019"/>
                  </a:lnTo>
                  <a:lnTo>
                    <a:pt x="942" y="9061"/>
                  </a:lnTo>
                  <a:lnTo>
                    <a:pt x="1026" y="9165"/>
                  </a:lnTo>
                  <a:lnTo>
                    <a:pt x="1214" y="9124"/>
                  </a:lnTo>
                  <a:lnTo>
                    <a:pt x="1235" y="9144"/>
                  </a:lnTo>
                  <a:lnTo>
                    <a:pt x="1151" y="9207"/>
                  </a:lnTo>
                  <a:lnTo>
                    <a:pt x="1214" y="9228"/>
                  </a:lnTo>
                  <a:lnTo>
                    <a:pt x="1339" y="9165"/>
                  </a:lnTo>
                  <a:lnTo>
                    <a:pt x="1423" y="9165"/>
                  </a:lnTo>
                  <a:lnTo>
                    <a:pt x="1381" y="9228"/>
                  </a:lnTo>
                  <a:lnTo>
                    <a:pt x="1214" y="9312"/>
                  </a:lnTo>
                  <a:lnTo>
                    <a:pt x="1151" y="9375"/>
                  </a:lnTo>
                  <a:lnTo>
                    <a:pt x="1026" y="9354"/>
                  </a:lnTo>
                  <a:lnTo>
                    <a:pt x="942" y="9228"/>
                  </a:lnTo>
                  <a:lnTo>
                    <a:pt x="900" y="9228"/>
                  </a:lnTo>
                  <a:lnTo>
                    <a:pt x="837" y="9270"/>
                  </a:lnTo>
                  <a:lnTo>
                    <a:pt x="753" y="9207"/>
                  </a:lnTo>
                  <a:lnTo>
                    <a:pt x="691" y="9249"/>
                  </a:lnTo>
                  <a:lnTo>
                    <a:pt x="628" y="9228"/>
                  </a:lnTo>
                  <a:lnTo>
                    <a:pt x="544" y="9270"/>
                  </a:lnTo>
                  <a:lnTo>
                    <a:pt x="586" y="9333"/>
                  </a:lnTo>
                  <a:lnTo>
                    <a:pt x="753" y="9354"/>
                  </a:lnTo>
                  <a:lnTo>
                    <a:pt x="858" y="9416"/>
                  </a:lnTo>
                  <a:lnTo>
                    <a:pt x="1005" y="9479"/>
                  </a:lnTo>
                  <a:lnTo>
                    <a:pt x="963" y="9584"/>
                  </a:lnTo>
                  <a:lnTo>
                    <a:pt x="1026" y="9668"/>
                  </a:lnTo>
                  <a:lnTo>
                    <a:pt x="921" y="9688"/>
                  </a:lnTo>
                  <a:lnTo>
                    <a:pt x="900" y="9668"/>
                  </a:lnTo>
                  <a:lnTo>
                    <a:pt x="900" y="9500"/>
                  </a:lnTo>
                  <a:lnTo>
                    <a:pt x="795" y="9479"/>
                  </a:lnTo>
                  <a:lnTo>
                    <a:pt x="691" y="9479"/>
                  </a:lnTo>
                  <a:lnTo>
                    <a:pt x="733" y="9563"/>
                  </a:lnTo>
                  <a:lnTo>
                    <a:pt x="712" y="9626"/>
                  </a:lnTo>
                  <a:lnTo>
                    <a:pt x="586" y="9542"/>
                  </a:lnTo>
                  <a:lnTo>
                    <a:pt x="481" y="9668"/>
                  </a:lnTo>
                  <a:lnTo>
                    <a:pt x="586" y="9730"/>
                  </a:lnTo>
                  <a:lnTo>
                    <a:pt x="502" y="9751"/>
                  </a:lnTo>
                  <a:lnTo>
                    <a:pt x="440" y="9772"/>
                  </a:lnTo>
                  <a:lnTo>
                    <a:pt x="398" y="9668"/>
                  </a:lnTo>
                  <a:lnTo>
                    <a:pt x="230" y="9647"/>
                  </a:lnTo>
                  <a:lnTo>
                    <a:pt x="293" y="9772"/>
                  </a:lnTo>
                  <a:lnTo>
                    <a:pt x="209" y="9793"/>
                  </a:lnTo>
                  <a:lnTo>
                    <a:pt x="189" y="9688"/>
                  </a:lnTo>
                  <a:lnTo>
                    <a:pt x="105" y="9626"/>
                  </a:lnTo>
                  <a:lnTo>
                    <a:pt x="63" y="9647"/>
                  </a:lnTo>
                  <a:lnTo>
                    <a:pt x="63" y="9688"/>
                  </a:lnTo>
                  <a:lnTo>
                    <a:pt x="168" y="9793"/>
                  </a:lnTo>
                  <a:lnTo>
                    <a:pt x="105" y="9856"/>
                  </a:lnTo>
                  <a:lnTo>
                    <a:pt x="168" y="9898"/>
                  </a:lnTo>
                  <a:lnTo>
                    <a:pt x="293" y="9877"/>
                  </a:lnTo>
                  <a:lnTo>
                    <a:pt x="481" y="9898"/>
                  </a:lnTo>
                  <a:lnTo>
                    <a:pt x="586" y="9981"/>
                  </a:lnTo>
                  <a:lnTo>
                    <a:pt x="733" y="9981"/>
                  </a:lnTo>
                  <a:lnTo>
                    <a:pt x="795" y="9940"/>
                  </a:lnTo>
                  <a:lnTo>
                    <a:pt x="858" y="9940"/>
                  </a:lnTo>
                  <a:lnTo>
                    <a:pt x="753" y="10023"/>
                  </a:lnTo>
                  <a:lnTo>
                    <a:pt x="607" y="10023"/>
                  </a:lnTo>
                  <a:lnTo>
                    <a:pt x="544" y="10065"/>
                  </a:lnTo>
                  <a:lnTo>
                    <a:pt x="377" y="9960"/>
                  </a:lnTo>
                  <a:lnTo>
                    <a:pt x="272" y="9981"/>
                  </a:lnTo>
                  <a:lnTo>
                    <a:pt x="209" y="9981"/>
                  </a:lnTo>
                  <a:lnTo>
                    <a:pt x="126" y="10023"/>
                  </a:lnTo>
                  <a:lnTo>
                    <a:pt x="0" y="10065"/>
                  </a:lnTo>
                  <a:lnTo>
                    <a:pt x="0" y="10107"/>
                  </a:lnTo>
                  <a:lnTo>
                    <a:pt x="189" y="10191"/>
                  </a:lnTo>
                  <a:lnTo>
                    <a:pt x="105" y="10274"/>
                  </a:lnTo>
                  <a:lnTo>
                    <a:pt x="209" y="10295"/>
                  </a:lnTo>
                  <a:lnTo>
                    <a:pt x="272" y="10253"/>
                  </a:lnTo>
                  <a:lnTo>
                    <a:pt x="419" y="10253"/>
                  </a:lnTo>
                  <a:lnTo>
                    <a:pt x="314" y="10316"/>
                  </a:lnTo>
                  <a:lnTo>
                    <a:pt x="126" y="10316"/>
                  </a:lnTo>
                  <a:lnTo>
                    <a:pt x="105" y="10358"/>
                  </a:lnTo>
                  <a:lnTo>
                    <a:pt x="63" y="10358"/>
                  </a:lnTo>
                  <a:lnTo>
                    <a:pt x="63" y="10379"/>
                  </a:lnTo>
                  <a:lnTo>
                    <a:pt x="126" y="10400"/>
                  </a:lnTo>
                  <a:lnTo>
                    <a:pt x="189" y="10400"/>
                  </a:lnTo>
                  <a:lnTo>
                    <a:pt x="105" y="10463"/>
                  </a:lnTo>
                  <a:lnTo>
                    <a:pt x="63" y="10484"/>
                  </a:lnTo>
                  <a:lnTo>
                    <a:pt x="63" y="10525"/>
                  </a:lnTo>
                  <a:lnTo>
                    <a:pt x="105" y="10546"/>
                  </a:lnTo>
                  <a:lnTo>
                    <a:pt x="168" y="10630"/>
                  </a:lnTo>
                  <a:lnTo>
                    <a:pt x="293" y="10630"/>
                  </a:lnTo>
                  <a:lnTo>
                    <a:pt x="335" y="10588"/>
                  </a:lnTo>
                  <a:lnTo>
                    <a:pt x="523" y="10546"/>
                  </a:lnTo>
                  <a:lnTo>
                    <a:pt x="649" y="10588"/>
                  </a:lnTo>
                  <a:lnTo>
                    <a:pt x="691" y="10609"/>
                  </a:lnTo>
                  <a:lnTo>
                    <a:pt x="753" y="10546"/>
                  </a:lnTo>
                  <a:lnTo>
                    <a:pt x="753" y="10484"/>
                  </a:lnTo>
                  <a:lnTo>
                    <a:pt x="837" y="10463"/>
                  </a:lnTo>
                  <a:lnTo>
                    <a:pt x="858" y="10525"/>
                  </a:lnTo>
                  <a:lnTo>
                    <a:pt x="963" y="10525"/>
                  </a:lnTo>
                  <a:lnTo>
                    <a:pt x="1067" y="10421"/>
                  </a:lnTo>
                  <a:lnTo>
                    <a:pt x="1130" y="10463"/>
                  </a:lnTo>
                  <a:lnTo>
                    <a:pt x="1130" y="10505"/>
                  </a:lnTo>
                  <a:lnTo>
                    <a:pt x="1046" y="10525"/>
                  </a:lnTo>
                  <a:lnTo>
                    <a:pt x="1151" y="10588"/>
                  </a:lnTo>
                  <a:lnTo>
                    <a:pt x="1214" y="10525"/>
                  </a:lnTo>
                  <a:lnTo>
                    <a:pt x="1214" y="10463"/>
                  </a:lnTo>
                  <a:lnTo>
                    <a:pt x="1277" y="10358"/>
                  </a:lnTo>
                  <a:lnTo>
                    <a:pt x="1256" y="10421"/>
                  </a:lnTo>
                  <a:lnTo>
                    <a:pt x="1339" y="10525"/>
                  </a:lnTo>
                  <a:lnTo>
                    <a:pt x="1277" y="10609"/>
                  </a:lnTo>
                  <a:lnTo>
                    <a:pt x="1130" y="10672"/>
                  </a:lnTo>
                  <a:lnTo>
                    <a:pt x="1046" y="10714"/>
                  </a:lnTo>
                  <a:lnTo>
                    <a:pt x="1109" y="10735"/>
                  </a:lnTo>
                  <a:lnTo>
                    <a:pt x="1046" y="10839"/>
                  </a:lnTo>
                  <a:lnTo>
                    <a:pt x="921" y="10839"/>
                  </a:lnTo>
                  <a:lnTo>
                    <a:pt x="921" y="10797"/>
                  </a:lnTo>
                  <a:lnTo>
                    <a:pt x="963" y="10735"/>
                  </a:lnTo>
                  <a:lnTo>
                    <a:pt x="942" y="10630"/>
                  </a:lnTo>
                  <a:lnTo>
                    <a:pt x="837" y="10609"/>
                  </a:lnTo>
                  <a:lnTo>
                    <a:pt x="733" y="10735"/>
                  </a:lnTo>
                  <a:lnTo>
                    <a:pt x="712" y="10797"/>
                  </a:lnTo>
                  <a:lnTo>
                    <a:pt x="628" y="10693"/>
                  </a:lnTo>
                  <a:lnTo>
                    <a:pt x="523" y="10672"/>
                  </a:lnTo>
                  <a:lnTo>
                    <a:pt x="419" y="10693"/>
                  </a:lnTo>
                  <a:lnTo>
                    <a:pt x="335" y="10672"/>
                  </a:lnTo>
                  <a:lnTo>
                    <a:pt x="209" y="10735"/>
                  </a:lnTo>
                  <a:lnTo>
                    <a:pt x="126" y="10735"/>
                  </a:lnTo>
                  <a:lnTo>
                    <a:pt x="63" y="10693"/>
                  </a:lnTo>
                  <a:lnTo>
                    <a:pt x="21" y="10693"/>
                  </a:lnTo>
                  <a:lnTo>
                    <a:pt x="63" y="10797"/>
                  </a:lnTo>
                  <a:lnTo>
                    <a:pt x="21" y="10839"/>
                  </a:lnTo>
                  <a:lnTo>
                    <a:pt x="84" y="10902"/>
                  </a:lnTo>
                  <a:lnTo>
                    <a:pt x="168" y="10881"/>
                  </a:lnTo>
                  <a:lnTo>
                    <a:pt x="209" y="10818"/>
                  </a:lnTo>
                  <a:lnTo>
                    <a:pt x="293" y="10818"/>
                  </a:lnTo>
                  <a:lnTo>
                    <a:pt x="209" y="10902"/>
                  </a:lnTo>
                  <a:lnTo>
                    <a:pt x="209" y="11007"/>
                  </a:lnTo>
                  <a:lnTo>
                    <a:pt x="168" y="11049"/>
                  </a:lnTo>
                  <a:lnTo>
                    <a:pt x="84" y="11007"/>
                  </a:lnTo>
                  <a:lnTo>
                    <a:pt x="126" y="11132"/>
                  </a:lnTo>
                  <a:lnTo>
                    <a:pt x="189" y="11195"/>
                  </a:lnTo>
                  <a:lnTo>
                    <a:pt x="335" y="11007"/>
                  </a:lnTo>
                  <a:lnTo>
                    <a:pt x="481" y="11049"/>
                  </a:lnTo>
                  <a:lnTo>
                    <a:pt x="419" y="11111"/>
                  </a:lnTo>
                  <a:lnTo>
                    <a:pt x="419" y="11195"/>
                  </a:lnTo>
                  <a:lnTo>
                    <a:pt x="293" y="11258"/>
                  </a:lnTo>
                  <a:lnTo>
                    <a:pt x="314" y="11300"/>
                  </a:lnTo>
                  <a:lnTo>
                    <a:pt x="398" y="11321"/>
                  </a:lnTo>
                  <a:lnTo>
                    <a:pt x="377" y="11404"/>
                  </a:lnTo>
                  <a:lnTo>
                    <a:pt x="419" y="11467"/>
                  </a:lnTo>
                  <a:lnTo>
                    <a:pt x="377" y="11572"/>
                  </a:lnTo>
                  <a:lnTo>
                    <a:pt x="419" y="11572"/>
                  </a:lnTo>
                  <a:lnTo>
                    <a:pt x="502" y="11446"/>
                  </a:lnTo>
                  <a:lnTo>
                    <a:pt x="586" y="11425"/>
                  </a:lnTo>
                  <a:lnTo>
                    <a:pt x="607" y="11300"/>
                  </a:lnTo>
                  <a:lnTo>
                    <a:pt x="816" y="11216"/>
                  </a:lnTo>
                  <a:lnTo>
                    <a:pt x="921" y="11216"/>
                  </a:lnTo>
                  <a:lnTo>
                    <a:pt x="1005" y="11195"/>
                  </a:lnTo>
                  <a:lnTo>
                    <a:pt x="942" y="11237"/>
                  </a:lnTo>
                  <a:lnTo>
                    <a:pt x="837" y="11321"/>
                  </a:lnTo>
                  <a:lnTo>
                    <a:pt x="837" y="11446"/>
                  </a:lnTo>
                  <a:lnTo>
                    <a:pt x="858" y="11530"/>
                  </a:lnTo>
                  <a:lnTo>
                    <a:pt x="795" y="11467"/>
                  </a:lnTo>
                  <a:lnTo>
                    <a:pt x="753" y="11341"/>
                  </a:lnTo>
                  <a:lnTo>
                    <a:pt x="712" y="11341"/>
                  </a:lnTo>
                  <a:lnTo>
                    <a:pt x="628" y="11467"/>
                  </a:lnTo>
                  <a:lnTo>
                    <a:pt x="586" y="11509"/>
                  </a:lnTo>
                  <a:lnTo>
                    <a:pt x="691" y="11530"/>
                  </a:lnTo>
                  <a:lnTo>
                    <a:pt x="586" y="11655"/>
                  </a:lnTo>
                  <a:lnTo>
                    <a:pt x="502" y="11655"/>
                  </a:lnTo>
                  <a:lnTo>
                    <a:pt x="481" y="11739"/>
                  </a:lnTo>
                  <a:lnTo>
                    <a:pt x="523" y="11760"/>
                  </a:lnTo>
                  <a:lnTo>
                    <a:pt x="691" y="11760"/>
                  </a:lnTo>
                  <a:lnTo>
                    <a:pt x="733" y="11823"/>
                  </a:lnTo>
                  <a:lnTo>
                    <a:pt x="607" y="11844"/>
                  </a:lnTo>
                  <a:lnTo>
                    <a:pt x="586" y="11885"/>
                  </a:lnTo>
                  <a:lnTo>
                    <a:pt x="544" y="11969"/>
                  </a:lnTo>
                  <a:lnTo>
                    <a:pt x="440" y="11885"/>
                  </a:lnTo>
                  <a:lnTo>
                    <a:pt x="398" y="11927"/>
                  </a:lnTo>
                  <a:lnTo>
                    <a:pt x="377" y="12032"/>
                  </a:lnTo>
                  <a:lnTo>
                    <a:pt x="335" y="11885"/>
                  </a:lnTo>
                  <a:lnTo>
                    <a:pt x="272" y="11948"/>
                  </a:lnTo>
                  <a:lnTo>
                    <a:pt x="168" y="12074"/>
                  </a:lnTo>
                  <a:lnTo>
                    <a:pt x="209" y="12178"/>
                  </a:lnTo>
                  <a:lnTo>
                    <a:pt x="335" y="12367"/>
                  </a:lnTo>
                  <a:lnTo>
                    <a:pt x="398" y="12262"/>
                  </a:lnTo>
                  <a:lnTo>
                    <a:pt x="419" y="12283"/>
                  </a:lnTo>
                  <a:lnTo>
                    <a:pt x="502" y="12262"/>
                  </a:lnTo>
                  <a:lnTo>
                    <a:pt x="481" y="12199"/>
                  </a:lnTo>
                  <a:lnTo>
                    <a:pt x="523" y="12095"/>
                  </a:lnTo>
                  <a:lnTo>
                    <a:pt x="649" y="12178"/>
                  </a:lnTo>
                  <a:lnTo>
                    <a:pt x="607" y="12241"/>
                  </a:lnTo>
                  <a:lnTo>
                    <a:pt x="649" y="12304"/>
                  </a:lnTo>
                  <a:lnTo>
                    <a:pt x="628" y="12388"/>
                  </a:lnTo>
                  <a:lnTo>
                    <a:pt x="586" y="12450"/>
                  </a:lnTo>
                  <a:lnTo>
                    <a:pt x="628" y="12597"/>
                  </a:lnTo>
                  <a:lnTo>
                    <a:pt x="691" y="12555"/>
                  </a:lnTo>
                  <a:lnTo>
                    <a:pt x="816" y="12513"/>
                  </a:lnTo>
                  <a:lnTo>
                    <a:pt x="900" y="12597"/>
                  </a:lnTo>
                  <a:lnTo>
                    <a:pt x="753" y="12597"/>
                  </a:lnTo>
                  <a:lnTo>
                    <a:pt x="712" y="12639"/>
                  </a:lnTo>
                  <a:lnTo>
                    <a:pt x="753" y="12722"/>
                  </a:lnTo>
                  <a:lnTo>
                    <a:pt x="753" y="12785"/>
                  </a:lnTo>
                  <a:lnTo>
                    <a:pt x="544" y="12618"/>
                  </a:lnTo>
                  <a:lnTo>
                    <a:pt x="481" y="12639"/>
                  </a:lnTo>
                  <a:lnTo>
                    <a:pt x="419" y="12597"/>
                  </a:lnTo>
                  <a:lnTo>
                    <a:pt x="314" y="12597"/>
                  </a:lnTo>
                  <a:lnTo>
                    <a:pt x="314" y="12701"/>
                  </a:lnTo>
                  <a:lnTo>
                    <a:pt x="272" y="12764"/>
                  </a:lnTo>
                  <a:lnTo>
                    <a:pt x="419" y="12994"/>
                  </a:lnTo>
                  <a:lnTo>
                    <a:pt x="523" y="13015"/>
                  </a:lnTo>
                  <a:lnTo>
                    <a:pt x="691" y="13141"/>
                  </a:lnTo>
                  <a:lnTo>
                    <a:pt x="900" y="13245"/>
                  </a:lnTo>
                  <a:lnTo>
                    <a:pt x="921" y="13308"/>
                  </a:lnTo>
                  <a:lnTo>
                    <a:pt x="858" y="13329"/>
                  </a:lnTo>
                  <a:lnTo>
                    <a:pt x="963" y="13413"/>
                  </a:lnTo>
                  <a:lnTo>
                    <a:pt x="1026" y="13392"/>
                  </a:lnTo>
                  <a:lnTo>
                    <a:pt x="1005" y="13287"/>
                  </a:lnTo>
                  <a:lnTo>
                    <a:pt x="1067" y="13287"/>
                  </a:lnTo>
                  <a:lnTo>
                    <a:pt x="1151" y="13329"/>
                  </a:lnTo>
                  <a:lnTo>
                    <a:pt x="1130" y="13350"/>
                  </a:lnTo>
                  <a:lnTo>
                    <a:pt x="1235" y="13497"/>
                  </a:lnTo>
                  <a:lnTo>
                    <a:pt x="1277" y="13434"/>
                  </a:lnTo>
                  <a:lnTo>
                    <a:pt x="1339" y="13455"/>
                  </a:lnTo>
                  <a:lnTo>
                    <a:pt x="1444" y="13413"/>
                  </a:lnTo>
                  <a:lnTo>
                    <a:pt x="1570" y="13308"/>
                  </a:lnTo>
                  <a:lnTo>
                    <a:pt x="1632" y="13287"/>
                  </a:lnTo>
                  <a:lnTo>
                    <a:pt x="1653" y="13225"/>
                  </a:lnTo>
                  <a:lnTo>
                    <a:pt x="1674" y="13245"/>
                  </a:lnTo>
                  <a:lnTo>
                    <a:pt x="1695" y="13329"/>
                  </a:lnTo>
                  <a:lnTo>
                    <a:pt x="1779" y="13329"/>
                  </a:lnTo>
                  <a:lnTo>
                    <a:pt x="1988" y="13120"/>
                  </a:lnTo>
                  <a:lnTo>
                    <a:pt x="1967" y="13078"/>
                  </a:lnTo>
                  <a:lnTo>
                    <a:pt x="1883" y="12932"/>
                  </a:lnTo>
                  <a:lnTo>
                    <a:pt x="2051" y="13036"/>
                  </a:lnTo>
                  <a:lnTo>
                    <a:pt x="2155" y="12911"/>
                  </a:lnTo>
                  <a:lnTo>
                    <a:pt x="2114" y="12890"/>
                  </a:lnTo>
                  <a:lnTo>
                    <a:pt x="2197" y="12827"/>
                  </a:lnTo>
                  <a:lnTo>
                    <a:pt x="2176" y="12764"/>
                  </a:lnTo>
                  <a:lnTo>
                    <a:pt x="2281" y="12701"/>
                  </a:lnTo>
                  <a:lnTo>
                    <a:pt x="2386" y="12681"/>
                  </a:lnTo>
                  <a:lnTo>
                    <a:pt x="2386" y="12597"/>
                  </a:lnTo>
                  <a:lnTo>
                    <a:pt x="2302" y="12492"/>
                  </a:lnTo>
                  <a:lnTo>
                    <a:pt x="2323" y="12409"/>
                  </a:lnTo>
                  <a:lnTo>
                    <a:pt x="2260" y="12304"/>
                  </a:lnTo>
                  <a:lnTo>
                    <a:pt x="2155" y="12241"/>
                  </a:lnTo>
                  <a:lnTo>
                    <a:pt x="2176" y="12157"/>
                  </a:lnTo>
                  <a:lnTo>
                    <a:pt x="2218" y="12178"/>
                  </a:lnTo>
                  <a:lnTo>
                    <a:pt x="2323" y="12304"/>
                  </a:lnTo>
                  <a:lnTo>
                    <a:pt x="2386" y="12471"/>
                  </a:lnTo>
                  <a:lnTo>
                    <a:pt x="2406" y="12492"/>
                  </a:lnTo>
                  <a:lnTo>
                    <a:pt x="2490" y="12513"/>
                  </a:lnTo>
                  <a:lnTo>
                    <a:pt x="2469" y="12576"/>
                  </a:lnTo>
                  <a:lnTo>
                    <a:pt x="2511" y="12639"/>
                  </a:lnTo>
                  <a:lnTo>
                    <a:pt x="2616" y="12597"/>
                  </a:lnTo>
                  <a:lnTo>
                    <a:pt x="2595" y="12513"/>
                  </a:lnTo>
                  <a:lnTo>
                    <a:pt x="2532" y="12492"/>
                  </a:lnTo>
                  <a:lnTo>
                    <a:pt x="2595" y="12409"/>
                  </a:lnTo>
                  <a:lnTo>
                    <a:pt x="2678" y="12492"/>
                  </a:lnTo>
                  <a:lnTo>
                    <a:pt x="2699" y="12555"/>
                  </a:lnTo>
                  <a:lnTo>
                    <a:pt x="2825" y="12409"/>
                  </a:lnTo>
                  <a:lnTo>
                    <a:pt x="2846" y="12283"/>
                  </a:lnTo>
                  <a:lnTo>
                    <a:pt x="2825" y="12178"/>
                  </a:lnTo>
                  <a:lnTo>
                    <a:pt x="2741" y="12157"/>
                  </a:lnTo>
                  <a:lnTo>
                    <a:pt x="2720" y="12074"/>
                  </a:lnTo>
                  <a:lnTo>
                    <a:pt x="2783" y="12053"/>
                  </a:lnTo>
                  <a:lnTo>
                    <a:pt x="2783" y="11990"/>
                  </a:lnTo>
                  <a:lnTo>
                    <a:pt x="2825" y="11990"/>
                  </a:lnTo>
                  <a:lnTo>
                    <a:pt x="2888" y="11948"/>
                  </a:lnTo>
                  <a:lnTo>
                    <a:pt x="2825" y="11865"/>
                  </a:lnTo>
                  <a:lnTo>
                    <a:pt x="2825" y="11760"/>
                  </a:lnTo>
                  <a:lnTo>
                    <a:pt x="2909" y="11718"/>
                  </a:lnTo>
                  <a:lnTo>
                    <a:pt x="2992" y="11781"/>
                  </a:lnTo>
                  <a:lnTo>
                    <a:pt x="2930" y="11885"/>
                  </a:lnTo>
                  <a:lnTo>
                    <a:pt x="2950" y="12032"/>
                  </a:lnTo>
                  <a:lnTo>
                    <a:pt x="2930" y="12095"/>
                  </a:lnTo>
                  <a:lnTo>
                    <a:pt x="2992" y="12199"/>
                  </a:lnTo>
                  <a:lnTo>
                    <a:pt x="3013" y="12283"/>
                  </a:lnTo>
                  <a:lnTo>
                    <a:pt x="3118" y="12409"/>
                  </a:lnTo>
                  <a:lnTo>
                    <a:pt x="3264" y="12409"/>
                  </a:lnTo>
                  <a:lnTo>
                    <a:pt x="3327" y="12450"/>
                  </a:lnTo>
                  <a:lnTo>
                    <a:pt x="3264" y="12492"/>
                  </a:lnTo>
                  <a:lnTo>
                    <a:pt x="3348" y="12555"/>
                  </a:lnTo>
                  <a:lnTo>
                    <a:pt x="3432" y="12639"/>
                  </a:lnTo>
                  <a:lnTo>
                    <a:pt x="3474" y="12555"/>
                  </a:lnTo>
                  <a:lnTo>
                    <a:pt x="3453" y="12178"/>
                  </a:lnTo>
                  <a:lnTo>
                    <a:pt x="3369" y="12032"/>
                  </a:lnTo>
                  <a:lnTo>
                    <a:pt x="3432" y="11948"/>
                  </a:lnTo>
                  <a:lnTo>
                    <a:pt x="3515" y="11885"/>
                  </a:lnTo>
                  <a:lnTo>
                    <a:pt x="3432" y="11781"/>
                  </a:lnTo>
                  <a:lnTo>
                    <a:pt x="3474" y="11718"/>
                  </a:lnTo>
                  <a:lnTo>
                    <a:pt x="3662" y="11676"/>
                  </a:lnTo>
                  <a:lnTo>
                    <a:pt x="3683" y="11593"/>
                  </a:lnTo>
                  <a:lnTo>
                    <a:pt x="3683" y="11467"/>
                  </a:lnTo>
                  <a:lnTo>
                    <a:pt x="3766" y="11321"/>
                  </a:lnTo>
                  <a:lnTo>
                    <a:pt x="3683" y="11195"/>
                  </a:lnTo>
                  <a:lnTo>
                    <a:pt x="3662" y="10923"/>
                  </a:lnTo>
                  <a:lnTo>
                    <a:pt x="3536" y="10714"/>
                  </a:lnTo>
                  <a:lnTo>
                    <a:pt x="3557" y="10609"/>
                  </a:lnTo>
                  <a:lnTo>
                    <a:pt x="3829" y="10525"/>
                  </a:lnTo>
                  <a:lnTo>
                    <a:pt x="3829" y="10358"/>
                  </a:lnTo>
                  <a:lnTo>
                    <a:pt x="3871" y="10212"/>
                  </a:lnTo>
                  <a:lnTo>
                    <a:pt x="3662" y="10002"/>
                  </a:lnTo>
                  <a:lnTo>
                    <a:pt x="3515" y="9898"/>
                  </a:lnTo>
                  <a:lnTo>
                    <a:pt x="3515" y="9688"/>
                  </a:lnTo>
                  <a:lnTo>
                    <a:pt x="3536" y="9479"/>
                  </a:lnTo>
                  <a:lnTo>
                    <a:pt x="3515" y="9249"/>
                  </a:lnTo>
                  <a:lnTo>
                    <a:pt x="3453" y="9103"/>
                  </a:lnTo>
                  <a:lnTo>
                    <a:pt x="3515" y="8914"/>
                  </a:lnTo>
                  <a:lnTo>
                    <a:pt x="3453" y="8621"/>
                  </a:lnTo>
                  <a:lnTo>
                    <a:pt x="3411" y="8308"/>
                  </a:lnTo>
                  <a:lnTo>
                    <a:pt x="3453" y="8077"/>
                  </a:lnTo>
                  <a:lnTo>
                    <a:pt x="3578" y="7847"/>
                  </a:lnTo>
                  <a:lnTo>
                    <a:pt x="3683" y="7764"/>
                  </a:lnTo>
                  <a:lnTo>
                    <a:pt x="3850" y="7784"/>
                  </a:lnTo>
                  <a:lnTo>
                    <a:pt x="4059" y="7805"/>
                  </a:lnTo>
                  <a:lnTo>
                    <a:pt x="4164" y="7680"/>
                  </a:lnTo>
                  <a:lnTo>
                    <a:pt x="4143" y="7450"/>
                  </a:lnTo>
                  <a:lnTo>
                    <a:pt x="4080" y="7366"/>
                  </a:lnTo>
                  <a:lnTo>
                    <a:pt x="4080" y="7240"/>
                  </a:lnTo>
                  <a:lnTo>
                    <a:pt x="4290" y="6738"/>
                  </a:lnTo>
                  <a:lnTo>
                    <a:pt x="4290" y="6487"/>
                  </a:lnTo>
                  <a:lnTo>
                    <a:pt x="4352" y="6215"/>
                  </a:lnTo>
                  <a:lnTo>
                    <a:pt x="4394" y="6069"/>
                  </a:lnTo>
                  <a:lnTo>
                    <a:pt x="4394" y="5901"/>
                  </a:lnTo>
                  <a:lnTo>
                    <a:pt x="4311" y="5818"/>
                  </a:lnTo>
                  <a:lnTo>
                    <a:pt x="4311" y="5692"/>
                  </a:lnTo>
                  <a:lnTo>
                    <a:pt x="4499" y="5587"/>
                  </a:lnTo>
                  <a:lnTo>
                    <a:pt x="4708" y="5567"/>
                  </a:lnTo>
                  <a:lnTo>
                    <a:pt x="4792" y="5483"/>
                  </a:lnTo>
                  <a:lnTo>
                    <a:pt x="4813" y="5357"/>
                  </a:lnTo>
                  <a:lnTo>
                    <a:pt x="4980" y="5064"/>
                  </a:lnTo>
                  <a:lnTo>
                    <a:pt x="5127" y="4855"/>
                  </a:lnTo>
                  <a:lnTo>
                    <a:pt x="5189" y="4730"/>
                  </a:lnTo>
                  <a:lnTo>
                    <a:pt x="5106" y="4541"/>
                  </a:lnTo>
                  <a:lnTo>
                    <a:pt x="5043" y="4458"/>
                  </a:lnTo>
                  <a:lnTo>
                    <a:pt x="5043" y="4206"/>
                  </a:lnTo>
                  <a:lnTo>
                    <a:pt x="5127" y="4186"/>
                  </a:lnTo>
                  <a:lnTo>
                    <a:pt x="5189" y="4081"/>
                  </a:lnTo>
                  <a:lnTo>
                    <a:pt x="5231" y="3934"/>
                  </a:lnTo>
                  <a:lnTo>
                    <a:pt x="5315" y="3893"/>
                  </a:lnTo>
                  <a:lnTo>
                    <a:pt x="5399" y="3704"/>
                  </a:lnTo>
                  <a:lnTo>
                    <a:pt x="5524" y="3600"/>
                  </a:lnTo>
                  <a:lnTo>
                    <a:pt x="5629" y="3683"/>
                  </a:lnTo>
                  <a:lnTo>
                    <a:pt x="5712" y="3725"/>
                  </a:lnTo>
                  <a:lnTo>
                    <a:pt x="5754" y="3725"/>
                  </a:lnTo>
                  <a:lnTo>
                    <a:pt x="5859" y="3621"/>
                  </a:lnTo>
                  <a:lnTo>
                    <a:pt x="5775" y="3516"/>
                  </a:lnTo>
                  <a:lnTo>
                    <a:pt x="5859" y="3474"/>
                  </a:lnTo>
                  <a:lnTo>
                    <a:pt x="5859" y="3390"/>
                  </a:lnTo>
                  <a:lnTo>
                    <a:pt x="5880" y="3349"/>
                  </a:lnTo>
                  <a:lnTo>
                    <a:pt x="5775" y="3181"/>
                  </a:lnTo>
                  <a:lnTo>
                    <a:pt x="5838" y="3160"/>
                  </a:lnTo>
                  <a:lnTo>
                    <a:pt x="6026" y="3160"/>
                  </a:lnTo>
                  <a:lnTo>
                    <a:pt x="6152" y="3077"/>
                  </a:lnTo>
                  <a:lnTo>
                    <a:pt x="6340" y="3139"/>
                  </a:lnTo>
                  <a:lnTo>
                    <a:pt x="6445" y="3202"/>
                  </a:lnTo>
                  <a:lnTo>
                    <a:pt x="6570" y="3223"/>
                  </a:lnTo>
                  <a:lnTo>
                    <a:pt x="6654" y="3286"/>
                  </a:lnTo>
                  <a:lnTo>
                    <a:pt x="6696" y="3265"/>
                  </a:lnTo>
                  <a:lnTo>
                    <a:pt x="6759" y="3307"/>
                  </a:lnTo>
                  <a:lnTo>
                    <a:pt x="6759" y="3160"/>
                  </a:lnTo>
                  <a:lnTo>
                    <a:pt x="6696" y="3077"/>
                  </a:lnTo>
                  <a:lnTo>
                    <a:pt x="6717" y="2888"/>
                  </a:lnTo>
                  <a:lnTo>
                    <a:pt x="6800" y="2846"/>
                  </a:lnTo>
                  <a:lnTo>
                    <a:pt x="6779" y="2700"/>
                  </a:lnTo>
                  <a:lnTo>
                    <a:pt x="6696" y="2658"/>
                  </a:lnTo>
                  <a:lnTo>
                    <a:pt x="6675" y="2554"/>
                  </a:lnTo>
                  <a:lnTo>
                    <a:pt x="6675" y="2554"/>
                  </a:lnTo>
                  <a:lnTo>
                    <a:pt x="6800" y="2616"/>
                  </a:lnTo>
                  <a:lnTo>
                    <a:pt x="6926" y="2574"/>
                  </a:lnTo>
                  <a:lnTo>
                    <a:pt x="6989" y="2554"/>
                  </a:lnTo>
                  <a:lnTo>
                    <a:pt x="7010" y="2533"/>
                  </a:lnTo>
                  <a:lnTo>
                    <a:pt x="7072" y="2533"/>
                  </a:lnTo>
                  <a:lnTo>
                    <a:pt x="7093" y="2512"/>
                  </a:lnTo>
                  <a:lnTo>
                    <a:pt x="7072" y="2428"/>
                  </a:lnTo>
                  <a:lnTo>
                    <a:pt x="7093" y="2323"/>
                  </a:lnTo>
                  <a:lnTo>
                    <a:pt x="7177" y="2261"/>
                  </a:lnTo>
                  <a:lnTo>
                    <a:pt x="7282" y="2261"/>
                  </a:lnTo>
                  <a:lnTo>
                    <a:pt x="7344" y="2407"/>
                  </a:lnTo>
                  <a:lnTo>
                    <a:pt x="7616" y="2616"/>
                  </a:lnTo>
                  <a:lnTo>
                    <a:pt x="7637" y="2742"/>
                  </a:lnTo>
                  <a:lnTo>
                    <a:pt x="7742" y="2846"/>
                  </a:lnTo>
                  <a:lnTo>
                    <a:pt x="7909" y="2930"/>
                  </a:lnTo>
                  <a:lnTo>
                    <a:pt x="8160" y="2930"/>
                  </a:lnTo>
                  <a:lnTo>
                    <a:pt x="8328" y="2784"/>
                  </a:lnTo>
                  <a:lnTo>
                    <a:pt x="8391" y="2700"/>
                  </a:lnTo>
                  <a:lnTo>
                    <a:pt x="8495" y="2700"/>
                  </a:lnTo>
                  <a:lnTo>
                    <a:pt x="8704" y="2846"/>
                  </a:lnTo>
                  <a:lnTo>
                    <a:pt x="8851" y="2867"/>
                  </a:lnTo>
                  <a:lnTo>
                    <a:pt x="8893" y="2742"/>
                  </a:lnTo>
                  <a:lnTo>
                    <a:pt x="8976" y="2679"/>
                  </a:lnTo>
                  <a:lnTo>
                    <a:pt x="9060" y="2616"/>
                  </a:lnTo>
                  <a:lnTo>
                    <a:pt x="9165" y="2616"/>
                  </a:lnTo>
                  <a:lnTo>
                    <a:pt x="9269" y="2554"/>
                  </a:lnTo>
                  <a:lnTo>
                    <a:pt x="9311" y="2470"/>
                  </a:lnTo>
                  <a:lnTo>
                    <a:pt x="9269" y="2365"/>
                  </a:lnTo>
                  <a:lnTo>
                    <a:pt x="9207" y="2219"/>
                  </a:lnTo>
                  <a:lnTo>
                    <a:pt x="9228" y="1905"/>
                  </a:lnTo>
                  <a:lnTo>
                    <a:pt x="9290" y="1821"/>
                  </a:lnTo>
                  <a:lnTo>
                    <a:pt x="9228" y="1717"/>
                  </a:lnTo>
                  <a:lnTo>
                    <a:pt x="9290" y="1696"/>
                  </a:lnTo>
                  <a:lnTo>
                    <a:pt x="9395" y="1570"/>
                  </a:lnTo>
                  <a:lnTo>
                    <a:pt x="9374" y="1507"/>
                  </a:lnTo>
                  <a:lnTo>
                    <a:pt x="9500" y="1424"/>
                  </a:lnTo>
                  <a:lnTo>
                    <a:pt x="9646" y="1486"/>
                  </a:lnTo>
                  <a:lnTo>
                    <a:pt x="9730" y="1466"/>
                  </a:lnTo>
                  <a:lnTo>
                    <a:pt x="9730" y="1403"/>
                  </a:lnTo>
                  <a:lnTo>
                    <a:pt x="9813" y="1298"/>
                  </a:lnTo>
                  <a:lnTo>
                    <a:pt x="10065" y="1298"/>
                  </a:lnTo>
                  <a:lnTo>
                    <a:pt x="10169" y="1382"/>
                  </a:lnTo>
                  <a:lnTo>
                    <a:pt x="10316" y="1528"/>
                  </a:lnTo>
                  <a:lnTo>
                    <a:pt x="10378" y="1633"/>
                  </a:lnTo>
                  <a:lnTo>
                    <a:pt x="10525" y="1654"/>
                  </a:lnTo>
                  <a:lnTo>
                    <a:pt x="10692" y="1696"/>
                  </a:lnTo>
                  <a:lnTo>
                    <a:pt x="10755" y="1800"/>
                  </a:lnTo>
                  <a:lnTo>
                    <a:pt x="10860" y="1905"/>
                  </a:lnTo>
                  <a:lnTo>
                    <a:pt x="10839" y="2030"/>
                  </a:lnTo>
                  <a:lnTo>
                    <a:pt x="10734" y="2177"/>
                  </a:lnTo>
                  <a:lnTo>
                    <a:pt x="10755" y="2428"/>
                  </a:lnTo>
                  <a:lnTo>
                    <a:pt x="10839" y="2428"/>
                  </a:lnTo>
                  <a:lnTo>
                    <a:pt x="10839" y="2219"/>
                  </a:lnTo>
                  <a:lnTo>
                    <a:pt x="10985" y="2051"/>
                  </a:lnTo>
                  <a:lnTo>
                    <a:pt x="11111" y="2030"/>
                  </a:lnTo>
                  <a:lnTo>
                    <a:pt x="11194" y="1926"/>
                  </a:lnTo>
                  <a:lnTo>
                    <a:pt x="11194" y="1779"/>
                  </a:lnTo>
                  <a:lnTo>
                    <a:pt x="11299" y="1738"/>
                  </a:lnTo>
                  <a:lnTo>
                    <a:pt x="11404" y="1800"/>
                  </a:lnTo>
                  <a:lnTo>
                    <a:pt x="11487" y="1717"/>
                  </a:lnTo>
                  <a:lnTo>
                    <a:pt x="11487" y="1591"/>
                  </a:lnTo>
                  <a:lnTo>
                    <a:pt x="11425" y="1591"/>
                  </a:lnTo>
                  <a:lnTo>
                    <a:pt x="11362" y="1507"/>
                  </a:lnTo>
                  <a:lnTo>
                    <a:pt x="11299" y="1507"/>
                  </a:lnTo>
                  <a:lnTo>
                    <a:pt x="11278" y="1528"/>
                  </a:lnTo>
                  <a:lnTo>
                    <a:pt x="11278" y="1612"/>
                  </a:lnTo>
                  <a:lnTo>
                    <a:pt x="11215" y="1570"/>
                  </a:lnTo>
                  <a:lnTo>
                    <a:pt x="11194" y="1507"/>
                  </a:lnTo>
                  <a:lnTo>
                    <a:pt x="11153" y="1507"/>
                  </a:lnTo>
                  <a:lnTo>
                    <a:pt x="11153" y="1570"/>
                  </a:lnTo>
                  <a:lnTo>
                    <a:pt x="11111" y="1696"/>
                  </a:lnTo>
                  <a:lnTo>
                    <a:pt x="11090" y="1654"/>
                  </a:lnTo>
                  <a:lnTo>
                    <a:pt x="11048" y="1591"/>
                  </a:lnTo>
                  <a:lnTo>
                    <a:pt x="10964" y="1633"/>
                  </a:lnTo>
                  <a:lnTo>
                    <a:pt x="10943" y="1696"/>
                  </a:lnTo>
                  <a:lnTo>
                    <a:pt x="10901" y="1612"/>
                  </a:lnTo>
                  <a:lnTo>
                    <a:pt x="10881" y="1486"/>
                  </a:lnTo>
                  <a:lnTo>
                    <a:pt x="10839" y="1486"/>
                  </a:lnTo>
                  <a:lnTo>
                    <a:pt x="10776" y="1361"/>
                  </a:lnTo>
                  <a:lnTo>
                    <a:pt x="10734" y="1319"/>
                  </a:lnTo>
                  <a:lnTo>
                    <a:pt x="10650" y="1319"/>
                  </a:lnTo>
                  <a:lnTo>
                    <a:pt x="10567" y="1298"/>
                  </a:lnTo>
                  <a:lnTo>
                    <a:pt x="10420" y="1277"/>
                  </a:lnTo>
                  <a:lnTo>
                    <a:pt x="10357" y="1193"/>
                  </a:lnTo>
                  <a:lnTo>
                    <a:pt x="10378" y="1173"/>
                  </a:lnTo>
                  <a:lnTo>
                    <a:pt x="10546" y="1214"/>
                  </a:lnTo>
                  <a:lnTo>
                    <a:pt x="10692" y="1193"/>
                  </a:lnTo>
                  <a:lnTo>
                    <a:pt x="10797" y="1214"/>
                  </a:lnTo>
                  <a:lnTo>
                    <a:pt x="11048" y="1256"/>
                  </a:lnTo>
                  <a:lnTo>
                    <a:pt x="11194" y="1193"/>
                  </a:lnTo>
                  <a:lnTo>
                    <a:pt x="11299" y="984"/>
                  </a:lnTo>
                  <a:lnTo>
                    <a:pt x="11508" y="942"/>
                  </a:lnTo>
                  <a:lnTo>
                    <a:pt x="11613" y="859"/>
                  </a:lnTo>
                  <a:lnTo>
                    <a:pt x="11613" y="838"/>
                  </a:lnTo>
                  <a:lnTo>
                    <a:pt x="11529" y="796"/>
                  </a:lnTo>
                  <a:lnTo>
                    <a:pt x="11508" y="754"/>
                  </a:lnTo>
                  <a:lnTo>
                    <a:pt x="11425" y="733"/>
                  </a:lnTo>
                  <a:lnTo>
                    <a:pt x="11320" y="754"/>
                  </a:lnTo>
                  <a:lnTo>
                    <a:pt x="11194" y="608"/>
                  </a:lnTo>
                  <a:lnTo>
                    <a:pt x="11111" y="608"/>
                  </a:lnTo>
                  <a:lnTo>
                    <a:pt x="11006" y="733"/>
                  </a:lnTo>
                  <a:lnTo>
                    <a:pt x="10964" y="733"/>
                  </a:lnTo>
                  <a:lnTo>
                    <a:pt x="10943" y="691"/>
                  </a:lnTo>
                  <a:lnTo>
                    <a:pt x="11048" y="649"/>
                  </a:lnTo>
                  <a:lnTo>
                    <a:pt x="11048" y="566"/>
                  </a:lnTo>
                  <a:lnTo>
                    <a:pt x="10943" y="524"/>
                  </a:lnTo>
                  <a:lnTo>
                    <a:pt x="10901" y="482"/>
                  </a:lnTo>
                  <a:lnTo>
                    <a:pt x="10839" y="482"/>
                  </a:lnTo>
                  <a:lnTo>
                    <a:pt x="10776" y="608"/>
                  </a:lnTo>
                  <a:lnTo>
                    <a:pt x="10734" y="608"/>
                  </a:lnTo>
                  <a:lnTo>
                    <a:pt x="10734" y="524"/>
                  </a:lnTo>
                  <a:lnTo>
                    <a:pt x="10671" y="545"/>
                  </a:lnTo>
                  <a:lnTo>
                    <a:pt x="10650" y="587"/>
                  </a:lnTo>
                  <a:lnTo>
                    <a:pt x="10588" y="587"/>
                  </a:lnTo>
                  <a:lnTo>
                    <a:pt x="10567" y="545"/>
                  </a:lnTo>
                  <a:lnTo>
                    <a:pt x="10650" y="482"/>
                  </a:lnTo>
                  <a:lnTo>
                    <a:pt x="10650" y="419"/>
                  </a:lnTo>
                  <a:lnTo>
                    <a:pt x="10546" y="357"/>
                  </a:lnTo>
                  <a:lnTo>
                    <a:pt x="10420" y="357"/>
                  </a:lnTo>
                  <a:lnTo>
                    <a:pt x="10357" y="377"/>
                  </a:lnTo>
                  <a:lnTo>
                    <a:pt x="10337" y="545"/>
                  </a:lnTo>
                  <a:lnTo>
                    <a:pt x="10253" y="587"/>
                  </a:lnTo>
                  <a:lnTo>
                    <a:pt x="10253" y="649"/>
                  </a:lnTo>
                  <a:lnTo>
                    <a:pt x="10316" y="796"/>
                  </a:lnTo>
                  <a:lnTo>
                    <a:pt x="10316" y="880"/>
                  </a:lnTo>
                  <a:lnTo>
                    <a:pt x="10253" y="942"/>
                  </a:lnTo>
                  <a:lnTo>
                    <a:pt x="10211" y="838"/>
                  </a:lnTo>
                  <a:lnTo>
                    <a:pt x="10127" y="838"/>
                  </a:lnTo>
                  <a:lnTo>
                    <a:pt x="10127" y="859"/>
                  </a:lnTo>
                  <a:lnTo>
                    <a:pt x="10023" y="838"/>
                  </a:lnTo>
                  <a:lnTo>
                    <a:pt x="9897" y="901"/>
                  </a:lnTo>
                  <a:lnTo>
                    <a:pt x="9897" y="901"/>
                  </a:lnTo>
                  <a:lnTo>
                    <a:pt x="10002" y="754"/>
                  </a:lnTo>
                  <a:lnTo>
                    <a:pt x="10065" y="733"/>
                  </a:lnTo>
                  <a:lnTo>
                    <a:pt x="10127" y="608"/>
                  </a:lnTo>
                  <a:lnTo>
                    <a:pt x="10127" y="566"/>
                  </a:lnTo>
                  <a:lnTo>
                    <a:pt x="10065" y="566"/>
                  </a:lnTo>
                  <a:lnTo>
                    <a:pt x="9960" y="649"/>
                  </a:lnTo>
                  <a:lnTo>
                    <a:pt x="9897" y="649"/>
                  </a:lnTo>
                  <a:lnTo>
                    <a:pt x="9918" y="587"/>
                  </a:lnTo>
                  <a:lnTo>
                    <a:pt x="10002" y="524"/>
                  </a:lnTo>
                  <a:lnTo>
                    <a:pt x="10002" y="482"/>
                  </a:lnTo>
                  <a:lnTo>
                    <a:pt x="9897" y="461"/>
                  </a:lnTo>
                  <a:lnTo>
                    <a:pt x="9855" y="419"/>
                  </a:lnTo>
                  <a:lnTo>
                    <a:pt x="9960" y="377"/>
                  </a:lnTo>
                  <a:lnTo>
                    <a:pt x="10002" y="419"/>
                  </a:lnTo>
                  <a:lnTo>
                    <a:pt x="10127" y="419"/>
                  </a:lnTo>
                  <a:lnTo>
                    <a:pt x="10169" y="231"/>
                  </a:lnTo>
                  <a:lnTo>
                    <a:pt x="10169" y="168"/>
                  </a:lnTo>
                  <a:lnTo>
                    <a:pt x="10044" y="210"/>
                  </a:lnTo>
                  <a:lnTo>
                    <a:pt x="10002" y="147"/>
                  </a:lnTo>
                  <a:lnTo>
                    <a:pt x="10023" y="64"/>
                  </a:lnTo>
                  <a:lnTo>
                    <a:pt x="10002" y="1"/>
                  </a:lnTo>
                  <a:lnTo>
                    <a:pt x="9918" y="64"/>
                  </a:lnTo>
                  <a:lnTo>
                    <a:pt x="9855" y="64"/>
                  </a:lnTo>
                  <a:lnTo>
                    <a:pt x="979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 name="Google Shape;5937;p93">
              <a:extLst>
                <a:ext uri="{FF2B5EF4-FFF2-40B4-BE49-F238E27FC236}">
                  <a16:creationId xmlns:a16="http://schemas.microsoft.com/office/drawing/2014/main" id="{9C0FEE58-7AF5-466C-AB77-3BDB6D1E05C1}"/>
                </a:ext>
              </a:extLst>
            </p:cNvPr>
            <p:cNvSpPr/>
            <p:nvPr/>
          </p:nvSpPr>
          <p:spPr>
            <a:xfrm>
              <a:off x="3810372" y="2589242"/>
              <a:ext cx="68528" cy="147786"/>
            </a:xfrm>
            <a:custGeom>
              <a:avLst/>
              <a:gdLst/>
              <a:ahLst/>
              <a:cxnLst/>
              <a:rect l="l" t="t" r="r" b="b"/>
              <a:pathLst>
                <a:path w="5755" h="12995" extrusionOk="0">
                  <a:moveTo>
                    <a:pt x="3788" y="1"/>
                  </a:moveTo>
                  <a:lnTo>
                    <a:pt x="3725" y="21"/>
                  </a:lnTo>
                  <a:lnTo>
                    <a:pt x="3599" y="63"/>
                  </a:lnTo>
                  <a:lnTo>
                    <a:pt x="3474" y="1"/>
                  </a:lnTo>
                  <a:lnTo>
                    <a:pt x="3474" y="1"/>
                  </a:lnTo>
                  <a:lnTo>
                    <a:pt x="3495" y="105"/>
                  </a:lnTo>
                  <a:lnTo>
                    <a:pt x="3578" y="147"/>
                  </a:lnTo>
                  <a:lnTo>
                    <a:pt x="3599" y="293"/>
                  </a:lnTo>
                  <a:lnTo>
                    <a:pt x="3516" y="335"/>
                  </a:lnTo>
                  <a:lnTo>
                    <a:pt x="3495" y="524"/>
                  </a:lnTo>
                  <a:lnTo>
                    <a:pt x="3558" y="607"/>
                  </a:lnTo>
                  <a:lnTo>
                    <a:pt x="3558" y="754"/>
                  </a:lnTo>
                  <a:lnTo>
                    <a:pt x="3495" y="712"/>
                  </a:lnTo>
                  <a:lnTo>
                    <a:pt x="3453" y="733"/>
                  </a:lnTo>
                  <a:lnTo>
                    <a:pt x="3369" y="670"/>
                  </a:lnTo>
                  <a:lnTo>
                    <a:pt x="3244" y="649"/>
                  </a:lnTo>
                  <a:lnTo>
                    <a:pt x="3139" y="586"/>
                  </a:lnTo>
                  <a:lnTo>
                    <a:pt x="2951" y="524"/>
                  </a:lnTo>
                  <a:lnTo>
                    <a:pt x="2825" y="607"/>
                  </a:lnTo>
                  <a:lnTo>
                    <a:pt x="2637" y="607"/>
                  </a:lnTo>
                  <a:lnTo>
                    <a:pt x="2574" y="628"/>
                  </a:lnTo>
                  <a:lnTo>
                    <a:pt x="2679" y="796"/>
                  </a:lnTo>
                  <a:lnTo>
                    <a:pt x="2658" y="837"/>
                  </a:lnTo>
                  <a:lnTo>
                    <a:pt x="2658" y="921"/>
                  </a:lnTo>
                  <a:lnTo>
                    <a:pt x="2574" y="963"/>
                  </a:lnTo>
                  <a:lnTo>
                    <a:pt x="2658" y="1068"/>
                  </a:lnTo>
                  <a:lnTo>
                    <a:pt x="2553" y="1172"/>
                  </a:lnTo>
                  <a:lnTo>
                    <a:pt x="2511" y="1172"/>
                  </a:lnTo>
                  <a:lnTo>
                    <a:pt x="2428" y="1130"/>
                  </a:lnTo>
                  <a:lnTo>
                    <a:pt x="2323" y="1047"/>
                  </a:lnTo>
                  <a:lnTo>
                    <a:pt x="2198" y="1151"/>
                  </a:lnTo>
                  <a:lnTo>
                    <a:pt x="2114" y="1340"/>
                  </a:lnTo>
                  <a:lnTo>
                    <a:pt x="2030" y="1381"/>
                  </a:lnTo>
                  <a:lnTo>
                    <a:pt x="1988" y="1528"/>
                  </a:lnTo>
                  <a:lnTo>
                    <a:pt x="1926" y="1633"/>
                  </a:lnTo>
                  <a:lnTo>
                    <a:pt x="1842" y="1653"/>
                  </a:lnTo>
                  <a:lnTo>
                    <a:pt x="1842" y="1905"/>
                  </a:lnTo>
                  <a:lnTo>
                    <a:pt x="1905" y="1988"/>
                  </a:lnTo>
                  <a:lnTo>
                    <a:pt x="1988" y="2177"/>
                  </a:lnTo>
                  <a:lnTo>
                    <a:pt x="1926" y="2302"/>
                  </a:lnTo>
                  <a:lnTo>
                    <a:pt x="1779" y="2511"/>
                  </a:lnTo>
                  <a:lnTo>
                    <a:pt x="1612" y="2804"/>
                  </a:lnTo>
                  <a:lnTo>
                    <a:pt x="1591" y="2930"/>
                  </a:lnTo>
                  <a:lnTo>
                    <a:pt x="1507" y="3014"/>
                  </a:lnTo>
                  <a:lnTo>
                    <a:pt x="1298" y="3034"/>
                  </a:lnTo>
                  <a:lnTo>
                    <a:pt x="1110" y="3139"/>
                  </a:lnTo>
                  <a:lnTo>
                    <a:pt x="1110" y="3265"/>
                  </a:lnTo>
                  <a:lnTo>
                    <a:pt x="1193" y="3348"/>
                  </a:lnTo>
                  <a:lnTo>
                    <a:pt x="1193" y="3516"/>
                  </a:lnTo>
                  <a:lnTo>
                    <a:pt x="1151" y="3662"/>
                  </a:lnTo>
                  <a:lnTo>
                    <a:pt x="1089" y="3934"/>
                  </a:lnTo>
                  <a:lnTo>
                    <a:pt x="1089" y="4185"/>
                  </a:lnTo>
                  <a:lnTo>
                    <a:pt x="879" y="4687"/>
                  </a:lnTo>
                  <a:lnTo>
                    <a:pt x="879" y="4813"/>
                  </a:lnTo>
                  <a:lnTo>
                    <a:pt x="942" y="4897"/>
                  </a:lnTo>
                  <a:lnTo>
                    <a:pt x="963" y="5127"/>
                  </a:lnTo>
                  <a:lnTo>
                    <a:pt x="858" y="5252"/>
                  </a:lnTo>
                  <a:lnTo>
                    <a:pt x="649" y="5231"/>
                  </a:lnTo>
                  <a:lnTo>
                    <a:pt x="482" y="5211"/>
                  </a:lnTo>
                  <a:lnTo>
                    <a:pt x="377" y="5294"/>
                  </a:lnTo>
                  <a:lnTo>
                    <a:pt x="252" y="5524"/>
                  </a:lnTo>
                  <a:lnTo>
                    <a:pt x="210" y="5755"/>
                  </a:lnTo>
                  <a:lnTo>
                    <a:pt x="252" y="6068"/>
                  </a:lnTo>
                  <a:lnTo>
                    <a:pt x="314" y="6361"/>
                  </a:lnTo>
                  <a:lnTo>
                    <a:pt x="252" y="6550"/>
                  </a:lnTo>
                  <a:lnTo>
                    <a:pt x="314" y="6696"/>
                  </a:lnTo>
                  <a:lnTo>
                    <a:pt x="335" y="6926"/>
                  </a:lnTo>
                  <a:lnTo>
                    <a:pt x="314" y="7135"/>
                  </a:lnTo>
                  <a:lnTo>
                    <a:pt x="314" y="7345"/>
                  </a:lnTo>
                  <a:lnTo>
                    <a:pt x="461" y="7449"/>
                  </a:lnTo>
                  <a:lnTo>
                    <a:pt x="670" y="7659"/>
                  </a:lnTo>
                  <a:lnTo>
                    <a:pt x="628" y="7805"/>
                  </a:lnTo>
                  <a:lnTo>
                    <a:pt x="628" y="7972"/>
                  </a:lnTo>
                  <a:lnTo>
                    <a:pt x="356" y="8056"/>
                  </a:lnTo>
                  <a:lnTo>
                    <a:pt x="335" y="8161"/>
                  </a:lnTo>
                  <a:lnTo>
                    <a:pt x="461" y="8370"/>
                  </a:lnTo>
                  <a:lnTo>
                    <a:pt x="482" y="8642"/>
                  </a:lnTo>
                  <a:lnTo>
                    <a:pt x="565" y="8768"/>
                  </a:lnTo>
                  <a:lnTo>
                    <a:pt x="482" y="8914"/>
                  </a:lnTo>
                  <a:lnTo>
                    <a:pt x="482" y="9040"/>
                  </a:lnTo>
                  <a:lnTo>
                    <a:pt x="461" y="9123"/>
                  </a:lnTo>
                  <a:lnTo>
                    <a:pt x="273" y="9165"/>
                  </a:lnTo>
                  <a:lnTo>
                    <a:pt x="231" y="9228"/>
                  </a:lnTo>
                  <a:lnTo>
                    <a:pt x="314" y="9332"/>
                  </a:lnTo>
                  <a:lnTo>
                    <a:pt x="231" y="9395"/>
                  </a:lnTo>
                  <a:lnTo>
                    <a:pt x="168" y="9479"/>
                  </a:lnTo>
                  <a:lnTo>
                    <a:pt x="252" y="9625"/>
                  </a:lnTo>
                  <a:lnTo>
                    <a:pt x="273" y="10002"/>
                  </a:lnTo>
                  <a:lnTo>
                    <a:pt x="231" y="10086"/>
                  </a:lnTo>
                  <a:lnTo>
                    <a:pt x="147" y="10002"/>
                  </a:lnTo>
                  <a:lnTo>
                    <a:pt x="63" y="9939"/>
                  </a:lnTo>
                  <a:lnTo>
                    <a:pt x="63" y="9960"/>
                  </a:lnTo>
                  <a:lnTo>
                    <a:pt x="1" y="10023"/>
                  </a:lnTo>
                  <a:lnTo>
                    <a:pt x="21" y="10253"/>
                  </a:lnTo>
                  <a:lnTo>
                    <a:pt x="42" y="10337"/>
                  </a:lnTo>
                  <a:lnTo>
                    <a:pt x="63" y="10525"/>
                  </a:lnTo>
                  <a:lnTo>
                    <a:pt x="147" y="10546"/>
                  </a:lnTo>
                  <a:lnTo>
                    <a:pt x="168" y="10588"/>
                  </a:lnTo>
                  <a:lnTo>
                    <a:pt x="147" y="10734"/>
                  </a:lnTo>
                  <a:lnTo>
                    <a:pt x="273" y="10672"/>
                  </a:lnTo>
                  <a:lnTo>
                    <a:pt x="210" y="10567"/>
                  </a:lnTo>
                  <a:lnTo>
                    <a:pt x="231" y="10483"/>
                  </a:lnTo>
                  <a:lnTo>
                    <a:pt x="273" y="10483"/>
                  </a:lnTo>
                  <a:lnTo>
                    <a:pt x="252" y="10546"/>
                  </a:lnTo>
                  <a:lnTo>
                    <a:pt x="335" y="10588"/>
                  </a:lnTo>
                  <a:lnTo>
                    <a:pt x="377" y="10672"/>
                  </a:lnTo>
                  <a:lnTo>
                    <a:pt x="252" y="10755"/>
                  </a:lnTo>
                  <a:lnTo>
                    <a:pt x="231" y="10860"/>
                  </a:lnTo>
                  <a:lnTo>
                    <a:pt x="273" y="10944"/>
                  </a:lnTo>
                  <a:lnTo>
                    <a:pt x="252" y="11069"/>
                  </a:lnTo>
                  <a:lnTo>
                    <a:pt x="210" y="11111"/>
                  </a:lnTo>
                  <a:lnTo>
                    <a:pt x="273" y="11216"/>
                  </a:lnTo>
                  <a:lnTo>
                    <a:pt x="356" y="11257"/>
                  </a:lnTo>
                  <a:lnTo>
                    <a:pt x="440" y="11383"/>
                  </a:lnTo>
                  <a:lnTo>
                    <a:pt x="482" y="11425"/>
                  </a:lnTo>
                  <a:lnTo>
                    <a:pt x="586" y="11634"/>
                  </a:lnTo>
                  <a:lnTo>
                    <a:pt x="586" y="11801"/>
                  </a:lnTo>
                  <a:lnTo>
                    <a:pt x="733" y="11843"/>
                  </a:lnTo>
                  <a:lnTo>
                    <a:pt x="754" y="11948"/>
                  </a:lnTo>
                  <a:lnTo>
                    <a:pt x="858" y="12094"/>
                  </a:lnTo>
                  <a:lnTo>
                    <a:pt x="984" y="12011"/>
                  </a:lnTo>
                  <a:lnTo>
                    <a:pt x="1005" y="12136"/>
                  </a:lnTo>
                  <a:lnTo>
                    <a:pt x="942" y="12304"/>
                  </a:lnTo>
                  <a:lnTo>
                    <a:pt x="775" y="12325"/>
                  </a:lnTo>
                  <a:lnTo>
                    <a:pt x="754" y="12366"/>
                  </a:lnTo>
                  <a:lnTo>
                    <a:pt x="838" y="12429"/>
                  </a:lnTo>
                  <a:lnTo>
                    <a:pt x="858" y="12534"/>
                  </a:lnTo>
                  <a:lnTo>
                    <a:pt x="984" y="12555"/>
                  </a:lnTo>
                  <a:lnTo>
                    <a:pt x="1047" y="12848"/>
                  </a:lnTo>
                  <a:lnTo>
                    <a:pt x="963" y="12952"/>
                  </a:lnTo>
                  <a:lnTo>
                    <a:pt x="1005" y="12994"/>
                  </a:lnTo>
                  <a:lnTo>
                    <a:pt x="1151" y="12994"/>
                  </a:lnTo>
                  <a:lnTo>
                    <a:pt x="1423" y="12931"/>
                  </a:lnTo>
                  <a:lnTo>
                    <a:pt x="1570" y="12973"/>
                  </a:lnTo>
                  <a:lnTo>
                    <a:pt x="1695" y="12869"/>
                  </a:lnTo>
                  <a:lnTo>
                    <a:pt x="1674" y="12764"/>
                  </a:lnTo>
                  <a:lnTo>
                    <a:pt x="1612" y="12701"/>
                  </a:lnTo>
                  <a:lnTo>
                    <a:pt x="1695" y="12534"/>
                  </a:lnTo>
                  <a:lnTo>
                    <a:pt x="1884" y="12513"/>
                  </a:lnTo>
                  <a:lnTo>
                    <a:pt x="1905" y="12325"/>
                  </a:lnTo>
                  <a:lnTo>
                    <a:pt x="1926" y="12408"/>
                  </a:lnTo>
                  <a:lnTo>
                    <a:pt x="2135" y="12450"/>
                  </a:lnTo>
                  <a:lnTo>
                    <a:pt x="2260" y="12366"/>
                  </a:lnTo>
                  <a:lnTo>
                    <a:pt x="2365" y="12429"/>
                  </a:lnTo>
                  <a:lnTo>
                    <a:pt x="2449" y="12513"/>
                  </a:lnTo>
                  <a:lnTo>
                    <a:pt x="2553" y="12345"/>
                  </a:lnTo>
                  <a:lnTo>
                    <a:pt x="2616" y="12115"/>
                  </a:lnTo>
                  <a:lnTo>
                    <a:pt x="2679" y="12032"/>
                  </a:lnTo>
                  <a:lnTo>
                    <a:pt x="2721" y="11739"/>
                  </a:lnTo>
                  <a:lnTo>
                    <a:pt x="2762" y="11634"/>
                  </a:lnTo>
                  <a:lnTo>
                    <a:pt x="2658" y="11571"/>
                  </a:lnTo>
                  <a:lnTo>
                    <a:pt x="2679" y="11467"/>
                  </a:lnTo>
                  <a:lnTo>
                    <a:pt x="2783" y="11320"/>
                  </a:lnTo>
                  <a:lnTo>
                    <a:pt x="2679" y="11216"/>
                  </a:lnTo>
                  <a:lnTo>
                    <a:pt x="2783" y="11111"/>
                  </a:lnTo>
                  <a:lnTo>
                    <a:pt x="2658" y="11048"/>
                  </a:lnTo>
                  <a:lnTo>
                    <a:pt x="2721" y="10965"/>
                  </a:lnTo>
                  <a:lnTo>
                    <a:pt x="2658" y="10839"/>
                  </a:lnTo>
                  <a:lnTo>
                    <a:pt x="2762" y="10881"/>
                  </a:lnTo>
                  <a:lnTo>
                    <a:pt x="2930" y="10860"/>
                  </a:lnTo>
                  <a:lnTo>
                    <a:pt x="2783" y="10755"/>
                  </a:lnTo>
                  <a:lnTo>
                    <a:pt x="2846" y="10609"/>
                  </a:lnTo>
                  <a:lnTo>
                    <a:pt x="2846" y="10546"/>
                  </a:lnTo>
                  <a:lnTo>
                    <a:pt x="2658" y="10483"/>
                  </a:lnTo>
                  <a:lnTo>
                    <a:pt x="2888" y="10483"/>
                  </a:lnTo>
                  <a:lnTo>
                    <a:pt x="2762" y="10358"/>
                  </a:lnTo>
                  <a:lnTo>
                    <a:pt x="2679" y="10358"/>
                  </a:lnTo>
                  <a:lnTo>
                    <a:pt x="2742" y="10274"/>
                  </a:lnTo>
                  <a:lnTo>
                    <a:pt x="2783" y="10274"/>
                  </a:lnTo>
                  <a:lnTo>
                    <a:pt x="2825" y="10316"/>
                  </a:lnTo>
                  <a:lnTo>
                    <a:pt x="2888" y="10232"/>
                  </a:lnTo>
                  <a:lnTo>
                    <a:pt x="2867" y="10148"/>
                  </a:lnTo>
                  <a:lnTo>
                    <a:pt x="2972" y="10232"/>
                  </a:lnTo>
                  <a:lnTo>
                    <a:pt x="2993" y="10128"/>
                  </a:lnTo>
                  <a:lnTo>
                    <a:pt x="3076" y="10023"/>
                  </a:lnTo>
                  <a:lnTo>
                    <a:pt x="3160" y="10023"/>
                  </a:lnTo>
                  <a:lnTo>
                    <a:pt x="3139" y="9939"/>
                  </a:lnTo>
                  <a:lnTo>
                    <a:pt x="3181" y="9897"/>
                  </a:lnTo>
                  <a:lnTo>
                    <a:pt x="3202" y="9939"/>
                  </a:lnTo>
                  <a:lnTo>
                    <a:pt x="3181" y="10044"/>
                  </a:lnTo>
                  <a:lnTo>
                    <a:pt x="3265" y="10044"/>
                  </a:lnTo>
                  <a:lnTo>
                    <a:pt x="3369" y="9897"/>
                  </a:lnTo>
                  <a:lnTo>
                    <a:pt x="3453" y="9897"/>
                  </a:lnTo>
                  <a:lnTo>
                    <a:pt x="3516" y="9835"/>
                  </a:lnTo>
                  <a:lnTo>
                    <a:pt x="3495" y="9730"/>
                  </a:lnTo>
                  <a:lnTo>
                    <a:pt x="3411" y="9646"/>
                  </a:lnTo>
                  <a:lnTo>
                    <a:pt x="3286" y="9625"/>
                  </a:lnTo>
                  <a:lnTo>
                    <a:pt x="3181" y="9688"/>
                  </a:lnTo>
                  <a:lnTo>
                    <a:pt x="3139" y="9646"/>
                  </a:lnTo>
                  <a:lnTo>
                    <a:pt x="3055" y="9709"/>
                  </a:lnTo>
                  <a:lnTo>
                    <a:pt x="2972" y="9604"/>
                  </a:lnTo>
                  <a:lnTo>
                    <a:pt x="2846" y="9563"/>
                  </a:lnTo>
                  <a:lnTo>
                    <a:pt x="2762" y="9521"/>
                  </a:lnTo>
                  <a:lnTo>
                    <a:pt x="2616" y="9542"/>
                  </a:lnTo>
                  <a:lnTo>
                    <a:pt x="2616" y="9604"/>
                  </a:lnTo>
                  <a:lnTo>
                    <a:pt x="2553" y="9542"/>
                  </a:lnTo>
                  <a:lnTo>
                    <a:pt x="2407" y="9542"/>
                  </a:lnTo>
                  <a:lnTo>
                    <a:pt x="2365" y="9500"/>
                  </a:lnTo>
                  <a:lnTo>
                    <a:pt x="2470" y="9479"/>
                  </a:lnTo>
                  <a:lnTo>
                    <a:pt x="2553" y="9521"/>
                  </a:lnTo>
                  <a:lnTo>
                    <a:pt x="2637" y="9395"/>
                  </a:lnTo>
                  <a:lnTo>
                    <a:pt x="2679" y="9437"/>
                  </a:lnTo>
                  <a:lnTo>
                    <a:pt x="2783" y="9416"/>
                  </a:lnTo>
                  <a:lnTo>
                    <a:pt x="2825" y="9332"/>
                  </a:lnTo>
                  <a:lnTo>
                    <a:pt x="2930" y="9374"/>
                  </a:lnTo>
                  <a:lnTo>
                    <a:pt x="2972" y="9416"/>
                  </a:lnTo>
                  <a:lnTo>
                    <a:pt x="3034" y="9416"/>
                  </a:lnTo>
                  <a:lnTo>
                    <a:pt x="3055" y="9332"/>
                  </a:lnTo>
                  <a:lnTo>
                    <a:pt x="3097" y="9416"/>
                  </a:lnTo>
                  <a:lnTo>
                    <a:pt x="3244" y="9437"/>
                  </a:lnTo>
                  <a:lnTo>
                    <a:pt x="3202" y="9521"/>
                  </a:lnTo>
                  <a:lnTo>
                    <a:pt x="3306" y="9563"/>
                  </a:lnTo>
                  <a:lnTo>
                    <a:pt x="3474" y="9542"/>
                  </a:lnTo>
                  <a:lnTo>
                    <a:pt x="3495" y="9416"/>
                  </a:lnTo>
                  <a:lnTo>
                    <a:pt x="3662" y="9270"/>
                  </a:lnTo>
                  <a:lnTo>
                    <a:pt x="3725" y="9102"/>
                  </a:lnTo>
                  <a:lnTo>
                    <a:pt x="3599" y="8977"/>
                  </a:lnTo>
                  <a:lnTo>
                    <a:pt x="3599" y="8893"/>
                  </a:lnTo>
                  <a:lnTo>
                    <a:pt x="3453" y="8788"/>
                  </a:lnTo>
                  <a:lnTo>
                    <a:pt x="3474" y="8747"/>
                  </a:lnTo>
                  <a:lnTo>
                    <a:pt x="3265" y="8579"/>
                  </a:lnTo>
                  <a:lnTo>
                    <a:pt x="3244" y="8475"/>
                  </a:lnTo>
                  <a:lnTo>
                    <a:pt x="3160" y="8391"/>
                  </a:lnTo>
                  <a:lnTo>
                    <a:pt x="3055" y="8516"/>
                  </a:lnTo>
                  <a:lnTo>
                    <a:pt x="2993" y="8433"/>
                  </a:lnTo>
                  <a:lnTo>
                    <a:pt x="2951" y="8454"/>
                  </a:lnTo>
                  <a:lnTo>
                    <a:pt x="2951" y="8349"/>
                  </a:lnTo>
                  <a:lnTo>
                    <a:pt x="2867" y="8349"/>
                  </a:lnTo>
                  <a:lnTo>
                    <a:pt x="2825" y="8244"/>
                  </a:lnTo>
                  <a:lnTo>
                    <a:pt x="2742" y="8182"/>
                  </a:lnTo>
                  <a:lnTo>
                    <a:pt x="2825" y="8077"/>
                  </a:lnTo>
                  <a:lnTo>
                    <a:pt x="2762" y="7952"/>
                  </a:lnTo>
                  <a:lnTo>
                    <a:pt x="2825" y="7931"/>
                  </a:lnTo>
                  <a:lnTo>
                    <a:pt x="2825" y="7847"/>
                  </a:lnTo>
                  <a:lnTo>
                    <a:pt x="2742" y="7826"/>
                  </a:lnTo>
                  <a:lnTo>
                    <a:pt x="2825" y="7721"/>
                  </a:lnTo>
                  <a:lnTo>
                    <a:pt x="2783" y="7533"/>
                  </a:lnTo>
                  <a:lnTo>
                    <a:pt x="2825" y="7512"/>
                  </a:lnTo>
                  <a:lnTo>
                    <a:pt x="2867" y="7554"/>
                  </a:lnTo>
                  <a:lnTo>
                    <a:pt x="2888" y="7449"/>
                  </a:lnTo>
                  <a:lnTo>
                    <a:pt x="2825" y="7345"/>
                  </a:lnTo>
                  <a:lnTo>
                    <a:pt x="2846" y="7198"/>
                  </a:lnTo>
                  <a:lnTo>
                    <a:pt x="2825" y="7073"/>
                  </a:lnTo>
                  <a:lnTo>
                    <a:pt x="2846" y="7010"/>
                  </a:lnTo>
                  <a:lnTo>
                    <a:pt x="2825" y="6884"/>
                  </a:lnTo>
                  <a:lnTo>
                    <a:pt x="2679" y="6696"/>
                  </a:lnTo>
                  <a:lnTo>
                    <a:pt x="2679" y="6696"/>
                  </a:lnTo>
                  <a:lnTo>
                    <a:pt x="2783" y="6759"/>
                  </a:lnTo>
                  <a:lnTo>
                    <a:pt x="2951" y="6717"/>
                  </a:lnTo>
                  <a:lnTo>
                    <a:pt x="3055" y="6571"/>
                  </a:lnTo>
                  <a:lnTo>
                    <a:pt x="2993" y="6466"/>
                  </a:lnTo>
                  <a:lnTo>
                    <a:pt x="3034" y="6403"/>
                  </a:lnTo>
                  <a:lnTo>
                    <a:pt x="3139" y="6424"/>
                  </a:lnTo>
                  <a:lnTo>
                    <a:pt x="3286" y="6299"/>
                  </a:lnTo>
                  <a:lnTo>
                    <a:pt x="3286" y="6236"/>
                  </a:lnTo>
                  <a:lnTo>
                    <a:pt x="3202" y="6236"/>
                  </a:lnTo>
                  <a:lnTo>
                    <a:pt x="3265" y="6131"/>
                  </a:lnTo>
                  <a:lnTo>
                    <a:pt x="3348" y="6047"/>
                  </a:lnTo>
                  <a:lnTo>
                    <a:pt x="3390" y="6089"/>
                  </a:lnTo>
                  <a:lnTo>
                    <a:pt x="3453" y="6089"/>
                  </a:lnTo>
                  <a:lnTo>
                    <a:pt x="3474" y="5964"/>
                  </a:lnTo>
                  <a:lnTo>
                    <a:pt x="3516" y="5964"/>
                  </a:lnTo>
                  <a:lnTo>
                    <a:pt x="3558" y="6047"/>
                  </a:lnTo>
                  <a:lnTo>
                    <a:pt x="3620" y="5964"/>
                  </a:lnTo>
                  <a:lnTo>
                    <a:pt x="3620" y="5838"/>
                  </a:lnTo>
                  <a:lnTo>
                    <a:pt x="3683" y="5734"/>
                  </a:lnTo>
                  <a:lnTo>
                    <a:pt x="3788" y="5734"/>
                  </a:lnTo>
                  <a:lnTo>
                    <a:pt x="3788" y="5817"/>
                  </a:lnTo>
                  <a:lnTo>
                    <a:pt x="3871" y="5817"/>
                  </a:lnTo>
                  <a:lnTo>
                    <a:pt x="3913" y="5713"/>
                  </a:lnTo>
                  <a:lnTo>
                    <a:pt x="4039" y="5629"/>
                  </a:lnTo>
                  <a:lnTo>
                    <a:pt x="4018" y="5524"/>
                  </a:lnTo>
                  <a:lnTo>
                    <a:pt x="4018" y="5420"/>
                  </a:lnTo>
                  <a:lnTo>
                    <a:pt x="4102" y="5503"/>
                  </a:lnTo>
                  <a:lnTo>
                    <a:pt x="4206" y="5378"/>
                  </a:lnTo>
                  <a:lnTo>
                    <a:pt x="4290" y="5378"/>
                  </a:lnTo>
                  <a:lnTo>
                    <a:pt x="4395" y="5190"/>
                  </a:lnTo>
                  <a:lnTo>
                    <a:pt x="4395" y="5001"/>
                  </a:lnTo>
                  <a:lnTo>
                    <a:pt x="4457" y="4897"/>
                  </a:lnTo>
                  <a:lnTo>
                    <a:pt x="4541" y="4897"/>
                  </a:lnTo>
                  <a:lnTo>
                    <a:pt x="4646" y="4771"/>
                  </a:lnTo>
                  <a:lnTo>
                    <a:pt x="4562" y="4771"/>
                  </a:lnTo>
                  <a:lnTo>
                    <a:pt x="4499" y="4666"/>
                  </a:lnTo>
                  <a:lnTo>
                    <a:pt x="4562" y="4625"/>
                  </a:lnTo>
                  <a:lnTo>
                    <a:pt x="4541" y="4562"/>
                  </a:lnTo>
                  <a:lnTo>
                    <a:pt x="4436" y="4562"/>
                  </a:lnTo>
                  <a:lnTo>
                    <a:pt x="4332" y="4457"/>
                  </a:lnTo>
                  <a:lnTo>
                    <a:pt x="4457" y="4415"/>
                  </a:lnTo>
                  <a:lnTo>
                    <a:pt x="4436" y="4332"/>
                  </a:lnTo>
                  <a:lnTo>
                    <a:pt x="4520" y="4164"/>
                  </a:lnTo>
                  <a:lnTo>
                    <a:pt x="4541" y="4081"/>
                  </a:lnTo>
                  <a:lnTo>
                    <a:pt x="4499" y="3997"/>
                  </a:lnTo>
                  <a:lnTo>
                    <a:pt x="4415" y="3997"/>
                  </a:lnTo>
                  <a:lnTo>
                    <a:pt x="4395" y="3934"/>
                  </a:lnTo>
                  <a:lnTo>
                    <a:pt x="4415" y="3892"/>
                  </a:lnTo>
                  <a:lnTo>
                    <a:pt x="4499" y="3934"/>
                  </a:lnTo>
                  <a:lnTo>
                    <a:pt x="4520" y="3955"/>
                  </a:lnTo>
                  <a:lnTo>
                    <a:pt x="4541" y="3955"/>
                  </a:lnTo>
                  <a:lnTo>
                    <a:pt x="4541" y="3871"/>
                  </a:lnTo>
                  <a:lnTo>
                    <a:pt x="4436" y="3850"/>
                  </a:lnTo>
                  <a:lnTo>
                    <a:pt x="4541" y="3788"/>
                  </a:lnTo>
                  <a:lnTo>
                    <a:pt x="4625" y="3788"/>
                  </a:lnTo>
                  <a:lnTo>
                    <a:pt x="4729" y="3725"/>
                  </a:lnTo>
                  <a:lnTo>
                    <a:pt x="4646" y="3662"/>
                  </a:lnTo>
                  <a:lnTo>
                    <a:pt x="4562" y="3516"/>
                  </a:lnTo>
                  <a:lnTo>
                    <a:pt x="4646" y="3537"/>
                  </a:lnTo>
                  <a:lnTo>
                    <a:pt x="4708" y="3620"/>
                  </a:lnTo>
                  <a:lnTo>
                    <a:pt x="4813" y="3578"/>
                  </a:lnTo>
                  <a:lnTo>
                    <a:pt x="4834" y="3474"/>
                  </a:lnTo>
                  <a:lnTo>
                    <a:pt x="4855" y="3369"/>
                  </a:lnTo>
                  <a:lnTo>
                    <a:pt x="4918" y="3327"/>
                  </a:lnTo>
                  <a:lnTo>
                    <a:pt x="4980" y="3453"/>
                  </a:lnTo>
                  <a:lnTo>
                    <a:pt x="5064" y="3348"/>
                  </a:lnTo>
                  <a:lnTo>
                    <a:pt x="5127" y="3453"/>
                  </a:lnTo>
                  <a:lnTo>
                    <a:pt x="5190" y="3474"/>
                  </a:lnTo>
                  <a:lnTo>
                    <a:pt x="5252" y="3369"/>
                  </a:lnTo>
                  <a:lnTo>
                    <a:pt x="5357" y="3432"/>
                  </a:lnTo>
                  <a:lnTo>
                    <a:pt x="5483" y="3348"/>
                  </a:lnTo>
                  <a:lnTo>
                    <a:pt x="5545" y="3432"/>
                  </a:lnTo>
                  <a:lnTo>
                    <a:pt x="5671" y="3432"/>
                  </a:lnTo>
                  <a:lnTo>
                    <a:pt x="5713" y="3369"/>
                  </a:lnTo>
                  <a:lnTo>
                    <a:pt x="5755" y="3411"/>
                  </a:lnTo>
                  <a:lnTo>
                    <a:pt x="5755" y="3265"/>
                  </a:lnTo>
                  <a:lnTo>
                    <a:pt x="5671" y="3202"/>
                  </a:lnTo>
                  <a:lnTo>
                    <a:pt x="5587" y="2993"/>
                  </a:lnTo>
                  <a:lnTo>
                    <a:pt x="5462" y="2951"/>
                  </a:lnTo>
                  <a:lnTo>
                    <a:pt x="5399" y="2762"/>
                  </a:lnTo>
                  <a:lnTo>
                    <a:pt x="5462" y="2700"/>
                  </a:lnTo>
                  <a:lnTo>
                    <a:pt x="5462" y="2490"/>
                  </a:lnTo>
                  <a:lnTo>
                    <a:pt x="5441" y="2386"/>
                  </a:lnTo>
                  <a:lnTo>
                    <a:pt x="5462" y="2302"/>
                  </a:lnTo>
                  <a:lnTo>
                    <a:pt x="5399" y="2093"/>
                  </a:lnTo>
                  <a:lnTo>
                    <a:pt x="5357" y="1988"/>
                  </a:lnTo>
                  <a:lnTo>
                    <a:pt x="5336" y="1842"/>
                  </a:lnTo>
                  <a:lnTo>
                    <a:pt x="5378" y="1758"/>
                  </a:lnTo>
                  <a:lnTo>
                    <a:pt x="5357" y="1633"/>
                  </a:lnTo>
                  <a:lnTo>
                    <a:pt x="5190" y="1591"/>
                  </a:lnTo>
                  <a:lnTo>
                    <a:pt x="5190" y="1486"/>
                  </a:lnTo>
                  <a:lnTo>
                    <a:pt x="5252" y="1361"/>
                  </a:lnTo>
                  <a:lnTo>
                    <a:pt x="5190" y="1172"/>
                  </a:lnTo>
                  <a:lnTo>
                    <a:pt x="5252" y="1068"/>
                  </a:lnTo>
                  <a:lnTo>
                    <a:pt x="5190" y="1005"/>
                  </a:lnTo>
                  <a:lnTo>
                    <a:pt x="5127" y="1005"/>
                  </a:lnTo>
                  <a:lnTo>
                    <a:pt x="5022" y="858"/>
                  </a:lnTo>
                  <a:lnTo>
                    <a:pt x="4939" y="858"/>
                  </a:lnTo>
                  <a:lnTo>
                    <a:pt x="4876" y="754"/>
                  </a:lnTo>
                  <a:lnTo>
                    <a:pt x="4771" y="628"/>
                  </a:lnTo>
                  <a:lnTo>
                    <a:pt x="4708" y="607"/>
                  </a:lnTo>
                  <a:lnTo>
                    <a:pt x="4604" y="545"/>
                  </a:lnTo>
                  <a:lnTo>
                    <a:pt x="4395" y="524"/>
                  </a:lnTo>
                  <a:lnTo>
                    <a:pt x="4227" y="419"/>
                  </a:lnTo>
                  <a:lnTo>
                    <a:pt x="4018" y="189"/>
                  </a:lnTo>
                  <a:lnTo>
                    <a:pt x="3892" y="105"/>
                  </a:lnTo>
                  <a:lnTo>
                    <a:pt x="378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 name="Google Shape;5938;p93">
              <a:extLst>
                <a:ext uri="{FF2B5EF4-FFF2-40B4-BE49-F238E27FC236}">
                  <a16:creationId xmlns:a16="http://schemas.microsoft.com/office/drawing/2014/main" id="{ECF0CBA3-5A24-44EE-AE9D-5D4808DE519E}"/>
                </a:ext>
              </a:extLst>
            </p:cNvPr>
            <p:cNvSpPr/>
            <p:nvPr/>
          </p:nvSpPr>
          <p:spPr>
            <a:xfrm>
              <a:off x="3883127" y="2693471"/>
              <a:ext cx="27411" cy="23803"/>
            </a:xfrm>
            <a:custGeom>
              <a:avLst/>
              <a:gdLst/>
              <a:ahLst/>
              <a:cxnLst/>
              <a:rect l="l" t="t" r="r" b="b"/>
              <a:pathLst>
                <a:path w="2302" h="2093" extrusionOk="0">
                  <a:moveTo>
                    <a:pt x="1026" y="0"/>
                  </a:moveTo>
                  <a:lnTo>
                    <a:pt x="1026" y="63"/>
                  </a:lnTo>
                  <a:lnTo>
                    <a:pt x="942" y="63"/>
                  </a:lnTo>
                  <a:lnTo>
                    <a:pt x="942" y="105"/>
                  </a:lnTo>
                  <a:lnTo>
                    <a:pt x="1005" y="167"/>
                  </a:lnTo>
                  <a:lnTo>
                    <a:pt x="900" y="230"/>
                  </a:lnTo>
                  <a:lnTo>
                    <a:pt x="837" y="209"/>
                  </a:lnTo>
                  <a:lnTo>
                    <a:pt x="628" y="209"/>
                  </a:lnTo>
                  <a:lnTo>
                    <a:pt x="607" y="147"/>
                  </a:lnTo>
                  <a:lnTo>
                    <a:pt x="586" y="251"/>
                  </a:lnTo>
                  <a:lnTo>
                    <a:pt x="481" y="230"/>
                  </a:lnTo>
                  <a:lnTo>
                    <a:pt x="335" y="272"/>
                  </a:lnTo>
                  <a:lnTo>
                    <a:pt x="335" y="356"/>
                  </a:lnTo>
                  <a:lnTo>
                    <a:pt x="272" y="356"/>
                  </a:lnTo>
                  <a:lnTo>
                    <a:pt x="84" y="439"/>
                  </a:lnTo>
                  <a:lnTo>
                    <a:pt x="0" y="544"/>
                  </a:lnTo>
                  <a:lnTo>
                    <a:pt x="21" y="900"/>
                  </a:lnTo>
                  <a:lnTo>
                    <a:pt x="84" y="900"/>
                  </a:lnTo>
                  <a:lnTo>
                    <a:pt x="126" y="879"/>
                  </a:lnTo>
                  <a:lnTo>
                    <a:pt x="230" y="900"/>
                  </a:lnTo>
                  <a:lnTo>
                    <a:pt x="189" y="983"/>
                  </a:lnTo>
                  <a:lnTo>
                    <a:pt x="105" y="983"/>
                  </a:lnTo>
                  <a:lnTo>
                    <a:pt x="105" y="1151"/>
                  </a:lnTo>
                  <a:lnTo>
                    <a:pt x="209" y="1276"/>
                  </a:lnTo>
                  <a:lnTo>
                    <a:pt x="377" y="1423"/>
                  </a:lnTo>
                  <a:lnTo>
                    <a:pt x="419" y="1423"/>
                  </a:lnTo>
                  <a:lnTo>
                    <a:pt x="419" y="1318"/>
                  </a:lnTo>
                  <a:lnTo>
                    <a:pt x="544" y="1214"/>
                  </a:lnTo>
                  <a:lnTo>
                    <a:pt x="586" y="1318"/>
                  </a:lnTo>
                  <a:lnTo>
                    <a:pt x="523" y="1611"/>
                  </a:lnTo>
                  <a:lnTo>
                    <a:pt x="523" y="1695"/>
                  </a:lnTo>
                  <a:lnTo>
                    <a:pt x="586" y="1674"/>
                  </a:lnTo>
                  <a:lnTo>
                    <a:pt x="754" y="1569"/>
                  </a:lnTo>
                  <a:lnTo>
                    <a:pt x="900" y="1507"/>
                  </a:lnTo>
                  <a:lnTo>
                    <a:pt x="1046" y="1632"/>
                  </a:lnTo>
                  <a:lnTo>
                    <a:pt x="1130" y="1611"/>
                  </a:lnTo>
                  <a:lnTo>
                    <a:pt x="1151" y="1507"/>
                  </a:lnTo>
                  <a:lnTo>
                    <a:pt x="1235" y="1590"/>
                  </a:lnTo>
                  <a:lnTo>
                    <a:pt x="1277" y="1674"/>
                  </a:lnTo>
                  <a:lnTo>
                    <a:pt x="1339" y="1674"/>
                  </a:lnTo>
                  <a:lnTo>
                    <a:pt x="1528" y="1779"/>
                  </a:lnTo>
                  <a:lnTo>
                    <a:pt x="1570" y="1925"/>
                  </a:lnTo>
                  <a:lnTo>
                    <a:pt x="1695" y="1967"/>
                  </a:lnTo>
                  <a:lnTo>
                    <a:pt x="1779" y="2092"/>
                  </a:lnTo>
                  <a:lnTo>
                    <a:pt x="1988" y="2009"/>
                  </a:lnTo>
                  <a:lnTo>
                    <a:pt x="2155" y="2030"/>
                  </a:lnTo>
                  <a:lnTo>
                    <a:pt x="2260" y="1904"/>
                  </a:lnTo>
                  <a:lnTo>
                    <a:pt x="2218" y="1800"/>
                  </a:lnTo>
                  <a:lnTo>
                    <a:pt x="2302" y="1716"/>
                  </a:lnTo>
                  <a:lnTo>
                    <a:pt x="2302" y="1611"/>
                  </a:lnTo>
                  <a:lnTo>
                    <a:pt x="2051" y="1109"/>
                  </a:lnTo>
                  <a:lnTo>
                    <a:pt x="2093" y="691"/>
                  </a:lnTo>
                  <a:lnTo>
                    <a:pt x="2155" y="649"/>
                  </a:lnTo>
                  <a:lnTo>
                    <a:pt x="2197" y="481"/>
                  </a:lnTo>
                  <a:lnTo>
                    <a:pt x="2281" y="356"/>
                  </a:lnTo>
                  <a:lnTo>
                    <a:pt x="2302" y="335"/>
                  </a:lnTo>
                  <a:lnTo>
                    <a:pt x="2302" y="314"/>
                  </a:lnTo>
                  <a:lnTo>
                    <a:pt x="2260" y="230"/>
                  </a:lnTo>
                  <a:lnTo>
                    <a:pt x="2218" y="272"/>
                  </a:lnTo>
                  <a:lnTo>
                    <a:pt x="1758" y="251"/>
                  </a:lnTo>
                  <a:lnTo>
                    <a:pt x="1570" y="126"/>
                  </a:lnTo>
                  <a:lnTo>
                    <a:pt x="1339" y="126"/>
                  </a:lnTo>
                  <a:lnTo>
                    <a:pt x="1235" y="63"/>
                  </a:lnTo>
                  <a:lnTo>
                    <a:pt x="1130" y="105"/>
                  </a:lnTo>
                  <a:lnTo>
                    <a:pt x="102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 name="Google Shape;5939;p93">
              <a:extLst>
                <a:ext uri="{FF2B5EF4-FFF2-40B4-BE49-F238E27FC236}">
                  <a16:creationId xmlns:a16="http://schemas.microsoft.com/office/drawing/2014/main" id="{1C64F4E7-DDC4-46E9-9156-0F43926A3146}"/>
                </a:ext>
              </a:extLst>
            </p:cNvPr>
            <p:cNvSpPr/>
            <p:nvPr/>
          </p:nvSpPr>
          <p:spPr>
            <a:xfrm>
              <a:off x="3870422" y="2710598"/>
              <a:ext cx="43605" cy="22620"/>
            </a:xfrm>
            <a:custGeom>
              <a:avLst/>
              <a:gdLst/>
              <a:ahLst/>
              <a:cxnLst/>
              <a:rect l="l" t="t" r="r" b="b"/>
              <a:pathLst>
                <a:path w="3662" h="1989" extrusionOk="0">
                  <a:moveTo>
                    <a:pt x="1967" y="1"/>
                  </a:moveTo>
                  <a:lnTo>
                    <a:pt x="1821" y="63"/>
                  </a:lnTo>
                  <a:lnTo>
                    <a:pt x="1653" y="168"/>
                  </a:lnTo>
                  <a:lnTo>
                    <a:pt x="1590" y="189"/>
                  </a:lnTo>
                  <a:lnTo>
                    <a:pt x="1590" y="314"/>
                  </a:lnTo>
                  <a:lnTo>
                    <a:pt x="1653" y="586"/>
                  </a:lnTo>
                  <a:lnTo>
                    <a:pt x="1590" y="754"/>
                  </a:lnTo>
                  <a:lnTo>
                    <a:pt x="1402" y="963"/>
                  </a:lnTo>
                  <a:lnTo>
                    <a:pt x="1256" y="963"/>
                  </a:lnTo>
                  <a:lnTo>
                    <a:pt x="1130" y="838"/>
                  </a:lnTo>
                  <a:lnTo>
                    <a:pt x="1130" y="733"/>
                  </a:lnTo>
                  <a:lnTo>
                    <a:pt x="837" y="440"/>
                  </a:lnTo>
                  <a:lnTo>
                    <a:pt x="837" y="294"/>
                  </a:lnTo>
                  <a:lnTo>
                    <a:pt x="774" y="294"/>
                  </a:lnTo>
                  <a:lnTo>
                    <a:pt x="670" y="398"/>
                  </a:lnTo>
                  <a:lnTo>
                    <a:pt x="523" y="419"/>
                  </a:lnTo>
                  <a:lnTo>
                    <a:pt x="460" y="461"/>
                  </a:lnTo>
                  <a:lnTo>
                    <a:pt x="335" y="461"/>
                  </a:lnTo>
                  <a:lnTo>
                    <a:pt x="251" y="607"/>
                  </a:lnTo>
                  <a:lnTo>
                    <a:pt x="293" y="733"/>
                  </a:lnTo>
                  <a:lnTo>
                    <a:pt x="230" y="712"/>
                  </a:lnTo>
                  <a:lnTo>
                    <a:pt x="230" y="921"/>
                  </a:lnTo>
                  <a:lnTo>
                    <a:pt x="84" y="1110"/>
                  </a:lnTo>
                  <a:lnTo>
                    <a:pt x="84" y="1214"/>
                  </a:lnTo>
                  <a:lnTo>
                    <a:pt x="84" y="1319"/>
                  </a:lnTo>
                  <a:lnTo>
                    <a:pt x="0" y="1382"/>
                  </a:lnTo>
                  <a:lnTo>
                    <a:pt x="42" y="1674"/>
                  </a:lnTo>
                  <a:lnTo>
                    <a:pt x="126" y="1737"/>
                  </a:lnTo>
                  <a:lnTo>
                    <a:pt x="126" y="1758"/>
                  </a:lnTo>
                  <a:lnTo>
                    <a:pt x="230" y="1737"/>
                  </a:lnTo>
                  <a:lnTo>
                    <a:pt x="251" y="1591"/>
                  </a:lnTo>
                  <a:lnTo>
                    <a:pt x="440" y="1465"/>
                  </a:lnTo>
                  <a:lnTo>
                    <a:pt x="670" y="1382"/>
                  </a:lnTo>
                  <a:lnTo>
                    <a:pt x="879" y="1423"/>
                  </a:lnTo>
                  <a:lnTo>
                    <a:pt x="1025" y="1423"/>
                  </a:lnTo>
                  <a:lnTo>
                    <a:pt x="1088" y="1465"/>
                  </a:lnTo>
                  <a:lnTo>
                    <a:pt x="1235" y="1382"/>
                  </a:lnTo>
                  <a:lnTo>
                    <a:pt x="1339" y="1361"/>
                  </a:lnTo>
                  <a:lnTo>
                    <a:pt x="1360" y="1444"/>
                  </a:lnTo>
                  <a:lnTo>
                    <a:pt x="1465" y="1444"/>
                  </a:lnTo>
                  <a:lnTo>
                    <a:pt x="1548" y="1549"/>
                  </a:lnTo>
                  <a:lnTo>
                    <a:pt x="1716" y="1549"/>
                  </a:lnTo>
                  <a:lnTo>
                    <a:pt x="1779" y="1570"/>
                  </a:lnTo>
                  <a:lnTo>
                    <a:pt x="1967" y="1444"/>
                  </a:lnTo>
                  <a:lnTo>
                    <a:pt x="2176" y="1549"/>
                  </a:lnTo>
                  <a:lnTo>
                    <a:pt x="2344" y="1570"/>
                  </a:lnTo>
                  <a:lnTo>
                    <a:pt x="2511" y="1758"/>
                  </a:lnTo>
                  <a:lnTo>
                    <a:pt x="2637" y="1758"/>
                  </a:lnTo>
                  <a:lnTo>
                    <a:pt x="2762" y="1946"/>
                  </a:lnTo>
                  <a:lnTo>
                    <a:pt x="2929" y="1967"/>
                  </a:lnTo>
                  <a:lnTo>
                    <a:pt x="2971" y="1988"/>
                  </a:lnTo>
                  <a:lnTo>
                    <a:pt x="3160" y="1905"/>
                  </a:lnTo>
                  <a:lnTo>
                    <a:pt x="3390" y="1884"/>
                  </a:lnTo>
                  <a:lnTo>
                    <a:pt x="3432" y="1737"/>
                  </a:lnTo>
                  <a:lnTo>
                    <a:pt x="3536" y="1674"/>
                  </a:lnTo>
                  <a:lnTo>
                    <a:pt x="3578" y="1570"/>
                  </a:lnTo>
                  <a:lnTo>
                    <a:pt x="3662" y="1549"/>
                  </a:lnTo>
                  <a:lnTo>
                    <a:pt x="3662" y="1382"/>
                  </a:lnTo>
                  <a:lnTo>
                    <a:pt x="3578" y="1277"/>
                  </a:lnTo>
                  <a:lnTo>
                    <a:pt x="3494" y="1110"/>
                  </a:lnTo>
                  <a:lnTo>
                    <a:pt x="3473" y="1047"/>
                  </a:lnTo>
                  <a:lnTo>
                    <a:pt x="3390" y="921"/>
                  </a:lnTo>
                  <a:lnTo>
                    <a:pt x="3432" y="838"/>
                  </a:lnTo>
                  <a:lnTo>
                    <a:pt x="3369" y="733"/>
                  </a:lnTo>
                  <a:lnTo>
                    <a:pt x="3327" y="712"/>
                  </a:lnTo>
                  <a:lnTo>
                    <a:pt x="3348" y="649"/>
                  </a:lnTo>
                  <a:lnTo>
                    <a:pt x="3348" y="545"/>
                  </a:lnTo>
                  <a:lnTo>
                    <a:pt x="3055" y="503"/>
                  </a:lnTo>
                  <a:lnTo>
                    <a:pt x="2846" y="586"/>
                  </a:lnTo>
                  <a:lnTo>
                    <a:pt x="2762" y="461"/>
                  </a:lnTo>
                  <a:lnTo>
                    <a:pt x="2637" y="419"/>
                  </a:lnTo>
                  <a:lnTo>
                    <a:pt x="2595" y="273"/>
                  </a:lnTo>
                  <a:lnTo>
                    <a:pt x="2406" y="168"/>
                  </a:lnTo>
                  <a:lnTo>
                    <a:pt x="2344" y="168"/>
                  </a:lnTo>
                  <a:lnTo>
                    <a:pt x="2302" y="84"/>
                  </a:lnTo>
                  <a:lnTo>
                    <a:pt x="2218" y="1"/>
                  </a:lnTo>
                  <a:lnTo>
                    <a:pt x="2197" y="105"/>
                  </a:lnTo>
                  <a:lnTo>
                    <a:pt x="2113" y="126"/>
                  </a:lnTo>
                  <a:lnTo>
                    <a:pt x="196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 name="Google Shape;5940;p93">
              <a:extLst>
                <a:ext uri="{FF2B5EF4-FFF2-40B4-BE49-F238E27FC236}">
                  <a16:creationId xmlns:a16="http://schemas.microsoft.com/office/drawing/2014/main" id="{AAC7D403-AFD5-46A3-B1E5-EDF11A6CCC1C}"/>
                </a:ext>
              </a:extLst>
            </p:cNvPr>
            <p:cNvSpPr/>
            <p:nvPr/>
          </p:nvSpPr>
          <p:spPr>
            <a:xfrm>
              <a:off x="3871910" y="2726065"/>
              <a:ext cx="33901" cy="23803"/>
            </a:xfrm>
            <a:custGeom>
              <a:avLst/>
              <a:gdLst/>
              <a:ahLst/>
              <a:cxnLst/>
              <a:rect l="l" t="t" r="r" b="b"/>
              <a:pathLst>
                <a:path w="2847" h="2093" extrusionOk="0">
                  <a:moveTo>
                    <a:pt x="1214" y="1"/>
                  </a:moveTo>
                  <a:lnTo>
                    <a:pt x="1110" y="22"/>
                  </a:lnTo>
                  <a:lnTo>
                    <a:pt x="963" y="105"/>
                  </a:lnTo>
                  <a:lnTo>
                    <a:pt x="900" y="63"/>
                  </a:lnTo>
                  <a:lnTo>
                    <a:pt x="754" y="63"/>
                  </a:lnTo>
                  <a:lnTo>
                    <a:pt x="545" y="22"/>
                  </a:lnTo>
                  <a:lnTo>
                    <a:pt x="315" y="105"/>
                  </a:lnTo>
                  <a:lnTo>
                    <a:pt x="126" y="231"/>
                  </a:lnTo>
                  <a:lnTo>
                    <a:pt x="105" y="377"/>
                  </a:lnTo>
                  <a:lnTo>
                    <a:pt x="1" y="398"/>
                  </a:lnTo>
                  <a:lnTo>
                    <a:pt x="1" y="586"/>
                  </a:lnTo>
                  <a:lnTo>
                    <a:pt x="63" y="712"/>
                  </a:lnTo>
                  <a:lnTo>
                    <a:pt x="1" y="796"/>
                  </a:lnTo>
                  <a:lnTo>
                    <a:pt x="22" y="817"/>
                  </a:lnTo>
                  <a:lnTo>
                    <a:pt x="231" y="754"/>
                  </a:lnTo>
                  <a:lnTo>
                    <a:pt x="398" y="1005"/>
                  </a:lnTo>
                  <a:lnTo>
                    <a:pt x="524" y="1047"/>
                  </a:lnTo>
                  <a:lnTo>
                    <a:pt x="733" y="1005"/>
                  </a:lnTo>
                  <a:lnTo>
                    <a:pt x="817" y="1047"/>
                  </a:lnTo>
                  <a:lnTo>
                    <a:pt x="838" y="1151"/>
                  </a:lnTo>
                  <a:lnTo>
                    <a:pt x="921" y="1172"/>
                  </a:lnTo>
                  <a:lnTo>
                    <a:pt x="963" y="1235"/>
                  </a:lnTo>
                  <a:lnTo>
                    <a:pt x="921" y="1340"/>
                  </a:lnTo>
                  <a:lnTo>
                    <a:pt x="921" y="1549"/>
                  </a:lnTo>
                  <a:lnTo>
                    <a:pt x="1047" y="1528"/>
                  </a:lnTo>
                  <a:lnTo>
                    <a:pt x="1172" y="1633"/>
                  </a:lnTo>
                  <a:lnTo>
                    <a:pt x="1256" y="1633"/>
                  </a:lnTo>
                  <a:lnTo>
                    <a:pt x="1319" y="1863"/>
                  </a:lnTo>
                  <a:lnTo>
                    <a:pt x="1319" y="1988"/>
                  </a:lnTo>
                  <a:lnTo>
                    <a:pt x="1361" y="2093"/>
                  </a:lnTo>
                  <a:lnTo>
                    <a:pt x="1486" y="2009"/>
                  </a:lnTo>
                  <a:lnTo>
                    <a:pt x="1696" y="1947"/>
                  </a:lnTo>
                  <a:lnTo>
                    <a:pt x="1863" y="2009"/>
                  </a:lnTo>
                  <a:lnTo>
                    <a:pt x="2009" y="1947"/>
                  </a:lnTo>
                  <a:lnTo>
                    <a:pt x="2114" y="1947"/>
                  </a:lnTo>
                  <a:lnTo>
                    <a:pt x="2051" y="1779"/>
                  </a:lnTo>
                  <a:lnTo>
                    <a:pt x="2219" y="1758"/>
                  </a:lnTo>
                  <a:lnTo>
                    <a:pt x="2281" y="1633"/>
                  </a:lnTo>
                  <a:lnTo>
                    <a:pt x="2386" y="1570"/>
                  </a:lnTo>
                  <a:lnTo>
                    <a:pt x="2407" y="1654"/>
                  </a:lnTo>
                  <a:lnTo>
                    <a:pt x="2532" y="1654"/>
                  </a:lnTo>
                  <a:lnTo>
                    <a:pt x="2532" y="1528"/>
                  </a:lnTo>
                  <a:lnTo>
                    <a:pt x="2386" y="1444"/>
                  </a:lnTo>
                  <a:lnTo>
                    <a:pt x="2428" y="1277"/>
                  </a:lnTo>
                  <a:lnTo>
                    <a:pt x="2512" y="1256"/>
                  </a:lnTo>
                  <a:lnTo>
                    <a:pt x="2616" y="1068"/>
                  </a:lnTo>
                  <a:lnTo>
                    <a:pt x="2825" y="963"/>
                  </a:lnTo>
                  <a:lnTo>
                    <a:pt x="2825" y="858"/>
                  </a:lnTo>
                  <a:lnTo>
                    <a:pt x="2721" y="817"/>
                  </a:lnTo>
                  <a:lnTo>
                    <a:pt x="2846" y="628"/>
                  </a:lnTo>
                  <a:lnTo>
                    <a:pt x="2804" y="607"/>
                  </a:lnTo>
                  <a:lnTo>
                    <a:pt x="2637" y="586"/>
                  </a:lnTo>
                  <a:lnTo>
                    <a:pt x="2512" y="398"/>
                  </a:lnTo>
                  <a:lnTo>
                    <a:pt x="2386" y="398"/>
                  </a:lnTo>
                  <a:lnTo>
                    <a:pt x="2219" y="210"/>
                  </a:lnTo>
                  <a:lnTo>
                    <a:pt x="2051" y="189"/>
                  </a:lnTo>
                  <a:lnTo>
                    <a:pt x="1842" y="84"/>
                  </a:lnTo>
                  <a:lnTo>
                    <a:pt x="1654" y="210"/>
                  </a:lnTo>
                  <a:lnTo>
                    <a:pt x="1591" y="189"/>
                  </a:lnTo>
                  <a:lnTo>
                    <a:pt x="1423" y="189"/>
                  </a:lnTo>
                  <a:lnTo>
                    <a:pt x="1340" y="84"/>
                  </a:lnTo>
                  <a:lnTo>
                    <a:pt x="1235" y="84"/>
                  </a:lnTo>
                  <a:lnTo>
                    <a:pt x="121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 name="Google Shape;5941;p93">
              <a:extLst>
                <a:ext uri="{FF2B5EF4-FFF2-40B4-BE49-F238E27FC236}">
                  <a16:creationId xmlns:a16="http://schemas.microsoft.com/office/drawing/2014/main" id="{68792166-6DE9-49F2-8E7A-B48D83591B85}"/>
                </a:ext>
              </a:extLst>
            </p:cNvPr>
            <p:cNvSpPr/>
            <p:nvPr/>
          </p:nvSpPr>
          <p:spPr>
            <a:xfrm>
              <a:off x="3888104" y="2727737"/>
              <a:ext cx="57573" cy="42601"/>
            </a:xfrm>
            <a:custGeom>
              <a:avLst/>
              <a:gdLst/>
              <a:ahLst/>
              <a:cxnLst/>
              <a:rect l="l" t="t" r="r" b="b"/>
              <a:pathLst>
                <a:path w="4835" h="3746" extrusionOk="0">
                  <a:moveTo>
                    <a:pt x="2470" y="0"/>
                  </a:moveTo>
                  <a:lnTo>
                    <a:pt x="2323" y="84"/>
                  </a:lnTo>
                  <a:lnTo>
                    <a:pt x="2219" y="42"/>
                  </a:lnTo>
                  <a:lnTo>
                    <a:pt x="2093" y="63"/>
                  </a:lnTo>
                  <a:lnTo>
                    <a:pt x="2051" y="167"/>
                  </a:lnTo>
                  <a:lnTo>
                    <a:pt x="1947" y="230"/>
                  </a:lnTo>
                  <a:lnTo>
                    <a:pt x="1905" y="377"/>
                  </a:lnTo>
                  <a:lnTo>
                    <a:pt x="1675" y="398"/>
                  </a:lnTo>
                  <a:lnTo>
                    <a:pt x="1486" y="481"/>
                  </a:lnTo>
                  <a:lnTo>
                    <a:pt x="1361" y="670"/>
                  </a:lnTo>
                  <a:lnTo>
                    <a:pt x="1465" y="711"/>
                  </a:lnTo>
                  <a:lnTo>
                    <a:pt x="1465" y="816"/>
                  </a:lnTo>
                  <a:lnTo>
                    <a:pt x="1256" y="921"/>
                  </a:lnTo>
                  <a:lnTo>
                    <a:pt x="1152" y="1109"/>
                  </a:lnTo>
                  <a:lnTo>
                    <a:pt x="1068" y="1130"/>
                  </a:lnTo>
                  <a:lnTo>
                    <a:pt x="1026" y="1297"/>
                  </a:lnTo>
                  <a:lnTo>
                    <a:pt x="1172" y="1381"/>
                  </a:lnTo>
                  <a:lnTo>
                    <a:pt x="1172" y="1507"/>
                  </a:lnTo>
                  <a:lnTo>
                    <a:pt x="1047" y="1507"/>
                  </a:lnTo>
                  <a:lnTo>
                    <a:pt x="1026" y="1423"/>
                  </a:lnTo>
                  <a:lnTo>
                    <a:pt x="921" y="1486"/>
                  </a:lnTo>
                  <a:lnTo>
                    <a:pt x="859" y="1611"/>
                  </a:lnTo>
                  <a:lnTo>
                    <a:pt x="691" y="1632"/>
                  </a:lnTo>
                  <a:lnTo>
                    <a:pt x="754" y="1800"/>
                  </a:lnTo>
                  <a:lnTo>
                    <a:pt x="649" y="1800"/>
                  </a:lnTo>
                  <a:lnTo>
                    <a:pt x="503" y="1862"/>
                  </a:lnTo>
                  <a:lnTo>
                    <a:pt x="336" y="1800"/>
                  </a:lnTo>
                  <a:lnTo>
                    <a:pt x="126" y="1862"/>
                  </a:lnTo>
                  <a:lnTo>
                    <a:pt x="1" y="1946"/>
                  </a:lnTo>
                  <a:lnTo>
                    <a:pt x="22" y="2009"/>
                  </a:lnTo>
                  <a:lnTo>
                    <a:pt x="126" y="2260"/>
                  </a:lnTo>
                  <a:lnTo>
                    <a:pt x="210" y="2385"/>
                  </a:lnTo>
                  <a:lnTo>
                    <a:pt x="231" y="2532"/>
                  </a:lnTo>
                  <a:lnTo>
                    <a:pt x="294" y="2574"/>
                  </a:lnTo>
                  <a:lnTo>
                    <a:pt x="294" y="2950"/>
                  </a:lnTo>
                  <a:lnTo>
                    <a:pt x="189" y="2992"/>
                  </a:lnTo>
                  <a:lnTo>
                    <a:pt x="105" y="3118"/>
                  </a:lnTo>
                  <a:lnTo>
                    <a:pt x="126" y="3306"/>
                  </a:lnTo>
                  <a:lnTo>
                    <a:pt x="273" y="3494"/>
                  </a:lnTo>
                  <a:lnTo>
                    <a:pt x="273" y="3536"/>
                  </a:lnTo>
                  <a:lnTo>
                    <a:pt x="336" y="3536"/>
                  </a:lnTo>
                  <a:lnTo>
                    <a:pt x="524" y="3620"/>
                  </a:lnTo>
                  <a:lnTo>
                    <a:pt x="628" y="3578"/>
                  </a:lnTo>
                  <a:lnTo>
                    <a:pt x="1047" y="3515"/>
                  </a:lnTo>
                  <a:lnTo>
                    <a:pt x="1235" y="3515"/>
                  </a:lnTo>
                  <a:lnTo>
                    <a:pt x="1340" y="3411"/>
                  </a:lnTo>
                  <a:lnTo>
                    <a:pt x="1424" y="3411"/>
                  </a:lnTo>
                  <a:lnTo>
                    <a:pt x="1549" y="3494"/>
                  </a:lnTo>
                  <a:lnTo>
                    <a:pt x="1884" y="3536"/>
                  </a:lnTo>
                  <a:lnTo>
                    <a:pt x="2009" y="3620"/>
                  </a:lnTo>
                  <a:lnTo>
                    <a:pt x="2051" y="3683"/>
                  </a:lnTo>
                  <a:lnTo>
                    <a:pt x="2260" y="3599"/>
                  </a:lnTo>
                  <a:lnTo>
                    <a:pt x="2365" y="3683"/>
                  </a:lnTo>
                  <a:lnTo>
                    <a:pt x="2428" y="3683"/>
                  </a:lnTo>
                  <a:lnTo>
                    <a:pt x="2470" y="3620"/>
                  </a:lnTo>
                  <a:lnTo>
                    <a:pt x="2637" y="3641"/>
                  </a:lnTo>
                  <a:lnTo>
                    <a:pt x="2721" y="3704"/>
                  </a:lnTo>
                  <a:lnTo>
                    <a:pt x="2909" y="3599"/>
                  </a:lnTo>
                  <a:lnTo>
                    <a:pt x="3056" y="3599"/>
                  </a:lnTo>
                  <a:lnTo>
                    <a:pt x="3097" y="3724"/>
                  </a:lnTo>
                  <a:lnTo>
                    <a:pt x="3202" y="3745"/>
                  </a:lnTo>
                  <a:lnTo>
                    <a:pt x="3307" y="3620"/>
                  </a:lnTo>
                  <a:lnTo>
                    <a:pt x="3411" y="3599"/>
                  </a:lnTo>
                  <a:lnTo>
                    <a:pt x="3516" y="3683"/>
                  </a:lnTo>
                  <a:lnTo>
                    <a:pt x="3662" y="3620"/>
                  </a:lnTo>
                  <a:lnTo>
                    <a:pt x="3767" y="3704"/>
                  </a:lnTo>
                  <a:lnTo>
                    <a:pt x="3893" y="3704"/>
                  </a:lnTo>
                  <a:lnTo>
                    <a:pt x="3893" y="3494"/>
                  </a:lnTo>
                  <a:lnTo>
                    <a:pt x="3997" y="3285"/>
                  </a:lnTo>
                  <a:lnTo>
                    <a:pt x="4165" y="3264"/>
                  </a:lnTo>
                  <a:lnTo>
                    <a:pt x="4395" y="3201"/>
                  </a:lnTo>
                  <a:lnTo>
                    <a:pt x="4416" y="3201"/>
                  </a:lnTo>
                  <a:lnTo>
                    <a:pt x="4416" y="3055"/>
                  </a:lnTo>
                  <a:lnTo>
                    <a:pt x="4290" y="2908"/>
                  </a:lnTo>
                  <a:lnTo>
                    <a:pt x="4311" y="2762"/>
                  </a:lnTo>
                  <a:lnTo>
                    <a:pt x="4185" y="2574"/>
                  </a:lnTo>
                  <a:lnTo>
                    <a:pt x="4185" y="2427"/>
                  </a:lnTo>
                  <a:lnTo>
                    <a:pt x="4248" y="2344"/>
                  </a:lnTo>
                  <a:lnTo>
                    <a:pt x="4374" y="2448"/>
                  </a:lnTo>
                  <a:lnTo>
                    <a:pt x="4667" y="2427"/>
                  </a:lnTo>
                  <a:lnTo>
                    <a:pt x="4771" y="2218"/>
                  </a:lnTo>
                  <a:lnTo>
                    <a:pt x="4834" y="2155"/>
                  </a:lnTo>
                  <a:lnTo>
                    <a:pt x="4688" y="2051"/>
                  </a:lnTo>
                  <a:lnTo>
                    <a:pt x="4688" y="1946"/>
                  </a:lnTo>
                  <a:lnTo>
                    <a:pt x="4457" y="1758"/>
                  </a:lnTo>
                  <a:lnTo>
                    <a:pt x="4269" y="1716"/>
                  </a:lnTo>
                  <a:lnTo>
                    <a:pt x="4206" y="1527"/>
                  </a:lnTo>
                  <a:lnTo>
                    <a:pt x="4102" y="1423"/>
                  </a:lnTo>
                  <a:lnTo>
                    <a:pt x="3955" y="1214"/>
                  </a:lnTo>
                  <a:lnTo>
                    <a:pt x="3872" y="1046"/>
                  </a:lnTo>
                  <a:lnTo>
                    <a:pt x="3746" y="921"/>
                  </a:lnTo>
                  <a:lnTo>
                    <a:pt x="3746" y="753"/>
                  </a:lnTo>
                  <a:lnTo>
                    <a:pt x="3662" y="649"/>
                  </a:lnTo>
                  <a:lnTo>
                    <a:pt x="3683" y="481"/>
                  </a:lnTo>
                  <a:lnTo>
                    <a:pt x="3662" y="356"/>
                  </a:lnTo>
                  <a:lnTo>
                    <a:pt x="3411" y="272"/>
                  </a:lnTo>
                  <a:lnTo>
                    <a:pt x="3328" y="272"/>
                  </a:lnTo>
                  <a:lnTo>
                    <a:pt x="3265" y="167"/>
                  </a:lnTo>
                  <a:lnTo>
                    <a:pt x="3097" y="230"/>
                  </a:lnTo>
                  <a:lnTo>
                    <a:pt x="2930" y="356"/>
                  </a:lnTo>
                  <a:lnTo>
                    <a:pt x="2825" y="147"/>
                  </a:lnTo>
                  <a:lnTo>
                    <a:pt x="2721" y="147"/>
                  </a:lnTo>
                  <a:lnTo>
                    <a:pt x="2574" y="188"/>
                  </a:lnTo>
                  <a:lnTo>
                    <a:pt x="247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 name="Google Shape;5942;p93">
              <a:extLst>
                <a:ext uri="{FF2B5EF4-FFF2-40B4-BE49-F238E27FC236}">
                  <a16:creationId xmlns:a16="http://schemas.microsoft.com/office/drawing/2014/main" id="{CEFC194A-F342-4AF5-8843-5F5D2231D24C}"/>
                </a:ext>
              </a:extLst>
            </p:cNvPr>
            <p:cNvSpPr/>
            <p:nvPr/>
          </p:nvSpPr>
          <p:spPr>
            <a:xfrm>
              <a:off x="3848488" y="2796972"/>
              <a:ext cx="39628" cy="24519"/>
            </a:xfrm>
            <a:custGeom>
              <a:avLst/>
              <a:gdLst/>
              <a:ahLst/>
              <a:cxnLst/>
              <a:rect l="l" t="t" r="r" b="b"/>
              <a:pathLst>
                <a:path w="3328" h="2156" extrusionOk="0">
                  <a:moveTo>
                    <a:pt x="2993" y="1"/>
                  </a:moveTo>
                  <a:lnTo>
                    <a:pt x="2867" y="64"/>
                  </a:lnTo>
                  <a:lnTo>
                    <a:pt x="2679" y="43"/>
                  </a:lnTo>
                  <a:lnTo>
                    <a:pt x="2449" y="43"/>
                  </a:lnTo>
                  <a:lnTo>
                    <a:pt x="2302" y="22"/>
                  </a:lnTo>
                  <a:lnTo>
                    <a:pt x="2135" y="43"/>
                  </a:lnTo>
                  <a:lnTo>
                    <a:pt x="2030" y="210"/>
                  </a:lnTo>
                  <a:lnTo>
                    <a:pt x="1926" y="273"/>
                  </a:lnTo>
                  <a:lnTo>
                    <a:pt x="1926" y="377"/>
                  </a:lnTo>
                  <a:lnTo>
                    <a:pt x="1758" y="210"/>
                  </a:lnTo>
                  <a:lnTo>
                    <a:pt x="1549" y="357"/>
                  </a:lnTo>
                  <a:lnTo>
                    <a:pt x="1403" y="419"/>
                  </a:lnTo>
                  <a:lnTo>
                    <a:pt x="1403" y="545"/>
                  </a:lnTo>
                  <a:lnTo>
                    <a:pt x="1089" y="566"/>
                  </a:lnTo>
                  <a:lnTo>
                    <a:pt x="880" y="629"/>
                  </a:lnTo>
                  <a:lnTo>
                    <a:pt x="691" y="587"/>
                  </a:lnTo>
                  <a:lnTo>
                    <a:pt x="294" y="357"/>
                  </a:lnTo>
                  <a:lnTo>
                    <a:pt x="294" y="440"/>
                  </a:lnTo>
                  <a:lnTo>
                    <a:pt x="315" y="566"/>
                  </a:lnTo>
                  <a:lnTo>
                    <a:pt x="294" y="670"/>
                  </a:lnTo>
                  <a:lnTo>
                    <a:pt x="64" y="670"/>
                  </a:lnTo>
                  <a:lnTo>
                    <a:pt x="43" y="733"/>
                  </a:lnTo>
                  <a:lnTo>
                    <a:pt x="147" y="838"/>
                  </a:lnTo>
                  <a:lnTo>
                    <a:pt x="85" y="984"/>
                  </a:lnTo>
                  <a:lnTo>
                    <a:pt x="64" y="1089"/>
                  </a:lnTo>
                  <a:lnTo>
                    <a:pt x="147" y="1193"/>
                  </a:lnTo>
                  <a:lnTo>
                    <a:pt x="43" y="1298"/>
                  </a:lnTo>
                  <a:lnTo>
                    <a:pt x="1" y="1298"/>
                  </a:lnTo>
                  <a:lnTo>
                    <a:pt x="168" y="1486"/>
                  </a:lnTo>
                  <a:lnTo>
                    <a:pt x="189" y="1675"/>
                  </a:lnTo>
                  <a:lnTo>
                    <a:pt x="273" y="1696"/>
                  </a:lnTo>
                  <a:lnTo>
                    <a:pt x="524" y="1905"/>
                  </a:lnTo>
                  <a:lnTo>
                    <a:pt x="629" y="1947"/>
                  </a:lnTo>
                  <a:lnTo>
                    <a:pt x="733" y="2030"/>
                  </a:lnTo>
                  <a:lnTo>
                    <a:pt x="1026" y="2093"/>
                  </a:lnTo>
                  <a:lnTo>
                    <a:pt x="1235" y="2156"/>
                  </a:lnTo>
                  <a:lnTo>
                    <a:pt x="1340" y="2030"/>
                  </a:lnTo>
                  <a:lnTo>
                    <a:pt x="1403" y="2051"/>
                  </a:lnTo>
                  <a:lnTo>
                    <a:pt x="1466" y="1989"/>
                  </a:lnTo>
                  <a:lnTo>
                    <a:pt x="1612" y="1926"/>
                  </a:lnTo>
                  <a:lnTo>
                    <a:pt x="1717" y="1926"/>
                  </a:lnTo>
                  <a:lnTo>
                    <a:pt x="1738" y="1884"/>
                  </a:lnTo>
                  <a:lnTo>
                    <a:pt x="1863" y="1779"/>
                  </a:lnTo>
                  <a:lnTo>
                    <a:pt x="1968" y="1800"/>
                  </a:lnTo>
                  <a:lnTo>
                    <a:pt x="2072" y="1821"/>
                  </a:lnTo>
                  <a:lnTo>
                    <a:pt x="2156" y="1842"/>
                  </a:lnTo>
                  <a:lnTo>
                    <a:pt x="2282" y="1717"/>
                  </a:lnTo>
                  <a:lnTo>
                    <a:pt x="2386" y="1696"/>
                  </a:lnTo>
                  <a:lnTo>
                    <a:pt x="2449" y="1591"/>
                  </a:lnTo>
                  <a:lnTo>
                    <a:pt x="2595" y="1612"/>
                  </a:lnTo>
                  <a:lnTo>
                    <a:pt x="2700" y="1507"/>
                  </a:lnTo>
                  <a:lnTo>
                    <a:pt x="2679" y="1403"/>
                  </a:lnTo>
                  <a:lnTo>
                    <a:pt x="2888" y="1089"/>
                  </a:lnTo>
                  <a:lnTo>
                    <a:pt x="3014" y="754"/>
                  </a:lnTo>
                  <a:lnTo>
                    <a:pt x="3118" y="524"/>
                  </a:lnTo>
                  <a:lnTo>
                    <a:pt x="3286" y="482"/>
                  </a:lnTo>
                  <a:lnTo>
                    <a:pt x="3328" y="357"/>
                  </a:lnTo>
                  <a:lnTo>
                    <a:pt x="3307" y="336"/>
                  </a:lnTo>
                  <a:lnTo>
                    <a:pt x="3286" y="231"/>
                  </a:lnTo>
                  <a:lnTo>
                    <a:pt x="3118" y="126"/>
                  </a:lnTo>
                  <a:lnTo>
                    <a:pt x="299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 name="Google Shape;5943;p93">
              <a:extLst>
                <a:ext uri="{FF2B5EF4-FFF2-40B4-BE49-F238E27FC236}">
                  <a16:creationId xmlns:a16="http://schemas.microsoft.com/office/drawing/2014/main" id="{F0D24406-341F-4DB5-BB91-38A1025995DE}"/>
                </a:ext>
              </a:extLst>
            </p:cNvPr>
            <p:cNvSpPr/>
            <p:nvPr/>
          </p:nvSpPr>
          <p:spPr>
            <a:xfrm>
              <a:off x="3851727" y="2789842"/>
              <a:ext cx="34151" cy="14284"/>
            </a:xfrm>
            <a:custGeom>
              <a:avLst/>
              <a:gdLst/>
              <a:ahLst/>
              <a:cxnLst/>
              <a:rect l="l" t="t" r="r" b="b"/>
              <a:pathLst>
                <a:path w="2868" h="1256" extrusionOk="0">
                  <a:moveTo>
                    <a:pt x="2240" y="0"/>
                  </a:moveTo>
                  <a:lnTo>
                    <a:pt x="2177" y="21"/>
                  </a:lnTo>
                  <a:lnTo>
                    <a:pt x="2093" y="105"/>
                  </a:lnTo>
                  <a:lnTo>
                    <a:pt x="2010" y="42"/>
                  </a:lnTo>
                  <a:lnTo>
                    <a:pt x="1884" y="42"/>
                  </a:lnTo>
                  <a:lnTo>
                    <a:pt x="1779" y="21"/>
                  </a:lnTo>
                  <a:lnTo>
                    <a:pt x="1696" y="42"/>
                  </a:lnTo>
                  <a:lnTo>
                    <a:pt x="1612" y="147"/>
                  </a:lnTo>
                  <a:lnTo>
                    <a:pt x="1507" y="168"/>
                  </a:lnTo>
                  <a:lnTo>
                    <a:pt x="1486" y="147"/>
                  </a:lnTo>
                  <a:lnTo>
                    <a:pt x="1235" y="126"/>
                  </a:lnTo>
                  <a:lnTo>
                    <a:pt x="1089" y="230"/>
                  </a:lnTo>
                  <a:lnTo>
                    <a:pt x="942" y="251"/>
                  </a:lnTo>
                  <a:lnTo>
                    <a:pt x="775" y="419"/>
                  </a:lnTo>
                  <a:lnTo>
                    <a:pt x="566" y="440"/>
                  </a:lnTo>
                  <a:lnTo>
                    <a:pt x="336" y="523"/>
                  </a:lnTo>
                  <a:lnTo>
                    <a:pt x="294" y="460"/>
                  </a:lnTo>
                  <a:lnTo>
                    <a:pt x="147" y="481"/>
                  </a:lnTo>
                  <a:lnTo>
                    <a:pt x="22" y="565"/>
                  </a:lnTo>
                  <a:lnTo>
                    <a:pt x="1" y="565"/>
                  </a:lnTo>
                  <a:lnTo>
                    <a:pt x="1" y="753"/>
                  </a:lnTo>
                  <a:lnTo>
                    <a:pt x="22" y="984"/>
                  </a:lnTo>
                  <a:lnTo>
                    <a:pt x="419" y="1214"/>
                  </a:lnTo>
                  <a:lnTo>
                    <a:pt x="608" y="1256"/>
                  </a:lnTo>
                  <a:lnTo>
                    <a:pt x="817" y="1193"/>
                  </a:lnTo>
                  <a:lnTo>
                    <a:pt x="1131" y="1172"/>
                  </a:lnTo>
                  <a:lnTo>
                    <a:pt x="1131" y="1046"/>
                  </a:lnTo>
                  <a:lnTo>
                    <a:pt x="1277" y="984"/>
                  </a:lnTo>
                  <a:lnTo>
                    <a:pt x="1486" y="837"/>
                  </a:lnTo>
                  <a:lnTo>
                    <a:pt x="1654" y="1004"/>
                  </a:lnTo>
                  <a:lnTo>
                    <a:pt x="1654" y="900"/>
                  </a:lnTo>
                  <a:lnTo>
                    <a:pt x="1758" y="837"/>
                  </a:lnTo>
                  <a:lnTo>
                    <a:pt x="1863" y="670"/>
                  </a:lnTo>
                  <a:lnTo>
                    <a:pt x="2030" y="649"/>
                  </a:lnTo>
                  <a:lnTo>
                    <a:pt x="2177" y="670"/>
                  </a:lnTo>
                  <a:lnTo>
                    <a:pt x="2407" y="670"/>
                  </a:lnTo>
                  <a:lnTo>
                    <a:pt x="2595" y="691"/>
                  </a:lnTo>
                  <a:lnTo>
                    <a:pt x="2742" y="628"/>
                  </a:lnTo>
                  <a:lnTo>
                    <a:pt x="2763" y="419"/>
                  </a:lnTo>
                  <a:lnTo>
                    <a:pt x="2867" y="147"/>
                  </a:lnTo>
                  <a:lnTo>
                    <a:pt x="2637" y="21"/>
                  </a:lnTo>
                  <a:lnTo>
                    <a:pt x="2407" y="21"/>
                  </a:lnTo>
                  <a:lnTo>
                    <a:pt x="2344" y="42"/>
                  </a:lnTo>
                  <a:lnTo>
                    <a:pt x="224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 name="Google Shape;5944;p93">
              <a:extLst>
                <a:ext uri="{FF2B5EF4-FFF2-40B4-BE49-F238E27FC236}">
                  <a16:creationId xmlns:a16="http://schemas.microsoft.com/office/drawing/2014/main" id="{77D6DF67-9705-41B6-8375-D6E4958DBACC}"/>
                </a:ext>
              </a:extLst>
            </p:cNvPr>
            <p:cNvSpPr/>
            <p:nvPr/>
          </p:nvSpPr>
          <p:spPr>
            <a:xfrm>
              <a:off x="3869672" y="2845760"/>
              <a:ext cx="12967" cy="23803"/>
            </a:xfrm>
            <a:custGeom>
              <a:avLst/>
              <a:gdLst/>
              <a:ahLst/>
              <a:cxnLst/>
              <a:rect l="l" t="t" r="r" b="b"/>
              <a:pathLst>
                <a:path w="1089" h="2093" extrusionOk="0">
                  <a:moveTo>
                    <a:pt x="419" y="0"/>
                  </a:moveTo>
                  <a:lnTo>
                    <a:pt x="314" y="126"/>
                  </a:lnTo>
                  <a:lnTo>
                    <a:pt x="272" y="21"/>
                  </a:lnTo>
                  <a:lnTo>
                    <a:pt x="210" y="21"/>
                  </a:lnTo>
                  <a:lnTo>
                    <a:pt x="84" y="147"/>
                  </a:lnTo>
                  <a:lnTo>
                    <a:pt x="0" y="314"/>
                  </a:lnTo>
                  <a:lnTo>
                    <a:pt x="0" y="544"/>
                  </a:lnTo>
                  <a:lnTo>
                    <a:pt x="189" y="628"/>
                  </a:lnTo>
                  <a:lnTo>
                    <a:pt x="168" y="691"/>
                  </a:lnTo>
                  <a:lnTo>
                    <a:pt x="105" y="733"/>
                  </a:lnTo>
                  <a:lnTo>
                    <a:pt x="63" y="984"/>
                  </a:lnTo>
                  <a:lnTo>
                    <a:pt x="105" y="1172"/>
                  </a:lnTo>
                  <a:lnTo>
                    <a:pt x="63" y="1277"/>
                  </a:lnTo>
                  <a:lnTo>
                    <a:pt x="63" y="1423"/>
                  </a:lnTo>
                  <a:lnTo>
                    <a:pt x="147" y="1528"/>
                  </a:lnTo>
                  <a:lnTo>
                    <a:pt x="84" y="1674"/>
                  </a:lnTo>
                  <a:lnTo>
                    <a:pt x="147" y="1716"/>
                  </a:lnTo>
                  <a:lnTo>
                    <a:pt x="377" y="1737"/>
                  </a:lnTo>
                  <a:lnTo>
                    <a:pt x="482" y="2009"/>
                  </a:lnTo>
                  <a:lnTo>
                    <a:pt x="565" y="2093"/>
                  </a:lnTo>
                  <a:lnTo>
                    <a:pt x="628" y="2030"/>
                  </a:lnTo>
                  <a:lnTo>
                    <a:pt x="712" y="1883"/>
                  </a:lnTo>
                  <a:lnTo>
                    <a:pt x="733" y="1737"/>
                  </a:lnTo>
                  <a:lnTo>
                    <a:pt x="942" y="1674"/>
                  </a:lnTo>
                  <a:lnTo>
                    <a:pt x="1047" y="1507"/>
                  </a:lnTo>
                  <a:lnTo>
                    <a:pt x="1088" y="1360"/>
                  </a:lnTo>
                  <a:lnTo>
                    <a:pt x="942" y="1256"/>
                  </a:lnTo>
                  <a:lnTo>
                    <a:pt x="900" y="1109"/>
                  </a:lnTo>
                  <a:lnTo>
                    <a:pt x="795" y="963"/>
                  </a:lnTo>
                  <a:lnTo>
                    <a:pt x="775" y="753"/>
                  </a:lnTo>
                  <a:lnTo>
                    <a:pt x="795" y="544"/>
                  </a:lnTo>
                  <a:lnTo>
                    <a:pt x="775" y="481"/>
                  </a:lnTo>
                  <a:lnTo>
                    <a:pt x="775" y="335"/>
                  </a:lnTo>
                  <a:lnTo>
                    <a:pt x="712" y="230"/>
                  </a:lnTo>
                  <a:lnTo>
                    <a:pt x="607" y="147"/>
                  </a:lnTo>
                  <a:lnTo>
                    <a:pt x="565" y="147"/>
                  </a:lnTo>
                  <a:lnTo>
                    <a:pt x="482" y="21"/>
                  </a:lnTo>
                  <a:lnTo>
                    <a:pt x="41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 name="Google Shape;5945;p93">
              <a:extLst>
                <a:ext uri="{FF2B5EF4-FFF2-40B4-BE49-F238E27FC236}">
                  <a16:creationId xmlns:a16="http://schemas.microsoft.com/office/drawing/2014/main" id="{1F5172F1-88F8-4264-AB25-93115A659509}"/>
                </a:ext>
              </a:extLst>
            </p:cNvPr>
            <p:cNvSpPr/>
            <p:nvPr/>
          </p:nvSpPr>
          <p:spPr>
            <a:xfrm>
              <a:off x="3863444" y="2836958"/>
              <a:ext cx="12467" cy="15000"/>
            </a:xfrm>
            <a:custGeom>
              <a:avLst/>
              <a:gdLst/>
              <a:ahLst/>
              <a:cxnLst/>
              <a:rect l="l" t="t" r="r" b="b"/>
              <a:pathLst>
                <a:path w="1047" h="1319" extrusionOk="0">
                  <a:moveTo>
                    <a:pt x="293" y="0"/>
                  </a:moveTo>
                  <a:lnTo>
                    <a:pt x="210" y="63"/>
                  </a:lnTo>
                  <a:lnTo>
                    <a:pt x="210" y="167"/>
                  </a:lnTo>
                  <a:lnTo>
                    <a:pt x="314" y="209"/>
                  </a:lnTo>
                  <a:lnTo>
                    <a:pt x="356" y="293"/>
                  </a:lnTo>
                  <a:lnTo>
                    <a:pt x="272" y="356"/>
                  </a:lnTo>
                  <a:lnTo>
                    <a:pt x="189" y="356"/>
                  </a:lnTo>
                  <a:lnTo>
                    <a:pt x="147" y="481"/>
                  </a:lnTo>
                  <a:lnTo>
                    <a:pt x="147" y="628"/>
                  </a:lnTo>
                  <a:lnTo>
                    <a:pt x="84" y="732"/>
                  </a:lnTo>
                  <a:lnTo>
                    <a:pt x="0" y="795"/>
                  </a:lnTo>
                  <a:lnTo>
                    <a:pt x="63" y="837"/>
                  </a:lnTo>
                  <a:lnTo>
                    <a:pt x="168" y="879"/>
                  </a:lnTo>
                  <a:lnTo>
                    <a:pt x="377" y="1151"/>
                  </a:lnTo>
                  <a:lnTo>
                    <a:pt x="398" y="1235"/>
                  </a:lnTo>
                  <a:lnTo>
                    <a:pt x="523" y="1318"/>
                  </a:lnTo>
                  <a:lnTo>
                    <a:pt x="523" y="1088"/>
                  </a:lnTo>
                  <a:lnTo>
                    <a:pt x="607" y="921"/>
                  </a:lnTo>
                  <a:lnTo>
                    <a:pt x="733" y="795"/>
                  </a:lnTo>
                  <a:lnTo>
                    <a:pt x="795" y="795"/>
                  </a:lnTo>
                  <a:lnTo>
                    <a:pt x="837" y="900"/>
                  </a:lnTo>
                  <a:lnTo>
                    <a:pt x="942" y="774"/>
                  </a:lnTo>
                  <a:lnTo>
                    <a:pt x="984" y="711"/>
                  </a:lnTo>
                  <a:lnTo>
                    <a:pt x="1046" y="628"/>
                  </a:lnTo>
                  <a:lnTo>
                    <a:pt x="1046" y="502"/>
                  </a:lnTo>
                  <a:lnTo>
                    <a:pt x="900" y="481"/>
                  </a:lnTo>
                  <a:lnTo>
                    <a:pt x="816" y="398"/>
                  </a:lnTo>
                  <a:lnTo>
                    <a:pt x="691" y="398"/>
                  </a:lnTo>
                  <a:lnTo>
                    <a:pt x="628" y="314"/>
                  </a:lnTo>
                  <a:lnTo>
                    <a:pt x="628" y="251"/>
                  </a:lnTo>
                  <a:lnTo>
                    <a:pt x="502" y="105"/>
                  </a:lnTo>
                  <a:lnTo>
                    <a:pt x="502" y="146"/>
                  </a:lnTo>
                  <a:lnTo>
                    <a:pt x="398" y="84"/>
                  </a:lnTo>
                  <a:lnTo>
                    <a:pt x="29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 name="Google Shape;5946;p93">
              <a:extLst>
                <a:ext uri="{FF2B5EF4-FFF2-40B4-BE49-F238E27FC236}">
                  <a16:creationId xmlns:a16="http://schemas.microsoft.com/office/drawing/2014/main" id="{911ED0D3-0639-4AE7-ACD0-64EF624F4C53}"/>
                </a:ext>
              </a:extLst>
            </p:cNvPr>
            <p:cNvSpPr/>
            <p:nvPr/>
          </p:nvSpPr>
          <p:spPr>
            <a:xfrm>
              <a:off x="3844761" y="2824346"/>
              <a:ext cx="25923" cy="21665"/>
            </a:xfrm>
            <a:custGeom>
              <a:avLst/>
              <a:gdLst/>
              <a:ahLst/>
              <a:cxnLst/>
              <a:rect l="l" t="t" r="r" b="b"/>
              <a:pathLst>
                <a:path w="2177" h="1905" extrusionOk="0">
                  <a:moveTo>
                    <a:pt x="105" y="0"/>
                  </a:moveTo>
                  <a:lnTo>
                    <a:pt x="63" y="42"/>
                  </a:lnTo>
                  <a:lnTo>
                    <a:pt x="63" y="167"/>
                  </a:lnTo>
                  <a:lnTo>
                    <a:pt x="0" y="230"/>
                  </a:lnTo>
                  <a:lnTo>
                    <a:pt x="42" y="314"/>
                  </a:lnTo>
                  <a:lnTo>
                    <a:pt x="84" y="314"/>
                  </a:lnTo>
                  <a:lnTo>
                    <a:pt x="209" y="439"/>
                  </a:lnTo>
                  <a:lnTo>
                    <a:pt x="251" y="544"/>
                  </a:lnTo>
                  <a:lnTo>
                    <a:pt x="314" y="649"/>
                  </a:lnTo>
                  <a:lnTo>
                    <a:pt x="272" y="670"/>
                  </a:lnTo>
                  <a:lnTo>
                    <a:pt x="293" y="753"/>
                  </a:lnTo>
                  <a:lnTo>
                    <a:pt x="774" y="1151"/>
                  </a:lnTo>
                  <a:lnTo>
                    <a:pt x="1151" y="1611"/>
                  </a:lnTo>
                  <a:lnTo>
                    <a:pt x="1109" y="1695"/>
                  </a:lnTo>
                  <a:lnTo>
                    <a:pt x="1193" y="1716"/>
                  </a:lnTo>
                  <a:lnTo>
                    <a:pt x="1402" y="1737"/>
                  </a:lnTo>
                  <a:lnTo>
                    <a:pt x="1465" y="1716"/>
                  </a:lnTo>
                  <a:lnTo>
                    <a:pt x="1569" y="1904"/>
                  </a:lnTo>
                  <a:lnTo>
                    <a:pt x="1653" y="1841"/>
                  </a:lnTo>
                  <a:lnTo>
                    <a:pt x="1716" y="1737"/>
                  </a:lnTo>
                  <a:lnTo>
                    <a:pt x="1716" y="1590"/>
                  </a:lnTo>
                  <a:lnTo>
                    <a:pt x="1758" y="1465"/>
                  </a:lnTo>
                  <a:lnTo>
                    <a:pt x="1841" y="1465"/>
                  </a:lnTo>
                  <a:lnTo>
                    <a:pt x="1925" y="1402"/>
                  </a:lnTo>
                  <a:lnTo>
                    <a:pt x="1883" y="1318"/>
                  </a:lnTo>
                  <a:lnTo>
                    <a:pt x="1779" y="1276"/>
                  </a:lnTo>
                  <a:lnTo>
                    <a:pt x="1779" y="1172"/>
                  </a:lnTo>
                  <a:lnTo>
                    <a:pt x="1862" y="1109"/>
                  </a:lnTo>
                  <a:lnTo>
                    <a:pt x="1967" y="1193"/>
                  </a:lnTo>
                  <a:lnTo>
                    <a:pt x="2071" y="1255"/>
                  </a:lnTo>
                  <a:lnTo>
                    <a:pt x="2134" y="1193"/>
                  </a:lnTo>
                  <a:lnTo>
                    <a:pt x="1988" y="1046"/>
                  </a:lnTo>
                  <a:lnTo>
                    <a:pt x="1988" y="900"/>
                  </a:lnTo>
                  <a:lnTo>
                    <a:pt x="2051" y="879"/>
                  </a:lnTo>
                  <a:lnTo>
                    <a:pt x="2155" y="942"/>
                  </a:lnTo>
                  <a:lnTo>
                    <a:pt x="2176" y="858"/>
                  </a:lnTo>
                  <a:lnTo>
                    <a:pt x="2134" y="795"/>
                  </a:lnTo>
                  <a:lnTo>
                    <a:pt x="2030" y="774"/>
                  </a:lnTo>
                  <a:lnTo>
                    <a:pt x="1862" y="649"/>
                  </a:lnTo>
                  <a:lnTo>
                    <a:pt x="1862" y="565"/>
                  </a:lnTo>
                  <a:lnTo>
                    <a:pt x="1967" y="419"/>
                  </a:lnTo>
                  <a:lnTo>
                    <a:pt x="1988" y="251"/>
                  </a:lnTo>
                  <a:lnTo>
                    <a:pt x="1925" y="251"/>
                  </a:lnTo>
                  <a:lnTo>
                    <a:pt x="1862" y="272"/>
                  </a:lnTo>
                  <a:lnTo>
                    <a:pt x="1820" y="230"/>
                  </a:lnTo>
                  <a:lnTo>
                    <a:pt x="1653" y="230"/>
                  </a:lnTo>
                  <a:lnTo>
                    <a:pt x="1548" y="126"/>
                  </a:lnTo>
                  <a:lnTo>
                    <a:pt x="1465" y="147"/>
                  </a:lnTo>
                  <a:lnTo>
                    <a:pt x="1339" y="105"/>
                  </a:lnTo>
                  <a:lnTo>
                    <a:pt x="1214" y="126"/>
                  </a:lnTo>
                  <a:lnTo>
                    <a:pt x="1193" y="63"/>
                  </a:lnTo>
                  <a:lnTo>
                    <a:pt x="1088" y="126"/>
                  </a:lnTo>
                  <a:lnTo>
                    <a:pt x="942" y="63"/>
                  </a:lnTo>
                  <a:lnTo>
                    <a:pt x="900" y="126"/>
                  </a:lnTo>
                  <a:lnTo>
                    <a:pt x="837" y="21"/>
                  </a:lnTo>
                  <a:lnTo>
                    <a:pt x="732" y="0"/>
                  </a:lnTo>
                  <a:lnTo>
                    <a:pt x="690" y="42"/>
                  </a:lnTo>
                  <a:lnTo>
                    <a:pt x="607" y="0"/>
                  </a:lnTo>
                  <a:lnTo>
                    <a:pt x="565" y="63"/>
                  </a:lnTo>
                  <a:lnTo>
                    <a:pt x="481" y="42"/>
                  </a:lnTo>
                  <a:lnTo>
                    <a:pt x="377" y="63"/>
                  </a:lnTo>
                  <a:lnTo>
                    <a:pt x="377" y="147"/>
                  </a:lnTo>
                  <a:lnTo>
                    <a:pt x="293" y="167"/>
                  </a:lnTo>
                  <a:lnTo>
                    <a:pt x="251" y="105"/>
                  </a:lnTo>
                  <a:lnTo>
                    <a:pt x="10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 name="Google Shape;5947;p93">
              <a:extLst>
                <a:ext uri="{FF2B5EF4-FFF2-40B4-BE49-F238E27FC236}">
                  <a16:creationId xmlns:a16="http://schemas.microsoft.com/office/drawing/2014/main" id="{AB733121-5C05-4228-8F58-4B050A2A6D14}"/>
                </a:ext>
              </a:extLst>
            </p:cNvPr>
            <p:cNvSpPr/>
            <p:nvPr/>
          </p:nvSpPr>
          <p:spPr>
            <a:xfrm>
              <a:off x="3830555" y="2811734"/>
              <a:ext cx="20195" cy="12146"/>
            </a:xfrm>
            <a:custGeom>
              <a:avLst/>
              <a:gdLst/>
              <a:ahLst/>
              <a:cxnLst/>
              <a:rect l="l" t="t" r="r" b="b"/>
              <a:pathLst>
                <a:path w="1696" h="1068" extrusionOk="0">
                  <a:moveTo>
                    <a:pt x="1507" y="0"/>
                  </a:moveTo>
                  <a:lnTo>
                    <a:pt x="1381" y="63"/>
                  </a:lnTo>
                  <a:lnTo>
                    <a:pt x="1130" y="209"/>
                  </a:lnTo>
                  <a:lnTo>
                    <a:pt x="1067" y="188"/>
                  </a:lnTo>
                  <a:lnTo>
                    <a:pt x="984" y="209"/>
                  </a:lnTo>
                  <a:lnTo>
                    <a:pt x="858" y="272"/>
                  </a:lnTo>
                  <a:lnTo>
                    <a:pt x="733" y="272"/>
                  </a:lnTo>
                  <a:lnTo>
                    <a:pt x="607" y="314"/>
                  </a:lnTo>
                  <a:lnTo>
                    <a:pt x="523" y="230"/>
                  </a:lnTo>
                  <a:lnTo>
                    <a:pt x="251" y="230"/>
                  </a:lnTo>
                  <a:lnTo>
                    <a:pt x="147" y="209"/>
                  </a:lnTo>
                  <a:lnTo>
                    <a:pt x="21" y="419"/>
                  </a:lnTo>
                  <a:lnTo>
                    <a:pt x="84" y="502"/>
                  </a:lnTo>
                  <a:lnTo>
                    <a:pt x="0" y="628"/>
                  </a:lnTo>
                  <a:lnTo>
                    <a:pt x="21" y="816"/>
                  </a:lnTo>
                  <a:lnTo>
                    <a:pt x="42" y="816"/>
                  </a:lnTo>
                  <a:lnTo>
                    <a:pt x="147" y="858"/>
                  </a:lnTo>
                  <a:lnTo>
                    <a:pt x="147" y="942"/>
                  </a:lnTo>
                  <a:lnTo>
                    <a:pt x="42" y="963"/>
                  </a:lnTo>
                  <a:lnTo>
                    <a:pt x="42" y="1067"/>
                  </a:lnTo>
                  <a:lnTo>
                    <a:pt x="251" y="1067"/>
                  </a:lnTo>
                  <a:lnTo>
                    <a:pt x="398" y="963"/>
                  </a:lnTo>
                  <a:lnTo>
                    <a:pt x="523" y="921"/>
                  </a:lnTo>
                  <a:lnTo>
                    <a:pt x="733" y="1025"/>
                  </a:lnTo>
                  <a:lnTo>
                    <a:pt x="858" y="1025"/>
                  </a:lnTo>
                  <a:lnTo>
                    <a:pt x="879" y="816"/>
                  </a:lnTo>
                  <a:lnTo>
                    <a:pt x="1067" y="732"/>
                  </a:lnTo>
                  <a:lnTo>
                    <a:pt x="1088" y="586"/>
                  </a:lnTo>
                  <a:lnTo>
                    <a:pt x="1444" y="398"/>
                  </a:lnTo>
                  <a:lnTo>
                    <a:pt x="1695" y="398"/>
                  </a:lnTo>
                  <a:lnTo>
                    <a:pt x="1674" y="188"/>
                  </a:lnTo>
                  <a:lnTo>
                    <a:pt x="150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 name="Google Shape;5948;p93">
              <a:extLst>
                <a:ext uri="{FF2B5EF4-FFF2-40B4-BE49-F238E27FC236}">
                  <a16:creationId xmlns:a16="http://schemas.microsoft.com/office/drawing/2014/main" id="{DA1A1021-5C1C-414D-AB02-7D781382ADE2}"/>
                </a:ext>
              </a:extLst>
            </p:cNvPr>
            <p:cNvSpPr/>
            <p:nvPr/>
          </p:nvSpPr>
          <p:spPr>
            <a:xfrm>
              <a:off x="3804645" y="2793401"/>
              <a:ext cx="47594" cy="21903"/>
            </a:xfrm>
            <a:custGeom>
              <a:avLst/>
              <a:gdLst/>
              <a:ahLst/>
              <a:cxnLst/>
              <a:rect l="l" t="t" r="r" b="b"/>
              <a:pathLst>
                <a:path w="3997" h="1926" extrusionOk="0">
                  <a:moveTo>
                    <a:pt x="2846" y="1"/>
                  </a:moveTo>
                  <a:lnTo>
                    <a:pt x="2804" y="106"/>
                  </a:lnTo>
                  <a:lnTo>
                    <a:pt x="2741" y="147"/>
                  </a:lnTo>
                  <a:lnTo>
                    <a:pt x="2720" y="252"/>
                  </a:lnTo>
                  <a:lnTo>
                    <a:pt x="2574" y="252"/>
                  </a:lnTo>
                  <a:lnTo>
                    <a:pt x="2511" y="315"/>
                  </a:lnTo>
                  <a:lnTo>
                    <a:pt x="2218" y="147"/>
                  </a:lnTo>
                  <a:lnTo>
                    <a:pt x="2155" y="147"/>
                  </a:lnTo>
                  <a:lnTo>
                    <a:pt x="2114" y="252"/>
                  </a:lnTo>
                  <a:lnTo>
                    <a:pt x="2114" y="357"/>
                  </a:lnTo>
                  <a:lnTo>
                    <a:pt x="2051" y="357"/>
                  </a:lnTo>
                  <a:lnTo>
                    <a:pt x="1967" y="461"/>
                  </a:lnTo>
                  <a:lnTo>
                    <a:pt x="1842" y="545"/>
                  </a:lnTo>
                  <a:lnTo>
                    <a:pt x="1674" y="733"/>
                  </a:lnTo>
                  <a:lnTo>
                    <a:pt x="1674" y="796"/>
                  </a:lnTo>
                  <a:lnTo>
                    <a:pt x="1842" y="880"/>
                  </a:lnTo>
                  <a:lnTo>
                    <a:pt x="1863" y="984"/>
                  </a:lnTo>
                  <a:lnTo>
                    <a:pt x="1779" y="1047"/>
                  </a:lnTo>
                  <a:lnTo>
                    <a:pt x="1653" y="963"/>
                  </a:lnTo>
                  <a:lnTo>
                    <a:pt x="1528" y="984"/>
                  </a:lnTo>
                  <a:lnTo>
                    <a:pt x="1381" y="963"/>
                  </a:lnTo>
                  <a:lnTo>
                    <a:pt x="1319" y="963"/>
                  </a:lnTo>
                  <a:lnTo>
                    <a:pt x="1130" y="1089"/>
                  </a:lnTo>
                  <a:lnTo>
                    <a:pt x="1026" y="1110"/>
                  </a:lnTo>
                  <a:lnTo>
                    <a:pt x="942" y="1089"/>
                  </a:lnTo>
                  <a:lnTo>
                    <a:pt x="837" y="1110"/>
                  </a:lnTo>
                  <a:lnTo>
                    <a:pt x="754" y="1047"/>
                  </a:lnTo>
                  <a:lnTo>
                    <a:pt x="440" y="1047"/>
                  </a:lnTo>
                  <a:lnTo>
                    <a:pt x="440" y="1110"/>
                  </a:lnTo>
                  <a:lnTo>
                    <a:pt x="419" y="1173"/>
                  </a:lnTo>
                  <a:lnTo>
                    <a:pt x="272" y="1152"/>
                  </a:lnTo>
                  <a:lnTo>
                    <a:pt x="189" y="1047"/>
                  </a:lnTo>
                  <a:lnTo>
                    <a:pt x="84" y="1089"/>
                  </a:lnTo>
                  <a:lnTo>
                    <a:pt x="21" y="1110"/>
                  </a:lnTo>
                  <a:lnTo>
                    <a:pt x="0" y="1110"/>
                  </a:lnTo>
                  <a:lnTo>
                    <a:pt x="63" y="1173"/>
                  </a:lnTo>
                  <a:lnTo>
                    <a:pt x="63" y="1256"/>
                  </a:lnTo>
                  <a:lnTo>
                    <a:pt x="105" y="1298"/>
                  </a:lnTo>
                  <a:lnTo>
                    <a:pt x="105" y="1403"/>
                  </a:lnTo>
                  <a:lnTo>
                    <a:pt x="210" y="1403"/>
                  </a:lnTo>
                  <a:lnTo>
                    <a:pt x="293" y="1382"/>
                  </a:lnTo>
                  <a:lnTo>
                    <a:pt x="398" y="1507"/>
                  </a:lnTo>
                  <a:lnTo>
                    <a:pt x="502" y="1403"/>
                  </a:lnTo>
                  <a:lnTo>
                    <a:pt x="586" y="1403"/>
                  </a:lnTo>
                  <a:lnTo>
                    <a:pt x="628" y="1507"/>
                  </a:lnTo>
                  <a:lnTo>
                    <a:pt x="837" y="1591"/>
                  </a:lnTo>
                  <a:lnTo>
                    <a:pt x="1130" y="1403"/>
                  </a:lnTo>
                  <a:lnTo>
                    <a:pt x="1256" y="1424"/>
                  </a:lnTo>
                  <a:lnTo>
                    <a:pt x="1444" y="1424"/>
                  </a:lnTo>
                  <a:lnTo>
                    <a:pt x="1444" y="1528"/>
                  </a:lnTo>
                  <a:lnTo>
                    <a:pt x="1737" y="1717"/>
                  </a:lnTo>
                  <a:lnTo>
                    <a:pt x="2072" y="1779"/>
                  </a:lnTo>
                  <a:lnTo>
                    <a:pt x="2260" y="1738"/>
                  </a:lnTo>
                  <a:lnTo>
                    <a:pt x="2323" y="1821"/>
                  </a:lnTo>
                  <a:lnTo>
                    <a:pt x="2427" y="1842"/>
                  </a:lnTo>
                  <a:lnTo>
                    <a:pt x="2699" y="1842"/>
                  </a:lnTo>
                  <a:lnTo>
                    <a:pt x="2783" y="1926"/>
                  </a:lnTo>
                  <a:lnTo>
                    <a:pt x="2909" y="1884"/>
                  </a:lnTo>
                  <a:lnTo>
                    <a:pt x="3034" y="1884"/>
                  </a:lnTo>
                  <a:lnTo>
                    <a:pt x="3160" y="1821"/>
                  </a:lnTo>
                  <a:lnTo>
                    <a:pt x="3243" y="1800"/>
                  </a:lnTo>
                  <a:lnTo>
                    <a:pt x="3306" y="1821"/>
                  </a:lnTo>
                  <a:lnTo>
                    <a:pt x="3557" y="1675"/>
                  </a:lnTo>
                  <a:lnTo>
                    <a:pt x="3683" y="1612"/>
                  </a:lnTo>
                  <a:lnTo>
                    <a:pt x="3725" y="1612"/>
                  </a:lnTo>
                  <a:lnTo>
                    <a:pt x="3829" y="1507"/>
                  </a:lnTo>
                  <a:lnTo>
                    <a:pt x="3746" y="1403"/>
                  </a:lnTo>
                  <a:lnTo>
                    <a:pt x="3767" y="1298"/>
                  </a:lnTo>
                  <a:lnTo>
                    <a:pt x="3829" y="1152"/>
                  </a:lnTo>
                  <a:lnTo>
                    <a:pt x="3725" y="1047"/>
                  </a:lnTo>
                  <a:lnTo>
                    <a:pt x="3746" y="984"/>
                  </a:lnTo>
                  <a:lnTo>
                    <a:pt x="3976" y="984"/>
                  </a:lnTo>
                  <a:lnTo>
                    <a:pt x="3997" y="880"/>
                  </a:lnTo>
                  <a:lnTo>
                    <a:pt x="3976" y="754"/>
                  </a:lnTo>
                  <a:lnTo>
                    <a:pt x="3976" y="671"/>
                  </a:lnTo>
                  <a:lnTo>
                    <a:pt x="3955" y="440"/>
                  </a:lnTo>
                  <a:lnTo>
                    <a:pt x="3955" y="252"/>
                  </a:lnTo>
                  <a:lnTo>
                    <a:pt x="3725" y="210"/>
                  </a:lnTo>
                  <a:lnTo>
                    <a:pt x="3641" y="127"/>
                  </a:lnTo>
                  <a:lnTo>
                    <a:pt x="3474" y="147"/>
                  </a:lnTo>
                  <a:lnTo>
                    <a:pt x="3327" y="147"/>
                  </a:lnTo>
                  <a:lnTo>
                    <a:pt x="3160" y="43"/>
                  </a:lnTo>
                  <a:lnTo>
                    <a:pt x="2951" y="43"/>
                  </a:lnTo>
                  <a:lnTo>
                    <a:pt x="284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 name="Google Shape;5949;p93">
              <a:extLst>
                <a:ext uri="{FF2B5EF4-FFF2-40B4-BE49-F238E27FC236}">
                  <a16:creationId xmlns:a16="http://schemas.microsoft.com/office/drawing/2014/main" id="{3497C1FE-913D-48A1-BEB0-9738381905F3}"/>
                </a:ext>
              </a:extLst>
            </p:cNvPr>
            <p:cNvSpPr/>
            <p:nvPr/>
          </p:nvSpPr>
          <p:spPr>
            <a:xfrm>
              <a:off x="3831556" y="2741054"/>
              <a:ext cx="63038" cy="50699"/>
            </a:xfrm>
            <a:custGeom>
              <a:avLst/>
              <a:gdLst/>
              <a:ahLst/>
              <a:cxnLst/>
              <a:rect l="l" t="t" r="r" b="b"/>
              <a:pathLst>
                <a:path w="5294" h="4458" extrusionOk="0">
                  <a:moveTo>
                    <a:pt x="1883" y="1"/>
                  </a:moveTo>
                  <a:lnTo>
                    <a:pt x="1632" y="105"/>
                  </a:lnTo>
                  <a:lnTo>
                    <a:pt x="1486" y="105"/>
                  </a:lnTo>
                  <a:lnTo>
                    <a:pt x="1318" y="147"/>
                  </a:lnTo>
                  <a:lnTo>
                    <a:pt x="1214" y="315"/>
                  </a:lnTo>
                  <a:lnTo>
                    <a:pt x="1046" y="315"/>
                  </a:lnTo>
                  <a:lnTo>
                    <a:pt x="942" y="398"/>
                  </a:lnTo>
                  <a:lnTo>
                    <a:pt x="942" y="524"/>
                  </a:lnTo>
                  <a:lnTo>
                    <a:pt x="753" y="524"/>
                  </a:lnTo>
                  <a:lnTo>
                    <a:pt x="481" y="670"/>
                  </a:lnTo>
                  <a:lnTo>
                    <a:pt x="314" y="670"/>
                  </a:lnTo>
                  <a:lnTo>
                    <a:pt x="251" y="796"/>
                  </a:lnTo>
                  <a:lnTo>
                    <a:pt x="209" y="963"/>
                  </a:lnTo>
                  <a:lnTo>
                    <a:pt x="147" y="984"/>
                  </a:lnTo>
                  <a:lnTo>
                    <a:pt x="167" y="1047"/>
                  </a:lnTo>
                  <a:lnTo>
                    <a:pt x="126" y="1047"/>
                  </a:lnTo>
                  <a:lnTo>
                    <a:pt x="167" y="1298"/>
                  </a:lnTo>
                  <a:lnTo>
                    <a:pt x="147" y="1486"/>
                  </a:lnTo>
                  <a:lnTo>
                    <a:pt x="0" y="1570"/>
                  </a:lnTo>
                  <a:lnTo>
                    <a:pt x="0" y="1633"/>
                  </a:lnTo>
                  <a:lnTo>
                    <a:pt x="167" y="1842"/>
                  </a:lnTo>
                  <a:lnTo>
                    <a:pt x="147" y="1947"/>
                  </a:lnTo>
                  <a:lnTo>
                    <a:pt x="230" y="2051"/>
                  </a:lnTo>
                  <a:lnTo>
                    <a:pt x="230" y="2135"/>
                  </a:lnTo>
                  <a:lnTo>
                    <a:pt x="272" y="2261"/>
                  </a:lnTo>
                  <a:lnTo>
                    <a:pt x="230" y="2365"/>
                  </a:lnTo>
                  <a:lnTo>
                    <a:pt x="335" y="2616"/>
                  </a:lnTo>
                  <a:lnTo>
                    <a:pt x="419" y="2658"/>
                  </a:lnTo>
                  <a:lnTo>
                    <a:pt x="481" y="2742"/>
                  </a:lnTo>
                  <a:lnTo>
                    <a:pt x="481" y="3056"/>
                  </a:lnTo>
                  <a:lnTo>
                    <a:pt x="460" y="3097"/>
                  </a:lnTo>
                  <a:lnTo>
                    <a:pt x="523" y="3181"/>
                  </a:lnTo>
                  <a:lnTo>
                    <a:pt x="565" y="3139"/>
                  </a:lnTo>
                  <a:lnTo>
                    <a:pt x="649" y="3160"/>
                  </a:lnTo>
                  <a:lnTo>
                    <a:pt x="732" y="3097"/>
                  </a:lnTo>
                  <a:lnTo>
                    <a:pt x="963" y="3160"/>
                  </a:lnTo>
                  <a:lnTo>
                    <a:pt x="942" y="3202"/>
                  </a:lnTo>
                  <a:lnTo>
                    <a:pt x="1046" y="3307"/>
                  </a:lnTo>
                  <a:lnTo>
                    <a:pt x="1151" y="3307"/>
                  </a:lnTo>
                  <a:lnTo>
                    <a:pt x="1214" y="3390"/>
                  </a:lnTo>
                  <a:lnTo>
                    <a:pt x="1172" y="3495"/>
                  </a:lnTo>
                  <a:lnTo>
                    <a:pt x="1193" y="3579"/>
                  </a:lnTo>
                  <a:lnTo>
                    <a:pt x="1255" y="3600"/>
                  </a:lnTo>
                  <a:lnTo>
                    <a:pt x="1255" y="3704"/>
                  </a:lnTo>
                  <a:lnTo>
                    <a:pt x="1318" y="3725"/>
                  </a:lnTo>
                  <a:lnTo>
                    <a:pt x="1381" y="3683"/>
                  </a:lnTo>
                  <a:lnTo>
                    <a:pt x="1465" y="3683"/>
                  </a:lnTo>
                  <a:lnTo>
                    <a:pt x="1318" y="3516"/>
                  </a:lnTo>
                  <a:lnTo>
                    <a:pt x="1381" y="3474"/>
                  </a:lnTo>
                  <a:lnTo>
                    <a:pt x="1632" y="3621"/>
                  </a:lnTo>
                  <a:lnTo>
                    <a:pt x="1820" y="3600"/>
                  </a:lnTo>
                  <a:lnTo>
                    <a:pt x="1779" y="3704"/>
                  </a:lnTo>
                  <a:lnTo>
                    <a:pt x="1904" y="3809"/>
                  </a:lnTo>
                  <a:lnTo>
                    <a:pt x="2134" y="3767"/>
                  </a:lnTo>
                  <a:lnTo>
                    <a:pt x="2302" y="3809"/>
                  </a:lnTo>
                  <a:lnTo>
                    <a:pt x="2636" y="4081"/>
                  </a:lnTo>
                  <a:lnTo>
                    <a:pt x="2762" y="4248"/>
                  </a:lnTo>
                  <a:lnTo>
                    <a:pt x="2846" y="4248"/>
                  </a:lnTo>
                  <a:lnTo>
                    <a:pt x="2888" y="4206"/>
                  </a:lnTo>
                  <a:lnTo>
                    <a:pt x="3055" y="4206"/>
                  </a:lnTo>
                  <a:lnTo>
                    <a:pt x="3139" y="4290"/>
                  </a:lnTo>
                  <a:lnTo>
                    <a:pt x="3180" y="4437"/>
                  </a:lnTo>
                  <a:lnTo>
                    <a:pt x="3201" y="4458"/>
                  </a:lnTo>
                  <a:lnTo>
                    <a:pt x="3306" y="4437"/>
                  </a:lnTo>
                  <a:lnTo>
                    <a:pt x="3390" y="4332"/>
                  </a:lnTo>
                  <a:lnTo>
                    <a:pt x="3473" y="4311"/>
                  </a:lnTo>
                  <a:lnTo>
                    <a:pt x="3578" y="4332"/>
                  </a:lnTo>
                  <a:lnTo>
                    <a:pt x="3704" y="4332"/>
                  </a:lnTo>
                  <a:lnTo>
                    <a:pt x="3787" y="4395"/>
                  </a:lnTo>
                  <a:lnTo>
                    <a:pt x="3871" y="4311"/>
                  </a:lnTo>
                  <a:lnTo>
                    <a:pt x="3934" y="4290"/>
                  </a:lnTo>
                  <a:lnTo>
                    <a:pt x="4038" y="4332"/>
                  </a:lnTo>
                  <a:lnTo>
                    <a:pt x="4101" y="4311"/>
                  </a:lnTo>
                  <a:lnTo>
                    <a:pt x="4331" y="4311"/>
                  </a:lnTo>
                  <a:lnTo>
                    <a:pt x="4561" y="4437"/>
                  </a:lnTo>
                  <a:lnTo>
                    <a:pt x="4708" y="4458"/>
                  </a:lnTo>
                  <a:lnTo>
                    <a:pt x="4708" y="4290"/>
                  </a:lnTo>
                  <a:lnTo>
                    <a:pt x="4666" y="4123"/>
                  </a:lnTo>
                  <a:lnTo>
                    <a:pt x="5043" y="3725"/>
                  </a:lnTo>
                  <a:lnTo>
                    <a:pt x="5064" y="3558"/>
                  </a:lnTo>
                  <a:lnTo>
                    <a:pt x="5168" y="3474"/>
                  </a:lnTo>
                  <a:lnTo>
                    <a:pt x="5252" y="3474"/>
                  </a:lnTo>
                  <a:lnTo>
                    <a:pt x="5294" y="3286"/>
                  </a:lnTo>
                  <a:lnTo>
                    <a:pt x="5252" y="3202"/>
                  </a:lnTo>
                  <a:lnTo>
                    <a:pt x="5231" y="3139"/>
                  </a:lnTo>
                  <a:lnTo>
                    <a:pt x="5273" y="3056"/>
                  </a:lnTo>
                  <a:lnTo>
                    <a:pt x="5147" y="2972"/>
                  </a:lnTo>
                  <a:lnTo>
                    <a:pt x="5064" y="2825"/>
                  </a:lnTo>
                  <a:lnTo>
                    <a:pt x="5022" y="2742"/>
                  </a:lnTo>
                  <a:lnTo>
                    <a:pt x="4980" y="2470"/>
                  </a:lnTo>
                  <a:lnTo>
                    <a:pt x="5022" y="2365"/>
                  </a:lnTo>
                  <a:lnTo>
                    <a:pt x="5022" y="2323"/>
                  </a:lnTo>
                  <a:lnTo>
                    <a:pt x="4875" y="2135"/>
                  </a:lnTo>
                  <a:lnTo>
                    <a:pt x="4854" y="1947"/>
                  </a:lnTo>
                  <a:lnTo>
                    <a:pt x="4938" y="1821"/>
                  </a:lnTo>
                  <a:lnTo>
                    <a:pt x="5043" y="1779"/>
                  </a:lnTo>
                  <a:lnTo>
                    <a:pt x="5043" y="1403"/>
                  </a:lnTo>
                  <a:lnTo>
                    <a:pt x="4980" y="1361"/>
                  </a:lnTo>
                  <a:lnTo>
                    <a:pt x="4959" y="1214"/>
                  </a:lnTo>
                  <a:lnTo>
                    <a:pt x="4875" y="1089"/>
                  </a:lnTo>
                  <a:lnTo>
                    <a:pt x="4771" y="838"/>
                  </a:lnTo>
                  <a:lnTo>
                    <a:pt x="4750" y="775"/>
                  </a:lnTo>
                  <a:lnTo>
                    <a:pt x="4708" y="670"/>
                  </a:lnTo>
                  <a:lnTo>
                    <a:pt x="4708" y="545"/>
                  </a:lnTo>
                  <a:lnTo>
                    <a:pt x="4645" y="315"/>
                  </a:lnTo>
                  <a:lnTo>
                    <a:pt x="4561" y="315"/>
                  </a:lnTo>
                  <a:lnTo>
                    <a:pt x="4436" y="210"/>
                  </a:lnTo>
                  <a:lnTo>
                    <a:pt x="4310" y="231"/>
                  </a:lnTo>
                  <a:lnTo>
                    <a:pt x="3683" y="273"/>
                  </a:lnTo>
                  <a:lnTo>
                    <a:pt x="2950" y="231"/>
                  </a:lnTo>
                  <a:lnTo>
                    <a:pt x="2867" y="252"/>
                  </a:lnTo>
                  <a:lnTo>
                    <a:pt x="2678" y="440"/>
                  </a:lnTo>
                  <a:lnTo>
                    <a:pt x="2511" y="482"/>
                  </a:lnTo>
                  <a:lnTo>
                    <a:pt x="2469" y="440"/>
                  </a:lnTo>
                  <a:lnTo>
                    <a:pt x="2636" y="356"/>
                  </a:lnTo>
                  <a:lnTo>
                    <a:pt x="2783" y="210"/>
                  </a:lnTo>
                  <a:lnTo>
                    <a:pt x="2741" y="210"/>
                  </a:lnTo>
                  <a:lnTo>
                    <a:pt x="2616" y="315"/>
                  </a:lnTo>
                  <a:lnTo>
                    <a:pt x="2406" y="398"/>
                  </a:lnTo>
                  <a:lnTo>
                    <a:pt x="2134" y="356"/>
                  </a:lnTo>
                  <a:lnTo>
                    <a:pt x="2092" y="210"/>
                  </a:lnTo>
                  <a:lnTo>
                    <a:pt x="2134" y="126"/>
                  </a:lnTo>
                  <a:lnTo>
                    <a:pt x="2260" y="126"/>
                  </a:lnTo>
                  <a:lnTo>
                    <a:pt x="2323" y="168"/>
                  </a:lnTo>
                  <a:lnTo>
                    <a:pt x="2323" y="126"/>
                  </a:lnTo>
                  <a:lnTo>
                    <a:pt x="2155" y="43"/>
                  </a:lnTo>
                  <a:lnTo>
                    <a:pt x="188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 name="Google Shape;5950;p93">
              <a:extLst>
                <a:ext uri="{FF2B5EF4-FFF2-40B4-BE49-F238E27FC236}">
                  <a16:creationId xmlns:a16="http://schemas.microsoft.com/office/drawing/2014/main" id="{05A4DECB-CF3C-4BC8-8BD2-3C9A96547A7B}"/>
                </a:ext>
              </a:extLst>
            </p:cNvPr>
            <p:cNvSpPr/>
            <p:nvPr/>
          </p:nvSpPr>
          <p:spPr>
            <a:xfrm>
              <a:off x="3819089" y="2776036"/>
              <a:ext cx="50345" cy="20948"/>
            </a:xfrm>
            <a:custGeom>
              <a:avLst/>
              <a:gdLst/>
              <a:ahLst/>
              <a:cxnLst/>
              <a:rect l="l" t="t" r="r" b="b"/>
              <a:pathLst>
                <a:path w="4228" h="1842" extrusionOk="0">
                  <a:moveTo>
                    <a:pt x="1403" y="1"/>
                  </a:moveTo>
                  <a:lnTo>
                    <a:pt x="1319" y="63"/>
                  </a:lnTo>
                  <a:lnTo>
                    <a:pt x="1152" y="21"/>
                  </a:lnTo>
                  <a:lnTo>
                    <a:pt x="1152" y="126"/>
                  </a:lnTo>
                  <a:lnTo>
                    <a:pt x="1068" y="189"/>
                  </a:lnTo>
                  <a:lnTo>
                    <a:pt x="984" y="168"/>
                  </a:lnTo>
                  <a:lnTo>
                    <a:pt x="775" y="168"/>
                  </a:lnTo>
                  <a:lnTo>
                    <a:pt x="733" y="273"/>
                  </a:lnTo>
                  <a:lnTo>
                    <a:pt x="587" y="273"/>
                  </a:lnTo>
                  <a:lnTo>
                    <a:pt x="482" y="398"/>
                  </a:lnTo>
                  <a:lnTo>
                    <a:pt x="378" y="398"/>
                  </a:lnTo>
                  <a:lnTo>
                    <a:pt x="168" y="586"/>
                  </a:lnTo>
                  <a:lnTo>
                    <a:pt x="106" y="545"/>
                  </a:lnTo>
                  <a:lnTo>
                    <a:pt x="22" y="503"/>
                  </a:lnTo>
                  <a:lnTo>
                    <a:pt x="1" y="524"/>
                  </a:lnTo>
                  <a:lnTo>
                    <a:pt x="1" y="628"/>
                  </a:lnTo>
                  <a:lnTo>
                    <a:pt x="147" y="712"/>
                  </a:lnTo>
                  <a:lnTo>
                    <a:pt x="252" y="900"/>
                  </a:lnTo>
                  <a:lnTo>
                    <a:pt x="252" y="1047"/>
                  </a:lnTo>
                  <a:lnTo>
                    <a:pt x="273" y="1130"/>
                  </a:lnTo>
                  <a:lnTo>
                    <a:pt x="378" y="1172"/>
                  </a:lnTo>
                  <a:lnTo>
                    <a:pt x="587" y="1319"/>
                  </a:lnTo>
                  <a:lnTo>
                    <a:pt x="691" y="1382"/>
                  </a:lnTo>
                  <a:lnTo>
                    <a:pt x="942" y="1674"/>
                  </a:lnTo>
                  <a:lnTo>
                    <a:pt x="1005" y="1674"/>
                  </a:lnTo>
                  <a:lnTo>
                    <a:pt x="1298" y="1842"/>
                  </a:lnTo>
                  <a:lnTo>
                    <a:pt x="1361" y="1779"/>
                  </a:lnTo>
                  <a:lnTo>
                    <a:pt x="1507" y="1779"/>
                  </a:lnTo>
                  <a:lnTo>
                    <a:pt x="1528" y="1674"/>
                  </a:lnTo>
                  <a:lnTo>
                    <a:pt x="1591" y="1633"/>
                  </a:lnTo>
                  <a:lnTo>
                    <a:pt x="1633" y="1528"/>
                  </a:lnTo>
                  <a:lnTo>
                    <a:pt x="1738" y="1570"/>
                  </a:lnTo>
                  <a:lnTo>
                    <a:pt x="1947" y="1570"/>
                  </a:lnTo>
                  <a:lnTo>
                    <a:pt x="2114" y="1674"/>
                  </a:lnTo>
                  <a:lnTo>
                    <a:pt x="2261" y="1674"/>
                  </a:lnTo>
                  <a:lnTo>
                    <a:pt x="2428" y="1654"/>
                  </a:lnTo>
                  <a:lnTo>
                    <a:pt x="2512" y="1737"/>
                  </a:lnTo>
                  <a:lnTo>
                    <a:pt x="2742" y="1779"/>
                  </a:lnTo>
                  <a:lnTo>
                    <a:pt x="2763" y="1779"/>
                  </a:lnTo>
                  <a:lnTo>
                    <a:pt x="2888" y="1695"/>
                  </a:lnTo>
                  <a:lnTo>
                    <a:pt x="3035" y="1674"/>
                  </a:lnTo>
                  <a:lnTo>
                    <a:pt x="3077" y="1737"/>
                  </a:lnTo>
                  <a:lnTo>
                    <a:pt x="3307" y="1654"/>
                  </a:lnTo>
                  <a:lnTo>
                    <a:pt x="3516" y="1633"/>
                  </a:lnTo>
                  <a:lnTo>
                    <a:pt x="3683" y="1465"/>
                  </a:lnTo>
                  <a:lnTo>
                    <a:pt x="3830" y="1444"/>
                  </a:lnTo>
                  <a:lnTo>
                    <a:pt x="3976" y="1340"/>
                  </a:lnTo>
                  <a:lnTo>
                    <a:pt x="4227" y="1361"/>
                  </a:lnTo>
                  <a:lnTo>
                    <a:pt x="4186" y="1214"/>
                  </a:lnTo>
                  <a:lnTo>
                    <a:pt x="4102" y="1130"/>
                  </a:lnTo>
                  <a:lnTo>
                    <a:pt x="3935" y="1130"/>
                  </a:lnTo>
                  <a:lnTo>
                    <a:pt x="3893" y="1172"/>
                  </a:lnTo>
                  <a:lnTo>
                    <a:pt x="3809" y="1172"/>
                  </a:lnTo>
                  <a:lnTo>
                    <a:pt x="3683" y="1005"/>
                  </a:lnTo>
                  <a:lnTo>
                    <a:pt x="3349" y="733"/>
                  </a:lnTo>
                  <a:lnTo>
                    <a:pt x="3181" y="691"/>
                  </a:lnTo>
                  <a:lnTo>
                    <a:pt x="2951" y="733"/>
                  </a:lnTo>
                  <a:lnTo>
                    <a:pt x="2826" y="628"/>
                  </a:lnTo>
                  <a:lnTo>
                    <a:pt x="2867" y="524"/>
                  </a:lnTo>
                  <a:lnTo>
                    <a:pt x="2679" y="545"/>
                  </a:lnTo>
                  <a:lnTo>
                    <a:pt x="2428" y="398"/>
                  </a:lnTo>
                  <a:lnTo>
                    <a:pt x="2365" y="440"/>
                  </a:lnTo>
                  <a:lnTo>
                    <a:pt x="2512" y="607"/>
                  </a:lnTo>
                  <a:lnTo>
                    <a:pt x="2428" y="607"/>
                  </a:lnTo>
                  <a:lnTo>
                    <a:pt x="2365" y="649"/>
                  </a:lnTo>
                  <a:lnTo>
                    <a:pt x="2302" y="628"/>
                  </a:lnTo>
                  <a:lnTo>
                    <a:pt x="2302" y="524"/>
                  </a:lnTo>
                  <a:lnTo>
                    <a:pt x="2240" y="503"/>
                  </a:lnTo>
                  <a:lnTo>
                    <a:pt x="2219" y="419"/>
                  </a:lnTo>
                  <a:lnTo>
                    <a:pt x="2261" y="314"/>
                  </a:lnTo>
                  <a:lnTo>
                    <a:pt x="2198" y="231"/>
                  </a:lnTo>
                  <a:lnTo>
                    <a:pt x="2093" y="231"/>
                  </a:lnTo>
                  <a:lnTo>
                    <a:pt x="1989" y="126"/>
                  </a:lnTo>
                  <a:lnTo>
                    <a:pt x="2010" y="84"/>
                  </a:lnTo>
                  <a:lnTo>
                    <a:pt x="1779" y="21"/>
                  </a:lnTo>
                  <a:lnTo>
                    <a:pt x="1696" y="84"/>
                  </a:lnTo>
                  <a:lnTo>
                    <a:pt x="1612" y="63"/>
                  </a:lnTo>
                  <a:lnTo>
                    <a:pt x="1570" y="105"/>
                  </a:lnTo>
                  <a:lnTo>
                    <a:pt x="1507" y="21"/>
                  </a:lnTo>
                  <a:lnTo>
                    <a:pt x="1486" y="63"/>
                  </a:lnTo>
                  <a:lnTo>
                    <a:pt x="140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 name="Google Shape;5951;p93">
              <a:extLst>
                <a:ext uri="{FF2B5EF4-FFF2-40B4-BE49-F238E27FC236}">
                  <a16:creationId xmlns:a16="http://schemas.microsoft.com/office/drawing/2014/main" id="{B95DA37B-BA05-45F4-BF82-DC689D20C0FC}"/>
                </a:ext>
              </a:extLst>
            </p:cNvPr>
            <p:cNvSpPr/>
            <p:nvPr/>
          </p:nvSpPr>
          <p:spPr>
            <a:xfrm>
              <a:off x="3779972" y="2741293"/>
              <a:ext cx="57323" cy="65449"/>
            </a:xfrm>
            <a:custGeom>
              <a:avLst/>
              <a:gdLst/>
              <a:ahLst/>
              <a:cxnLst/>
              <a:rect l="l" t="t" r="r" b="b"/>
              <a:pathLst>
                <a:path w="4814" h="5755" extrusionOk="0">
                  <a:moveTo>
                    <a:pt x="1340" y="1"/>
                  </a:moveTo>
                  <a:lnTo>
                    <a:pt x="1340" y="22"/>
                  </a:lnTo>
                  <a:lnTo>
                    <a:pt x="1340" y="126"/>
                  </a:lnTo>
                  <a:lnTo>
                    <a:pt x="1424" y="189"/>
                  </a:lnTo>
                  <a:lnTo>
                    <a:pt x="1466" y="189"/>
                  </a:lnTo>
                  <a:lnTo>
                    <a:pt x="1466" y="252"/>
                  </a:lnTo>
                  <a:lnTo>
                    <a:pt x="1612" y="377"/>
                  </a:lnTo>
                  <a:lnTo>
                    <a:pt x="1507" y="419"/>
                  </a:lnTo>
                  <a:lnTo>
                    <a:pt x="1403" y="419"/>
                  </a:lnTo>
                  <a:lnTo>
                    <a:pt x="1403" y="524"/>
                  </a:lnTo>
                  <a:lnTo>
                    <a:pt x="1507" y="461"/>
                  </a:lnTo>
                  <a:lnTo>
                    <a:pt x="1507" y="628"/>
                  </a:lnTo>
                  <a:lnTo>
                    <a:pt x="1612" y="670"/>
                  </a:lnTo>
                  <a:lnTo>
                    <a:pt x="1528" y="754"/>
                  </a:lnTo>
                  <a:lnTo>
                    <a:pt x="1528" y="838"/>
                  </a:lnTo>
                  <a:lnTo>
                    <a:pt x="1612" y="880"/>
                  </a:lnTo>
                  <a:lnTo>
                    <a:pt x="1738" y="880"/>
                  </a:lnTo>
                  <a:lnTo>
                    <a:pt x="1926" y="1068"/>
                  </a:lnTo>
                  <a:lnTo>
                    <a:pt x="2156" y="1172"/>
                  </a:lnTo>
                  <a:lnTo>
                    <a:pt x="1926" y="1131"/>
                  </a:lnTo>
                  <a:lnTo>
                    <a:pt x="1738" y="942"/>
                  </a:lnTo>
                  <a:lnTo>
                    <a:pt x="1612" y="963"/>
                  </a:lnTo>
                  <a:lnTo>
                    <a:pt x="1507" y="942"/>
                  </a:lnTo>
                  <a:lnTo>
                    <a:pt x="1424" y="942"/>
                  </a:lnTo>
                  <a:lnTo>
                    <a:pt x="1340" y="1068"/>
                  </a:lnTo>
                  <a:lnTo>
                    <a:pt x="1361" y="1152"/>
                  </a:lnTo>
                  <a:lnTo>
                    <a:pt x="1361" y="1340"/>
                  </a:lnTo>
                  <a:lnTo>
                    <a:pt x="1424" y="1444"/>
                  </a:lnTo>
                  <a:lnTo>
                    <a:pt x="1298" y="1277"/>
                  </a:lnTo>
                  <a:lnTo>
                    <a:pt x="1319" y="1152"/>
                  </a:lnTo>
                  <a:lnTo>
                    <a:pt x="1235" y="1068"/>
                  </a:lnTo>
                  <a:lnTo>
                    <a:pt x="1194" y="1089"/>
                  </a:lnTo>
                  <a:lnTo>
                    <a:pt x="1194" y="1172"/>
                  </a:lnTo>
                  <a:lnTo>
                    <a:pt x="1235" y="1277"/>
                  </a:lnTo>
                  <a:lnTo>
                    <a:pt x="1152" y="1361"/>
                  </a:lnTo>
                  <a:lnTo>
                    <a:pt x="1089" y="1235"/>
                  </a:lnTo>
                  <a:lnTo>
                    <a:pt x="1089" y="1089"/>
                  </a:lnTo>
                  <a:lnTo>
                    <a:pt x="942" y="1026"/>
                  </a:lnTo>
                  <a:lnTo>
                    <a:pt x="880" y="1047"/>
                  </a:lnTo>
                  <a:lnTo>
                    <a:pt x="608" y="1131"/>
                  </a:lnTo>
                  <a:lnTo>
                    <a:pt x="587" y="1235"/>
                  </a:lnTo>
                  <a:lnTo>
                    <a:pt x="629" y="1340"/>
                  </a:lnTo>
                  <a:lnTo>
                    <a:pt x="775" y="1361"/>
                  </a:lnTo>
                  <a:lnTo>
                    <a:pt x="796" y="1465"/>
                  </a:lnTo>
                  <a:lnTo>
                    <a:pt x="796" y="1486"/>
                  </a:lnTo>
                  <a:lnTo>
                    <a:pt x="733" y="1507"/>
                  </a:lnTo>
                  <a:lnTo>
                    <a:pt x="733" y="1591"/>
                  </a:lnTo>
                  <a:lnTo>
                    <a:pt x="691" y="1696"/>
                  </a:lnTo>
                  <a:lnTo>
                    <a:pt x="691" y="1800"/>
                  </a:lnTo>
                  <a:lnTo>
                    <a:pt x="608" y="1863"/>
                  </a:lnTo>
                  <a:lnTo>
                    <a:pt x="503" y="1800"/>
                  </a:lnTo>
                  <a:lnTo>
                    <a:pt x="461" y="1926"/>
                  </a:lnTo>
                  <a:lnTo>
                    <a:pt x="482" y="1988"/>
                  </a:lnTo>
                  <a:lnTo>
                    <a:pt x="608" y="1988"/>
                  </a:lnTo>
                  <a:lnTo>
                    <a:pt x="670" y="2030"/>
                  </a:lnTo>
                  <a:lnTo>
                    <a:pt x="629" y="2114"/>
                  </a:lnTo>
                  <a:lnTo>
                    <a:pt x="608" y="2240"/>
                  </a:lnTo>
                  <a:lnTo>
                    <a:pt x="524" y="2302"/>
                  </a:lnTo>
                  <a:lnTo>
                    <a:pt x="608" y="2407"/>
                  </a:lnTo>
                  <a:lnTo>
                    <a:pt x="524" y="2449"/>
                  </a:lnTo>
                  <a:lnTo>
                    <a:pt x="378" y="2407"/>
                  </a:lnTo>
                  <a:lnTo>
                    <a:pt x="210" y="2449"/>
                  </a:lnTo>
                  <a:lnTo>
                    <a:pt x="168" y="2553"/>
                  </a:lnTo>
                  <a:lnTo>
                    <a:pt x="85" y="2658"/>
                  </a:lnTo>
                  <a:lnTo>
                    <a:pt x="105" y="2825"/>
                  </a:lnTo>
                  <a:lnTo>
                    <a:pt x="85" y="3035"/>
                  </a:lnTo>
                  <a:lnTo>
                    <a:pt x="43" y="3139"/>
                  </a:lnTo>
                  <a:lnTo>
                    <a:pt x="43" y="3160"/>
                  </a:lnTo>
                  <a:lnTo>
                    <a:pt x="1" y="3244"/>
                  </a:lnTo>
                  <a:lnTo>
                    <a:pt x="85" y="3432"/>
                  </a:lnTo>
                  <a:lnTo>
                    <a:pt x="85" y="3474"/>
                  </a:lnTo>
                  <a:lnTo>
                    <a:pt x="168" y="3579"/>
                  </a:lnTo>
                  <a:lnTo>
                    <a:pt x="85" y="3746"/>
                  </a:lnTo>
                  <a:lnTo>
                    <a:pt x="147" y="3746"/>
                  </a:lnTo>
                  <a:lnTo>
                    <a:pt x="273" y="3913"/>
                  </a:lnTo>
                  <a:lnTo>
                    <a:pt x="294" y="4060"/>
                  </a:lnTo>
                  <a:lnTo>
                    <a:pt x="357" y="4102"/>
                  </a:lnTo>
                  <a:lnTo>
                    <a:pt x="357" y="4290"/>
                  </a:lnTo>
                  <a:lnTo>
                    <a:pt x="461" y="4374"/>
                  </a:lnTo>
                  <a:lnTo>
                    <a:pt x="461" y="4437"/>
                  </a:lnTo>
                  <a:lnTo>
                    <a:pt x="566" y="4520"/>
                  </a:lnTo>
                  <a:lnTo>
                    <a:pt x="629" y="4478"/>
                  </a:lnTo>
                  <a:lnTo>
                    <a:pt x="733" y="4478"/>
                  </a:lnTo>
                  <a:lnTo>
                    <a:pt x="817" y="4520"/>
                  </a:lnTo>
                  <a:lnTo>
                    <a:pt x="922" y="4478"/>
                  </a:lnTo>
                  <a:lnTo>
                    <a:pt x="1047" y="4541"/>
                  </a:lnTo>
                  <a:lnTo>
                    <a:pt x="1152" y="4541"/>
                  </a:lnTo>
                  <a:lnTo>
                    <a:pt x="1298" y="4625"/>
                  </a:lnTo>
                  <a:lnTo>
                    <a:pt x="1152" y="4750"/>
                  </a:lnTo>
                  <a:lnTo>
                    <a:pt x="1089" y="4918"/>
                  </a:lnTo>
                  <a:lnTo>
                    <a:pt x="1089" y="5022"/>
                  </a:lnTo>
                  <a:lnTo>
                    <a:pt x="1005" y="5106"/>
                  </a:lnTo>
                  <a:lnTo>
                    <a:pt x="942" y="5273"/>
                  </a:lnTo>
                  <a:lnTo>
                    <a:pt x="942" y="5441"/>
                  </a:lnTo>
                  <a:lnTo>
                    <a:pt x="1047" y="5525"/>
                  </a:lnTo>
                  <a:lnTo>
                    <a:pt x="1110" y="5629"/>
                  </a:lnTo>
                  <a:lnTo>
                    <a:pt x="1214" y="5650"/>
                  </a:lnTo>
                  <a:lnTo>
                    <a:pt x="1319" y="5587"/>
                  </a:lnTo>
                  <a:lnTo>
                    <a:pt x="1445" y="5650"/>
                  </a:lnTo>
                  <a:lnTo>
                    <a:pt x="1507" y="5566"/>
                  </a:lnTo>
                  <a:lnTo>
                    <a:pt x="1466" y="5525"/>
                  </a:lnTo>
                  <a:lnTo>
                    <a:pt x="1612" y="5462"/>
                  </a:lnTo>
                  <a:lnTo>
                    <a:pt x="1633" y="5566"/>
                  </a:lnTo>
                  <a:lnTo>
                    <a:pt x="1717" y="5587"/>
                  </a:lnTo>
                  <a:lnTo>
                    <a:pt x="1758" y="5545"/>
                  </a:lnTo>
                  <a:lnTo>
                    <a:pt x="1842" y="5545"/>
                  </a:lnTo>
                  <a:lnTo>
                    <a:pt x="1989" y="5671"/>
                  </a:lnTo>
                  <a:lnTo>
                    <a:pt x="2072" y="5692"/>
                  </a:lnTo>
                  <a:lnTo>
                    <a:pt x="2093" y="5692"/>
                  </a:lnTo>
                  <a:lnTo>
                    <a:pt x="2156" y="5671"/>
                  </a:lnTo>
                  <a:lnTo>
                    <a:pt x="2261" y="5629"/>
                  </a:lnTo>
                  <a:lnTo>
                    <a:pt x="2344" y="5734"/>
                  </a:lnTo>
                  <a:lnTo>
                    <a:pt x="2491" y="5755"/>
                  </a:lnTo>
                  <a:lnTo>
                    <a:pt x="2512" y="5692"/>
                  </a:lnTo>
                  <a:lnTo>
                    <a:pt x="2512" y="5629"/>
                  </a:lnTo>
                  <a:lnTo>
                    <a:pt x="2826" y="5629"/>
                  </a:lnTo>
                  <a:lnTo>
                    <a:pt x="2909" y="5692"/>
                  </a:lnTo>
                  <a:lnTo>
                    <a:pt x="3014" y="5671"/>
                  </a:lnTo>
                  <a:lnTo>
                    <a:pt x="3098" y="5692"/>
                  </a:lnTo>
                  <a:lnTo>
                    <a:pt x="3202" y="5671"/>
                  </a:lnTo>
                  <a:lnTo>
                    <a:pt x="3391" y="5545"/>
                  </a:lnTo>
                  <a:lnTo>
                    <a:pt x="3453" y="5545"/>
                  </a:lnTo>
                  <a:lnTo>
                    <a:pt x="3600" y="5566"/>
                  </a:lnTo>
                  <a:lnTo>
                    <a:pt x="3725" y="5545"/>
                  </a:lnTo>
                  <a:lnTo>
                    <a:pt x="3851" y="5629"/>
                  </a:lnTo>
                  <a:lnTo>
                    <a:pt x="3935" y="5566"/>
                  </a:lnTo>
                  <a:lnTo>
                    <a:pt x="3914" y="5462"/>
                  </a:lnTo>
                  <a:lnTo>
                    <a:pt x="3746" y="5378"/>
                  </a:lnTo>
                  <a:lnTo>
                    <a:pt x="3746" y="5315"/>
                  </a:lnTo>
                  <a:lnTo>
                    <a:pt x="3914" y="5127"/>
                  </a:lnTo>
                  <a:lnTo>
                    <a:pt x="4039" y="5043"/>
                  </a:lnTo>
                  <a:lnTo>
                    <a:pt x="4123" y="4939"/>
                  </a:lnTo>
                  <a:lnTo>
                    <a:pt x="4186" y="4939"/>
                  </a:lnTo>
                  <a:lnTo>
                    <a:pt x="4186" y="4834"/>
                  </a:lnTo>
                  <a:lnTo>
                    <a:pt x="4227" y="4729"/>
                  </a:lnTo>
                  <a:lnTo>
                    <a:pt x="3976" y="4437"/>
                  </a:lnTo>
                  <a:lnTo>
                    <a:pt x="3872" y="4374"/>
                  </a:lnTo>
                  <a:lnTo>
                    <a:pt x="3663" y="4227"/>
                  </a:lnTo>
                  <a:lnTo>
                    <a:pt x="3558" y="4185"/>
                  </a:lnTo>
                  <a:lnTo>
                    <a:pt x="3537" y="4102"/>
                  </a:lnTo>
                  <a:lnTo>
                    <a:pt x="3537" y="3955"/>
                  </a:lnTo>
                  <a:lnTo>
                    <a:pt x="3432" y="3767"/>
                  </a:lnTo>
                  <a:lnTo>
                    <a:pt x="3286" y="3683"/>
                  </a:lnTo>
                  <a:lnTo>
                    <a:pt x="3286" y="3579"/>
                  </a:lnTo>
                  <a:lnTo>
                    <a:pt x="3307" y="3558"/>
                  </a:lnTo>
                  <a:lnTo>
                    <a:pt x="3391" y="3600"/>
                  </a:lnTo>
                  <a:lnTo>
                    <a:pt x="3453" y="3641"/>
                  </a:lnTo>
                  <a:lnTo>
                    <a:pt x="3663" y="3453"/>
                  </a:lnTo>
                  <a:lnTo>
                    <a:pt x="3767" y="3453"/>
                  </a:lnTo>
                  <a:lnTo>
                    <a:pt x="3872" y="3328"/>
                  </a:lnTo>
                  <a:lnTo>
                    <a:pt x="4018" y="3328"/>
                  </a:lnTo>
                  <a:lnTo>
                    <a:pt x="4060" y="3223"/>
                  </a:lnTo>
                  <a:lnTo>
                    <a:pt x="4269" y="3223"/>
                  </a:lnTo>
                  <a:lnTo>
                    <a:pt x="4353" y="3244"/>
                  </a:lnTo>
                  <a:lnTo>
                    <a:pt x="4437" y="3181"/>
                  </a:lnTo>
                  <a:lnTo>
                    <a:pt x="4437" y="3076"/>
                  </a:lnTo>
                  <a:lnTo>
                    <a:pt x="4604" y="3118"/>
                  </a:lnTo>
                  <a:lnTo>
                    <a:pt x="4688" y="3056"/>
                  </a:lnTo>
                  <a:lnTo>
                    <a:pt x="4771" y="3118"/>
                  </a:lnTo>
                  <a:lnTo>
                    <a:pt x="4792" y="3076"/>
                  </a:lnTo>
                  <a:lnTo>
                    <a:pt x="4813" y="3035"/>
                  </a:lnTo>
                  <a:lnTo>
                    <a:pt x="4813" y="2721"/>
                  </a:lnTo>
                  <a:lnTo>
                    <a:pt x="4751" y="2637"/>
                  </a:lnTo>
                  <a:lnTo>
                    <a:pt x="4667" y="2595"/>
                  </a:lnTo>
                  <a:lnTo>
                    <a:pt x="4562" y="2344"/>
                  </a:lnTo>
                  <a:lnTo>
                    <a:pt x="4604" y="2240"/>
                  </a:lnTo>
                  <a:lnTo>
                    <a:pt x="4562" y="2114"/>
                  </a:lnTo>
                  <a:lnTo>
                    <a:pt x="4562" y="2030"/>
                  </a:lnTo>
                  <a:lnTo>
                    <a:pt x="4479" y="1926"/>
                  </a:lnTo>
                  <a:lnTo>
                    <a:pt x="4499" y="1821"/>
                  </a:lnTo>
                  <a:lnTo>
                    <a:pt x="4332" y="1612"/>
                  </a:lnTo>
                  <a:lnTo>
                    <a:pt x="4332" y="1549"/>
                  </a:lnTo>
                  <a:lnTo>
                    <a:pt x="4479" y="1465"/>
                  </a:lnTo>
                  <a:lnTo>
                    <a:pt x="4499" y="1277"/>
                  </a:lnTo>
                  <a:lnTo>
                    <a:pt x="4458" y="1026"/>
                  </a:lnTo>
                  <a:lnTo>
                    <a:pt x="4353" y="1026"/>
                  </a:lnTo>
                  <a:lnTo>
                    <a:pt x="4269" y="963"/>
                  </a:lnTo>
                  <a:lnTo>
                    <a:pt x="4165" y="963"/>
                  </a:lnTo>
                  <a:lnTo>
                    <a:pt x="4060" y="880"/>
                  </a:lnTo>
                  <a:lnTo>
                    <a:pt x="4081" y="775"/>
                  </a:lnTo>
                  <a:lnTo>
                    <a:pt x="4039" y="670"/>
                  </a:lnTo>
                  <a:lnTo>
                    <a:pt x="3914" y="712"/>
                  </a:lnTo>
                  <a:lnTo>
                    <a:pt x="3767" y="545"/>
                  </a:lnTo>
                  <a:lnTo>
                    <a:pt x="3663" y="545"/>
                  </a:lnTo>
                  <a:lnTo>
                    <a:pt x="3621" y="461"/>
                  </a:lnTo>
                  <a:lnTo>
                    <a:pt x="3558" y="503"/>
                  </a:lnTo>
                  <a:lnTo>
                    <a:pt x="3432" y="524"/>
                  </a:lnTo>
                  <a:lnTo>
                    <a:pt x="3328" y="608"/>
                  </a:lnTo>
                  <a:lnTo>
                    <a:pt x="3286" y="545"/>
                  </a:lnTo>
                  <a:lnTo>
                    <a:pt x="3349" y="503"/>
                  </a:lnTo>
                  <a:lnTo>
                    <a:pt x="3349" y="524"/>
                  </a:lnTo>
                  <a:lnTo>
                    <a:pt x="3411" y="461"/>
                  </a:lnTo>
                  <a:lnTo>
                    <a:pt x="3516" y="419"/>
                  </a:lnTo>
                  <a:lnTo>
                    <a:pt x="3391" y="419"/>
                  </a:lnTo>
                  <a:lnTo>
                    <a:pt x="3328" y="440"/>
                  </a:lnTo>
                  <a:lnTo>
                    <a:pt x="3307" y="503"/>
                  </a:lnTo>
                  <a:lnTo>
                    <a:pt x="3202" y="545"/>
                  </a:lnTo>
                  <a:lnTo>
                    <a:pt x="3202" y="608"/>
                  </a:lnTo>
                  <a:lnTo>
                    <a:pt x="2993" y="628"/>
                  </a:lnTo>
                  <a:lnTo>
                    <a:pt x="2909" y="733"/>
                  </a:lnTo>
                  <a:lnTo>
                    <a:pt x="2888" y="838"/>
                  </a:lnTo>
                  <a:lnTo>
                    <a:pt x="2763" y="838"/>
                  </a:lnTo>
                  <a:lnTo>
                    <a:pt x="2721" y="775"/>
                  </a:lnTo>
                  <a:lnTo>
                    <a:pt x="2616" y="754"/>
                  </a:lnTo>
                  <a:lnTo>
                    <a:pt x="2574" y="775"/>
                  </a:lnTo>
                  <a:lnTo>
                    <a:pt x="2407" y="733"/>
                  </a:lnTo>
                  <a:lnTo>
                    <a:pt x="2512" y="670"/>
                  </a:lnTo>
                  <a:lnTo>
                    <a:pt x="2595" y="670"/>
                  </a:lnTo>
                  <a:lnTo>
                    <a:pt x="2679" y="608"/>
                  </a:lnTo>
                  <a:lnTo>
                    <a:pt x="2679" y="503"/>
                  </a:lnTo>
                  <a:lnTo>
                    <a:pt x="2616" y="461"/>
                  </a:lnTo>
                  <a:lnTo>
                    <a:pt x="2512" y="545"/>
                  </a:lnTo>
                  <a:lnTo>
                    <a:pt x="2491" y="566"/>
                  </a:lnTo>
                  <a:lnTo>
                    <a:pt x="2365" y="461"/>
                  </a:lnTo>
                  <a:lnTo>
                    <a:pt x="2302" y="419"/>
                  </a:lnTo>
                  <a:lnTo>
                    <a:pt x="2261" y="440"/>
                  </a:lnTo>
                  <a:lnTo>
                    <a:pt x="2240" y="524"/>
                  </a:lnTo>
                  <a:lnTo>
                    <a:pt x="2135" y="566"/>
                  </a:lnTo>
                  <a:lnTo>
                    <a:pt x="2093" y="461"/>
                  </a:lnTo>
                  <a:lnTo>
                    <a:pt x="2030" y="440"/>
                  </a:lnTo>
                  <a:lnTo>
                    <a:pt x="1968" y="377"/>
                  </a:lnTo>
                  <a:lnTo>
                    <a:pt x="2051" y="335"/>
                  </a:lnTo>
                  <a:lnTo>
                    <a:pt x="2093" y="210"/>
                  </a:lnTo>
                  <a:lnTo>
                    <a:pt x="1989" y="189"/>
                  </a:lnTo>
                  <a:lnTo>
                    <a:pt x="1863" y="84"/>
                  </a:lnTo>
                  <a:lnTo>
                    <a:pt x="1758" y="84"/>
                  </a:lnTo>
                  <a:lnTo>
                    <a:pt x="1717" y="43"/>
                  </a:lnTo>
                  <a:lnTo>
                    <a:pt x="15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 name="Google Shape;5952;p93">
              <a:extLst>
                <a:ext uri="{FF2B5EF4-FFF2-40B4-BE49-F238E27FC236}">
                  <a16:creationId xmlns:a16="http://schemas.microsoft.com/office/drawing/2014/main" id="{FCC04FA7-B5D2-4999-A7AB-428811D99870}"/>
                </a:ext>
              </a:extLst>
            </p:cNvPr>
            <p:cNvSpPr/>
            <p:nvPr/>
          </p:nvSpPr>
          <p:spPr>
            <a:xfrm>
              <a:off x="3764778" y="2755577"/>
              <a:ext cx="24672" cy="21426"/>
            </a:xfrm>
            <a:custGeom>
              <a:avLst/>
              <a:gdLst/>
              <a:ahLst/>
              <a:cxnLst/>
              <a:rect l="l" t="t" r="r" b="b"/>
              <a:pathLst>
                <a:path w="2072" h="1884" extrusionOk="0">
                  <a:moveTo>
                    <a:pt x="1695" y="0"/>
                  </a:moveTo>
                  <a:lnTo>
                    <a:pt x="1549" y="21"/>
                  </a:lnTo>
                  <a:lnTo>
                    <a:pt x="1444" y="126"/>
                  </a:lnTo>
                  <a:lnTo>
                    <a:pt x="1340" y="84"/>
                  </a:lnTo>
                  <a:lnTo>
                    <a:pt x="1277" y="126"/>
                  </a:lnTo>
                  <a:lnTo>
                    <a:pt x="1130" y="126"/>
                  </a:lnTo>
                  <a:lnTo>
                    <a:pt x="1005" y="251"/>
                  </a:lnTo>
                  <a:lnTo>
                    <a:pt x="796" y="398"/>
                  </a:lnTo>
                  <a:lnTo>
                    <a:pt x="754" y="335"/>
                  </a:lnTo>
                  <a:lnTo>
                    <a:pt x="628" y="398"/>
                  </a:lnTo>
                  <a:lnTo>
                    <a:pt x="628" y="544"/>
                  </a:lnTo>
                  <a:lnTo>
                    <a:pt x="524" y="628"/>
                  </a:lnTo>
                  <a:lnTo>
                    <a:pt x="545" y="753"/>
                  </a:lnTo>
                  <a:lnTo>
                    <a:pt x="524" y="879"/>
                  </a:lnTo>
                  <a:lnTo>
                    <a:pt x="482" y="984"/>
                  </a:lnTo>
                  <a:lnTo>
                    <a:pt x="440" y="1046"/>
                  </a:lnTo>
                  <a:lnTo>
                    <a:pt x="335" y="1130"/>
                  </a:lnTo>
                  <a:lnTo>
                    <a:pt x="335" y="1193"/>
                  </a:lnTo>
                  <a:lnTo>
                    <a:pt x="482" y="1339"/>
                  </a:lnTo>
                  <a:lnTo>
                    <a:pt x="607" y="1360"/>
                  </a:lnTo>
                  <a:lnTo>
                    <a:pt x="482" y="1360"/>
                  </a:lnTo>
                  <a:lnTo>
                    <a:pt x="419" y="1402"/>
                  </a:lnTo>
                  <a:lnTo>
                    <a:pt x="377" y="1444"/>
                  </a:lnTo>
                  <a:lnTo>
                    <a:pt x="419" y="1507"/>
                  </a:lnTo>
                  <a:lnTo>
                    <a:pt x="503" y="1507"/>
                  </a:lnTo>
                  <a:lnTo>
                    <a:pt x="503" y="1569"/>
                  </a:lnTo>
                  <a:lnTo>
                    <a:pt x="398" y="1569"/>
                  </a:lnTo>
                  <a:lnTo>
                    <a:pt x="293" y="1486"/>
                  </a:lnTo>
                  <a:lnTo>
                    <a:pt x="189" y="1444"/>
                  </a:lnTo>
                  <a:lnTo>
                    <a:pt x="105" y="1465"/>
                  </a:lnTo>
                  <a:lnTo>
                    <a:pt x="126" y="1507"/>
                  </a:lnTo>
                  <a:lnTo>
                    <a:pt x="210" y="1548"/>
                  </a:lnTo>
                  <a:lnTo>
                    <a:pt x="314" y="1611"/>
                  </a:lnTo>
                  <a:lnTo>
                    <a:pt x="335" y="1590"/>
                  </a:lnTo>
                  <a:lnTo>
                    <a:pt x="440" y="1674"/>
                  </a:lnTo>
                  <a:lnTo>
                    <a:pt x="335" y="1611"/>
                  </a:lnTo>
                  <a:lnTo>
                    <a:pt x="273" y="1653"/>
                  </a:lnTo>
                  <a:lnTo>
                    <a:pt x="105" y="1590"/>
                  </a:lnTo>
                  <a:lnTo>
                    <a:pt x="1" y="1590"/>
                  </a:lnTo>
                  <a:lnTo>
                    <a:pt x="84" y="1611"/>
                  </a:lnTo>
                  <a:lnTo>
                    <a:pt x="126" y="1695"/>
                  </a:lnTo>
                  <a:lnTo>
                    <a:pt x="210" y="1695"/>
                  </a:lnTo>
                  <a:lnTo>
                    <a:pt x="293" y="1758"/>
                  </a:lnTo>
                  <a:lnTo>
                    <a:pt x="335" y="1695"/>
                  </a:lnTo>
                  <a:lnTo>
                    <a:pt x="440" y="1674"/>
                  </a:lnTo>
                  <a:lnTo>
                    <a:pt x="482" y="1653"/>
                  </a:lnTo>
                  <a:lnTo>
                    <a:pt x="545" y="1653"/>
                  </a:lnTo>
                  <a:lnTo>
                    <a:pt x="586" y="1548"/>
                  </a:lnTo>
                  <a:lnTo>
                    <a:pt x="796" y="1548"/>
                  </a:lnTo>
                  <a:lnTo>
                    <a:pt x="837" y="1611"/>
                  </a:lnTo>
                  <a:lnTo>
                    <a:pt x="942" y="1611"/>
                  </a:lnTo>
                  <a:lnTo>
                    <a:pt x="1005" y="1695"/>
                  </a:lnTo>
                  <a:lnTo>
                    <a:pt x="1151" y="1695"/>
                  </a:lnTo>
                  <a:lnTo>
                    <a:pt x="1214" y="1779"/>
                  </a:lnTo>
                  <a:lnTo>
                    <a:pt x="1214" y="1862"/>
                  </a:lnTo>
                  <a:lnTo>
                    <a:pt x="1319" y="1883"/>
                  </a:lnTo>
                  <a:lnTo>
                    <a:pt x="1361" y="1779"/>
                  </a:lnTo>
                  <a:lnTo>
                    <a:pt x="1381" y="1569"/>
                  </a:lnTo>
                  <a:lnTo>
                    <a:pt x="1361" y="1402"/>
                  </a:lnTo>
                  <a:lnTo>
                    <a:pt x="1444" y="1297"/>
                  </a:lnTo>
                  <a:lnTo>
                    <a:pt x="1486" y="1193"/>
                  </a:lnTo>
                  <a:lnTo>
                    <a:pt x="1654" y="1151"/>
                  </a:lnTo>
                  <a:lnTo>
                    <a:pt x="1800" y="1193"/>
                  </a:lnTo>
                  <a:lnTo>
                    <a:pt x="1884" y="1151"/>
                  </a:lnTo>
                  <a:lnTo>
                    <a:pt x="1800" y="1046"/>
                  </a:lnTo>
                  <a:lnTo>
                    <a:pt x="1884" y="984"/>
                  </a:lnTo>
                  <a:lnTo>
                    <a:pt x="1905" y="858"/>
                  </a:lnTo>
                  <a:lnTo>
                    <a:pt x="1946" y="774"/>
                  </a:lnTo>
                  <a:lnTo>
                    <a:pt x="1884" y="732"/>
                  </a:lnTo>
                  <a:lnTo>
                    <a:pt x="1758" y="732"/>
                  </a:lnTo>
                  <a:lnTo>
                    <a:pt x="1737" y="670"/>
                  </a:lnTo>
                  <a:lnTo>
                    <a:pt x="1779" y="544"/>
                  </a:lnTo>
                  <a:lnTo>
                    <a:pt x="1884" y="607"/>
                  </a:lnTo>
                  <a:lnTo>
                    <a:pt x="1967" y="544"/>
                  </a:lnTo>
                  <a:lnTo>
                    <a:pt x="1967" y="440"/>
                  </a:lnTo>
                  <a:lnTo>
                    <a:pt x="2009" y="335"/>
                  </a:lnTo>
                  <a:lnTo>
                    <a:pt x="2009" y="251"/>
                  </a:lnTo>
                  <a:lnTo>
                    <a:pt x="2072" y="230"/>
                  </a:lnTo>
                  <a:lnTo>
                    <a:pt x="2072" y="209"/>
                  </a:lnTo>
                  <a:lnTo>
                    <a:pt x="1967" y="147"/>
                  </a:lnTo>
                  <a:lnTo>
                    <a:pt x="1863" y="84"/>
                  </a:lnTo>
                  <a:lnTo>
                    <a:pt x="169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 name="Google Shape;5953;p93">
              <a:extLst>
                <a:ext uri="{FF2B5EF4-FFF2-40B4-BE49-F238E27FC236}">
                  <a16:creationId xmlns:a16="http://schemas.microsoft.com/office/drawing/2014/main" id="{5C8FCAB6-C981-4E9D-9BD5-89617CD738AA}"/>
                </a:ext>
              </a:extLst>
            </p:cNvPr>
            <p:cNvSpPr/>
            <p:nvPr/>
          </p:nvSpPr>
          <p:spPr>
            <a:xfrm>
              <a:off x="3762540" y="2773181"/>
              <a:ext cx="19445" cy="15956"/>
            </a:xfrm>
            <a:custGeom>
              <a:avLst/>
              <a:gdLst/>
              <a:ahLst/>
              <a:cxnLst/>
              <a:rect l="l" t="t" r="r" b="b"/>
              <a:pathLst>
                <a:path w="1633" h="1403" extrusionOk="0">
                  <a:moveTo>
                    <a:pt x="774" y="0"/>
                  </a:moveTo>
                  <a:lnTo>
                    <a:pt x="733" y="105"/>
                  </a:lnTo>
                  <a:lnTo>
                    <a:pt x="670" y="105"/>
                  </a:lnTo>
                  <a:lnTo>
                    <a:pt x="628" y="126"/>
                  </a:lnTo>
                  <a:lnTo>
                    <a:pt x="523" y="147"/>
                  </a:lnTo>
                  <a:lnTo>
                    <a:pt x="481" y="210"/>
                  </a:lnTo>
                  <a:lnTo>
                    <a:pt x="398" y="147"/>
                  </a:lnTo>
                  <a:lnTo>
                    <a:pt x="314" y="147"/>
                  </a:lnTo>
                  <a:lnTo>
                    <a:pt x="272" y="63"/>
                  </a:lnTo>
                  <a:lnTo>
                    <a:pt x="189" y="42"/>
                  </a:lnTo>
                  <a:lnTo>
                    <a:pt x="84" y="126"/>
                  </a:lnTo>
                  <a:lnTo>
                    <a:pt x="0" y="272"/>
                  </a:lnTo>
                  <a:lnTo>
                    <a:pt x="63" y="335"/>
                  </a:lnTo>
                  <a:lnTo>
                    <a:pt x="84" y="524"/>
                  </a:lnTo>
                  <a:lnTo>
                    <a:pt x="209" y="565"/>
                  </a:lnTo>
                  <a:lnTo>
                    <a:pt x="251" y="670"/>
                  </a:lnTo>
                  <a:lnTo>
                    <a:pt x="398" y="796"/>
                  </a:lnTo>
                  <a:lnTo>
                    <a:pt x="481" y="796"/>
                  </a:lnTo>
                  <a:lnTo>
                    <a:pt x="565" y="858"/>
                  </a:lnTo>
                  <a:lnTo>
                    <a:pt x="628" y="879"/>
                  </a:lnTo>
                  <a:lnTo>
                    <a:pt x="628" y="1047"/>
                  </a:lnTo>
                  <a:lnTo>
                    <a:pt x="774" y="1109"/>
                  </a:lnTo>
                  <a:lnTo>
                    <a:pt x="816" y="1068"/>
                  </a:lnTo>
                  <a:lnTo>
                    <a:pt x="900" y="1068"/>
                  </a:lnTo>
                  <a:lnTo>
                    <a:pt x="942" y="1109"/>
                  </a:lnTo>
                  <a:lnTo>
                    <a:pt x="1025" y="1151"/>
                  </a:lnTo>
                  <a:lnTo>
                    <a:pt x="1151" y="1298"/>
                  </a:lnTo>
                  <a:lnTo>
                    <a:pt x="1256" y="1319"/>
                  </a:lnTo>
                  <a:lnTo>
                    <a:pt x="1360" y="1402"/>
                  </a:lnTo>
                  <a:lnTo>
                    <a:pt x="1423" y="1361"/>
                  </a:lnTo>
                  <a:lnTo>
                    <a:pt x="1507" y="1361"/>
                  </a:lnTo>
                  <a:lnTo>
                    <a:pt x="1507" y="1298"/>
                  </a:lnTo>
                  <a:lnTo>
                    <a:pt x="1444" y="1256"/>
                  </a:lnTo>
                  <a:lnTo>
                    <a:pt x="1444" y="1172"/>
                  </a:lnTo>
                  <a:lnTo>
                    <a:pt x="1423" y="1109"/>
                  </a:lnTo>
                  <a:lnTo>
                    <a:pt x="1465" y="1047"/>
                  </a:lnTo>
                  <a:lnTo>
                    <a:pt x="1528" y="942"/>
                  </a:lnTo>
                  <a:lnTo>
                    <a:pt x="1549" y="942"/>
                  </a:lnTo>
                  <a:lnTo>
                    <a:pt x="1632" y="775"/>
                  </a:lnTo>
                  <a:lnTo>
                    <a:pt x="1549" y="670"/>
                  </a:lnTo>
                  <a:lnTo>
                    <a:pt x="1549" y="628"/>
                  </a:lnTo>
                  <a:lnTo>
                    <a:pt x="1465" y="440"/>
                  </a:lnTo>
                  <a:lnTo>
                    <a:pt x="1507" y="356"/>
                  </a:lnTo>
                  <a:lnTo>
                    <a:pt x="1507" y="335"/>
                  </a:lnTo>
                  <a:lnTo>
                    <a:pt x="1402" y="314"/>
                  </a:lnTo>
                  <a:lnTo>
                    <a:pt x="1402" y="231"/>
                  </a:lnTo>
                  <a:lnTo>
                    <a:pt x="1339" y="147"/>
                  </a:lnTo>
                  <a:lnTo>
                    <a:pt x="1193" y="147"/>
                  </a:lnTo>
                  <a:lnTo>
                    <a:pt x="1130" y="63"/>
                  </a:lnTo>
                  <a:lnTo>
                    <a:pt x="1025" y="63"/>
                  </a:lnTo>
                  <a:lnTo>
                    <a:pt x="98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 name="Google Shape;5954;p93">
              <a:extLst>
                <a:ext uri="{FF2B5EF4-FFF2-40B4-BE49-F238E27FC236}">
                  <a16:creationId xmlns:a16="http://schemas.microsoft.com/office/drawing/2014/main" id="{829CC782-AAF1-43C6-AEF5-E18C2C2CB0B0}"/>
                </a:ext>
              </a:extLst>
            </p:cNvPr>
            <p:cNvSpPr/>
            <p:nvPr/>
          </p:nvSpPr>
          <p:spPr>
            <a:xfrm>
              <a:off x="3779484" y="2783894"/>
              <a:ext cx="4739" cy="6425"/>
            </a:xfrm>
            <a:custGeom>
              <a:avLst/>
              <a:gdLst/>
              <a:ahLst/>
              <a:cxnLst/>
              <a:rect l="l" t="t" r="r" b="b"/>
              <a:pathLst>
                <a:path w="398" h="565" extrusionOk="0">
                  <a:moveTo>
                    <a:pt x="105" y="0"/>
                  </a:moveTo>
                  <a:lnTo>
                    <a:pt x="42" y="105"/>
                  </a:lnTo>
                  <a:lnTo>
                    <a:pt x="0" y="167"/>
                  </a:lnTo>
                  <a:lnTo>
                    <a:pt x="21" y="230"/>
                  </a:lnTo>
                  <a:lnTo>
                    <a:pt x="21" y="314"/>
                  </a:lnTo>
                  <a:lnTo>
                    <a:pt x="84" y="356"/>
                  </a:lnTo>
                  <a:lnTo>
                    <a:pt x="84" y="419"/>
                  </a:lnTo>
                  <a:lnTo>
                    <a:pt x="105" y="419"/>
                  </a:lnTo>
                  <a:lnTo>
                    <a:pt x="146" y="523"/>
                  </a:lnTo>
                  <a:lnTo>
                    <a:pt x="314" y="565"/>
                  </a:lnTo>
                  <a:lnTo>
                    <a:pt x="398" y="544"/>
                  </a:lnTo>
                  <a:lnTo>
                    <a:pt x="398" y="356"/>
                  </a:lnTo>
                  <a:lnTo>
                    <a:pt x="335" y="314"/>
                  </a:lnTo>
                  <a:lnTo>
                    <a:pt x="314" y="167"/>
                  </a:lnTo>
                  <a:lnTo>
                    <a:pt x="188"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 name="Google Shape;5955;p93">
              <a:extLst>
                <a:ext uri="{FF2B5EF4-FFF2-40B4-BE49-F238E27FC236}">
                  <a16:creationId xmlns:a16="http://schemas.microsoft.com/office/drawing/2014/main" id="{73310079-3FE8-468D-A529-C14CF1504EBB}"/>
                </a:ext>
              </a:extLst>
            </p:cNvPr>
            <p:cNvSpPr/>
            <p:nvPr/>
          </p:nvSpPr>
          <p:spPr>
            <a:xfrm>
              <a:off x="3681319" y="2737017"/>
              <a:ext cx="27661" cy="34982"/>
            </a:xfrm>
            <a:custGeom>
              <a:avLst/>
              <a:gdLst/>
              <a:ahLst/>
              <a:cxnLst/>
              <a:rect l="l" t="t" r="r" b="b"/>
              <a:pathLst>
                <a:path w="2323" h="3076" extrusionOk="0">
                  <a:moveTo>
                    <a:pt x="1737" y="0"/>
                  </a:moveTo>
                  <a:lnTo>
                    <a:pt x="1779" y="84"/>
                  </a:lnTo>
                  <a:lnTo>
                    <a:pt x="1653" y="84"/>
                  </a:lnTo>
                  <a:lnTo>
                    <a:pt x="1674" y="209"/>
                  </a:lnTo>
                  <a:lnTo>
                    <a:pt x="1590" y="314"/>
                  </a:lnTo>
                  <a:lnTo>
                    <a:pt x="1590" y="230"/>
                  </a:lnTo>
                  <a:lnTo>
                    <a:pt x="1653" y="188"/>
                  </a:lnTo>
                  <a:lnTo>
                    <a:pt x="1590" y="84"/>
                  </a:lnTo>
                  <a:lnTo>
                    <a:pt x="1528" y="105"/>
                  </a:lnTo>
                  <a:lnTo>
                    <a:pt x="1569" y="167"/>
                  </a:lnTo>
                  <a:lnTo>
                    <a:pt x="1465" y="188"/>
                  </a:lnTo>
                  <a:lnTo>
                    <a:pt x="1423" y="147"/>
                  </a:lnTo>
                  <a:lnTo>
                    <a:pt x="1256" y="167"/>
                  </a:lnTo>
                  <a:lnTo>
                    <a:pt x="1256" y="230"/>
                  </a:lnTo>
                  <a:lnTo>
                    <a:pt x="1214" y="230"/>
                  </a:lnTo>
                  <a:lnTo>
                    <a:pt x="1172" y="356"/>
                  </a:lnTo>
                  <a:lnTo>
                    <a:pt x="1256" y="377"/>
                  </a:lnTo>
                  <a:lnTo>
                    <a:pt x="1235" y="419"/>
                  </a:lnTo>
                  <a:lnTo>
                    <a:pt x="1151" y="419"/>
                  </a:lnTo>
                  <a:lnTo>
                    <a:pt x="1151" y="481"/>
                  </a:lnTo>
                  <a:lnTo>
                    <a:pt x="1046" y="502"/>
                  </a:lnTo>
                  <a:lnTo>
                    <a:pt x="1067" y="586"/>
                  </a:lnTo>
                  <a:lnTo>
                    <a:pt x="1214" y="586"/>
                  </a:lnTo>
                  <a:lnTo>
                    <a:pt x="1172" y="607"/>
                  </a:lnTo>
                  <a:lnTo>
                    <a:pt x="1276" y="586"/>
                  </a:lnTo>
                  <a:lnTo>
                    <a:pt x="1360" y="586"/>
                  </a:lnTo>
                  <a:lnTo>
                    <a:pt x="1235" y="711"/>
                  </a:lnTo>
                  <a:lnTo>
                    <a:pt x="1046" y="795"/>
                  </a:lnTo>
                  <a:lnTo>
                    <a:pt x="1130" y="837"/>
                  </a:lnTo>
                  <a:lnTo>
                    <a:pt x="942" y="879"/>
                  </a:lnTo>
                  <a:lnTo>
                    <a:pt x="858" y="837"/>
                  </a:lnTo>
                  <a:lnTo>
                    <a:pt x="795" y="921"/>
                  </a:lnTo>
                  <a:lnTo>
                    <a:pt x="753" y="816"/>
                  </a:lnTo>
                  <a:lnTo>
                    <a:pt x="502" y="753"/>
                  </a:lnTo>
                  <a:lnTo>
                    <a:pt x="502" y="816"/>
                  </a:lnTo>
                  <a:lnTo>
                    <a:pt x="335" y="753"/>
                  </a:lnTo>
                  <a:lnTo>
                    <a:pt x="314" y="942"/>
                  </a:lnTo>
                  <a:lnTo>
                    <a:pt x="398" y="879"/>
                  </a:lnTo>
                  <a:lnTo>
                    <a:pt x="419" y="942"/>
                  </a:lnTo>
                  <a:lnTo>
                    <a:pt x="440" y="984"/>
                  </a:lnTo>
                  <a:lnTo>
                    <a:pt x="481" y="1088"/>
                  </a:lnTo>
                  <a:lnTo>
                    <a:pt x="419" y="1088"/>
                  </a:lnTo>
                  <a:lnTo>
                    <a:pt x="398" y="1025"/>
                  </a:lnTo>
                  <a:lnTo>
                    <a:pt x="272" y="1025"/>
                  </a:lnTo>
                  <a:lnTo>
                    <a:pt x="419" y="1130"/>
                  </a:lnTo>
                  <a:lnTo>
                    <a:pt x="544" y="1109"/>
                  </a:lnTo>
                  <a:lnTo>
                    <a:pt x="586" y="1214"/>
                  </a:lnTo>
                  <a:lnTo>
                    <a:pt x="440" y="1235"/>
                  </a:lnTo>
                  <a:lnTo>
                    <a:pt x="419" y="1276"/>
                  </a:lnTo>
                  <a:lnTo>
                    <a:pt x="440" y="1339"/>
                  </a:lnTo>
                  <a:lnTo>
                    <a:pt x="293" y="1360"/>
                  </a:lnTo>
                  <a:lnTo>
                    <a:pt x="335" y="1444"/>
                  </a:lnTo>
                  <a:lnTo>
                    <a:pt x="272" y="1465"/>
                  </a:lnTo>
                  <a:lnTo>
                    <a:pt x="377" y="1528"/>
                  </a:lnTo>
                  <a:lnTo>
                    <a:pt x="419" y="1507"/>
                  </a:lnTo>
                  <a:lnTo>
                    <a:pt x="398" y="1548"/>
                  </a:lnTo>
                  <a:lnTo>
                    <a:pt x="523" y="1528"/>
                  </a:lnTo>
                  <a:lnTo>
                    <a:pt x="544" y="1674"/>
                  </a:lnTo>
                  <a:lnTo>
                    <a:pt x="858" y="1674"/>
                  </a:lnTo>
                  <a:lnTo>
                    <a:pt x="753" y="1758"/>
                  </a:lnTo>
                  <a:lnTo>
                    <a:pt x="691" y="1737"/>
                  </a:lnTo>
                  <a:lnTo>
                    <a:pt x="586" y="1925"/>
                  </a:lnTo>
                  <a:lnTo>
                    <a:pt x="628" y="1925"/>
                  </a:lnTo>
                  <a:lnTo>
                    <a:pt x="523" y="2051"/>
                  </a:lnTo>
                  <a:lnTo>
                    <a:pt x="335" y="2176"/>
                  </a:lnTo>
                  <a:lnTo>
                    <a:pt x="419" y="2176"/>
                  </a:lnTo>
                  <a:lnTo>
                    <a:pt x="523" y="2134"/>
                  </a:lnTo>
                  <a:lnTo>
                    <a:pt x="586" y="2155"/>
                  </a:lnTo>
                  <a:lnTo>
                    <a:pt x="732" y="2155"/>
                  </a:lnTo>
                  <a:lnTo>
                    <a:pt x="816" y="2072"/>
                  </a:lnTo>
                  <a:lnTo>
                    <a:pt x="816" y="2092"/>
                  </a:lnTo>
                  <a:lnTo>
                    <a:pt x="942" y="2134"/>
                  </a:lnTo>
                  <a:lnTo>
                    <a:pt x="691" y="2176"/>
                  </a:lnTo>
                  <a:lnTo>
                    <a:pt x="502" y="2197"/>
                  </a:lnTo>
                  <a:lnTo>
                    <a:pt x="440" y="2281"/>
                  </a:lnTo>
                  <a:lnTo>
                    <a:pt x="314" y="2302"/>
                  </a:lnTo>
                  <a:lnTo>
                    <a:pt x="377" y="2364"/>
                  </a:lnTo>
                  <a:lnTo>
                    <a:pt x="335" y="2406"/>
                  </a:lnTo>
                  <a:lnTo>
                    <a:pt x="398" y="2448"/>
                  </a:lnTo>
                  <a:lnTo>
                    <a:pt x="293" y="2469"/>
                  </a:lnTo>
                  <a:lnTo>
                    <a:pt x="209" y="2385"/>
                  </a:lnTo>
                  <a:lnTo>
                    <a:pt x="188" y="2448"/>
                  </a:lnTo>
                  <a:lnTo>
                    <a:pt x="168" y="2406"/>
                  </a:lnTo>
                  <a:lnTo>
                    <a:pt x="0" y="2490"/>
                  </a:lnTo>
                  <a:lnTo>
                    <a:pt x="21" y="2511"/>
                  </a:lnTo>
                  <a:lnTo>
                    <a:pt x="398" y="2511"/>
                  </a:lnTo>
                  <a:lnTo>
                    <a:pt x="272" y="2595"/>
                  </a:lnTo>
                  <a:lnTo>
                    <a:pt x="105" y="2657"/>
                  </a:lnTo>
                  <a:lnTo>
                    <a:pt x="63" y="2762"/>
                  </a:lnTo>
                  <a:lnTo>
                    <a:pt x="168" y="2762"/>
                  </a:lnTo>
                  <a:lnTo>
                    <a:pt x="188" y="2825"/>
                  </a:lnTo>
                  <a:lnTo>
                    <a:pt x="440" y="2762"/>
                  </a:lnTo>
                  <a:lnTo>
                    <a:pt x="440" y="2762"/>
                  </a:lnTo>
                  <a:lnTo>
                    <a:pt x="230" y="2888"/>
                  </a:lnTo>
                  <a:lnTo>
                    <a:pt x="168" y="2929"/>
                  </a:lnTo>
                  <a:lnTo>
                    <a:pt x="314" y="2929"/>
                  </a:lnTo>
                  <a:lnTo>
                    <a:pt x="502" y="2825"/>
                  </a:lnTo>
                  <a:lnTo>
                    <a:pt x="481" y="2908"/>
                  </a:lnTo>
                  <a:lnTo>
                    <a:pt x="314" y="2992"/>
                  </a:lnTo>
                  <a:lnTo>
                    <a:pt x="419" y="2992"/>
                  </a:lnTo>
                  <a:lnTo>
                    <a:pt x="398" y="3034"/>
                  </a:lnTo>
                  <a:lnTo>
                    <a:pt x="398" y="3034"/>
                  </a:lnTo>
                  <a:lnTo>
                    <a:pt x="523" y="3013"/>
                  </a:lnTo>
                  <a:lnTo>
                    <a:pt x="607" y="3076"/>
                  </a:lnTo>
                  <a:lnTo>
                    <a:pt x="795" y="3034"/>
                  </a:lnTo>
                  <a:lnTo>
                    <a:pt x="963" y="2992"/>
                  </a:lnTo>
                  <a:lnTo>
                    <a:pt x="1130" y="2888"/>
                  </a:lnTo>
                  <a:lnTo>
                    <a:pt x="1067" y="2783"/>
                  </a:lnTo>
                  <a:lnTo>
                    <a:pt x="1172" y="2783"/>
                  </a:lnTo>
                  <a:lnTo>
                    <a:pt x="1151" y="2867"/>
                  </a:lnTo>
                  <a:lnTo>
                    <a:pt x="1256" y="2867"/>
                  </a:lnTo>
                  <a:lnTo>
                    <a:pt x="1360" y="2720"/>
                  </a:lnTo>
                  <a:lnTo>
                    <a:pt x="1444" y="2762"/>
                  </a:lnTo>
                  <a:lnTo>
                    <a:pt x="1465" y="2657"/>
                  </a:lnTo>
                  <a:lnTo>
                    <a:pt x="1800" y="2595"/>
                  </a:lnTo>
                  <a:lnTo>
                    <a:pt x="1841" y="2511"/>
                  </a:lnTo>
                  <a:lnTo>
                    <a:pt x="1862" y="2616"/>
                  </a:lnTo>
                  <a:lnTo>
                    <a:pt x="1946" y="2553"/>
                  </a:lnTo>
                  <a:lnTo>
                    <a:pt x="2009" y="2574"/>
                  </a:lnTo>
                  <a:lnTo>
                    <a:pt x="2176" y="2574"/>
                  </a:lnTo>
                  <a:lnTo>
                    <a:pt x="2072" y="2406"/>
                  </a:lnTo>
                  <a:lnTo>
                    <a:pt x="2155" y="2385"/>
                  </a:lnTo>
                  <a:lnTo>
                    <a:pt x="2218" y="2281"/>
                  </a:lnTo>
                  <a:lnTo>
                    <a:pt x="2218" y="2176"/>
                  </a:lnTo>
                  <a:lnTo>
                    <a:pt x="2302" y="2072"/>
                  </a:lnTo>
                  <a:lnTo>
                    <a:pt x="2323" y="1967"/>
                  </a:lnTo>
                  <a:lnTo>
                    <a:pt x="2302" y="1716"/>
                  </a:lnTo>
                  <a:lnTo>
                    <a:pt x="2218" y="1674"/>
                  </a:lnTo>
                  <a:lnTo>
                    <a:pt x="2302" y="1632"/>
                  </a:lnTo>
                  <a:lnTo>
                    <a:pt x="2302" y="1507"/>
                  </a:lnTo>
                  <a:lnTo>
                    <a:pt x="2218" y="1402"/>
                  </a:lnTo>
                  <a:lnTo>
                    <a:pt x="2260" y="1256"/>
                  </a:lnTo>
                  <a:lnTo>
                    <a:pt x="2176" y="1214"/>
                  </a:lnTo>
                  <a:lnTo>
                    <a:pt x="2197" y="1130"/>
                  </a:lnTo>
                  <a:lnTo>
                    <a:pt x="2281" y="1151"/>
                  </a:lnTo>
                  <a:lnTo>
                    <a:pt x="2281" y="1151"/>
                  </a:lnTo>
                  <a:lnTo>
                    <a:pt x="2155" y="1088"/>
                  </a:lnTo>
                  <a:lnTo>
                    <a:pt x="2072" y="1046"/>
                  </a:lnTo>
                  <a:lnTo>
                    <a:pt x="1967" y="837"/>
                  </a:lnTo>
                  <a:lnTo>
                    <a:pt x="1800" y="732"/>
                  </a:lnTo>
                  <a:lnTo>
                    <a:pt x="1737" y="795"/>
                  </a:lnTo>
                  <a:lnTo>
                    <a:pt x="1695" y="942"/>
                  </a:lnTo>
                  <a:lnTo>
                    <a:pt x="1632" y="984"/>
                  </a:lnTo>
                  <a:lnTo>
                    <a:pt x="1360" y="732"/>
                  </a:lnTo>
                  <a:lnTo>
                    <a:pt x="1486" y="502"/>
                  </a:lnTo>
                  <a:lnTo>
                    <a:pt x="1632" y="481"/>
                  </a:lnTo>
                  <a:lnTo>
                    <a:pt x="1653" y="377"/>
                  </a:lnTo>
                  <a:lnTo>
                    <a:pt x="1737" y="356"/>
                  </a:lnTo>
                  <a:lnTo>
                    <a:pt x="1779" y="272"/>
                  </a:lnTo>
                  <a:lnTo>
                    <a:pt x="1737" y="293"/>
                  </a:lnTo>
                  <a:lnTo>
                    <a:pt x="1737" y="293"/>
                  </a:lnTo>
                  <a:lnTo>
                    <a:pt x="1841" y="188"/>
                  </a:lnTo>
                  <a:lnTo>
                    <a:pt x="1946" y="147"/>
                  </a:lnTo>
                  <a:lnTo>
                    <a:pt x="1841" y="84"/>
                  </a:lnTo>
                  <a:lnTo>
                    <a:pt x="173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83" name="Google Shape;5956;p93">
              <a:extLst>
                <a:ext uri="{FF2B5EF4-FFF2-40B4-BE49-F238E27FC236}">
                  <a16:creationId xmlns:a16="http://schemas.microsoft.com/office/drawing/2014/main" id="{B2FE2918-C4FE-448B-9B3E-90838A8F715D}"/>
                </a:ext>
              </a:extLst>
            </p:cNvPr>
            <p:cNvGrpSpPr/>
            <p:nvPr/>
          </p:nvGrpSpPr>
          <p:grpSpPr>
            <a:xfrm>
              <a:off x="3697513" y="2707266"/>
              <a:ext cx="59549" cy="79733"/>
              <a:chOff x="3586375" y="2281300"/>
              <a:chExt cx="125025" cy="175275"/>
            </a:xfrm>
          </p:grpSpPr>
          <p:sp>
            <p:nvSpPr>
              <p:cNvPr id="1297" name="Google Shape;5957;p93">
                <a:extLst>
                  <a:ext uri="{FF2B5EF4-FFF2-40B4-BE49-F238E27FC236}">
                    <a16:creationId xmlns:a16="http://schemas.microsoft.com/office/drawing/2014/main" id="{E5CE38D5-75DB-4907-BF37-EB7F0011EB45}"/>
                  </a:ext>
                </a:extLst>
              </p:cNvPr>
              <p:cNvSpPr/>
              <p:nvPr/>
            </p:nvSpPr>
            <p:spPr>
              <a:xfrm>
                <a:off x="3609900" y="2281300"/>
                <a:ext cx="101500" cy="175275"/>
              </a:xfrm>
              <a:custGeom>
                <a:avLst/>
                <a:gdLst/>
                <a:ahLst/>
                <a:cxnLst/>
                <a:rect l="l" t="t" r="r" b="b"/>
                <a:pathLst>
                  <a:path w="4060" h="7011" extrusionOk="0">
                    <a:moveTo>
                      <a:pt x="1340" y="1"/>
                    </a:moveTo>
                    <a:lnTo>
                      <a:pt x="1277" y="63"/>
                    </a:lnTo>
                    <a:lnTo>
                      <a:pt x="1235" y="42"/>
                    </a:lnTo>
                    <a:lnTo>
                      <a:pt x="1110" y="84"/>
                    </a:lnTo>
                    <a:lnTo>
                      <a:pt x="1026" y="84"/>
                    </a:lnTo>
                    <a:lnTo>
                      <a:pt x="921" y="105"/>
                    </a:lnTo>
                    <a:lnTo>
                      <a:pt x="859" y="105"/>
                    </a:lnTo>
                    <a:lnTo>
                      <a:pt x="838" y="168"/>
                    </a:lnTo>
                    <a:lnTo>
                      <a:pt x="838" y="105"/>
                    </a:lnTo>
                    <a:lnTo>
                      <a:pt x="796" y="84"/>
                    </a:lnTo>
                    <a:lnTo>
                      <a:pt x="712" y="168"/>
                    </a:lnTo>
                    <a:lnTo>
                      <a:pt x="733" y="105"/>
                    </a:lnTo>
                    <a:lnTo>
                      <a:pt x="608" y="42"/>
                    </a:lnTo>
                    <a:lnTo>
                      <a:pt x="587" y="105"/>
                    </a:lnTo>
                    <a:lnTo>
                      <a:pt x="524" y="168"/>
                    </a:lnTo>
                    <a:lnTo>
                      <a:pt x="545" y="231"/>
                    </a:lnTo>
                    <a:lnTo>
                      <a:pt x="524" y="231"/>
                    </a:lnTo>
                    <a:lnTo>
                      <a:pt x="524" y="314"/>
                    </a:lnTo>
                    <a:lnTo>
                      <a:pt x="419" y="356"/>
                    </a:lnTo>
                    <a:lnTo>
                      <a:pt x="482" y="419"/>
                    </a:lnTo>
                    <a:lnTo>
                      <a:pt x="440" y="503"/>
                    </a:lnTo>
                    <a:lnTo>
                      <a:pt x="398" y="503"/>
                    </a:lnTo>
                    <a:lnTo>
                      <a:pt x="503" y="607"/>
                    </a:lnTo>
                    <a:lnTo>
                      <a:pt x="545" y="670"/>
                    </a:lnTo>
                    <a:lnTo>
                      <a:pt x="419" y="607"/>
                    </a:lnTo>
                    <a:lnTo>
                      <a:pt x="398" y="670"/>
                    </a:lnTo>
                    <a:lnTo>
                      <a:pt x="315" y="587"/>
                    </a:lnTo>
                    <a:lnTo>
                      <a:pt x="294" y="628"/>
                    </a:lnTo>
                    <a:lnTo>
                      <a:pt x="315" y="691"/>
                    </a:lnTo>
                    <a:lnTo>
                      <a:pt x="294" y="733"/>
                    </a:lnTo>
                    <a:lnTo>
                      <a:pt x="273" y="628"/>
                    </a:lnTo>
                    <a:lnTo>
                      <a:pt x="210" y="733"/>
                    </a:lnTo>
                    <a:lnTo>
                      <a:pt x="273" y="796"/>
                    </a:lnTo>
                    <a:lnTo>
                      <a:pt x="210" y="817"/>
                    </a:lnTo>
                    <a:lnTo>
                      <a:pt x="294" y="900"/>
                    </a:lnTo>
                    <a:lnTo>
                      <a:pt x="336" y="900"/>
                    </a:lnTo>
                    <a:lnTo>
                      <a:pt x="294" y="942"/>
                    </a:lnTo>
                    <a:lnTo>
                      <a:pt x="210" y="900"/>
                    </a:lnTo>
                    <a:lnTo>
                      <a:pt x="210" y="1026"/>
                    </a:lnTo>
                    <a:lnTo>
                      <a:pt x="210" y="1047"/>
                    </a:lnTo>
                    <a:lnTo>
                      <a:pt x="377" y="1026"/>
                    </a:lnTo>
                    <a:lnTo>
                      <a:pt x="273" y="1089"/>
                    </a:lnTo>
                    <a:lnTo>
                      <a:pt x="273" y="1110"/>
                    </a:lnTo>
                    <a:lnTo>
                      <a:pt x="294" y="1131"/>
                    </a:lnTo>
                    <a:lnTo>
                      <a:pt x="377" y="1110"/>
                    </a:lnTo>
                    <a:lnTo>
                      <a:pt x="336" y="1131"/>
                    </a:lnTo>
                    <a:lnTo>
                      <a:pt x="398" y="1151"/>
                    </a:lnTo>
                    <a:lnTo>
                      <a:pt x="398" y="1151"/>
                    </a:lnTo>
                    <a:lnTo>
                      <a:pt x="315" y="1131"/>
                    </a:lnTo>
                    <a:lnTo>
                      <a:pt x="294" y="1151"/>
                    </a:lnTo>
                    <a:lnTo>
                      <a:pt x="294" y="1214"/>
                    </a:lnTo>
                    <a:lnTo>
                      <a:pt x="315" y="1235"/>
                    </a:lnTo>
                    <a:lnTo>
                      <a:pt x="273" y="1256"/>
                    </a:lnTo>
                    <a:lnTo>
                      <a:pt x="231" y="1319"/>
                    </a:lnTo>
                    <a:lnTo>
                      <a:pt x="294" y="1319"/>
                    </a:lnTo>
                    <a:lnTo>
                      <a:pt x="294" y="1361"/>
                    </a:lnTo>
                    <a:lnTo>
                      <a:pt x="210" y="1340"/>
                    </a:lnTo>
                    <a:lnTo>
                      <a:pt x="189" y="1403"/>
                    </a:lnTo>
                    <a:lnTo>
                      <a:pt x="210" y="1444"/>
                    </a:lnTo>
                    <a:lnTo>
                      <a:pt x="189" y="1465"/>
                    </a:lnTo>
                    <a:lnTo>
                      <a:pt x="168" y="1528"/>
                    </a:lnTo>
                    <a:lnTo>
                      <a:pt x="63" y="1528"/>
                    </a:lnTo>
                    <a:lnTo>
                      <a:pt x="1" y="1549"/>
                    </a:lnTo>
                    <a:lnTo>
                      <a:pt x="63" y="1570"/>
                    </a:lnTo>
                    <a:lnTo>
                      <a:pt x="126" y="1570"/>
                    </a:lnTo>
                    <a:lnTo>
                      <a:pt x="189" y="1612"/>
                    </a:lnTo>
                    <a:lnTo>
                      <a:pt x="168" y="1633"/>
                    </a:lnTo>
                    <a:lnTo>
                      <a:pt x="105" y="1633"/>
                    </a:lnTo>
                    <a:lnTo>
                      <a:pt x="189" y="1716"/>
                    </a:lnTo>
                    <a:lnTo>
                      <a:pt x="210" y="1716"/>
                    </a:lnTo>
                    <a:lnTo>
                      <a:pt x="273" y="1737"/>
                    </a:lnTo>
                    <a:lnTo>
                      <a:pt x="503" y="1507"/>
                    </a:lnTo>
                    <a:lnTo>
                      <a:pt x="482" y="1570"/>
                    </a:lnTo>
                    <a:lnTo>
                      <a:pt x="503" y="1612"/>
                    </a:lnTo>
                    <a:lnTo>
                      <a:pt x="419" y="1633"/>
                    </a:lnTo>
                    <a:lnTo>
                      <a:pt x="377" y="1758"/>
                    </a:lnTo>
                    <a:lnTo>
                      <a:pt x="377" y="1779"/>
                    </a:lnTo>
                    <a:lnTo>
                      <a:pt x="315" y="1947"/>
                    </a:lnTo>
                    <a:lnTo>
                      <a:pt x="336" y="1947"/>
                    </a:lnTo>
                    <a:lnTo>
                      <a:pt x="294" y="2135"/>
                    </a:lnTo>
                    <a:lnTo>
                      <a:pt x="294" y="2239"/>
                    </a:lnTo>
                    <a:lnTo>
                      <a:pt x="231" y="2281"/>
                    </a:lnTo>
                    <a:lnTo>
                      <a:pt x="294" y="2323"/>
                    </a:lnTo>
                    <a:lnTo>
                      <a:pt x="315" y="2302"/>
                    </a:lnTo>
                    <a:lnTo>
                      <a:pt x="231" y="2449"/>
                    </a:lnTo>
                    <a:lnTo>
                      <a:pt x="231" y="2595"/>
                    </a:lnTo>
                    <a:lnTo>
                      <a:pt x="189" y="2658"/>
                    </a:lnTo>
                    <a:lnTo>
                      <a:pt x="189" y="2700"/>
                    </a:lnTo>
                    <a:lnTo>
                      <a:pt x="315" y="2700"/>
                    </a:lnTo>
                    <a:lnTo>
                      <a:pt x="294" y="2595"/>
                    </a:lnTo>
                    <a:lnTo>
                      <a:pt x="336" y="2491"/>
                    </a:lnTo>
                    <a:lnTo>
                      <a:pt x="336" y="2407"/>
                    </a:lnTo>
                    <a:lnTo>
                      <a:pt x="398" y="2323"/>
                    </a:lnTo>
                    <a:lnTo>
                      <a:pt x="336" y="2135"/>
                    </a:lnTo>
                    <a:lnTo>
                      <a:pt x="398" y="2135"/>
                    </a:lnTo>
                    <a:lnTo>
                      <a:pt x="545" y="1947"/>
                    </a:lnTo>
                    <a:lnTo>
                      <a:pt x="440" y="2135"/>
                    </a:lnTo>
                    <a:lnTo>
                      <a:pt x="419" y="2239"/>
                    </a:lnTo>
                    <a:lnTo>
                      <a:pt x="482" y="2260"/>
                    </a:lnTo>
                    <a:lnTo>
                      <a:pt x="482" y="2198"/>
                    </a:lnTo>
                    <a:lnTo>
                      <a:pt x="545" y="2135"/>
                    </a:lnTo>
                    <a:lnTo>
                      <a:pt x="587" y="2260"/>
                    </a:lnTo>
                    <a:lnTo>
                      <a:pt x="628" y="2135"/>
                    </a:lnTo>
                    <a:lnTo>
                      <a:pt x="628" y="2030"/>
                    </a:lnTo>
                    <a:lnTo>
                      <a:pt x="691" y="1988"/>
                    </a:lnTo>
                    <a:lnTo>
                      <a:pt x="649" y="2135"/>
                    </a:lnTo>
                    <a:lnTo>
                      <a:pt x="754" y="2198"/>
                    </a:lnTo>
                    <a:lnTo>
                      <a:pt x="649" y="2177"/>
                    </a:lnTo>
                    <a:lnTo>
                      <a:pt x="628" y="2323"/>
                    </a:lnTo>
                    <a:lnTo>
                      <a:pt x="649" y="2449"/>
                    </a:lnTo>
                    <a:lnTo>
                      <a:pt x="712" y="2470"/>
                    </a:lnTo>
                    <a:lnTo>
                      <a:pt x="754" y="2574"/>
                    </a:lnTo>
                    <a:lnTo>
                      <a:pt x="649" y="2658"/>
                    </a:lnTo>
                    <a:lnTo>
                      <a:pt x="587" y="2909"/>
                    </a:lnTo>
                    <a:lnTo>
                      <a:pt x="587" y="3014"/>
                    </a:lnTo>
                    <a:lnTo>
                      <a:pt x="503" y="2972"/>
                    </a:lnTo>
                    <a:lnTo>
                      <a:pt x="503" y="3097"/>
                    </a:lnTo>
                    <a:lnTo>
                      <a:pt x="628" y="3244"/>
                    </a:lnTo>
                    <a:lnTo>
                      <a:pt x="587" y="3097"/>
                    </a:lnTo>
                    <a:lnTo>
                      <a:pt x="649" y="3076"/>
                    </a:lnTo>
                    <a:lnTo>
                      <a:pt x="859" y="3223"/>
                    </a:lnTo>
                    <a:lnTo>
                      <a:pt x="859" y="3097"/>
                    </a:lnTo>
                    <a:lnTo>
                      <a:pt x="796" y="3035"/>
                    </a:lnTo>
                    <a:lnTo>
                      <a:pt x="838" y="3014"/>
                    </a:lnTo>
                    <a:lnTo>
                      <a:pt x="1005" y="3118"/>
                    </a:lnTo>
                    <a:lnTo>
                      <a:pt x="1131" y="3118"/>
                    </a:lnTo>
                    <a:lnTo>
                      <a:pt x="1131" y="3076"/>
                    </a:lnTo>
                    <a:lnTo>
                      <a:pt x="1235" y="3076"/>
                    </a:lnTo>
                    <a:lnTo>
                      <a:pt x="1256" y="2972"/>
                    </a:lnTo>
                    <a:lnTo>
                      <a:pt x="1549" y="2993"/>
                    </a:lnTo>
                    <a:lnTo>
                      <a:pt x="1361" y="3014"/>
                    </a:lnTo>
                    <a:lnTo>
                      <a:pt x="1235" y="3348"/>
                    </a:lnTo>
                    <a:lnTo>
                      <a:pt x="1382" y="3620"/>
                    </a:lnTo>
                    <a:lnTo>
                      <a:pt x="1444" y="3558"/>
                    </a:lnTo>
                    <a:lnTo>
                      <a:pt x="1444" y="3704"/>
                    </a:lnTo>
                    <a:lnTo>
                      <a:pt x="1549" y="3600"/>
                    </a:lnTo>
                    <a:lnTo>
                      <a:pt x="1654" y="3600"/>
                    </a:lnTo>
                    <a:lnTo>
                      <a:pt x="1633" y="3746"/>
                    </a:lnTo>
                    <a:lnTo>
                      <a:pt x="1654" y="3767"/>
                    </a:lnTo>
                    <a:lnTo>
                      <a:pt x="1549" y="3851"/>
                    </a:lnTo>
                    <a:lnTo>
                      <a:pt x="1570" y="4018"/>
                    </a:lnTo>
                    <a:lnTo>
                      <a:pt x="1528" y="4123"/>
                    </a:lnTo>
                    <a:lnTo>
                      <a:pt x="1570" y="4227"/>
                    </a:lnTo>
                    <a:lnTo>
                      <a:pt x="1654" y="4290"/>
                    </a:lnTo>
                    <a:lnTo>
                      <a:pt x="1737" y="4290"/>
                    </a:lnTo>
                    <a:lnTo>
                      <a:pt x="1675" y="4332"/>
                    </a:lnTo>
                    <a:lnTo>
                      <a:pt x="1591" y="4332"/>
                    </a:lnTo>
                    <a:lnTo>
                      <a:pt x="1549" y="4248"/>
                    </a:lnTo>
                    <a:lnTo>
                      <a:pt x="1465" y="4269"/>
                    </a:lnTo>
                    <a:lnTo>
                      <a:pt x="1528" y="4353"/>
                    </a:lnTo>
                    <a:lnTo>
                      <a:pt x="1591" y="4395"/>
                    </a:lnTo>
                    <a:lnTo>
                      <a:pt x="1486" y="4374"/>
                    </a:lnTo>
                    <a:lnTo>
                      <a:pt x="1424" y="4290"/>
                    </a:lnTo>
                    <a:lnTo>
                      <a:pt x="1235" y="4353"/>
                    </a:lnTo>
                    <a:lnTo>
                      <a:pt x="1152" y="4353"/>
                    </a:lnTo>
                    <a:lnTo>
                      <a:pt x="963" y="4436"/>
                    </a:lnTo>
                    <a:lnTo>
                      <a:pt x="859" y="4583"/>
                    </a:lnTo>
                    <a:lnTo>
                      <a:pt x="733" y="4667"/>
                    </a:lnTo>
                    <a:lnTo>
                      <a:pt x="691" y="4750"/>
                    </a:lnTo>
                    <a:lnTo>
                      <a:pt x="817" y="4750"/>
                    </a:lnTo>
                    <a:lnTo>
                      <a:pt x="817" y="4688"/>
                    </a:lnTo>
                    <a:lnTo>
                      <a:pt x="1026" y="4646"/>
                    </a:lnTo>
                    <a:lnTo>
                      <a:pt x="1005" y="4750"/>
                    </a:lnTo>
                    <a:lnTo>
                      <a:pt x="1068" y="4813"/>
                    </a:lnTo>
                    <a:lnTo>
                      <a:pt x="1005" y="4876"/>
                    </a:lnTo>
                    <a:lnTo>
                      <a:pt x="1026" y="4960"/>
                    </a:lnTo>
                    <a:lnTo>
                      <a:pt x="1068" y="4960"/>
                    </a:lnTo>
                    <a:lnTo>
                      <a:pt x="942" y="5190"/>
                    </a:lnTo>
                    <a:lnTo>
                      <a:pt x="859" y="5232"/>
                    </a:lnTo>
                    <a:lnTo>
                      <a:pt x="754" y="5294"/>
                    </a:lnTo>
                    <a:lnTo>
                      <a:pt x="733" y="5294"/>
                    </a:lnTo>
                    <a:lnTo>
                      <a:pt x="608" y="5378"/>
                    </a:lnTo>
                    <a:lnTo>
                      <a:pt x="524" y="5378"/>
                    </a:lnTo>
                    <a:lnTo>
                      <a:pt x="398" y="5483"/>
                    </a:lnTo>
                    <a:lnTo>
                      <a:pt x="503" y="5483"/>
                    </a:lnTo>
                    <a:lnTo>
                      <a:pt x="503" y="5545"/>
                    </a:lnTo>
                    <a:lnTo>
                      <a:pt x="419" y="5608"/>
                    </a:lnTo>
                    <a:lnTo>
                      <a:pt x="545" y="5629"/>
                    </a:lnTo>
                    <a:lnTo>
                      <a:pt x="524" y="5650"/>
                    </a:lnTo>
                    <a:lnTo>
                      <a:pt x="587" y="5692"/>
                    </a:lnTo>
                    <a:lnTo>
                      <a:pt x="649" y="5650"/>
                    </a:lnTo>
                    <a:lnTo>
                      <a:pt x="754" y="5608"/>
                    </a:lnTo>
                    <a:lnTo>
                      <a:pt x="900" y="5545"/>
                    </a:lnTo>
                    <a:lnTo>
                      <a:pt x="921" y="5629"/>
                    </a:lnTo>
                    <a:lnTo>
                      <a:pt x="1026" y="5650"/>
                    </a:lnTo>
                    <a:lnTo>
                      <a:pt x="942" y="5692"/>
                    </a:lnTo>
                    <a:lnTo>
                      <a:pt x="921" y="5734"/>
                    </a:lnTo>
                    <a:lnTo>
                      <a:pt x="1068" y="5734"/>
                    </a:lnTo>
                    <a:lnTo>
                      <a:pt x="1068" y="5713"/>
                    </a:lnTo>
                    <a:lnTo>
                      <a:pt x="1152" y="5692"/>
                    </a:lnTo>
                    <a:lnTo>
                      <a:pt x="1256" y="5796"/>
                    </a:lnTo>
                    <a:lnTo>
                      <a:pt x="1319" y="5859"/>
                    </a:lnTo>
                    <a:lnTo>
                      <a:pt x="1486" y="5859"/>
                    </a:lnTo>
                    <a:lnTo>
                      <a:pt x="1549" y="5796"/>
                    </a:lnTo>
                    <a:lnTo>
                      <a:pt x="1633" y="5755"/>
                    </a:lnTo>
                    <a:lnTo>
                      <a:pt x="1758" y="5713"/>
                    </a:lnTo>
                    <a:lnTo>
                      <a:pt x="1800" y="5650"/>
                    </a:lnTo>
                    <a:lnTo>
                      <a:pt x="1905" y="5608"/>
                    </a:lnTo>
                    <a:lnTo>
                      <a:pt x="1758" y="5755"/>
                    </a:lnTo>
                    <a:lnTo>
                      <a:pt x="1633" y="5901"/>
                    </a:lnTo>
                    <a:lnTo>
                      <a:pt x="1633" y="6048"/>
                    </a:lnTo>
                    <a:lnTo>
                      <a:pt x="1528" y="6048"/>
                    </a:lnTo>
                    <a:lnTo>
                      <a:pt x="1444" y="6068"/>
                    </a:lnTo>
                    <a:lnTo>
                      <a:pt x="1361" y="6027"/>
                    </a:lnTo>
                    <a:lnTo>
                      <a:pt x="1131" y="6006"/>
                    </a:lnTo>
                    <a:lnTo>
                      <a:pt x="963" y="6048"/>
                    </a:lnTo>
                    <a:lnTo>
                      <a:pt x="963" y="6131"/>
                    </a:lnTo>
                    <a:lnTo>
                      <a:pt x="900" y="6215"/>
                    </a:lnTo>
                    <a:lnTo>
                      <a:pt x="796" y="6215"/>
                    </a:lnTo>
                    <a:lnTo>
                      <a:pt x="796" y="6382"/>
                    </a:lnTo>
                    <a:lnTo>
                      <a:pt x="691" y="6487"/>
                    </a:lnTo>
                    <a:lnTo>
                      <a:pt x="649" y="6550"/>
                    </a:lnTo>
                    <a:lnTo>
                      <a:pt x="545" y="6550"/>
                    </a:lnTo>
                    <a:lnTo>
                      <a:pt x="524" y="6675"/>
                    </a:lnTo>
                    <a:lnTo>
                      <a:pt x="482" y="6675"/>
                    </a:lnTo>
                    <a:lnTo>
                      <a:pt x="440" y="6738"/>
                    </a:lnTo>
                    <a:lnTo>
                      <a:pt x="315" y="6843"/>
                    </a:lnTo>
                    <a:lnTo>
                      <a:pt x="231" y="6801"/>
                    </a:lnTo>
                    <a:lnTo>
                      <a:pt x="168" y="6864"/>
                    </a:lnTo>
                    <a:lnTo>
                      <a:pt x="168" y="6968"/>
                    </a:lnTo>
                    <a:lnTo>
                      <a:pt x="273" y="6968"/>
                    </a:lnTo>
                    <a:lnTo>
                      <a:pt x="273" y="6885"/>
                    </a:lnTo>
                    <a:lnTo>
                      <a:pt x="377" y="6905"/>
                    </a:lnTo>
                    <a:lnTo>
                      <a:pt x="419" y="7010"/>
                    </a:lnTo>
                    <a:lnTo>
                      <a:pt x="503" y="6968"/>
                    </a:lnTo>
                    <a:lnTo>
                      <a:pt x="482" y="6905"/>
                    </a:lnTo>
                    <a:lnTo>
                      <a:pt x="524" y="6843"/>
                    </a:lnTo>
                    <a:lnTo>
                      <a:pt x="545" y="6864"/>
                    </a:lnTo>
                    <a:lnTo>
                      <a:pt x="628" y="6801"/>
                    </a:lnTo>
                    <a:lnTo>
                      <a:pt x="649" y="6801"/>
                    </a:lnTo>
                    <a:lnTo>
                      <a:pt x="712" y="6696"/>
                    </a:lnTo>
                    <a:lnTo>
                      <a:pt x="817" y="6759"/>
                    </a:lnTo>
                    <a:lnTo>
                      <a:pt x="900" y="6696"/>
                    </a:lnTo>
                    <a:lnTo>
                      <a:pt x="963" y="6738"/>
                    </a:lnTo>
                    <a:lnTo>
                      <a:pt x="1005" y="6696"/>
                    </a:lnTo>
                    <a:lnTo>
                      <a:pt x="1047" y="6759"/>
                    </a:lnTo>
                    <a:lnTo>
                      <a:pt x="1110" y="6759"/>
                    </a:lnTo>
                    <a:lnTo>
                      <a:pt x="1172" y="6801"/>
                    </a:lnTo>
                    <a:lnTo>
                      <a:pt x="1277" y="6801"/>
                    </a:lnTo>
                    <a:lnTo>
                      <a:pt x="1256" y="6759"/>
                    </a:lnTo>
                    <a:lnTo>
                      <a:pt x="1340" y="6738"/>
                    </a:lnTo>
                    <a:lnTo>
                      <a:pt x="1361" y="6654"/>
                    </a:lnTo>
                    <a:lnTo>
                      <a:pt x="1340" y="6571"/>
                    </a:lnTo>
                    <a:lnTo>
                      <a:pt x="1382" y="6487"/>
                    </a:lnTo>
                    <a:lnTo>
                      <a:pt x="1444" y="6487"/>
                    </a:lnTo>
                    <a:lnTo>
                      <a:pt x="1465" y="6445"/>
                    </a:lnTo>
                    <a:lnTo>
                      <a:pt x="1675" y="6424"/>
                    </a:lnTo>
                    <a:lnTo>
                      <a:pt x="1779" y="6424"/>
                    </a:lnTo>
                    <a:lnTo>
                      <a:pt x="1905" y="6487"/>
                    </a:lnTo>
                    <a:lnTo>
                      <a:pt x="2093" y="6487"/>
                    </a:lnTo>
                    <a:lnTo>
                      <a:pt x="2177" y="6529"/>
                    </a:lnTo>
                    <a:lnTo>
                      <a:pt x="2198" y="6445"/>
                    </a:lnTo>
                    <a:lnTo>
                      <a:pt x="2323" y="6361"/>
                    </a:lnTo>
                    <a:lnTo>
                      <a:pt x="2407" y="6382"/>
                    </a:lnTo>
                    <a:lnTo>
                      <a:pt x="2512" y="6320"/>
                    </a:lnTo>
                    <a:lnTo>
                      <a:pt x="2616" y="6340"/>
                    </a:lnTo>
                    <a:lnTo>
                      <a:pt x="2637" y="6320"/>
                    </a:lnTo>
                    <a:lnTo>
                      <a:pt x="2721" y="6278"/>
                    </a:lnTo>
                    <a:lnTo>
                      <a:pt x="2721" y="6320"/>
                    </a:lnTo>
                    <a:lnTo>
                      <a:pt x="2804" y="6361"/>
                    </a:lnTo>
                    <a:lnTo>
                      <a:pt x="2888" y="6320"/>
                    </a:lnTo>
                    <a:lnTo>
                      <a:pt x="3056" y="6320"/>
                    </a:lnTo>
                    <a:lnTo>
                      <a:pt x="3202" y="6278"/>
                    </a:lnTo>
                    <a:lnTo>
                      <a:pt x="3307" y="6320"/>
                    </a:lnTo>
                    <a:lnTo>
                      <a:pt x="3349" y="6340"/>
                    </a:lnTo>
                    <a:lnTo>
                      <a:pt x="3453" y="6257"/>
                    </a:lnTo>
                    <a:lnTo>
                      <a:pt x="3537" y="6236"/>
                    </a:lnTo>
                    <a:lnTo>
                      <a:pt x="3621" y="6152"/>
                    </a:lnTo>
                    <a:lnTo>
                      <a:pt x="3683" y="6152"/>
                    </a:lnTo>
                    <a:lnTo>
                      <a:pt x="3746" y="6173"/>
                    </a:lnTo>
                    <a:lnTo>
                      <a:pt x="3725" y="6110"/>
                    </a:lnTo>
                    <a:lnTo>
                      <a:pt x="3851" y="6027"/>
                    </a:lnTo>
                    <a:lnTo>
                      <a:pt x="3955" y="6006"/>
                    </a:lnTo>
                    <a:lnTo>
                      <a:pt x="3955" y="5922"/>
                    </a:lnTo>
                    <a:lnTo>
                      <a:pt x="3934" y="5859"/>
                    </a:lnTo>
                    <a:lnTo>
                      <a:pt x="3955" y="5796"/>
                    </a:lnTo>
                    <a:lnTo>
                      <a:pt x="3788" y="5796"/>
                    </a:lnTo>
                    <a:lnTo>
                      <a:pt x="3683" y="5838"/>
                    </a:lnTo>
                    <a:lnTo>
                      <a:pt x="3641" y="5838"/>
                    </a:lnTo>
                    <a:lnTo>
                      <a:pt x="3537" y="5817"/>
                    </a:lnTo>
                    <a:lnTo>
                      <a:pt x="3474" y="5796"/>
                    </a:lnTo>
                    <a:lnTo>
                      <a:pt x="3537" y="5755"/>
                    </a:lnTo>
                    <a:lnTo>
                      <a:pt x="3558" y="5755"/>
                    </a:lnTo>
                    <a:lnTo>
                      <a:pt x="3558" y="5734"/>
                    </a:lnTo>
                    <a:lnTo>
                      <a:pt x="3474" y="5713"/>
                    </a:lnTo>
                    <a:lnTo>
                      <a:pt x="3411" y="5734"/>
                    </a:lnTo>
                    <a:lnTo>
                      <a:pt x="3516" y="5650"/>
                    </a:lnTo>
                    <a:lnTo>
                      <a:pt x="3579" y="5692"/>
                    </a:lnTo>
                    <a:lnTo>
                      <a:pt x="3662" y="5629"/>
                    </a:lnTo>
                    <a:lnTo>
                      <a:pt x="3641" y="5545"/>
                    </a:lnTo>
                    <a:lnTo>
                      <a:pt x="3558" y="5545"/>
                    </a:lnTo>
                    <a:lnTo>
                      <a:pt x="3621" y="5504"/>
                    </a:lnTo>
                    <a:lnTo>
                      <a:pt x="3662" y="5441"/>
                    </a:lnTo>
                    <a:lnTo>
                      <a:pt x="3725" y="5504"/>
                    </a:lnTo>
                    <a:lnTo>
                      <a:pt x="3788" y="5441"/>
                    </a:lnTo>
                    <a:lnTo>
                      <a:pt x="3851" y="5399"/>
                    </a:lnTo>
                    <a:lnTo>
                      <a:pt x="3788" y="5378"/>
                    </a:lnTo>
                    <a:lnTo>
                      <a:pt x="3830" y="5336"/>
                    </a:lnTo>
                    <a:lnTo>
                      <a:pt x="3725" y="5336"/>
                    </a:lnTo>
                    <a:lnTo>
                      <a:pt x="3767" y="5273"/>
                    </a:lnTo>
                    <a:lnTo>
                      <a:pt x="3830" y="5294"/>
                    </a:lnTo>
                    <a:lnTo>
                      <a:pt x="3851" y="5315"/>
                    </a:lnTo>
                    <a:lnTo>
                      <a:pt x="3893" y="5232"/>
                    </a:lnTo>
                    <a:lnTo>
                      <a:pt x="3976" y="5211"/>
                    </a:lnTo>
                    <a:lnTo>
                      <a:pt x="3976" y="5064"/>
                    </a:lnTo>
                    <a:lnTo>
                      <a:pt x="4060" y="4897"/>
                    </a:lnTo>
                    <a:lnTo>
                      <a:pt x="3997" y="4813"/>
                    </a:lnTo>
                    <a:lnTo>
                      <a:pt x="3976" y="4688"/>
                    </a:lnTo>
                    <a:lnTo>
                      <a:pt x="3767" y="4541"/>
                    </a:lnTo>
                    <a:lnTo>
                      <a:pt x="3349" y="4541"/>
                    </a:lnTo>
                    <a:lnTo>
                      <a:pt x="3328" y="4667"/>
                    </a:lnTo>
                    <a:lnTo>
                      <a:pt x="3307" y="4708"/>
                    </a:lnTo>
                    <a:lnTo>
                      <a:pt x="3202" y="4646"/>
                    </a:lnTo>
                    <a:lnTo>
                      <a:pt x="3097" y="4604"/>
                    </a:lnTo>
                    <a:lnTo>
                      <a:pt x="3265" y="4436"/>
                    </a:lnTo>
                    <a:lnTo>
                      <a:pt x="3265" y="4332"/>
                    </a:lnTo>
                    <a:lnTo>
                      <a:pt x="3139" y="4123"/>
                    </a:lnTo>
                    <a:lnTo>
                      <a:pt x="3097" y="4123"/>
                    </a:lnTo>
                    <a:lnTo>
                      <a:pt x="2951" y="4039"/>
                    </a:lnTo>
                    <a:lnTo>
                      <a:pt x="2909" y="3955"/>
                    </a:lnTo>
                    <a:lnTo>
                      <a:pt x="2846" y="3976"/>
                    </a:lnTo>
                    <a:lnTo>
                      <a:pt x="2825" y="3976"/>
                    </a:lnTo>
                    <a:lnTo>
                      <a:pt x="2742" y="3955"/>
                    </a:lnTo>
                    <a:lnTo>
                      <a:pt x="2825" y="3955"/>
                    </a:lnTo>
                    <a:lnTo>
                      <a:pt x="2930" y="3934"/>
                    </a:lnTo>
                    <a:lnTo>
                      <a:pt x="2993" y="3955"/>
                    </a:lnTo>
                    <a:lnTo>
                      <a:pt x="3014" y="4018"/>
                    </a:lnTo>
                    <a:lnTo>
                      <a:pt x="3139" y="4018"/>
                    </a:lnTo>
                    <a:lnTo>
                      <a:pt x="2993" y="3830"/>
                    </a:lnTo>
                    <a:lnTo>
                      <a:pt x="2909" y="3725"/>
                    </a:lnTo>
                    <a:lnTo>
                      <a:pt x="2951" y="3641"/>
                    </a:lnTo>
                    <a:lnTo>
                      <a:pt x="2993" y="3641"/>
                    </a:lnTo>
                    <a:lnTo>
                      <a:pt x="2909" y="3600"/>
                    </a:lnTo>
                    <a:lnTo>
                      <a:pt x="2888" y="3537"/>
                    </a:lnTo>
                    <a:lnTo>
                      <a:pt x="2846" y="3537"/>
                    </a:lnTo>
                    <a:lnTo>
                      <a:pt x="2784" y="3348"/>
                    </a:lnTo>
                    <a:lnTo>
                      <a:pt x="2616" y="3307"/>
                    </a:lnTo>
                    <a:lnTo>
                      <a:pt x="2428" y="3244"/>
                    </a:lnTo>
                    <a:lnTo>
                      <a:pt x="2428" y="3181"/>
                    </a:lnTo>
                    <a:lnTo>
                      <a:pt x="2386" y="3139"/>
                    </a:lnTo>
                    <a:lnTo>
                      <a:pt x="2323" y="2930"/>
                    </a:lnTo>
                    <a:lnTo>
                      <a:pt x="2260" y="2825"/>
                    </a:lnTo>
                    <a:lnTo>
                      <a:pt x="2198" y="2574"/>
                    </a:lnTo>
                    <a:lnTo>
                      <a:pt x="2156" y="2470"/>
                    </a:lnTo>
                    <a:lnTo>
                      <a:pt x="2093" y="2470"/>
                    </a:lnTo>
                    <a:lnTo>
                      <a:pt x="1947" y="2239"/>
                    </a:lnTo>
                    <a:lnTo>
                      <a:pt x="1842" y="2198"/>
                    </a:lnTo>
                    <a:lnTo>
                      <a:pt x="1758" y="2156"/>
                    </a:lnTo>
                    <a:lnTo>
                      <a:pt x="1654" y="2093"/>
                    </a:lnTo>
                    <a:lnTo>
                      <a:pt x="1591" y="2156"/>
                    </a:lnTo>
                    <a:lnTo>
                      <a:pt x="1486" y="2198"/>
                    </a:lnTo>
                    <a:lnTo>
                      <a:pt x="1361" y="2177"/>
                    </a:lnTo>
                    <a:lnTo>
                      <a:pt x="1277" y="2177"/>
                    </a:lnTo>
                    <a:lnTo>
                      <a:pt x="1172" y="2156"/>
                    </a:lnTo>
                    <a:lnTo>
                      <a:pt x="1152" y="2072"/>
                    </a:lnTo>
                    <a:lnTo>
                      <a:pt x="1152" y="2072"/>
                    </a:lnTo>
                    <a:lnTo>
                      <a:pt x="1214" y="2093"/>
                    </a:lnTo>
                    <a:lnTo>
                      <a:pt x="1340" y="2135"/>
                    </a:lnTo>
                    <a:lnTo>
                      <a:pt x="1465" y="2093"/>
                    </a:lnTo>
                    <a:lnTo>
                      <a:pt x="1486" y="1988"/>
                    </a:lnTo>
                    <a:lnTo>
                      <a:pt x="1591" y="1988"/>
                    </a:lnTo>
                    <a:lnTo>
                      <a:pt x="1696" y="1926"/>
                    </a:lnTo>
                    <a:lnTo>
                      <a:pt x="1591" y="1884"/>
                    </a:lnTo>
                    <a:lnTo>
                      <a:pt x="1591" y="1800"/>
                    </a:lnTo>
                    <a:lnTo>
                      <a:pt x="1549" y="1779"/>
                    </a:lnTo>
                    <a:lnTo>
                      <a:pt x="1424" y="1863"/>
                    </a:lnTo>
                    <a:lnTo>
                      <a:pt x="1382" y="1842"/>
                    </a:lnTo>
                    <a:lnTo>
                      <a:pt x="1486" y="1758"/>
                    </a:lnTo>
                    <a:lnTo>
                      <a:pt x="1633" y="1758"/>
                    </a:lnTo>
                    <a:lnTo>
                      <a:pt x="1696" y="1716"/>
                    </a:lnTo>
                    <a:lnTo>
                      <a:pt x="1696" y="1633"/>
                    </a:lnTo>
                    <a:lnTo>
                      <a:pt x="1758" y="1612"/>
                    </a:lnTo>
                    <a:lnTo>
                      <a:pt x="1842" y="1444"/>
                    </a:lnTo>
                    <a:lnTo>
                      <a:pt x="1884" y="1403"/>
                    </a:lnTo>
                    <a:lnTo>
                      <a:pt x="1884" y="1340"/>
                    </a:lnTo>
                    <a:lnTo>
                      <a:pt x="1947" y="1235"/>
                    </a:lnTo>
                    <a:lnTo>
                      <a:pt x="1905" y="1214"/>
                    </a:lnTo>
                    <a:lnTo>
                      <a:pt x="1968" y="1047"/>
                    </a:lnTo>
                    <a:lnTo>
                      <a:pt x="2072" y="984"/>
                    </a:lnTo>
                    <a:lnTo>
                      <a:pt x="2072" y="900"/>
                    </a:lnTo>
                    <a:lnTo>
                      <a:pt x="1905" y="754"/>
                    </a:lnTo>
                    <a:lnTo>
                      <a:pt x="1884" y="796"/>
                    </a:lnTo>
                    <a:lnTo>
                      <a:pt x="1675" y="796"/>
                    </a:lnTo>
                    <a:lnTo>
                      <a:pt x="1528" y="754"/>
                    </a:lnTo>
                    <a:lnTo>
                      <a:pt x="1486" y="817"/>
                    </a:lnTo>
                    <a:lnTo>
                      <a:pt x="1424" y="817"/>
                    </a:lnTo>
                    <a:lnTo>
                      <a:pt x="1340" y="754"/>
                    </a:lnTo>
                    <a:lnTo>
                      <a:pt x="1256" y="796"/>
                    </a:lnTo>
                    <a:lnTo>
                      <a:pt x="1256" y="817"/>
                    </a:lnTo>
                    <a:lnTo>
                      <a:pt x="1172" y="838"/>
                    </a:lnTo>
                    <a:lnTo>
                      <a:pt x="1068" y="900"/>
                    </a:lnTo>
                    <a:lnTo>
                      <a:pt x="1047" y="900"/>
                    </a:lnTo>
                    <a:lnTo>
                      <a:pt x="963" y="942"/>
                    </a:lnTo>
                    <a:lnTo>
                      <a:pt x="942" y="921"/>
                    </a:lnTo>
                    <a:lnTo>
                      <a:pt x="1047" y="817"/>
                    </a:lnTo>
                    <a:lnTo>
                      <a:pt x="1131" y="691"/>
                    </a:lnTo>
                    <a:lnTo>
                      <a:pt x="1131" y="691"/>
                    </a:lnTo>
                    <a:lnTo>
                      <a:pt x="1068" y="712"/>
                    </a:lnTo>
                    <a:lnTo>
                      <a:pt x="963" y="691"/>
                    </a:lnTo>
                    <a:lnTo>
                      <a:pt x="1026" y="670"/>
                    </a:lnTo>
                    <a:lnTo>
                      <a:pt x="1047" y="587"/>
                    </a:lnTo>
                    <a:lnTo>
                      <a:pt x="1277" y="419"/>
                    </a:lnTo>
                    <a:lnTo>
                      <a:pt x="1340" y="294"/>
                    </a:lnTo>
                    <a:lnTo>
                      <a:pt x="1424" y="273"/>
                    </a:lnTo>
                    <a:lnTo>
                      <a:pt x="1444" y="168"/>
                    </a:lnTo>
                    <a:lnTo>
                      <a:pt x="1424" y="147"/>
                    </a:lnTo>
                    <a:lnTo>
                      <a:pt x="1465" y="63"/>
                    </a:lnTo>
                    <a:lnTo>
                      <a:pt x="144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 name="Google Shape;5958;p93">
                <a:extLst>
                  <a:ext uri="{FF2B5EF4-FFF2-40B4-BE49-F238E27FC236}">
                    <a16:creationId xmlns:a16="http://schemas.microsoft.com/office/drawing/2014/main" id="{99923DE4-ADFE-47B5-9D02-65D5B3608429}"/>
                  </a:ext>
                </a:extLst>
              </p:cNvPr>
              <p:cNvSpPr/>
              <p:nvPr/>
            </p:nvSpPr>
            <p:spPr>
              <a:xfrm>
                <a:off x="3586375" y="2350350"/>
                <a:ext cx="31925" cy="25125"/>
              </a:xfrm>
              <a:custGeom>
                <a:avLst/>
                <a:gdLst/>
                <a:ahLst/>
                <a:cxnLst/>
                <a:rect l="l" t="t" r="r" b="b"/>
                <a:pathLst>
                  <a:path w="1277" h="1005" extrusionOk="0">
                    <a:moveTo>
                      <a:pt x="732" y="1"/>
                    </a:moveTo>
                    <a:lnTo>
                      <a:pt x="628" y="63"/>
                    </a:lnTo>
                    <a:lnTo>
                      <a:pt x="544" y="63"/>
                    </a:lnTo>
                    <a:lnTo>
                      <a:pt x="523" y="126"/>
                    </a:lnTo>
                    <a:lnTo>
                      <a:pt x="419" y="126"/>
                    </a:lnTo>
                    <a:lnTo>
                      <a:pt x="377" y="210"/>
                    </a:lnTo>
                    <a:lnTo>
                      <a:pt x="293" y="231"/>
                    </a:lnTo>
                    <a:lnTo>
                      <a:pt x="272" y="335"/>
                    </a:lnTo>
                    <a:lnTo>
                      <a:pt x="126" y="356"/>
                    </a:lnTo>
                    <a:lnTo>
                      <a:pt x="0" y="586"/>
                    </a:lnTo>
                    <a:lnTo>
                      <a:pt x="272" y="838"/>
                    </a:lnTo>
                    <a:lnTo>
                      <a:pt x="335" y="796"/>
                    </a:lnTo>
                    <a:lnTo>
                      <a:pt x="377" y="649"/>
                    </a:lnTo>
                    <a:lnTo>
                      <a:pt x="440" y="586"/>
                    </a:lnTo>
                    <a:lnTo>
                      <a:pt x="607" y="691"/>
                    </a:lnTo>
                    <a:lnTo>
                      <a:pt x="712" y="900"/>
                    </a:lnTo>
                    <a:lnTo>
                      <a:pt x="795" y="942"/>
                    </a:lnTo>
                    <a:lnTo>
                      <a:pt x="921" y="1005"/>
                    </a:lnTo>
                    <a:lnTo>
                      <a:pt x="942" y="1005"/>
                    </a:lnTo>
                    <a:lnTo>
                      <a:pt x="942" y="942"/>
                    </a:lnTo>
                    <a:lnTo>
                      <a:pt x="1004" y="942"/>
                    </a:lnTo>
                    <a:lnTo>
                      <a:pt x="1067" y="858"/>
                    </a:lnTo>
                    <a:lnTo>
                      <a:pt x="1067" y="775"/>
                    </a:lnTo>
                    <a:lnTo>
                      <a:pt x="1214" y="796"/>
                    </a:lnTo>
                    <a:lnTo>
                      <a:pt x="1235" y="691"/>
                    </a:lnTo>
                    <a:lnTo>
                      <a:pt x="1151" y="691"/>
                    </a:lnTo>
                    <a:lnTo>
                      <a:pt x="1172" y="586"/>
                    </a:lnTo>
                    <a:lnTo>
                      <a:pt x="1151" y="545"/>
                    </a:lnTo>
                    <a:lnTo>
                      <a:pt x="1214" y="524"/>
                    </a:lnTo>
                    <a:lnTo>
                      <a:pt x="1277" y="733"/>
                    </a:lnTo>
                    <a:lnTo>
                      <a:pt x="1235" y="461"/>
                    </a:lnTo>
                    <a:lnTo>
                      <a:pt x="1109" y="461"/>
                    </a:lnTo>
                    <a:lnTo>
                      <a:pt x="1172" y="419"/>
                    </a:lnTo>
                    <a:lnTo>
                      <a:pt x="1004" y="147"/>
                    </a:lnTo>
                    <a:lnTo>
                      <a:pt x="1004" y="42"/>
                    </a:lnTo>
                    <a:lnTo>
                      <a:pt x="921" y="21"/>
                    </a:lnTo>
                    <a:lnTo>
                      <a:pt x="73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84" name="Google Shape;5959;p93">
              <a:extLst>
                <a:ext uri="{FF2B5EF4-FFF2-40B4-BE49-F238E27FC236}">
                  <a16:creationId xmlns:a16="http://schemas.microsoft.com/office/drawing/2014/main" id="{DED74778-480C-4A23-B418-E36A6F2F5A8D}"/>
                </a:ext>
              </a:extLst>
            </p:cNvPr>
            <p:cNvSpPr/>
            <p:nvPr/>
          </p:nvSpPr>
          <p:spPr>
            <a:xfrm>
              <a:off x="4037841" y="3224817"/>
              <a:ext cx="52333" cy="93527"/>
            </a:xfrm>
            <a:custGeom>
              <a:avLst/>
              <a:gdLst/>
              <a:ahLst/>
              <a:cxnLst/>
              <a:rect l="l" t="t" r="r" b="b"/>
              <a:pathLst>
                <a:path w="4395" h="8224" extrusionOk="0">
                  <a:moveTo>
                    <a:pt x="3914" y="1"/>
                  </a:moveTo>
                  <a:lnTo>
                    <a:pt x="3746" y="168"/>
                  </a:lnTo>
                  <a:lnTo>
                    <a:pt x="3809" y="252"/>
                  </a:lnTo>
                  <a:lnTo>
                    <a:pt x="3704" y="293"/>
                  </a:lnTo>
                  <a:lnTo>
                    <a:pt x="3600" y="252"/>
                  </a:lnTo>
                  <a:lnTo>
                    <a:pt x="3537" y="252"/>
                  </a:lnTo>
                  <a:lnTo>
                    <a:pt x="3621" y="377"/>
                  </a:lnTo>
                  <a:lnTo>
                    <a:pt x="3621" y="419"/>
                  </a:lnTo>
                  <a:lnTo>
                    <a:pt x="3704" y="503"/>
                  </a:lnTo>
                  <a:lnTo>
                    <a:pt x="3704" y="524"/>
                  </a:lnTo>
                  <a:lnTo>
                    <a:pt x="3600" y="670"/>
                  </a:lnTo>
                  <a:lnTo>
                    <a:pt x="3600" y="817"/>
                  </a:lnTo>
                  <a:lnTo>
                    <a:pt x="3516" y="921"/>
                  </a:lnTo>
                  <a:lnTo>
                    <a:pt x="3432" y="900"/>
                  </a:lnTo>
                  <a:lnTo>
                    <a:pt x="3328" y="1026"/>
                  </a:lnTo>
                  <a:lnTo>
                    <a:pt x="3328" y="1109"/>
                  </a:lnTo>
                  <a:lnTo>
                    <a:pt x="3244" y="1151"/>
                  </a:lnTo>
                  <a:lnTo>
                    <a:pt x="3181" y="1130"/>
                  </a:lnTo>
                  <a:lnTo>
                    <a:pt x="3181" y="1005"/>
                  </a:lnTo>
                  <a:lnTo>
                    <a:pt x="3118" y="984"/>
                  </a:lnTo>
                  <a:lnTo>
                    <a:pt x="3035" y="1047"/>
                  </a:lnTo>
                  <a:lnTo>
                    <a:pt x="3035" y="1193"/>
                  </a:lnTo>
                  <a:lnTo>
                    <a:pt x="3139" y="1298"/>
                  </a:lnTo>
                  <a:lnTo>
                    <a:pt x="3181" y="1340"/>
                  </a:lnTo>
                  <a:lnTo>
                    <a:pt x="3139" y="1402"/>
                  </a:lnTo>
                  <a:lnTo>
                    <a:pt x="3077" y="1361"/>
                  </a:lnTo>
                  <a:lnTo>
                    <a:pt x="2930" y="1402"/>
                  </a:lnTo>
                  <a:lnTo>
                    <a:pt x="2993" y="1507"/>
                  </a:lnTo>
                  <a:lnTo>
                    <a:pt x="3098" y="1549"/>
                  </a:lnTo>
                  <a:lnTo>
                    <a:pt x="3098" y="1612"/>
                  </a:lnTo>
                  <a:lnTo>
                    <a:pt x="3077" y="1674"/>
                  </a:lnTo>
                  <a:lnTo>
                    <a:pt x="2993" y="1612"/>
                  </a:lnTo>
                  <a:lnTo>
                    <a:pt x="2909" y="1633"/>
                  </a:lnTo>
                  <a:lnTo>
                    <a:pt x="2888" y="1716"/>
                  </a:lnTo>
                  <a:lnTo>
                    <a:pt x="2721" y="1842"/>
                  </a:lnTo>
                  <a:lnTo>
                    <a:pt x="2721" y="1716"/>
                  </a:lnTo>
                  <a:lnTo>
                    <a:pt x="2763" y="1674"/>
                  </a:lnTo>
                  <a:lnTo>
                    <a:pt x="2721" y="1612"/>
                  </a:lnTo>
                  <a:lnTo>
                    <a:pt x="2616" y="1716"/>
                  </a:lnTo>
                  <a:lnTo>
                    <a:pt x="2679" y="1758"/>
                  </a:lnTo>
                  <a:lnTo>
                    <a:pt x="2658" y="1821"/>
                  </a:lnTo>
                  <a:lnTo>
                    <a:pt x="2512" y="1884"/>
                  </a:lnTo>
                  <a:lnTo>
                    <a:pt x="2574" y="1988"/>
                  </a:lnTo>
                  <a:lnTo>
                    <a:pt x="2658" y="2030"/>
                  </a:lnTo>
                  <a:lnTo>
                    <a:pt x="2658" y="2072"/>
                  </a:lnTo>
                  <a:lnTo>
                    <a:pt x="2574" y="2093"/>
                  </a:lnTo>
                  <a:lnTo>
                    <a:pt x="2470" y="2156"/>
                  </a:lnTo>
                  <a:lnTo>
                    <a:pt x="2470" y="2072"/>
                  </a:lnTo>
                  <a:lnTo>
                    <a:pt x="2407" y="2072"/>
                  </a:lnTo>
                  <a:lnTo>
                    <a:pt x="2470" y="1967"/>
                  </a:lnTo>
                  <a:lnTo>
                    <a:pt x="2407" y="1946"/>
                  </a:lnTo>
                  <a:lnTo>
                    <a:pt x="2198" y="2135"/>
                  </a:lnTo>
                  <a:lnTo>
                    <a:pt x="2177" y="2281"/>
                  </a:lnTo>
                  <a:lnTo>
                    <a:pt x="2198" y="2365"/>
                  </a:lnTo>
                  <a:lnTo>
                    <a:pt x="2156" y="2407"/>
                  </a:lnTo>
                  <a:lnTo>
                    <a:pt x="2093" y="2386"/>
                  </a:lnTo>
                  <a:lnTo>
                    <a:pt x="2051" y="2365"/>
                  </a:lnTo>
                  <a:lnTo>
                    <a:pt x="2051" y="2197"/>
                  </a:lnTo>
                  <a:lnTo>
                    <a:pt x="1989" y="2197"/>
                  </a:lnTo>
                  <a:lnTo>
                    <a:pt x="1863" y="2344"/>
                  </a:lnTo>
                  <a:lnTo>
                    <a:pt x="1717" y="2239"/>
                  </a:lnTo>
                  <a:lnTo>
                    <a:pt x="1675" y="2281"/>
                  </a:lnTo>
                  <a:lnTo>
                    <a:pt x="1633" y="2281"/>
                  </a:lnTo>
                  <a:lnTo>
                    <a:pt x="1654" y="2449"/>
                  </a:lnTo>
                  <a:lnTo>
                    <a:pt x="1612" y="2449"/>
                  </a:lnTo>
                  <a:lnTo>
                    <a:pt x="1549" y="2469"/>
                  </a:lnTo>
                  <a:lnTo>
                    <a:pt x="1549" y="2365"/>
                  </a:lnTo>
                  <a:lnTo>
                    <a:pt x="1507" y="2344"/>
                  </a:lnTo>
                  <a:lnTo>
                    <a:pt x="1445" y="2449"/>
                  </a:lnTo>
                  <a:lnTo>
                    <a:pt x="1403" y="2344"/>
                  </a:lnTo>
                  <a:lnTo>
                    <a:pt x="1152" y="2553"/>
                  </a:lnTo>
                  <a:lnTo>
                    <a:pt x="1110" y="2553"/>
                  </a:lnTo>
                  <a:lnTo>
                    <a:pt x="1047" y="2511"/>
                  </a:lnTo>
                  <a:lnTo>
                    <a:pt x="921" y="2511"/>
                  </a:lnTo>
                  <a:lnTo>
                    <a:pt x="880" y="2595"/>
                  </a:lnTo>
                  <a:lnTo>
                    <a:pt x="901" y="2783"/>
                  </a:lnTo>
                  <a:lnTo>
                    <a:pt x="733" y="3034"/>
                  </a:lnTo>
                  <a:lnTo>
                    <a:pt x="733" y="3097"/>
                  </a:lnTo>
                  <a:lnTo>
                    <a:pt x="587" y="3244"/>
                  </a:lnTo>
                  <a:lnTo>
                    <a:pt x="587" y="3327"/>
                  </a:lnTo>
                  <a:lnTo>
                    <a:pt x="670" y="3411"/>
                  </a:lnTo>
                  <a:lnTo>
                    <a:pt x="587" y="3516"/>
                  </a:lnTo>
                  <a:lnTo>
                    <a:pt x="629" y="3704"/>
                  </a:lnTo>
                  <a:lnTo>
                    <a:pt x="629" y="3830"/>
                  </a:lnTo>
                  <a:lnTo>
                    <a:pt x="796" y="4143"/>
                  </a:lnTo>
                  <a:lnTo>
                    <a:pt x="796" y="4227"/>
                  </a:lnTo>
                  <a:lnTo>
                    <a:pt x="880" y="4332"/>
                  </a:lnTo>
                  <a:lnTo>
                    <a:pt x="880" y="4374"/>
                  </a:lnTo>
                  <a:lnTo>
                    <a:pt x="796" y="4457"/>
                  </a:lnTo>
                  <a:lnTo>
                    <a:pt x="817" y="4541"/>
                  </a:lnTo>
                  <a:lnTo>
                    <a:pt x="775" y="4792"/>
                  </a:lnTo>
                  <a:lnTo>
                    <a:pt x="670" y="4876"/>
                  </a:lnTo>
                  <a:lnTo>
                    <a:pt x="629" y="5022"/>
                  </a:lnTo>
                  <a:lnTo>
                    <a:pt x="566" y="5064"/>
                  </a:lnTo>
                  <a:lnTo>
                    <a:pt x="524" y="5127"/>
                  </a:lnTo>
                  <a:lnTo>
                    <a:pt x="419" y="5231"/>
                  </a:lnTo>
                  <a:lnTo>
                    <a:pt x="419" y="5441"/>
                  </a:lnTo>
                  <a:lnTo>
                    <a:pt x="357" y="5524"/>
                  </a:lnTo>
                  <a:lnTo>
                    <a:pt x="168" y="5545"/>
                  </a:lnTo>
                  <a:lnTo>
                    <a:pt x="147" y="5608"/>
                  </a:lnTo>
                  <a:lnTo>
                    <a:pt x="147" y="5796"/>
                  </a:lnTo>
                  <a:lnTo>
                    <a:pt x="43" y="5943"/>
                  </a:lnTo>
                  <a:lnTo>
                    <a:pt x="43" y="6068"/>
                  </a:lnTo>
                  <a:lnTo>
                    <a:pt x="1" y="6173"/>
                  </a:lnTo>
                  <a:lnTo>
                    <a:pt x="43" y="6236"/>
                  </a:lnTo>
                  <a:lnTo>
                    <a:pt x="43" y="6424"/>
                  </a:lnTo>
                  <a:lnTo>
                    <a:pt x="189" y="6591"/>
                  </a:lnTo>
                  <a:lnTo>
                    <a:pt x="168" y="6738"/>
                  </a:lnTo>
                  <a:lnTo>
                    <a:pt x="189" y="6843"/>
                  </a:lnTo>
                  <a:lnTo>
                    <a:pt x="273" y="6863"/>
                  </a:lnTo>
                  <a:lnTo>
                    <a:pt x="294" y="6863"/>
                  </a:lnTo>
                  <a:lnTo>
                    <a:pt x="273" y="6884"/>
                  </a:lnTo>
                  <a:lnTo>
                    <a:pt x="147" y="6905"/>
                  </a:lnTo>
                  <a:lnTo>
                    <a:pt x="147" y="7052"/>
                  </a:lnTo>
                  <a:lnTo>
                    <a:pt x="168" y="7219"/>
                  </a:lnTo>
                  <a:lnTo>
                    <a:pt x="147" y="7470"/>
                  </a:lnTo>
                  <a:lnTo>
                    <a:pt x="189" y="7512"/>
                  </a:lnTo>
                  <a:lnTo>
                    <a:pt x="189" y="7596"/>
                  </a:lnTo>
                  <a:lnTo>
                    <a:pt x="273" y="7638"/>
                  </a:lnTo>
                  <a:lnTo>
                    <a:pt x="357" y="7742"/>
                  </a:lnTo>
                  <a:lnTo>
                    <a:pt x="398" y="7784"/>
                  </a:lnTo>
                  <a:lnTo>
                    <a:pt x="461" y="7847"/>
                  </a:lnTo>
                  <a:lnTo>
                    <a:pt x="524" y="7951"/>
                  </a:lnTo>
                  <a:lnTo>
                    <a:pt x="608" y="7931"/>
                  </a:lnTo>
                  <a:lnTo>
                    <a:pt x="629" y="7951"/>
                  </a:lnTo>
                  <a:lnTo>
                    <a:pt x="733" y="7993"/>
                  </a:lnTo>
                  <a:lnTo>
                    <a:pt x="817" y="8119"/>
                  </a:lnTo>
                  <a:lnTo>
                    <a:pt x="901" y="8140"/>
                  </a:lnTo>
                  <a:lnTo>
                    <a:pt x="901" y="8161"/>
                  </a:lnTo>
                  <a:lnTo>
                    <a:pt x="921" y="8223"/>
                  </a:lnTo>
                  <a:lnTo>
                    <a:pt x="1005" y="8161"/>
                  </a:lnTo>
                  <a:lnTo>
                    <a:pt x="1131" y="8161"/>
                  </a:lnTo>
                  <a:lnTo>
                    <a:pt x="1256" y="8098"/>
                  </a:lnTo>
                  <a:lnTo>
                    <a:pt x="1361" y="7951"/>
                  </a:lnTo>
                  <a:lnTo>
                    <a:pt x="1737" y="7931"/>
                  </a:lnTo>
                  <a:lnTo>
                    <a:pt x="1842" y="7951"/>
                  </a:lnTo>
                  <a:lnTo>
                    <a:pt x="2030" y="7889"/>
                  </a:lnTo>
                  <a:lnTo>
                    <a:pt x="2093" y="7784"/>
                  </a:lnTo>
                  <a:lnTo>
                    <a:pt x="2177" y="7742"/>
                  </a:lnTo>
                  <a:lnTo>
                    <a:pt x="2240" y="7596"/>
                  </a:lnTo>
                  <a:lnTo>
                    <a:pt x="2344" y="7428"/>
                  </a:lnTo>
                  <a:lnTo>
                    <a:pt x="2344" y="7324"/>
                  </a:lnTo>
                  <a:lnTo>
                    <a:pt x="2449" y="7261"/>
                  </a:lnTo>
                  <a:lnTo>
                    <a:pt x="2449" y="7094"/>
                  </a:lnTo>
                  <a:lnTo>
                    <a:pt x="2407" y="7073"/>
                  </a:lnTo>
                  <a:lnTo>
                    <a:pt x="2491" y="6989"/>
                  </a:lnTo>
                  <a:lnTo>
                    <a:pt x="2554" y="6801"/>
                  </a:lnTo>
                  <a:lnTo>
                    <a:pt x="2512" y="6780"/>
                  </a:lnTo>
                  <a:lnTo>
                    <a:pt x="2574" y="6780"/>
                  </a:lnTo>
                  <a:lnTo>
                    <a:pt x="2679" y="6591"/>
                  </a:lnTo>
                  <a:lnTo>
                    <a:pt x="2763" y="6236"/>
                  </a:lnTo>
                  <a:lnTo>
                    <a:pt x="2805" y="6027"/>
                  </a:lnTo>
                  <a:lnTo>
                    <a:pt x="2909" y="5922"/>
                  </a:lnTo>
                  <a:lnTo>
                    <a:pt x="2972" y="5692"/>
                  </a:lnTo>
                  <a:lnTo>
                    <a:pt x="3118" y="5420"/>
                  </a:lnTo>
                  <a:lnTo>
                    <a:pt x="3286" y="4959"/>
                  </a:lnTo>
                  <a:lnTo>
                    <a:pt x="3390" y="4792"/>
                  </a:lnTo>
                  <a:lnTo>
                    <a:pt x="3390" y="4583"/>
                  </a:lnTo>
                  <a:lnTo>
                    <a:pt x="3495" y="4374"/>
                  </a:lnTo>
                  <a:lnTo>
                    <a:pt x="3516" y="4269"/>
                  </a:lnTo>
                  <a:lnTo>
                    <a:pt x="3642" y="4060"/>
                  </a:lnTo>
                  <a:lnTo>
                    <a:pt x="3704" y="3746"/>
                  </a:lnTo>
                  <a:lnTo>
                    <a:pt x="3746" y="3516"/>
                  </a:lnTo>
                  <a:lnTo>
                    <a:pt x="3809" y="3453"/>
                  </a:lnTo>
                  <a:lnTo>
                    <a:pt x="3830" y="3286"/>
                  </a:lnTo>
                  <a:lnTo>
                    <a:pt x="3809" y="3202"/>
                  </a:lnTo>
                  <a:lnTo>
                    <a:pt x="3830" y="3076"/>
                  </a:lnTo>
                  <a:lnTo>
                    <a:pt x="3934" y="2888"/>
                  </a:lnTo>
                  <a:lnTo>
                    <a:pt x="3934" y="2804"/>
                  </a:lnTo>
                  <a:lnTo>
                    <a:pt x="4018" y="2700"/>
                  </a:lnTo>
                  <a:lnTo>
                    <a:pt x="3976" y="2574"/>
                  </a:lnTo>
                  <a:lnTo>
                    <a:pt x="3934" y="2511"/>
                  </a:lnTo>
                  <a:lnTo>
                    <a:pt x="3976" y="2449"/>
                  </a:lnTo>
                  <a:lnTo>
                    <a:pt x="3976" y="2281"/>
                  </a:lnTo>
                  <a:lnTo>
                    <a:pt x="3934" y="2260"/>
                  </a:lnTo>
                  <a:lnTo>
                    <a:pt x="3934" y="2135"/>
                  </a:lnTo>
                  <a:lnTo>
                    <a:pt x="4018" y="2072"/>
                  </a:lnTo>
                  <a:lnTo>
                    <a:pt x="4060" y="2135"/>
                  </a:lnTo>
                  <a:lnTo>
                    <a:pt x="4081" y="2260"/>
                  </a:lnTo>
                  <a:lnTo>
                    <a:pt x="4186" y="2386"/>
                  </a:lnTo>
                  <a:lnTo>
                    <a:pt x="4269" y="2386"/>
                  </a:lnTo>
                  <a:lnTo>
                    <a:pt x="4290" y="2302"/>
                  </a:lnTo>
                  <a:lnTo>
                    <a:pt x="4332" y="2239"/>
                  </a:lnTo>
                  <a:lnTo>
                    <a:pt x="4353" y="2177"/>
                  </a:lnTo>
                  <a:lnTo>
                    <a:pt x="4353" y="2072"/>
                  </a:lnTo>
                  <a:lnTo>
                    <a:pt x="4395" y="2051"/>
                  </a:lnTo>
                  <a:lnTo>
                    <a:pt x="4374" y="1925"/>
                  </a:lnTo>
                  <a:lnTo>
                    <a:pt x="4269" y="1779"/>
                  </a:lnTo>
                  <a:lnTo>
                    <a:pt x="4248" y="1674"/>
                  </a:lnTo>
                  <a:lnTo>
                    <a:pt x="4269" y="1633"/>
                  </a:lnTo>
                  <a:lnTo>
                    <a:pt x="4269" y="1507"/>
                  </a:lnTo>
                  <a:lnTo>
                    <a:pt x="4248" y="1340"/>
                  </a:lnTo>
                  <a:lnTo>
                    <a:pt x="4269" y="1256"/>
                  </a:lnTo>
                  <a:lnTo>
                    <a:pt x="4269" y="984"/>
                  </a:lnTo>
                  <a:lnTo>
                    <a:pt x="4186" y="879"/>
                  </a:lnTo>
                  <a:lnTo>
                    <a:pt x="4186" y="607"/>
                  </a:lnTo>
                  <a:lnTo>
                    <a:pt x="4144" y="524"/>
                  </a:lnTo>
                  <a:lnTo>
                    <a:pt x="4081" y="524"/>
                  </a:lnTo>
                  <a:lnTo>
                    <a:pt x="3976" y="398"/>
                  </a:lnTo>
                  <a:lnTo>
                    <a:pt x="3976" y="293"/>
                  </a:lnTo>
                  <a:lnTo>
                    <a:pt x="3872" y="252"/>
                  </a:lnTo>
                  <a:lnTo>
                    <a:pt x="3934" y="147"/>
                  </a:lnTo>
                  <a:lnTo>
                    <a:pt x="391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85" name="Google Shape;5960;p93">
              <a:extLst>
                <a:ext uri="{FF2B5EF4-FFF2-40B4-BE49-F238E27FC236}">
                  <a16:creationId xmlns:a16="http://schemas.microsoft.com/office/drawing/2014/main" id="{A381D91E-81A1-4C0F-B9DC-8B29FD724B69}"/>
                </a:ext>
              </a:extLst>
            </p:cNvPr>
            <p:cNvGrpSpPr/>
            <p:nvPr/>
          </p:nvGrpSpPr>
          <p:grpSpPr>
            <a:xfrm>
              <a:off x="4513224" y="3221724"/>
              <a:ext cx="274563" cy="280321"/>
              <a:chOff x="5298975" y="3412225"/>
              <a:chExt cx="576450" cy="616225"/>
            </a:xfrm>
          </p:grpSpPr>
          <p:sp>
            <p:nvSpPr>
              <p:cNvPr id="1295" name="Google Shape;5961;p93">
                <a:extLst>
                  <a:ext uri="{FF2B5EF4-FFF2-40B4-BE49-F238E27FC236}">
                    <a16:creationId xmlns:a16="http://schemas.microsoft.com/office/drawing/2014/main" id="{1FEC4201-BE32-4AAC-8AF8-5F06D6BC0DEF}"/>
                  </a:ext>
                </a:extLst>
              </p:cNvPr>
              <p:cNvSpPr/>
              <p:nvPr/>
            </p:nvSpPr>
            <p:spPr>
              <a:xfrm>
                <a:off x="5298975" y="3412225"/>
                <a:ext cx="576450" cy="515275"/>
              </a:xfrm>
              <a:custGeom>
                <a:avLst/>
                <a:gdLst/>
                <a:ahLst/>
                <a:cxnLst/>
                <a:rect l="l" t="t" r="r" b="b"/>
                <a:pathLst>
                  <a:path w="23058" h="20611" extrusionOk="0">
                    <a:moveTo>
                      <a:pt x="18015" y="1"/>
                    </a:moveTo>
                    <a:lnTo>
                      <a:pt x="17890" y="42"/>
                    </a:lnTo>
                    <a:lnTo>
                      <a:pt x="17806" y="147"/>
                    </a:lnTo>
                    <a:lnTo>
                      <a:pt x="17806" y="335"/>
                    </a:lnTo>
                    <a:lnTo>
                      <a:pt x="17764" y="524"/>
                    </a:lnTo>
                    <a:lnTo>
                      <a:pt x="17764" y="565"/>
                    </a:lnTo>
                    <a:lnTo>
                      <a:pt x="17722" y="670"/>
                    </a:lnTo>
                    <a:lnTo>
                      <a:pt x="17660" y="670"/>
                    </a:lnTo>
                    <a:lnTo>
                      <a:pt x="17597" y="858"/>
                    </a:lnTo>
                    <a:lnTo>
                      <a:pt x="17492" y="1005"/>
                    </a:lnTo>
                    <a:lnTo>
                      <a:pt x="17576" y="1089"/>
                    </a:lnTo>
                    <a:lnTo>
                      <a:pt x="17681" y="1172"/>
                    </a:lnTo>
                    <a:lnTo>
                      <a:pt x="17618" y="1214"/>
                    </a:lnTo>
                    <a:lnTo>
                      <a:pt x="17555" y="1193"/>
                    </a:lnTo>
                    <a:lnTo>
                      <a:pt x="17492" y="1319"/>
                    </a:lnTo>
                    <a:lnTo>
                      <a:pt x="17450" y="1423"/>
                    </a:lnTo>
                    <a:lnTo>
                      <a:pt x="17513" y="1570"/>
                    </a:lnTo>
                    <a:lnTo>
                      <a:pt x="17513" y="1674"/>
                    </a:lnTo>
                    <a:lnTo>
                      <a:pt x="17450" y="1633"/>
                    </a:lnTo>
                    <a:lnTo>
                      <a:pt x="17367" y="1674"/>
                    </a:lnTo>
                    <a:lnTo>
                      <a:pt x="17304" y="1946"/>
                    </a:lnTo>
                    <a:lnTo>
                      <a:pt x="17367" y="2156"/>
                    </a:lnTo>
                    <a:lnTo>
                      <a:pt x="17346" y="2365"/>
                    </a:lnTo>
                    <a:lnTo>
                      <a:pt x="17388" y="2511"/>
                    </a:lnTo>
                    <a:lnTo>
                      <a:pt x="17388" y="2679"/>
                    </a:lnTo>
                    <a:lnTo>
                      <a:pt x="17262" y="2783"/>
                    </a:lnTo>
                    <a:lnTo>
                      <a:pt x="17262" y="2867"/>
                    </a:lnTo>
                    <a:lnTo>
                      <a:pt x="17157" y="3097"/>
                    </a:lnTo>
                    <a:lnTo>
                      <a:pt x="17137" y="3411"/>
                    </a:lnTo>
                    <a:lnTo>
                      <a:pt x="17032" y="3558"/>
                    </a:lnTo>
                    <a:lnTo>
                      <a:pt x="17074" y="3662"/>
                    </a:lnTo>
                    <a:lnTo>
                      <a:pt x="16990" y="3830"/>
                    </a:lnTo>
                    <a:lnTo>
                      <a:pt x="16885" y="3934"/>
                    </a:lnTo>
                    <a:lnTo>
                      <a:pt x="16885" y="4143"/>
                    </a:lnTo>
                    <a:lnTo>
                      <a:pt x="16718" y="4290"/>
                    </a:lnTo>
                    <a:lnTo>
                      <a:pt x="16341" y="4436"/>
                    </a:lnTo>
                    <a:lnTo>
                      <a:pt x="16195" y="4332"/>
                    </a:lnTo>
                    <a:lnTo>
                      <a:pt x="16028" y="4311"/>
                    </a:lnTo>
                    <a:lnTo>
                      <a:pt x="15944" y="4227"/>
                    </a:lnTo>
                    <a:lnTo>
                      <a:pt x="15818" y="4102"/>
                    </a:lnTo>
                    <a:lnTo>
                      <a:pt x="15818" y="4039"/>
                    </a:lnTo>
                    <a:lnTo>
                      <a:pt x="15776" y="3997"/>
                    </a:lnTo>
                    <a:lnTo>
                      <a:pt x="15735" y="3871"/>
                    </a:lnTo>
                    <a:lnTo>
                      <a:pt x="15609" y="3830"/>
                    </a:lnTo>
                    <a:lnTo>
                      <a:pt x="15484" y="3788"/>
                    </a:lnTo>
                    <a:lnTo>
                      <a:pt x="15316" y="3788"/>
                    </a:lnTo>
                    <a:lnTo>
                      <a:pt x="15149" y="3683"/>
                    </a:lnTo>
                    <a:lnTo>
                      <a:pt x="15107" y="3578"/>
                    </a:lnTo>
                    <a:lnTo>
                      <a:pt x="14981" y="3411"/>
                    </a:lnTo>
                    <a:lnTo>
                      <a:pt x="14835" y="3390"/>
                    </a:lnTo>
                    <a:lnTo>
                      <a:pt x="14688" y="3306"/>
                    </a:lnTo>
                    <a:lnTo>
                      <a:pt x="14688" y="3244"/>
                    </a:lnTo>
                    <a:lnTo>
                      <a:pt x="14626" y="3244"/>
                    </a:lnTo>
                    <a:lnTo>
                      <a:pt x="14563" y="3181"/>
                    </a:lnTo>
                    <a:lnTo>
                      <a:pt x="14437" y="3181"/>
                    </a:lnTo>
                    <a:lnTo>
                      <a:pt x="14333" y="3160"/>
                    </a:lnTo>
                    <a:lnTo>
                      <a:pt x="14354" y="3097"/>
                    </a:lnTo>
                    <a:lnTo>
                      <a:pt x="14207" y="2993"/>
                    </a:lnTo>
                    <a:lnTo>
                      <a:pt x="14165" y="2867"/>
                    </a:lnTo>
                    <a:lnTo>
                      <a:pt x="14040" y="2721"/>
                    </a:lnTo>
                    <a:lnTo>
                      <a:pt x="13935" y="2721"/>
                    </a:lnTo>
                    <a:lnTo>
                      <a:pt x="13810" y="2553"/>
                    </a:lnTo>
                    <a:lnTo>
                      <a:pt x="13810" y="2428"/>
                    </a:lnTo>
                    <a:lnTo>
                      <a:pt x="13914" y="2239"/>
                    </a:lnTo>
                    <a:lnTo>
                      <a:pt x="13935" y="2114"/>
                    </a:lnTo>
                    <a:lnTo>
                      <a:pt x="14061" y="2030"/>
                    </a:lnTo>
                    <a:lnTo>
                      <a:pt x="14103" y="1884"/>
                    </a:lnTo>
                    <a:lnTo>
                      <a:pt x="14144" y="1779"/>
                    </a:lnTo>
                    <a:lnTo>
                      <a:pt x="14040" y="1821"/>
                    </a:lnTo>
                    <a:lnTo>
                      <a:pt x="13956" y="1674"/>
                    </a:lnTo>
                    <a:lnTo>
                      <a:pt x="14061" y="1591"/>
                    </a:lnTo>
                    <a:lnTo>
                      <a:pt x="14040" y="1486"/>
                    </a:lnTo>
                    <a:lnTo>
                      <a:pt x="14124" y="1486"/>
                    </a:lnTo>
                    <a:lnTo>
                      <a:pt x="14165" y="1465"/>
                    </a:lnTo>
                    <a:lnTo>
                      <a:pt x="14228" y="1486"/>
                    </a:lnTo>
                    <a:lnTo>
                      <a:pt x="14333" y="1507"/>
                    </a:lnTo>
                    <a:lnTo>
                      <a:pt x="14458" y="1465"/>
                    </a:lnTo>
                    <a:lnTo>
                      <a:pt x="14521" y="1319"/>
                    </a:lnTo>
                    <a:lnTo>
                      <a:pt x="14416" y="1256"/>
                    </a:lnTo>
                    <a:lnTo>
                      <a:pt x="14479" y="1172"/>
                    </a:lnTo>
                    <a:lnTo>
                      <a:pt x="14563" y="1193"/>
                    </a:lnTo>
                    <a:lnTo>
                      <a:pt x="14626" y="1005"/>
                    </a:lnTo>
                    <a:lnTo>
                      <a:pt x="14688" y="963"/>
                    </a:lnTo>
                    <a:lnTo>
                      <a:pt x="14772" y="858"/>
                    </a:lnTo>
                    <a:lnTo>
                      <a:pt x="14772" y="796"/>
                    </a:lnTo>
                    <a:lnTo>
                      <a:pt x="14668" y="754"/>
                    </a:lnTo>
                    <a:lnTo>
                      <a:pt x="14584" y="837"/>
                    </a:lnTo>
                    <a:lnTo>
                      <a:pt x="14521" y="796"/>
                    </a:lnTo>
                    <a:lnTo>
                      <a:pt x="14521" y="586"/>
                    </a:lnTo>
                    <a:lnTo>
                      <a:pt x="14416" y="649"/>
                    </a:lnTo>
                    <a:lnTo>
                      <a:pt x="14270" y="796"/>
                    </a:lnTo>
                    <a:lnTo>
                      <a:pt x="14333" y="837"/>
                    </a:lnTo>
                    <a:lnTo>
                      <a:pt x="14333" y="900"/>
                    </a:lnTo>
                    <a:lnTo>
                      <a:pt x="14249" y="963"/>
                    </a:lnTo>
                    <a:lnTo>
                      <a:pt x="14144" y="900"/>
                    </a:lnTo>
                    <a:lnTo>
                      <a:pt x="14124" y="837"/>
                    </a:lnTo>
                    <a:lnTo>
                      <a:pt x="14103" y="775"/>
                    </a:lnTo>
                    <a:lnTo>
                      <a:pt x="14040" y="858"/>
                    </a:lnTo>
                    <a:lnTo>
                      <a:pt x="13956" y="879"/>
                    </a:lnTo>
                    <a:lnTo>
                      <a:pt x="13956" y="796"/>
                    </a:lnTo>
                    <a:lnTo>
                      <a:pt x="14040" y="733"/>
                    </a:lnTo>
                    <a:lnTo>
                      <a:pt x="14061" y="670"/>
                    </a:lnTo>
                    <a:lnTo>
                      <a:pt x="13998" y="691"/>
                    </a:lnTo>
                    <a:lnTo>
                      <a:pt x="13914" y="775"/>
                    </a:lnTo>
                    <a:lnTo>
                      <a:pt x="13789" y="837"/>
                    </a:lnTo>
                    <a:lnTo>
                      <a:pt x="13789" y="858"/>
                    </a:lnTo>
                    <a:lnTo>
                      <a:pt x="13705" y="879"/>
                    </a:lnTo>
                    <a:lnTo>
                      <a:pt x="13684" y="837"/>
                    </a:lnTo>
                    <a:lnTo>
                      <a:pt x="13538" y="837"/>
                    </a:lnTo>
                    <a:lnTo>
                      <a:pt x="13538" y="775"/>
                    </a:lnTo>
                    <a:lnTo>
                      <a:pt x="13475" y="649"/>
                    </a:lnTo>
                    <a:lnTo>
                      <a:pt x="13412" y="649"/>
                    </a:lnTo>
                    <a:lnTo>
                      <a:pt x="13287" y="691"/>
                    </a:lnTo>
                    <a:lnTo>
                      <a:pt x="13182" y="670"/>
                    </a:lnTo>
                    <a:lnTo>
                      <a:pt x="13119" y="691"/>
                    </a:lnTo>
                    <a:lnTo>
                      <a:pt x="13077" y="628"/>
                    </a:lnTo>
                    <a:lnTo>
                      <a:pt x="13015" y="628"/>
                    </a:lnTo>
                    <a:lnTo>
                      <a:pt x="12973" y="482"/>
                    </a:lnTo>
                    <a:lnTo>
                      <a:pt x="12847" y="545"/>
                    </a:lnTo>
                    <a:lnTo>
                      <a:pt x="12701" y="524"/>
                    </a:lnTo>
                    <a:lnTo>
                      <a:pt x="12575" y="461"/>
                    </a:lnTo>
                    <a:lnTo>
                      <a:pt x="12575" y="377"/>
                    </a:lnTo>
                    <a:lnTo>
                      <a:pt x="12491" y="273"/>
                    </a:lnTo>
                    <a:lnTo>
                      <a:pt x="12450" y="273"/>
                    </a:lnTo>
                    <a:lnTo>
                      <a:pt x="12450" y="335"/>
                    </a:lnTo>
                    <a:lnTo>
                      <a:pt x="12282" y="377"/>
                    </a:lnTo>
                    <a:lnTo>
                      <a:pt x="12240" y="273"/>
                    </a:lnTo>
                    <a:lnTo>
                      <a:pt x="12136" y="252"/>
                    </a:lnTo>
                    <a:lnTo>
                      <a:pt x="11968" y="168"/>
                    </a:lnTo>
                    <a:lnTo>
                      <a:pt x="11968" y="210"/>
                    </a:lnTo>
                    <a:lnTo>
                      <a:pt x="11906" y="147"/>
                    </a:lnTo>
                    <a:lnTo>
                      <a:pt x="11801" y="231"/>
                    </a:lnTo>
                    <a:lnTo>
                      <a:pt x="11906" y="314"/>
                    </a:lnTo>
                    <a:lnTo>
                      <a:pt x="11864" y="335"/>
                    </a:lnTo>
                    <a:lnTo>
                      <a:pt x="11968" y="356"/>
                    </a:lnTo>
                    <a:lnTo>
                      <a:pt x="12073" y="335"/>
                    </a:lnTo>
                    <a:lnTo>
                      <a:pt x="12240" y="461"/>
                    </a:lnTo>
                    <a:lnTo>
                      <a:pt x="12240" y="545"/>
                    </a:lnTo>
                    <a:lnTo>
                      <a:pt x="12261" y="733"/>
                    </a:lnTo>
                    <a:lnTo>
                      <a:pt x="12136" y="733"/>
                    </a:lnTo>
                    <a:lnTo>
                      <a:pt x="12115" y="858"/>
                    </a:lnTo>
                    <a:lnTo>
                      <a:pt x="12052" y="775"/>
                    </a:lnTo>
                    <a:lnTo>
                      <a:pt x="11968" y="754"/>
                    </a:lnTo>
                    <a:lnTo>
                      <a:pt x="11864" y="837"/>
                    </a:lnTo>
                    <a:lnTo>
                      <a:pt x="11550" y="837"/>
                    </a:lnTo>
                    <a:lnTo>
                      <a:pt x="11424" y="733"/>
                    </a:lnTo>
                    <a:lnTo>
                      <a:pt x="11403" y="775"/>
                    </a:lnTo>
                    <a:lnTo>
                      <a:pt x="11278" y="837"/>
                    </a:lnTo>
                    <a:lnTo>
                      <a:pt x="11299" y="942"/>
                    </a:lnTo>
                    <a:lnTo>
                      <a:pt x="11194" y="900"/>
                    </a:lnTo>
                    <a:lnTo>
                      <a:pt x="11215" y="1068"/>
                    </a:lnTo>
                    <a:lnTo>
                      <a:pt x="11173" y="1005"/>
                    </a:lnTo>
                    <a:lnTo>
                      <a:pt x="11027" y="963"/>
                    </a:lnTo>
                    <a:lnTo>
                      <a:pt x="10985" y="1047"/>
                    </a:lnTo>
                    <a:lnTo>
                      <a:pt x="11027" y="1109"/>
                    </a:lnTo>
                    <a:lnTo>
                      <a:pt x="11027" y="1172"/>
                    </a:lnTo>
                    <a:lnTo>
                      <a:pt x="10880" y="1109"/>
                    </a:lnTo>
                    <a:lnTo>
                      <a:pt x="10818" y="1193"/>
                    </a:lnTo>
                    <a:lnTo>
                      <a:pt x="10880" y="1256"/>
                    </a:lnTo>
                    <a:lnTo>
                      <a:pt x="10797" y="1298"/>
                    </a:lnTo>
                    <a:lnTo>
                      <a:pt x="10713" y="1361"/>
                    </a:lnTo>
                    <a:lnTo>
                      <a:pt x="10713" y="1402"/>
                    </a:lnTo>
                    <a:lnTo>
                      <a:pt x="10797" y="1507"/>
                    </a:lnTo>
                    <a:lnTo>
                      <a:pt x="10818" y="1570"/>
                    </a:lnTo>
                    <a:lnTo>
                      <a:pt x="10818" y="1570"/>
                    </a:lnTo>
                    <a:lnTo>
                      <a:pt x="10713" y="1507"/>
                    </a:lnTo>
                    <a:lnTo>
                      <a:pt x="10650" y="1591"/>
                    </a:lnTo>
                    <a:lnTo>
                      <a:pt x="10546" y="1591"/>
                    </a:lnTo>
                    <a:lnTo>
                      <a:pt x="10462" y="1737"/>
                    </a:lnTo>
                    <a:lnTo>
                      <a:pt x="10357" y="1925"/>
                    </a:lnTo>
                    <a:lnTo>
                      <a:pt x="10274" y="1946"/>
                    </a:lnTo>
                    <a:lnTo>
                      <a:pt x="10253" y="2114"/>
                    </a:lnTo>
                    <a:lnTo>
                      <a:pt x="10148" y="2156"/>
                    </a:lnTo>
                    <a:lnTo>
                      <a:pt x="10232" y="2239"/>
                    </a:lnTo>
                    <a:lnTo>
                      <a:pt x="10441" y="2260"/>
                    </a:lnTo>
                    <a:lnTo>
                      <a:pt x="10357" y="2302"/>
                    </a:lnTo>
                    <a:lnTo>
                      <a:pt x="10294" y="2365"/>
                    </a:lnTo>
                    <a:lnTo>
                      <a:pt x="10546" y="2449"/>
                    </a:lnTo>
                    <a:lnTo>
                      <a:pt x="10462" y="2511"/>
                    </a:lnTo>
                    <a:lnTo>
                      <a:pt x="10294" y="2469"/>
                    </a:lnTo>
                    <a:lnTo>
                      <a:pt x="10253" y="2407"/>
                    </a:lnTo>
                    <a:lnTo>
                      <a:pt x="10253" y="2407"/>
                    </a:lnTo>
                    <a:lnTo>
                      <a:pt x="10274" y="2469"/>
                    </a:lnTo>
                    <a:lnTo>
                      <a:pt x="10357" y="2553"/>
                    </a:lnTo>
                    <a:lnTo>
                      <a:pt x="10357" y="2679"/>
                    </a:lnTo>
                    <a:lnTo>
                      <a:pt x="10462" y="2825"/>
                    </a:lnTo>
                    <a:lnTo>
                      <a:pt x="10294" y="2679"/>
                    </a:lnTo>
                    <a:lnTo>
                      <a:pt x="10232" y="2532"/>
                    </a:lnTo>
                    <a:lnTo>
                      <a:pt x="10127" y="2511"/>
                    </a:lnTo>
                    <a:lnTo>
                      <a:pt x="10085" y="2574"/>
                    </a:lnTo>
                    <a:lnTo>
                      <a:pt x="10064" y="2658"/>
                    </a:lnTo>
                    <a:lnTo>
                      <a:pt x="10043" y="2574"/>
                    </a:lnTo>
                    <a:lnTo>
                      <a:pt x="9813" y="2428"/>
                    </a:lnTo>
                    <a:lnTo>
                      <a:pt x="9625" y="2449"/>
                    </a:lnTo>
                    <a:lnTo>
                      <a:pt x="9667" y="2511"/>
                    </a:lnTo>
                    <a:lnTo>
                      <a:pt x="9625" y="2574"/>
                    </a:lnTo>
                    <a:lnTo>
                      <a:pt x="9562" y="2532"/>
                    </a:lnTo>
                    <a:lnTo>
                      <a:pt x="9520" y="2532"/>
                    </a:lnTo>
                    <a:lnTo>
                      <a:pt x="9458" y="2574"/>
                    </a:lnTo>
                    <a:lnTo>
                      <a:pt x="9541" y="2721"/>
                    </a:lnTo>
                    <a:lnTo>
                      <a:pt x="9520" y="2762"/>
                    </a:lnTo>
                    <a:lnTo>
                      <a:pt x="9499" y="2721"/>
                    </a:lnTo>
                    <a:lnTo>
                      <a:pt x="9437" y="2741"/>
                    </a:lnTo>
                    <a:lnTo>
                      <a:pt x="9437" y="2783"/>
                    </a:lnTo>
                    <a:lnTo>
                      <a:pt x="9332" y="2846"/>
                    </a:lnTo>
                    <a:lnTo>
                      <a:pt x="9186" y="2888"/>
                    </a:lnTo>
                    <a:lnTo>
                      <a:pt x="9311" y="2825"/>
                    </a:lnTo>
                    <a:lnTo>
                      <a:pt x="9395" y="2721"/>
                    </a:lnTo>
                    <a:lnTo>
                      <a:pt x="9395" y="2532"/>
                    </a:lnTo>
                    <a:lnTo>
                      <a:pt x="9458" y="2428"/>
                    </a:lnTo>
                    <a:lnTo>
                      <a:pt x="9416" y="2344"/>
                    </a:lnTo>
                    <a:lnTo>
                      <a:pt x="9311" y="2323"/>
                    </a:lnTo>
                    <a:lnTo>
                      <a:pt x="9144" y="2030"/>
                    </a:lnTo>
                    <a:lnTo>
                      <a:pt x="9081" y="1905"/>
                    </a:lnTo>
                    <a:lnTo>
                      <a:pt x="8893" y="1842"/>
                    </a:lnTo>
                    <a:lnTo>
                      <a:pt x="8788" y="1800"/>
                    </a:lnTo>
                    <a:lnTo>
                      <a:pt x="8725" y="1821"/>
                    </a:lnTo>
                    <a:lnTo>
                      <a:pt x="8788" y="1884"/>
                    </a:lnTo>
                    <a:lnTo>
                      <a:pt x="8704" y="1905"/>
                    </a:lnTo>
                    <a:lnTo>
                      <a:pt x="8621" y="2030"/>
                    </a:lnTo>
                    <a:lnTo>
                      <a:pt x="8558" y="2009"/>
                    </a:lnTo>
                    <a:lnTo>
                      <a:pt x="8579" y="1946"/>
                    </a:lnTo>
                    <a:lnTo>
                      <a:pt x="8474" y="1988"/>
                    </a:lnTo>
                    <a:lnTo>
                      <a:pt x="8453" y="2051"/>
                    </a:lnTo>
                    <a:lnTo>
                      <a:pt x="8370" y="1884"/>
                    </a:lnTo>
                    <a:lnTo>
                      <a:pt x="8307" y="1884"/>
                    </a:lnTo>
                    <a:lnTo>
                      <a:pt x="8286" y="1946"/>
                    </a:lnTo>
                    <a:lnTo>
                      <a:pt x="8370" y="2009"/>
                    </a:lnTo>
                    <a:lnTo>
                      <a:pt x="8265" y="2093"/>
                    </a:lnTo>
                    <a:lnTo>
                      <a:pt x="8202" y="2218"/>
                    </a:lnTo>
                    <a:lnTo>
                      <a:pt x="8265" y="2260"/>
                    </a:lnTo>
                    <a:lnTo>
                      <a:pt x="8139" y="2344"/>
                    </a:lnTo>
                    <a:lnTo>
                      <a:pt x="8077" y="2260"/>
                    </a:lnTo>
                    <a:lnTo>
                      <a:pt x="8035" y="2260"/>
                    </a:lnTo>
                    <a:lnTo>
                      <a:pt x="7993" y="2197"/>
                    </a:lnTo>
                    <a:lnTo>
                      <a:pt x="8077" y="2114"/>
                    </a:lnTo>
                    <a:lnTo>
                      <a:pt x="7993" y="2114"/>
                    </a:lnTo>
                    <a:lnTo>
                      <a:pt x="7951" y="2239"/>
                    </a:lnTo>
                    <a:lnTo>
                      <a:pt x="7846" y="2260"/>
                    </a:lnTo>
                    <a:lnTo>
                      <a:pt x="7784" y="2323"/>
                    </a:lnTo>
                    <a:lnTo>
                      <a:pt x="7763" y="2449"/>
                    </a:lnTo>
                    <a:lnTo>
                      <a:pt x="7951" y="2511"/>
                    </a:lnTo>
                    <a:lnTo>
                      <a:pt x="7784" y="2637"/>
                    </a:lnTo>
                    <a:lnTo>
                      <a:pt x="7679" y="2574"/>
                    </a:lnTo>
                    <a:lnTo>
                      <a:pt x="7533" y="2658"/>
                    </a:lnTo>
                    <a:lnTo>
                      <a:pt x="7554" y="2741"/>
                    </a:lnTo>
                    <a:lnTo>
                      <a:pt x="7742" y="2762"/>
                    </a:lnTo>
                    <a:lnTo>
                      <a:pt x="7658" y="2846"/>
                    </a:lnTo>
                    <a:lnTo>
                      <a:pt x="7574" y="2867"/>
                    </a:lnTo>
                    <a:lnTo>
                      <a:pt x="7470" y="2741"/>
                    </a:lnTo>
                    <a:lnTo>
                      <a:pt x="7365" y="2846"/>
                    </a:lnTo>
                    <a:lnTo>
                      <a:pt x="7261" y="2867"/>
                    </a:lnTo>
                    <a:lnTo>
                      <a:pt x="7302" y="2951"/>
                    </a:lnTo>
                    <a:lnTo>
                      <a:pt x="7323" y="3034"/>
                    </a:lnTo>
                    <a:lnTo>
                      <a:pt x="7323" y="3097"/>
                    </a:lnTo>
                    <a:lnTo>
                      <a:pt x="7407" y="3076"/>
                    </a:lnTo>
                    <a:lnTo>
                      <a:pt x="7323" y="3181"/>
                    </a:lnTo>
                    <a:lnTo>
                      <a:pt x="7365" y="3286"/>
                    </a:lnTo>
                    <a:lnTo>
                      <a:pt x="7261" y="3306"/>
                    </a:lnTo>
                    <a:lnTo>
                      <a:pt x="7219" y="3390"/>
                    </a:lnTo>
                    <a:lnTo>
                      <a:pt x="7407" y="3453"/>
                    </a:lnTo>
                    <a:lnTo>
                      <a:pt x="7302" y="3495"/>
                    </a:lnTo>
                    <a:lnTo>
                      <a:pt x="7261" y="3558"/>
                    </a:lnTo>
                    <a:lnTo>
                      <a:pt x="7135" y="3516"/>
                    </a:lnTo>
                    <a:lnTo>
                      <a:pt x="7093" y="3453"/>
                    </a:lnTo>
                    <a:lnTo>
                      <a:pt x="7009" y="3390"/>
                    </a:lnTo>
                    <a:lnTo>
                      <a:pt x="6905" y="3474"/>
                    </a:lnTo>
                    <a:lnTo>
                      <a:pt x="6884" y="3369"/>
                    </a:lnTo>
                    <a:lnTo>
                      <a:pt x="6779" y="3306"/>
                    </a:lnTo>
                    <a:lnTo>
                      <a:pt x="6696" y="3369"/>
                    </a:lnTo>
                    <a:lnTo>
                      <a:pt x="6821" y="3474"/>
                    </a:lnTo>
                    <a:lnTo>
                      <a:pt x="6779" y="3495"/>
                    </a:lnTo>
                    <a:lnTo>
                      <a:pt x="6717" y="3599"/>
                    </a:lnTo>
                    <a:lnTo>
                      <a:pt x="6821" y="3704"/>
                    </a:lnTo>
                    <a:lnTo>
                      <a:pt x="6947" y="3704"/>
                    </a:lnTo>
                    <a:lnTo>
                      <a:pt x="6905" y="3809"/>
                    </a:lnTo>
                    <a:lnTo>
                      <a:pt x="6905" y="3913"/>
                    </a:lnTo>
                    <a:lnTo>
                      <a:pt x="6842" y="3871"/>
                    </a:lnTo>
                    <a:lnTo>
                      <a:pt x="6779" y="3871"/>
                    </a:lnTo>
                    <a:lnTo>
                      <a:pt x="6800" y="3997"/>
                    </a:lnTo>
                    <a:lnTo>
                      <a:pt x="6737" y="4122"/>
                    </a:lnTo>
                    <a:lnTo>
                      <a:pt x="6737" y="4248"/>
                    </a:lnTo>
                    <a:lnTo>
                      <a:pt x="6570" y="3871"/>
                    </a:lnTo>
                    <a:lnTo>
                      <a:pt x="6424" y="3620"/>
                    </a:lnTo>
                    <a:lnTo>
                      <a:pt x="6382" y="3558"/>
                    </a:lnTo>
                    <a:lnTo>
                      <a:pt x="6403" y="3390"/>
                    </a:lnTo>
                    <a:lnTo>
                      <a:pt x="6361" y="3474"/>
                    </a:lnTo>
                    <a:lnTo>
                      <a:pt x="6214" y="3558"/>
                    </a:lnTo>
                    <a:lnTo>
                      <a:pt x="6193" y="3704"/>
                    </a:lnTo>
                    <a:lnTo>
                      <a:pt x="6110" y="3725"/>
                    </a:lnTo>
                    <a:lnTo>
                      <a:pt x="6089" y="3809"/>
                    </a:lnTo>
                    <a:lnTo>
                      <a:pt x="5984" y="3788"/>
                    </a:lnTo>
                    <a:lnTo>
                      <a:pt x="5901" y="3892"/>
                    </a:lnTo>
                    <a:lnTo>
                      <a:pt x="5838" y="3976"/>
                    </a:lnTo>
                    <a:lnTo>
                      <a:pt x="5859" y="4102"/>
                    </a:lnTo>
                    <a:lnTo>
                      <a:pt x="5859" y="4415"/>
                    </a:lnTo>
                    <a:lnTo>
                      <a:pt x="5901" y="4436"/>
                    </a:lnTo>
                    <a:lnTo>
                      <a:pt x="5901" y="4541"/>
                    </a:lnTo>
                    <a:lnTo>
                      <a:pt x="5796" y="4604"/>
                    </a:lnTo>
                    <a:lnTo>
                      <a:pt x="5733" y="4708"/>
                    </a:lnTo>
                    <a:lnTo>
                      <a:pt x="5566" y="4750"/>
                    </a:lnTo>
                    <a:lnTo>
                      <a:pt x="5587" y="4834"/>
                    </a:lnTo>
                    <a:lnTo>
                      <a:pt x="5461" y="4918"/>
                    </a:lnTo>
                    <a:lnTo>
                      <a:pt x="5461" y="5064"/>
                    </a:lnTo>
                    <a:lnTo>
                      <a:pt x="5377" y="5127"/>
                    </a:lnTo>
                    <a:lnTo>
                      <a:pt x="5210" y="5378"/>
                    </a:lnTo>
                    <a:lnTo>
                      <a:pt x="4854" y="5587"/>
                    </a:lnTo>
                    <a:lnTo>
                      <a:pt x="4561" y="5608"/>
                    </a:lnTo>
                    <a:lnTo>
                      <a:pt x="4436" y="5650"/>
                    </a:lnTo>
                    <a:lnTo>
                      <a:pt x="4268" y="5671"/>
                    </a:lnTo>
                    <a:lnTo>
                      <a:pt x="4122" y="5692"/>
                    </a:lnTo>
                    <a:lnTo>
                      <a:pt x="3996" y="5671"/>
                    </a:lnTo>
                    <a:lnTo>
                      <a:pt x="3808" y="5754"/>
                    </a:lnTo>
                    <a:lnTo>
                      <a:pt x="3787" y="5859"/>
                    </a:lnTo>
                    <a:lnTo>
                      <a:pt x="3683" y="5901"/>
                    </a:lnTo>
                    <a:lnTo>
                      <a:pt x="3285" y="5880"/>
                    </a:lnTo>
                    <a:lnTo>
                      <a:pt x="3222" y="5922"/>
                    </a:lnTo>
                    <a:lnTo>
                      <a:pt x="3160" y="6027"/>
                    </a:lnTo>
                    <a:lnTo>
                      <a:pt x="2929" y="6131"/>
                    </a:lnTo>
                    <a:lnTo>
                      <a:pt x="2762" y="6131"/>
                    </a:lnTo>
                    <a:lnTo>
                      <a:pt x="2657" y="6089"/>
                    </a:lnTo>
                    <a:lnTo>
                      <a:pt x="2553" y="6110"/>
                    </a:lnTo>
                    <a:lnTo>
                      <a:pt x="2532" y="6027"/>
                    </a:lnTo>
                    <a:lnTo>
                      <a:pt x="2427" y="6089"/>
                    </a:lnTo>
                    <a:lnTo>
                      <a:pt x="2344" y="6215"/>
                    </a:lnTo>
                    <a:lnTo>
                      <a:pt x="2113" y="6278"/>
                    </a:lnTo>
                    <a:lnTo>
                      <a:pt x="2092" y="6319"/>
                    </a:lnTo>
                    <a:lnTo>
                      <a:pt x="2009" y="6319"/>
                    </a:lnTo>
                    <a:lnTo>
                      <a:pt x="1820" y="6487"/>
                    </a:lnTo>
                    <a:lnTo>
                      <a:pt x="1569" y="6612"/>
                    </a:lnTo>
                    <a:lnTo>
                      <a:pt x="1255" y="6717"/>
                    </a:lnTo>
                    <a:lnTo>
                      <a:pt x="1088" y="6905"/>
                    </a:lnTo>
                    <a:lnTo>
                      <a:pt x="1088" y="7115"/>
                    </a:lnTo>
                    <a:lnTo>
                      <a:pt x="963" y="7219"/>
                    </a:lnTo>
                    <a:lnTo>
                      <a:pt x="879" y="7156"/>
                    </a:lnTo>
                    <a:lnTo>
                      <a:pt x="900" y="7073"/>
                    </a:lnTo>
                    <a:lnTo>
                      <a:pt x="900" y="7010"/>
                    </a:lnTo>
                    <a:lnTo>
                      <a:pt x="963" y="6843"/>
                    </a:lnTo>
                    <a:lnTo>
                      <a:pt x="963" y="6738"/>
                    </a:lnTo>
                    <a:lnTo>
                      <a:pt x="774" y="6863"/>
                    </a:lnTo>
                    <a:lnTo>
                      <a:pt x="732" y="7052"/>
                    </a:lnTo>
                    <a:lnTo>
                      <a:pt x="607" y="7282"/>
                    </a:lnTo>
                    <a:lnTo>
                      <a:pt x="711" y="7470"/>
                    </a:lnTo>
                    <a:lnTo>
                      <a:pt x="628" y="7638"/>
                    </a:lnTo>
                    <a:lnTo>
                      <a:pt x="649" y="7889"/>
                    </a:lnTo>
                    <a:lnTo>
                      <a:pt x="419" y="8161"/>
                    </a:lnTo>
                    <a:lnTo>
                      <a:pt x="335" y="8537"/>
                    </a:lnTo>
                    <a:lnTo>
                      <a:pt x="377" y="8726"/>
                    </a:lnTo>
                    <a:lnTo>
                      <a:pt x="356" y="9019"/>
                    </a:lnTo>
                    <a:lnTo>
                      <a:pt x="565" y="9353"/>
                    </a:lnTo>
                    <a:lnTo>
                      <a:pt x="565" y="9479"/>
                    </a:lnTo>
                    <a:lnTo>
                      <a:pt x="649" y="9584"/>
                    </a:lnTo>
                    <a:lnTo>
                      <a:pt x="565" y="9751"/>
                    </a:lnTo>
                    <a:lnTo>
                      <a:pt x="628" y="9897"/>
                    </a:lnTo>
                    <a:lnTo>
                      <a:pt x="502" y="9960"/>
                    </a:lnTo>
                    <a:lnTo>
                      <a:pt x="439" y="9856"/>
                    </a:lnTo>
                    <a:lnTo>
                      <a:pt x="439" y="9667"/>
                    </a:lnTo>
                    <a:lnTo>
                      <a:pt x="356" y="9772"/>
                    </a:lnTo>
                    <a:lnTo>
                      <a:pt x="335" y="9730"/>
                    </a:lnTo>
                    <a:lnTo>
                      <a:pt x="335" y="9542"/>
                    </a:lnTo>
                    <a:lnTo>
                      <a:pt x="230" y="9312"/>
                    </a:lnTo>
                    <a:lnTo>
                      <a:pt x="147" y="9416"/>
                    </a:lnTo>
                    <a:lnTo>
                      <a:pt x="188" y="9667"/>
                    </a:lnTo>
                    <a:lnTo>
                      <a:pt x="335" y="9835"/>
                    </a:lnTo>
                    <a:lnTo>
                      <a:pt x="439" y="10023"/>
                    </a:lnTo>
                    <a:lnTo>
                      <a:pt x="293" y="10065"/>
                    </a:lnTo>
                    <a:lnTo>
                      <a:pt x="147" y="9897"/>
                    </a:lnTo>
                    <a:lnTo>
                      <a:pt x="126" y="9688"/>
                    </a:lnTo>
                    <a:lnTo>
                      <a:pt x="84" y="9772"/>
                    </a:lnTo>
                    <a:lnTo>
                      <a:pt x="0" y="9835"/>
                    </a:lnTo>
                    <a:lnTo>
                      <a:pt x="105" y="10002"/>
                    </a:lnTo>
                    <a:lnTo>
                      <a:pt x="314" y="10253"/>
                    </a:lnTo>
                    <a:lnTo>
                      <a:pt x="419" y="10588"/>
                    </a:lnTo>
                    <a:lnTo>
                      <a:pt x="377" y="11153"/>
                    </a:lnTo>
                    <a:lnTo>
                      <a:pt x="460" y="11257"/>
                    </a:lnTo>
                    <a:lnTo>
                      <a:pt x="544" y="11592"/>
                    </a:lnTo>
                    <a:lnTo>
                      <a:pt x="711" y="12032"/>
                    </a:lnTo>
                    <a:lnTo>
                      <a:pt x="649" y="12178"/>
                    </a:lnTo>
                    <a:lnTo>
                      <a:pt x="670" y="12827"/>
                    </a:lnTo>
                    <a:lnTo>
                      <a:pt x="649" y="12910"/>
                    </a:lnTo>
                    <a:lnTo>
                      <a:pt x="711" y="13099"/>
                    </a:lnTo>
                    <a:lnTo>
                      <a:pt x="711" y="13308"/>
                    </a:lnTo>
                    <a:lnTo>
                      <a:pt x="837" y="13559"/>
                    </a:lnTo>
                    <a:lnTo>
                      <a:pt x="837" y="13726"/>
                    </a:lnTo>
                    <a:lnTo>
                      <a:pt x="732" y="13810"/>
                    </a:lnTo>
                    <a:lnTo>
                      <a:pt x="774" y="13852"/>
                    </a:lnTo>
                    <a:lnTo>
                      <a:pt x="732" y="14019"/>
                    </a:lnTo>
                    <a:lnTo>
                      <a:pt x="711" y="14270"/>
                    </a:lnTo>
                    <a:lnTo>
                      <a:pt x="628" y="14354"/>
                    </a:lnTo>
                    <a:lnTo>
                      <a:pt x="649" y="14438"/>
                    </a:lnTo>
                    <a:lnTo>
                      <a:pt x="628" y="14584"/>
                    </a:lnTo>
                    <a:lnTo>
                      <a:pt x="523" y="14668"/>
                    </a:lnTo>
                    <a:lnTo>
                      <a:pt x="544" y="14793"/>
                    </a:lnTo>
                    <a:lnTo>
                      <a:pt x="335" y="14961"/>
                    </a:lnTo>
                    <a:lnTo>
                      <a:pt x="251" y="14877"/>
                    </a:lnTo>
                    <a:lnTo>
                      <a:pt x="126" y="15086"/>
                    </a:lnTo>
                    <a:lnTo>
                      <a:pt x="126" y="15442"/>
                    </a:lnTo>
                    <a:lnTo>
                      <a:pt x="209" y="15526"/>
                    </a:lnTo>
                    <a:lnTo>
                      <a:pt x="293" y="15526"/>
                    </a:lnTo>
                    <a:lnTo>
                      <a:pt x="544" y="15756"/>
                    </a:lnTo>
                    <a:lnTo>
                      <a:pt x="544" y="15861"/>
                    </a:lnTo>
                    <a:lnTo>
                      <a:pt x="565" y="15923"/>
                    </a:lnTo>
                    <a:lnTo>
                      <a:pt x="711" y="15944"/>
                    </a:lnTo>
                    <a:lnTo>
                      <a:pt x="753" y="16007"/>
                    </a:lnTo>
                    <a:lnTo>
                      <a:pt x="942" y="16028"/>
                    </a:lnTo>
                    <a:lnTo>
                      <a:pt x="983" y="16028"/>
                    </a:lnTo>
                    <a:lnTo>
                      <a:pt x="1025" y="16070"/>
                    </a:lnTo>
                    <a:lnTo>
                      <a:pt x="1151" y="16070"/>
                    </a:lnTo>
                    <a:lnTo>
                      <a:pt x="1297" y="16049"/>
                    </a:lnTo>
                    <a:lnTo>
                      <a:pt x="1339" y="16133"/>
                    </a:lnTo>
                    <a:lnTo>
                      <a:pt x="1402" y="16070"/>
                    </a:lnTo>
                    <a:lnTo>
                      <a:pt x="1423" y="16112"/>
                    </a:lnTo>
                    <a:lnTo>
                      <a:pt x="1611" y="16070"/>
                    </a:lnTo>
                    <a:lnTo>
                      <a:pt x="1758" y="16070"/>
                    </a:lnTo>
                    <a:lnTo>
                      <a:pt x="1779" y="16007"/>
                    </a:lnTo>
                    <a:lnTo>
                      <a:pt x="1862" y="15965"/>
                    </a:lnTo>
                    <a:lnTo>
                      <a:pt x="1946" y="15840"/>
                    </a:lnTo>
                    <a:lnTo>
                      <a:pt x="2113" y="15861"/>
                    </a:lnTo>
                    <a:lnTo>
                      <a:pt x="2113" y="15756"/>
                    </a:lnTo>
                    <a:lnTo>
                      <a:pt x="2218" y="15693"/>
                    </a:lnTo>
                    <a:lnTo>
                      <a:pt x="2323" y="15693"/>
                    </a:lnTo>
                    <a:lnTo>
                      <a:pt x="2406" y="15777"/>
                    </a:lnTo>
                    <a:lnTo>
                      <a:pt x="2511" y="15651"/>
                    </a:lnTo>
                    <a:lnTo>
                      <a:pt x="2532" y="15693"/>
                    </a:lnTo>
                    <a:lnTo>
                      <a:pt x="2616" y="15651"/>
                    </a:lnTo>
                    <a:lnTo>
                      <a:pt x="2636" y="15526"/>
                    </a:lnTo>
                    <a:lnTo>
                      <a:pt x="2950" y="15317"/>
                    </a:lnTo>
                    <a:lnTo>
                      <a:pt x="3076" y="15338"/>
                    </a:lnTo>
                    <a:lnTo>
                      <a:pt x="3160" y="15379"/>
                    </a:lnTo>
                    <a:lnTo>
                      <a:pt x="3264" y="15317"/>
                    </a:lnTo>
                    <a:lnTo>
                      <a:pt x="3557" y="15233"/>
                    </a:lnTo>
                    <a:lnTo>
                      <a:pt x="3599" y="15317"/>
                    </a:lnTo>
                    <a:lnTo>
                      <a:pt x="3787" y="15254"/>
                    </a:lnTo>
                    <a:lnTo>
                      <a:pt x="3850" y="15296"/>
                    </a:lnTo>
                    <a:lnTo>
                      <a:pt x="3955" y="15317"/>
                    </a:lnTo>
                    <a:lnTo>
                      <a:pt x="4038" y="15254"/>
                    </a:lnTo>
                    <a:lnTo>
                      <a:pt x="4101" y="15400"/>
                    </a:lnTo>
                    <a:lnTo>
                      <a:pt x="4185" y="15400"/>
                    </a:lnTo>
                    <a:lnTo>
                      <a:pt x="4268" y="15338"/>
                    </a:lnTo>
                    <a:lnTo>
                      <a:pt x="4310" y="15400"/>
                    </a:lnTo>
                    <a:lnTo>
                      <a:pt x="4415" y="15338"/>
                    </a:lnTo>
                    <a:lnTo>
                      <a:pt x="4624" y="15338"/>
                    </a:lnTo>
                    <a:lnTo>
                      <a:pt x="4624" y="15442"/>
                    </a:lnTo>
                    <a:lnTo>
                      <a:pt x="4645" y="15442"/>
                    </a:lnTo>
                    <a:lnTo>
                      <a:pt x="4792" y="15338"/>
                    </a:lnTo>
                    <a:lnTo>
                      <a:pt x="4917" y="15379"/>
                    </a:lnTo>
                    <a:lnTo>
                      <a:pt x="5064" y="15254"/>
                    </a:lnTo>
                    <a:lnTo>
                      <a:pt x="5126" y="15128"/>
                    </a:lnTo>
                    <a:lnTo>
                      <a:pt x="5168" y="15107"/>
                    </a:lnTo>
                    <a:lnTo>
                      <a:pt x="5315" y="14982"/>
                    </a:lnTo>
                    <a:lnTo>
                      <a:pt x="5377" y="14773"/>
                    </a:lnTo>
                    <a:lnTo>
                      <a:pt x="5524" y="14668"/>
                    </a:lnTo>
                    <a:lnTo>
                      <a:pt x="5670" y="14647"/>
                    </a:lnTo>
                    <a:lnTo>
                      <a:pt x="5754" y="14668"/>
                    </a:lnTo>
                    <a:lnTo>
                      <a:pt x="5984" y="14584"/>
                    </a:lnTo>
                    <a:lnTo>
                      <a:pt x="6277" y="14396"/>
                    </a:lnTo>
                    <a:lnTo>
                      <a:pt x="6486" y="14208"/>
                    </a:lnTo>
                    <a:lnTo>
                      <a:pt x="6570" y="14187"/>
                    </a:lnTo>
                    <a:lnTo>
                      <a:pt x="6737" y="14187"/>
                    </a:lnTo>
                    <a:lnTo>
                      <a:pt x="6905" y="14249"/>
                    </a:lnTo>
                    <a:lnTo>
                      <a:pt x="7051" y="14270"/>
                    </a:lnTo>
                    <a:lnTo>
                      <a:pt x="7198" y="14208"/>
                    </a:lnTo>
                    <a:lnTo>
                      <a:pt x="7407" y="14249"/>
                    </a:lnTo>
                    <a:lnTo>
                      <a:pt x="7742" y="14145"/>
                    </a:lnTo>
                    <a:lnTo>
                      <a:pt x="7930" y="14082"/>
                    </a:lnTo>
                    <a:lnTo>
                      <a:pt x="8056" y="13977"/>
                    </a:lnTo>
                    <a:lnTo>
                      <a:pt x="8139" y="13977"/>
                    </a:lnTo>
                    <a:lnTo>
                      <a:pt x="8307" y="13852"/>
                    </a:lnTo>
                    <a:lnTo>
                      <a:pt x="8558" y="13852"/>
                    </a:lnTo>
                    <a:lnTo>
                      <a:pt x="9186" y="13810"/>
                    </a:lnTo>
                    <a:lnTo>
                      <a:pt x="9395" y="13852"/>
                    </a:lnTo>
                    <a:lnTo>
                      <a:pt x="9520" y="13852"/>
                    </a:lnTo>
                    <a:lnTo>
                      <a:pt x="9709" y="13810"/>
                    </a:lnTo>
                    <a:lnTo>
                      <a:pt x="9834" y="13831"/>
                    </a:lnTo>
                    <a:lnTo>
                      <a:pt x="10022" y="13977"/>
                    </a:lnTo>
                    <a:lnTo>
                      <a:pt x="10148" y="14208"/>
                    </a:lnTo>
                    <a:lnTo>
                      <a:pt x="10253" y="14249"/>
                    </a:lnTo>
                    <a:lnTo>
                      <a:pt x="10336" y="14187"/>
                    </a:lnTo>
                    <a:lnTo>
                      <a:pt x="10378" y="14166"/>
                    </a:lnTo>
                    <a:lnTo>
                      <a:pt x="10441" y="14208"/>
                    </a:lnTo>
                    <a:lnTo>
                      <a:pt x="10504" y="14187"/>
                    </a:lnTo>
                    <a:lnTo>
                      <a:pt x="10650" y="14208"/>
                    </a:lnTo>
                    <a:lnTo>
                      <a:pt x="10755" y="14354"/>
                    </a:lnTo>
                    <a:lnTo>
                      <a:pt x="10880" y="14375"/>
                    </a:lnTo>
                    <a:lnTo>
                      <a:pt x="10964" y="14354"/>
                    </a:lnTo>
                    <a:lnTo>
                      <a:pt x="11194" y="14542"/>
                    </a:lnTo>
                    <a:lnTo>
                      <a:pt x="11194" y="14647"/>
                    </a:lnTo>
                    <a:lnTo>
                      <a:pt x="11278" y="14647"/>
                    </a:lnTo>
                    <a:lnTo>
                      <a:pt x="11341" y="14731"/>
                    </a:lnTo>
                    <a:lnTo>
                      <a:pt x="11320" y="14814"/>
                    </a:lnTo>
                    <a:lnTo>
                      <a:pt x="11215" y="14814"/>
                    </a:lnTo>
                    <a:lnTo>
                      <a:pt x="11194" y="14898"/>
                    </a:lnTo>
                    <a:lnTo>
                      <a:pt x="11299" y="15107"/>
                    </a:lnTo>
                    <a:lnTo>
                      <a:pt x="11403" y="15128"/>
                    </a:lnTo>
                    <a:lnTo>
                      <a:pt x="11508" y="15254"/>
                    </a:lnTo>
                    <a:lnTo>
                      <a:pt x="11550" y="15421"/>
                    </a:lnTo>
                    <a:lnTo>
                      <a:pt x="11529" y="15526"/>
                    </a:lnTo>
                    <a:lnTo>
                      <a:pt x="11655" y="15819"/>
                    </a:lnTo>
                    <a:lnTo>
                      <a:pt x="11613" y="15944"/>
                    </a:lnTo>
                    <a:lnTo>
                      <a:pt x="11655" y="16007"/>
                    </a:lnTo>
                    <a:lnTo>
                      <a:pt x="11634" y="16154"/>
                    </a:lnTo>
                    <a:lnTo>
                      <a:pt x="11613" y="16237"/>
                    </a:lnTo>
                    <a:lnTo>
                      <a:pt x="11529" y="16216"/>
                    </a:lnTo>
                    <a:lnTo>
                      <a:pt x="11508" y="16237"/>
                    </a:lnTo>
                    <a:lnTo>
                      <a:pt x="11592" y="16363"/>
                    </a:lnTo>
                    <a:lnTo>
                      <a:pt x="11655" y="16384"/>
                    </a:lnTo>
                    <a:lnTo>
                      <a:pt x="11717" y="16530"/>
                    </a:lnTo>
                    <a:lnTo>
                      <a:pt x="11822" y="16488"/>
                    </a:lnTo>
                    <a:lnTo>
                      <a:pt x="11927" y="16572"/>
                    </a:lnTo>
                    <a:lnTo>
                      <a:pt x="11927" y="16467"/>
                    </a:lnTo>
                    <a:lnTo>
                      <a:pt x="11864" y="16363"/>
                    </a:lnTo>
                    <a:lnTo>
                      <a:pt x="11927" y="16300"/>
                    </a:lnTo>
                    <a:lnTo>
                      <a:pt x="11968" y="16174"/>
                    </a:lnTo>
                    <a:lnTo>
                      <a:pt x="12073" y="16174"/>
                    </a:lnTo>
                    <a:lnTo>
                      <a:pt x="12136" y="16070"/>
                    </a:lnTo>
                    <a:lnTo>
                      <a:pt x="12240" y="16028"/>
                    </a:lnTo>
                    <a:lnTo>
                      <a:pt x="12261" y="15923"/>
                    </a:lnTo>
                    <a:lnTo>
                      <a:pt x="12366" y="15777"/>
                    </a:lnTo>
                    <a:lnTo>
                      <a:pt x="12596" y="15693"/>
                    </a:lnTo>
                    <a:lnTo>
                      <a:pt x="12638" y="15610"/>
                    </a:lnTo>
                    <a:lnTo>
                      <a:pt x="12680" y="15610"/>
                    </a:lnTo>
                    <a:lnTo>
                      <a:pt x="12868" y="15505"/>
                    </a:lnTo>
                    <a:lnTo>
                      <a:pt x="12910" y="15338"/>
                    </a:lnTo>
                    <a:lnTo>
                      <a:pt x="13077" y="15107"/>
                    </a:lnTo>
                    <a:lnTo>
                      <a:pt x="13224" y="15086"/>
                    </a:lnTo>
                    <a:lnTo>
                      <a:pt x="13307" y="14982"/>
                    </a:lnTo>
                    <a:lnTo>
                      <a:pt x="13266" y="14856"/>
                    </a:lnTo>
                    <a:lnTo>
                      <a:pt x="13287" y="14710"/>
                    </a:lnTo>
                    <a:lnTo>
                      <a:pt x="13370" y="14877"/>
                    </a:lnTo>
                    <a:lnTo>
                      <a:pt x="13370" y="15024"/>
                    </a:lnTo>
                    <a:lnTo>
                      <a:pt x="13370" y="15191"/>
                    </a:lnTo>
                    <a:lnTo>
                      <a:pt x="13287" y="15254"/>
                    </a:lnTo>
                    <a:lnTo>
                      <a:pt x="13266" y="15547"/>
                    </a:lnTo>
                    <a:lnTo>
                      <a:pt x="13015" y="15714"/>
                    </a:lnTo>
                    <a:lnTo>
                      <a:pt x="12973" y="15840"/>
                    </a:lnTo>
                    <a:lnTo>
                      <a:pt x="12910" y="15923"/>
                    </a:lnTo>
                    <a:lnTo>
                      <a:pt x="12910" y="16070"/>
                    </a:lnTo>
                    <a:lnTo>
                      <a:pt x="12784" y="16258"/>
                    </a:lnTo>
                    <a:lnTo>
                      <a:pt x="12805" y="16300"/>
                    </a:lnTo>
                    <a:lnTo>
                      <a:pt x="12743" y="16593"/>
                    </a:lnTo>
                    <a:lnTo>
                      <a:pt x="12450" y="16572"/>
                    </a:lnTo>
                    <a:lnTo>
                      <a:pt x="12387" y="16739"/>
                    </a:lnTo>
                    <a:lnTo>
                      <a:pt x="12324" y="16823"/>
                    </a:lnTo>
                    <a:lnTo>
                      <a:pt x="12324" y="16886"/>
                    </a:lnTo>
                    <a:lnTo>
                      <a:pt x="12491" y="16823"/>
                    </a:lnTo>
                    <a:lnTo>
                      <a:pt x="12659" y="16760"/>
                    </a:lnTo>
                    <a:lnTo>
                      <a:pt x="12868" y="16823"/>
                    </a:lnTo>
                    <a:lnTo>
                      <a:pt x="13056" y="16530"/>
                    </a:lnTo>
                    <a:lnTo>
                      <a:pt x="13098" y="16216"/>
                    </a:lnTo>
                    <a:lnTo>
                      <a:pt x="13266" y="16049"/>
                    </a:lnTo>
                    <a:lnTo>
                      <a:pt x="13307" y="16112"/>
                    </a:lnTo>
                    <a:lnTo>
                      <a:pt x="13307" y="16384"/>
                    </a:lnTo>
                    <a:lnTo>
                      <a:pt x="13370" y="16551"/>
                    </a:lnTo>
                    <a:lnTo>
                      <a:pt x="13307" y="16551"/>
                    </a:lnTo>
                    <a:lnTo>
                      <a:pt x="13328" y="16823"/>
                    </a:lnTo>
                    <a:lnTo>
                      <a:pt x="13203" y="17074"/>
                    </a:lnTo>
                    <a:lnTo>
                      <a:pt x="12994" y="17158"/>
                    </a:lnTo>
                    <a:lnTo>
                      <a:pt x="13015" y="17221"/>
                    </a:lnTo>
                    <a:lnTo>
                      <a:pt x="13161" y="17200"/>
                    </a:lnTo>
                    <a:lnTo>
                      <a:pt x="13307" y="17221"/>
                    </a:lnTo>
                    <a:lnTo>
                      <a:pt x="13391" y="17158"/>
                    </a:lnTo>
                    <a:lnTo>
                      <a:pt x="13496" y="17116"/>
                    </a:lnTo>
                    <a:lnTo>
                      <a:pt x="13600" y="17011"/>
                    </a:lnTo>
                    <a:lnTo>
                      <a:pt x="13705" y="17053"/>
                    </a:lnTo>
                    <a:lnTo>
                      <a:pt x="13789" y="17053"/>
                    </a:lnTo>
                    <a:lnTo>
                      <a:pt x="13705" y="17158"/>
                    </a:lnTo>
                    <a:lnTo>
                      <a:pt x="13642" y="17221"/>
                    </a:lnTo>
                    <a:lnTo>
                      <a:pt x="13538" y="17221"/>
                    </a:lnTo>
                    <a:lnTo>
                      <a:pt x="13517" y="17283"/>
                    </a:lnTo>
                    <a:lnTo>
                      <a:pt x="13621" y="17430"/>
                    </a:lnTo>
                    <a:lnTo>
                      <a:pt x="13684" y="17576"/>
                    </a:lnTo>
                    <a:lnTo>
                      <a:pt x="13747" y="17744"/>
                    </a:lnTo>
                    <a:lnTo>
                      <a:pt x="13747" y="17953"/>
                    </a:lnTo>
                    <a:lnTo>
                      <a:pt x="13726" y="18225"/>
                    </a:lnTo>
                    <a:lnTo>
                      <a:pt x="13600" y="18371"/>
                    </a:lnTo>
                    <a:lnTo>
                      <a:pt x="13621" y="18455"/>
                    </a:lnTo>
                    <a:lnTo>
                      <a:pt x="13600" y="18664"/>
                    </a:lnTo>
                    <a:lnTo>
                      <a:pt x="13705" y="18748"/>
                    </a:lnTo>
                    <a:lnTo>
                      <a:pt x="13789" y="18895"/>
                    </a:lnTo>
                    <a:lnTo>
                      <a:pt x="13810" y="19083"/>
                    </a:lnTo>
                    <a:lnTo>
                      <a:pt x="14019" y="19355"/>
                    </a:lnTo>
                    <a:lnTo>
                      <a:pt x="14165" y="19397"/>
                    </a:lnTo>
                    <a:lnTo>
                      <a:pt x="14270" y="19480"/>
                    </a:lnTo>
                    <a:lnTo>
                      <a:pt x="14333" y="19606"/>
                    </a:lnTo>
                    <a:lnTo>
                      <a:pt x="14437" y="19627"/>
                    </a:lnTo>
                    <a:lnTo>
                      <a:pt x="14458" y="19585"/>
                    </a:lnTo>
                    <a:lnTo>
                      <a:pt x="14542" y="19564"/>
                    </a:lnTo>
                    <a:lnTo>
                      <a:pt x="14688" y="19585"/>
                    </a:lnTo>
                    <a:lnTo>
                      <a:pt x="14835" y="19731"/>
                    </a:lnTo>
                    <a:lnTo>
                      <a:pt x="14960" y="19773"/>
                    </a:lnTo>
                    <a:lnTo>
                      <a:pt x="15086" y="19899"/>
                    </a:lnTo>
                    <a:lnTo>
                      <a:pt x="15107" y="20003"/>
                    </a:lnTo>
                    <a:lnTo>
                      <a:pt x="15212" y="20045"/>
                    </a:lnTo>
                    <a:lnTo>
                      <a:pt x="15358" y="20192"/>
                    </a:lnTo>
                    <a:lnTo>
                      <a:pt x="15421" y="20192"/>
                    </a:lnTo>
                    <a:lnTo>
                      <a:pt x="15463" y="20108"/>
                    </a:lnTo>
                    <a:lnTo>
                      <a:pt x="15693" y="20003"/>
                    </a:lnTo>
                    <a:lnTo>
                      <a:pt x="15776" y="19899"/>
                    </a:lnTo>
                    <a:lnTo>
                      <a:pt x="15902" y="19899"/>
                    </a:lnTo>
                    <a:lnTo>
                      <a:pt x="16048" y="19773"/>
                    </a:lnTo>
                    <a:lnTo>
                      <a:pt x="16153" y="19773"/>
                    </a:lnTo>
                    <a:lnTo>
                      <a:pt x="16195" y="19711"/>
                    </a:lnTo>
                    <a:lnTo>
                      <a:pt x="16153" y="19669"/>
                    </a:lnTo>
                    <a:lnTo>
                      <a:pt x="16048" y="19627"/>
                    </a:lnTo>
                    <a:lnTo>
                      <a:pt x="16090" y="19564"/>
                    </a:lnTo>
                    <a:lnTo>
                      <a:pt x="16320" y="19397"/>
                    </a:lnTo>
                    <a:lnTo>
                      <a:pt x="16509" y="19522"/>
                    </a:lnTo>
                    <a:lnTo>
                      <a:pt x="16509" y="19669"/>
                    </a:lnTo>
                    <a:lnTo>
                      <a:pt x="16258" y="19794"/>
                    </a:lnTo>
                    <a:lnTo>
                      <a:pt x="16320" y="19899"/>
                    </a:lnTo>
                    <a:lnTo>
                      <a:pt x="16404" y="19920"/>
                    </a:lnTo>
                    <a:lnTo>
                      <a:pt x="16467" y="19815"/>
                    </a:lnTo>
                    <a:lnTo>
                      <a:pt x="16572" y="19731"/>
                    </a:lnTo>
                    <a:lnTo>
                      <a:pt x="16676" y="19815"/>
                    </a:lnTo>
                    <a:lnTo>
                      <a:pt x="16676" y="19920"/>
                    </a:lnTo>
                    <a:lnTo>
                      <a:pt x="16613" y="19920"/>
                    </a:lnTo>
                    <a:lnTo>
                      <a:pt x="16509" y="20003"/>
                    </a:lnTo>
                    <a:lnTo>
                      <a:pt x="16655" y="20192"/>
                    </a:lnTo>
                    <a:lnTo>
                      <a:pt x="16676" y="20401"/>
                    </a:lnTo>
                    <a:lnTo>
                      <a:pt x="16760" y="20338"/>
                    </a:lnTo>
                    <a:lnTo>
                      <a:pt x="16844" y="20359"/>
                    </a:lnTo>
                    <a:lnTo>
                      <a:pt x="16844" y="20464"/>
                    </a:lnTo>
                    <a:lnTo>
                      <a:pt x="16927" y="20610"/>
                    </a:lnTo>
                    <a:lnTo>
                      <a:pt x="16990" y="20443"/>
                    </a:lnTo>
                    <a:lnTo>
                      <a:pt x="16990" y="20296"/>
                    </a:lnTo>
                    <a:lnTo>
                      <a:pt x="16885" y="20359"/>
                    </a:lnTo>
                    <a:lnTo>
                      <a:pt x="16885" y="20317"/>
                    </a:lnTo>
                    <a:lnTo>
                      <a:pt x="16948" y="20234"/>
                    </a:lnTo>
                    <a:lnTo>
                      <a:pt x="17241" y="20234"/>
                    </a:lnTo>
                    <a:lnTo>
                      <a:pt x="17262" y="20296"/>
                    </a:lnTo>
                    <a:lnTo>
                      <a:pt x="17304" y="20234"/>
                    </a:lnTo>
                    <a:lnTo>
                      <a:pt x="17450" y="20024"/>
                    </a:lnTo>
                    <a:lnTo>
                      <a:pt x="17764" y="19836"/>
                    </a:lnTo>
                    <a:lnTo>
                      <a:pt x="17911" y="19711"/>
                    </a:lnTo>
                    <a:lnTo>
                      <a:pt x="17827" y="19711"/>
                    </a:lnTo>
                    <a:lnTo>
                      <a:pt x="17764" y="19731"/>
                    </a:lnTo>
                    <a:lnTo>
                      <a:pt x="17785" y="19711"/>
                    </a:lnTo>
                    <a:lnTo>
                      <a:pt x="17681" y="19669"/>
                    </a:lnTo>
                    <a:lnTo>
                      <a:pt x="17932" y="19669"/>
                    </a:lnTo>
                    <a:lnTo>
                      <a:pt x="18183" y="19606"/>
                    </a:lnTo>
                    <a:lnTo>
                      <a:pt x="18622" y="19501"/>
                    </a:lnTo>
                    <a:lnTo>
                      <a:pt x="18957" y="19585"/>
                    </a:lnTo>
                    <a:lnTo>
                      <a:pt x="19124" y="19501"/>
                    </a:lnTo>
                    <a:lnTo>
                      <a:pt x="19124" y="19397"/>
                    </a:lnTo>
                    <a:lnTo>
                      <a:pt x="19229" y="19397"/>
                    </a:lnTo>
                    <a:lnTo>
                      <a:pt x="19333" y="19313"/>
                    </a:lnTo>
                    <a:lnTo>
                      <a:pt x="19438" y="19104"/>
                    </a:lnTo>
                    <a:lnTo>
                      <a:pt x="19375" y="18895"/>
                    </a:lnTo>
                    <a:lnTo>
                      <a:pt x="19375" y="18769"/>
                    </a:lnTo>
                    <a:lnTo>
                      <a:pt x="19585" y="18560"/>
                    </a:lnTo>
                    <a:lnTo>
                      <a:pt x="19585" y="18225"/>
                    </a:lnTo>
                    <a:lnTo>
                      <a:pt x="19668" y="18099"/>
                    </a:lnTo>
                    <a:lnTo>
                      <a:pt x="19710" y="17869"/>
                    </a:lnTo>
                    <a:lnTo>
                      <a:pt x="19815" y="17827"/>
                    </a:lnTo>
                    <a:lnTo>
                      <a:pt x="19815" y="17702"/>
                    </a:lnTo>
                    <a:lnTo>
                      <a:pt x="20170" y="17283"/>
                    </a:lnTo>
                    <a:lnTo>
                      <a:pt x="20275" y="17262"/>
                    </a:lnTo>
                    <a:lnTo>
                      <a:pt x="20317" y="17011"/>
                    </a:lnTo>
                    <a:lnTo>
                      <a:pt x="20442" y="16823"/>
                    </a:lnTo>
                    <a:lnTo>
                      <a:pt x="20547" y="16593"/>
                    </a:lnTo>
                    <a:lnTo>
                      <a:pt x="20694" y="16446"/>
                    </a:lnTo>
                    <a:lnTo>
                      <a:pt x="20652" y="16342"/>
                    </a:lnTo>
                    <a:lnTo>
                      <a:pt x="20756" y="16258"/>
                    </a:lnTo>
                    <a:lnTo>
                      <a:pt x="20861" y="16049"/>
                    </a:lnTo>
                    <a:lnTo>
                      <a:pt x="20798" y="15965"/>
                    </a:lnTo>
                    <a:lnTo>
                      <a:pt x="20966" y="15902"/>
                    </a:lnTo>
                    <a:lnTo>
                      <a:pt x="21070" y="15714"/>
                    </a:lnTo>
                    <a:lnTo>
                      <a:pt x="21154" y="15630"/>
                    </a:lnTo>
                    <a:lnTo>
                      <a:pt x="21258" y="15442"/>
                    </a:lnTo>
                    <a:lnTo>
                      <a:pt x="21426" y="15400"/>
                    </a:lnTo>
                    <a:lnTo>
                      <a:pt x="21530" y="15338"/>
                    </a:lnTo>
                    <a:lnTo>
                      <a:pt x="21342" y="15338"/>
                    </a:lnTo>
                    <a:lnTo>
                      <a:pt x="21384" y="15296"/>
                    </a:lnTo>
                    <a:lnTo>
                      <a:pt x="21593" y="15254"/>
                    </a:lnTo>
                    <a:lnTo>
                      <a:pt x="21782" y="15170"/>
                    </a:lnTo>
                    <a:lnTo>
                      <a:pt x="21802" y="15003"/>
                    </a:lnTo>
                    <a:lnTo>
                      <a:pt x="21782" y="14961"/>
                    </a:lnTo>
                    <a:lnTo>
                      <a:pt x="21802" y="14814"/>
                    </a:lnTo>
                    <a:lnTo>
                      <a:pt x="22012" y="14689"/>
                    </a:lnTo>
                    <a:lnTo>
                      <a:pt x="22012" y="14563"/>
                    </a:lnTo>
                    <a:lnTo>
                      <a:pt x="22158" y="14501"/>
                    </a:lnTo>
                    <a:lnTo>
                      <a:pt x="22284" y="14291"/>
                    </a:lnTo>
                    <a:lnTo>
                      <a:pt x="22263" y="14187"/>
                    </a:lnTo>
                    <a:lnTo>
                      <a:pt x="22305" y="14019"/>
                    </a:lnTo>
                    <a:lnTo>
                      <a:pt x="22284" y="13957"/>
                    </a:lnTo>
                    <a:lnTo>
                      <a:pt x="22284" y="13852"/>
                    </a:lnTo>
                    <a:lnTo>
                      <a:pt x="22430" y="13496"/>
                    </a:lnTo>
                    <a:lnTo>
                      <a:pt x="22493" y="13287"/>
                    </a:lnTo>
                    <a:lnTo>
                      <a:pt x="22702" y="12910"/>
                    </a:lnTo>
                    <a:lnTo>
                      <a:pt x="22702" y="12785"/>
                    </a:lnTo>
                    <a:lnTo>
                      <a:pt x="22807" y="12492"/>
                    </a:lnTo>
                    <a:lnTo>
                      <a:pt x="22953" y="12366"/>
                    </a:lnTo>
                    <a:lnTo>
                      <a:pt x="23016" y="12199"/>
                    </a:lnTo>
                    <a:lnTo>
                      <a:pt x="22953" y="12053"/>
                    </a:lnTo>
                    <a:lnTo>
                      <a:pt x="23058" y="11927"/>
                    </a:lnTo>
                    <a:lnTo>
                      <a:pt x="22995" y="11655"/>
                    </a:lnTo>
                    <a:lnTo>
                      <a:pt x="22995" y="11529"/>
                    </a:lnTo>
                    <a:lnTo>
                      <a:pt x="22911" y="11320"/>
                    </a:lnTo>
                    <a:lnTo>
                      <a:pt x="22891" y="11236"/>
                    </a:lnTo>
                    <a:lnTo>
                      <a:pt x="22849" y="11111"/>
                    </a:lnTo>
                    <a:lnTo>
                      <a:pt x="22911" y="11069"/>
                    </a:lnTo>
                    <a:lnTo>
                      <a:pt x="22911" y="10923"/>
                    </a:lnTo>
                    <a:lnTo>
                      <a:pt x="23016" y="10776"/>
                    </a:lnTo>
                    <a:lnTo>
                      <a:pt x="23016" y="10713"/>
                    </a:lnTo>
                    <a:lnTo>
                      <a:pt x="22995" y="10379"/>
                    </a:lnTo>
                    <a:lnTo>
                      <a:pt x="23058" y="10253"/>
                    </a:lnTo>
                    <a:lnTo>
                      <a:pt x="23016" y="10190"/>
                    </a:lnTo>
                    <a:lnTo>
                      <a:pt x="22995" y="10065"/>
                    </a:lnTo>
                    <a:lnTo>
                      <a:pt x="22995" y="9856"/>
                    </a:lnTo>
                    <a:lnTo>
                      <a:pt x="22932" y="9835"/>
                    </a:lnTo>
                    <a:lnTo>
                      <a:pt x="22995" y="9688"/>
                    </a:lnTo>
                    <a:lnTo>
                      <a:pt x="22891" y="9667"/>
                    </a:lnTo>
                    <a:lnTo>
                      <a:pt x="22828" y="9542"/>
                    </a:lnTo>
                    <a:lnTo>
                      <a:pt x="22828" y="9416"/>
                    </a:lnTo>
                    <a:lnTo>
                      <a:pt x="22702" y="9312"/>
                    </a:lnTo>
                    <a:lnTo>
                      <a:pt x="22619" y="9144"/>
                    </a:lnTo>
                    <a:lnTo>
                      <a:pt x="22598" y="8956"/>
                    </a:lnTo>
                    <a:lnTo>
                      <a:pt x="22514" y="8830"/>
                    </a:lnTo>
                    <a:lnTo>
                      <a:pt x="22430" y="8830"/>
                    </a:lnTo>
                    <a:lnTo>
                      <a:pt x="22367" y="8851"/>
                    </a:lnTo>
                    <a:lnTo>
                      <a:pt x="22284" y="8809"/>
                    </a:lnTo>
                    <a:lnTo>
                      <a:pt x="22263" y="8642"/>
                    </a:lnTo>
                    <a:lnTo>
                      <a:pt x="22200" y="8621"/>
                    </a:lnTo>
                    <a:lnTo>
                      <a:pt x="22179" y="8537"/>
                    </a:lnTo>
                    <a:lnTo>
                      <a:pt x="22054" y="8412"/>
                    </a:lnTo>
                    <a:lnTo>
                      <a:pt x="21970" y="8370"/>
                    </a:lnTo>
                    <a:lnTo>
                      <a:pt x="22012" y="8265"/>
                    </a:lnTo>
                    <a:lnTo>
                      <a:pt x="21949" y="8119"/>
                    </a:lnTo>
                    <a:lnTo>
                      <a:pt x="22054" y="7993"/>
                    </a:lnTo>
                    <a:lnTo>
                      <a:pt x="22074" y="7805"/>
                    </a:lnTo>
                    <a:lnTo>
                      <a:pt x="22012" y="7742"/>
                    </a:lnTo>
                    <a:lnTo>
                      <a:pt x="22054" y="7638"/>
                    </a:lnTo>
                    <a:lnTo>
                      <a:pt x="21970" y="7575"/>
                    </a:lnTo>
                    <a:lnTo>
                      <a:pt x="21949" y="7638"/>
                    </a:lnTo>
                    <a:lnTo>
                      <a:pt x="21991" y="7679"/>
                    </a:lnTo>
                    <a:lnTo>
                      <a:pt x="21949" y="7763"/>
                    </a:lnTo>
                    <a:lnTo>
                      <a:pt x="21677" y="7533"/>
                    </a:lnTo>
                    <a:lnTo>
                      <a:pt x="21635" y="7366"/>
                    </a:lnTo>
                    <a:lnTo>
                      <a:pt x="21572" y="7387"/>
                    </a:lnTo>
                    <a:lnTo>
                      <a:pt x="21572" y="7470"/>
                    </a:lnTo>
                    <a:lnTo>
                      <a:pt x="21551" y="7575"/>
                    </a:lnTo>
                    <a:lnTo>
                      <a:pt x="21593" y="7763"/>
                    </a:lnTo>
                    <a:lnTo>
                      <a:pt x="21468" y="7596"/>
                    </a:lnTo>
                    <a:lnTo>
                      <a:pt x="21426" y="7659"/>
                    </a:lnTo>
                    <a:lnTo>
                      <a:pt x="21426" y="7554"/>
                    </a:lnTo>
                    <a:lnTo>
                      <a:pt x="21363" y="7470"/>
                    </a:lnTo>
                    <a:lnTo>
                      <a:pt x="21342" y="7135"/>
                    </a:lnTo>
                    <a:lnTo>
                      <a:pt x="21384" y="7115"/>
                    </a:lnTo>
                    <a:lnTo>
                      <a:pt x="21384" y="7031"/>
                    </a:lnTo>
                    <a:lnTo>
                      <a:pt x="21279" y="6947"/>
                    </a:lnTo>
                    <a:lnTo>
                      <a:pt x="21321" y="6863"/>
                    </a:lnTo>
                    <a:lnTo>
                      <a:pt x="21238" y="6801"/>
                    </a:lnTo>
                    <a:lnTo>
                      <a:pt x="21258" y="6696"/>
                    </a:lnTo>
                    <a:lnTo>
                      <a:pt x="21070" y="6529"/>
                    </a:lnTo>
                    <a:lnTo>
                      <a:pt x="21028" y="6424"/>
                    </a:lnTo>
                    <a:lnTo>
                      <a:pt x="21028" y="6299"/>
                    </a:lnTo>
                    <a:lnTo>
                      <a:pt x="21133" y="6319"/>
                    </a:lnTo>
                    <a:lnTo>
                      <a:pt x="21133" y="6194"/>
                    </a:lnTo>
                    <a:lnTo>
                      <a:pt x="21028" y="6027"/>
                    </a:lnTo>
                    <a:lnTo>
                      <a:pt x="20966" y="6068"/>
                    </a:lnTo>
                    <a:lnTo>
                      <a:pt x="20861" y="6068"/>
                    </a:lnTo>
                    <a:lnTo>
                      <a:pt x="20756" y="5880"/>
                    </a:lnTo>
                    <a:lnTo>
                      <a:pt x="20694" y="5880"/>
                    </a:lnTo>
                    <a:lnTo>
                      <a:pt x="20589" y="5796"/>
                    </a:lnTo>
                    <a:lnTo>
                      <a:pt x="20505" y="5859"/>
                    </a:lnTo>
                    <a:lnTo>
                      <a:pt x="20484" y="5796"/>
                    </a:lnTo>
                    <a:lnTo>
                      <a:pt x="20338" y="5754"/>
                    </a:lnTo>
                    <a:lnTo>
                      <a:pt x="20275" y="5817"/>
                    </a:lnTo>
                    <a:lnTo>
                      <a:pt x="20317" y="5713"/>
                    </a:lnTo>
                    <a:lnTo>
                      <a:pt x="20442" y="5692"/>
                    </a:lnTo>
                    <a:lnTo>
                      <a:pt x="20442" y="5608"/>
                    </a:lnTo>
                    <a:lnTo>
                      <a:pt x="20422" y="5545"/>
                    </a:lnTo>
                    <a:lnTo>
                      <a:pt x="20296" y="5566"/>
                    </a:lnTo>
                    <a:lnTo>
                      <a:pt x="20191" y="5545"/>
                    </a:lnTo>
                    <a:lnTo>
                      <a:pt x="20170" y="5482"/>
                    </a:lnTo>
                    <a:lnTo>
                      <a:pt x="20087" y="5482"/>
                    </a:lnTo>
                    <a:lnTo>
                      <a:pt x="19857" y="5336"/>
                    </a:lnTo>
                    <a:lnTo>
                      <a:pt x="19752" y="5127"/>
                    </a:lnTo>
                    <a:lnTo>
                      <a:pt x="19710" y="4918"/>
                    </a:lnTo>
                    <a:lnTo>
                      <a:pt x="19668" y="4771"/>
                    </a:lnTo>
                    <a:lnTo>
                      <a:pt x="19668" y="4666"/>
                    </a:lnTo>
                    <a:lnTo>
                      <a:pt x="19710" y="4646"/>
                    </a:lnTo>
                    <a:lnTo>
                      <a:pt x="19773" y="4415"/>
                    </a:lnTo>
                    <a:lnTo>
                      <a:pt x="19689" y="4122"/>
                    </a:lnTo>
                    <a:lnTo>
                      <a:pt x="19647" y="3976"/>
                    </a:lnTo>
                    <a:lnTo>
                      <a:pt x="19689" y="3934"/>
                    </a:lnTo>
                    <a:lnTo>
                      <a:pt x="19606" y="3892"/>
                    </a:lnTo>
                    <a:lnTo>
                      <a:pt x="19543" y="3892"/>
                    </a:lnTo>
                    <a:lnTo>
                      <a:pt x="19438" y="3662"/>
                    </a:lnTo>
                    <a:lnTo>
                      <a:pt x="19438" y="3369"/>
                    </a:lnTo>
                    <a:lnTo>
                      <a:pt x="19459" y="3348"/>
                    </a:lnTo>
                    <a:lnTo>
                      <a:pt x="19459" y="3265"/>
                    </a:lnTo>
                    <a:lnTo>
                      <a:pt x="19396" y="3202"/>
                    </a:lnTo>
                    <a:lnTo>
                      <a:pt x="19375" y="2846"/>
                    </a:lnTo>
                    <a:lnTo>
                      <a:pt x="19438" y="2762"/>
                    </a:lnTo>
                    <a:lnTo>
                      <a:pt x="19375" y="2637"/>
                    </a:lnTo>
                    <a:lnTo>
                      <a:pt x="19438" y="2616"/>
                    </a:lnTo>
                    <a:lnTo>
                      <a:pt x="19438" y="2532"/>
                    </a:lnTo>
                    <a:lnTo>
                      <a:pt x="19250" y="2323"/>
                    </a:lnTo>
                    <a:lnTo>
                      <a:pt x="19124" y="2260"/>
                    </a:lnTo>
                    <a:lnTo>
                      <a:pt x="19145" y="2218"/>
                    </a:lnTo>
                    <a:lnTo>
                      <a:pt x="19020" y="2093"/>
                    </a:lnTo>
                    <a:lnTo>
                      <a:pt x="18915" y="2156"/>
                    </a:lnTo>
                    <a:lnTo>
                      <a:pt x="18852" y="2114"/>
                    </a:lnTo>
                    <a:lnTo>
                      <a:pt x="18769" y="2239"/>
                    </a:lnTo>
                    <a:lnTo>
                      <a:pt x="18706" y="2239"/>
                    </a:lnTo>
                    <a:lnTo>
                      <a:pt x="18559" y="2051"/>
                    </a:lnTo>
                    <a:lnTo>
                      <a:pt x="18601" y="1988"/>
                    </a:lnTo>
                    <a:lnTo>
                      <a:pt x="18517" y="1800"/>
                    </a:lnTo>
                    <a:lnTo>
                      <a:pt x="18538" y="1591"/>
                    </a:lnTo>
                    <a:lnTo>
                      <a:pt x="18517" y="1319"/>
                    </a:lnTo>
                    <a:lnTo>
                      <a:pt x="18497" y="1361"/>
                    </a:lnTo>
                    <a:lnTo>
                      <a:pt x="18434" y="1256"/>
                    </a:lnTo>
                    <a:lnTo>
                      <a:pt x="18497" y="1151"/>
                    </a:lnTo>
                    <a:lnTo>
                      <a:pt x="18413" y="1047"/>
                    </a:lnTo>
                    <a:lnTo>
                      <a:pt x="18392" y="942"/>
                    </a:lnTo>
                    <a:lnTo>
                      <a:pt x="18329" y="900"/>
                    </a:lnTo>
                    <a:lnTo>
                      <a:pt x="18329" y="754"/>
                    </a:lnTo>
                    <a:lnTo>
                      <a:pt x="18413" y="670"/>
                    </a:lnTo>
                    <a:lnTo>
                      <a:pt x="18329" y="649"/>
                    </a:lnTo>
                    <a:lnTo>
                      <a:pt x="18225" y="670"/>
                    </a:lnTo>
                    <a:lnTo>
                      <a:pt x="18141" y="586"/>
                    </a:lnTo>
                    <a:lnTo>
                      <a:pt x="18204" y="314"/>
                    </a:lnTo>
                    <a:lnTo>
                      <a:pt x="18183" y="252"/>
                    </a:lnTo>
                    <a:lnTo>
                      <a:pt x="18120" y="105"/>
                    </a:lnTo>
                    <a:lnTo>
                      <a:pt x="18015" y="63"/>
                    </a:lnTo>
                    <a:lnTo>
                      <a:pt x="1801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296" name="Google Shape;5962;p93">
                <a:extLst>
                  <a:ext uri="{FF2B5EF4-FFF2-40B4-BE49-F238E27FC236}">
                    <a16:creationId xmlns:a16="http://schemas.microsoft.com/office/drawing/2014/main" id="{A5288DE8-6CFA-428B-B6ED-5146197F7016}"/>
                  </a:ext>
                </a:extLst>
              </p:cNvPr>
              <p:cNvSpPr/>
              <p:nvPr/>
            </p:nvSpPr>
            <p:spPr>
              <a:xfrm>
                <a:off x="5683950" y="3957275"/>
                <a:ext cx="54950" cy="71175"/>
              </a:xfrm>
              <a:custGeom>
                <a:avLst/>
                <a:gdLst/>
                <a:ahLst/>
                <a:cxnLst/>
                <a:rect l="l" t="t" r="r" b="b"/>
                <a:pathLst>
                  <a:path w="2198" h="2847" extrusionOk="0">
                    <a:moveTo>
                      <a:pt x="168" y="1"/>
                    </a:moveTo>
                    <a:lnTo>
                      <a:pt x="126" y="64"/>
                    </a:lnTo>
                    <a:lnTo>
                      <a:pt x="126" y="189"/>
                    </a:lnTo>
                    <a:lnTo>
                      <a:pt x="105" y="210"/>
                    </a:lnTo>
                    <a:lnTo>
                      <a:pt x="105" y="336"/>
                    </a:lnTo>
                    <a:lnTo>
                      <a:pt x="126" y="587"/>
                    </a:lnTo>
                    <a:lnTo>
                      <a:pt x="105" y="733"/>
                    </a:lnTo>
                    <a:lnTo>
                      <a:pt x="126" y="1005"/>
                    </a:lnTo>
                    <a:lnTo>
                      <a:pt x="168" y="1214"/>
                    </a:lnTo>
                    <a:lnTo>
                      <a:pt x="126" y="1361"/>
                    </a:lnTo>
                    <a:lnTo>
                      <a:pt x="189" y="1382"/>
                    </a:lnTo>
                    <a:lnTo>
                      <a:pt x="189" y="1466"/>
                    </a:lnTo>
                    <a:lnTo>
                      <a:pt x="294" y="1570"/>
                    </a:lnTo>
                    <a:lnTo>
                      <a:pt x="168" y="1570"/>
                    </a:lnTo>
                    <a:lnTo>
                      <a:pt x="64" y="1466"/>
                    </a:lnTo>
                    <a:lnTo>
                      <a:pt x="1" y="1570"/>
                    </a:lnTo>
                    <a:lnTo>
                      <a:pt x="1" y="1779"/>
                    </a:lnTo>
                    <a:lnTo>
                      <a:pt x="85" y="1842"/>
                    </a:lnTo>
                    <a:lnTo>
                      <a:pt x="64" y="1884"/>
                    </a:lnTo>
                    <a:lnTo>
                      <a:pt x="64" y="2198"/>
                    </a:lnTo>
                    <a:lnTo>
                      <a:pt x="105" y="2261"/>
                    </a:lnTo>
                    <a:lnTo>
                      <a:pt x="85" y="2303"/>
                    </a:lnTo>
                    <a:lnTo>
                      <a:pt x="105" y="2470"/>
                    </a:lnTo>
                    <a:lnTo>
                      <a:pt x="210" y="2491"/>
                    </a:lnTo>
                    <a:lnTo>
                      <a:pt x="168" y="2575"/>
                    </a:lnTo>
                    <a:lnTo>
                      <a:pt x="168" y="2700"/>
                    </a:lnTo>
                    <a:lnTo>
                      <a:pt x="210" y="2721"/>
                    </a:lnTo>
                    <a:lnTo>
                      <a:pt x="315" y="2700"/>
                    </a:lnTo>
                    <a:lnTo>
                      <a:pt x="398" y="2784"/>
                    </a:lnTo>
                    <a:lnTo>
                      <a:pt x="503" y="2637"/>
                    </a:lnTo>
                    <a:lnTo>
                      <a:pt x="503" y="2742"/>
                    </a:lnTo>
                    <a:lnTo>
                      <a:pt x="545" y="2847"/>
                    </a:lnTo>
                    <a:lnTo>
                      <a:pt x="649" y="2847"/>
                    </a:lnTo>
                    <a:lnTo>
                      <a:pt x="754" y="2700"/>
                    </a:lnTo>
                    <a:lnTo>
                      <a:pt x="796" y="2595"/>
                    </a:lnTo>
                    <a:lnTo>
                      <a:pt x="838" y="2407"/>
                    </a:lnTo>
                    <a:lnTo>
                      <a:pt x="921" y="2491"/>
                    </a:lnTo>
                    <a:lnTo>
                      <a:pt x="942" y="2428"/>
                    </a:lnTo>
                    <a:lnTo>
                      <a:pt x="1047" y="2365"/>
                    </a:lnTo>
                    <a:lnTo>
                      <a:pt x="1110" y="2219"/>
                    </a:lnTo>
                    <a:lnTo>
                      <a:pt x="1110" y="2365"/>
                    </a:lnTo>
                    <a:lnTo>
                      <a:pt x="1173" y="2386"/>
                    </a:lnTo>
                    <a:lnTo>
                      <a:pt x="1235" y="2282"/>
                    </a:lnTo>
                    <a:lnTo>
                      <a:pt x="1340" y="2261"/>
                    </a:lnTo>
                    <a:lnTo>
                      <a:pt x="1382" y="2303"/>
                    </a:lnTo>
                    <a:lnTo>
                      <a:pt x="1361" y="2407"/>
                    </a:lnTo>
                    <a:lnTo>
                      <a:pt x="1256" y="2365"/>
                    </a:lnTo>
                    <a:lnTo>
                      <a:pt x="1256" y="2512"/>
                    </a:lnTo>
                    <a:lnTo>
                      <a:pt x="1361" y="2470"/>
                    </a:lnTo>
                    <a:lnTo>
                      <a:pt x="1424" y="2491"/>
                    </a:lnTo>
                    <a:lnTo>
                      <a:pt x="1549" y="2303"/>
                    </a:lnTo>
                    <a:lnTo>
                      <a:pt x="1549" y="2219"/>
                    </a:lnTo>
                    <a:lnTo>
                      <a:pt x="1466" y="2177"/>
                    </a:lnTo>
                    <a:lnTo>
                      <a:pt x="1549" y="2072"/>
                    </a:lnTo>
                    <a:lnTo>
                      <a:pt x="1549" y="1947"/>
                    </a:lnTo>
                    <a:lnTo>
                      <a:pt x="1633" y="1947"/>
                    </a:lnTo>
                    <a:lnTo>
                      <a:pt x="1675" y="1884"/>
                    </a:lnTo>
                    <a:lnTo>
                      <a:pt x="1675" y="1633"/>
                    </a:lnTo>
                    <a:lnTo>
                      <a:pt x="1758" y="1570"/>
                    </a:lnTo>
                    <a:lnTo>
                      <a:pt x="1800" y="1466"/>
                    </a:lnTo>
                    <a:lnTo>
                      <a:pt x="1842" y="1633"/>
                    </a:lnTo>
                    <a:lnTo>
                      <a:pt x="1863" y="1696"/>
                    </a:lnTo>
                    <a:lnTo>
                      <a:pt x="1905" y="1570"/>
                    </a:lnTo>
                    <a:lnTo>
                      <a:pt x="1905" y="1466"/>
                    </a:lnTo>
                    <a:lnTo>
                      <a:pt x="1947" y="1424"/>
                    </a:lnTo>
                    <a:lnTo>
                      <a:pt x="1905" y="1256"/>
                    </a:lnTo>
                    <a:lnTo>
                      <a:pt x="1989" y="1131"/>
                    </a:lnTo>
                    <a:lnTo>
                      <a:pt x="1989" y="922"/>
                    </a:lnTo>
                    <a:lnTo>
                      <a:pt x="2093" y="796"/>
                    </a:lnTo>
                    <a:lnTo>
                      <a:pt x="2156" y="503"/>
                    </a:lnTo>
                    <a:lnTo>
                      <a:pt x="2198" y="398"/>
                    </a:lnTo>
                    <a:lnTo>
                      <a:pt x="2072" y="294"/>
                    </a:lnTo>
                    <a:lnTo>
                      <a:pt x="1947" y="294"/>
                    </a:lnTo>
                    <a:lnTo>
                      <a:pt x="1947" y="315"/>
                    </a:lnTo>
                    <a:lnTo>
                      <a:pt x="1884" y="419"/>
                    </a:lnTo>
                    <a:lnTo>
                      <a:pt x="1863" y="398"/>
                    </a:lnTo>
                    <a:lnTo>
                      <a:pt x="1800" y="398"/>
                    </a:lnTo>
                    <a:lnTo>
                      <a:pt x="1738" y="440"/>
                    </a:lnTo>
                    <a:lnTo>
                      <a:pt x="1675" y="503"/>
                    </a:lnTo>
                    <a:lnTo>
                      <a:pt x="1340" y="482"/>
                    </a:lnTo>
                    <a:lnTo>
                      <a:pt x="1256" y="524"/>
                    </a:lnTo>
                    <a:lnTo>
                      <a:pt x="1256" y="629"/>
                    </a:lnTo>
                    <a:lnTo>
                      <a:pt x="1173" y="545"/>
                    </a:lnTo>
                    <a:lnTo>
                      <a:pt x="1068" y="545"/>
                    </a:lnTo>
                    <a:lnTo>
                      <a:pt x="1005" y="608"/>
                    </a:lnTo>
                    <a:lnTo>
                      <a:pt x="901" y="524"/>
                    </a:lnTo>
                    <a:lnTo>
                      <a:pt x="733" y="398"/>
                    </a:lnTo>
                    <a:lnTo>
                      <a:pt x="524" y="294"/>
                    </a:lnTo>
                    <a:lnTo>
                      <a:pt x="524" y="106"/>
                    </a:lnTo>
                    <a:lnTo>
                      <a:pt x="482" y="168"/>
                    </a:lnTo>
                    <a:lnTo>
                      <a:pt x="440" y="210"/>
                    </a:lnTo>
                    <a:lnTo>
                      <a:pt x="377" y="126"/>
                    </a:lnTo>
                    <a:lnTo>
                      <a:pt x="273" y="85"/>
                    </a:lnTo>
                    <a:lnTo>
                      <a:pt x="16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6" name="Google Shape;5963;p93">
              <a:extLst>
                <a:ext uri="{FF2B5EF4-FFF2-40B4-BE49-F238E27FC236}">
                  <a16:creationId xmlns:a16="http://schemas.microsoft.com/office/drawing/2014/main" id="{F24BFC80-C0B9-48A2-8FCB-83C8FF5EFA5C}"/>
                </a:ext>
              </a:extLst>
            </p:cNvPr>
            <p:cNvGrpSpPr/>
            <p:nvPr/>
          </p:nvGrpSpPr>
          <p:grpSpPr>
            <a:xfrm>
              <a:off x="4824403" y="3421846"/>
              <a:ext cx="110132" cy="130647"/>
              <a:chOff x="5952300" y="3852150"/>
              <a:chExt cx="231225" cy="287200"/>
            </a:xfrm>
          </p:grpSpPr>
          <p:sp>
            <p:nvSpPr>
              <p:cNvPr id="1293" name="Google Shape;5964;p93">
                <a:extLst>
                  <a:ext uri="{FF2B5EF4-FFF2-40B4-BE49-F238E27FC236}">
                    <a16:creationId xmlns:a16="http://schemas.microsoft.com/office/drawing/2014/main" id="{2C155F29-059C-4BCB-A386-526285C2AF69}"/>
                  </a:ext>
                </a:extLst>
              </p:cNvPr>
              <p:cNvSpPr/>
              <p:nvPr/>
            </p:nvSpPr>
            <p:spPr>
              <a:xfrm>
                <a:off x="5952300" y="3996525"/>
                <a:ext cx="145450" cy="142825"/>
              </a:xfrm>
              <a:custGeom>
                <a:avLst/>
                <a:gdLst/>
                <a:ahLst/>
                <a:cxnLst/>
                <a:rect l="l" t="t" r="r" b="b"/>
                <a:pathLst>
                  <a:path w="5818" h="5713" extrusionOk="0">
                    <a:moveTo>
                      <a:pt x="5064" y="0"/>
                    </a:moveTo>
                    <a:lnTo>
                      <a:pt x="4918" y="105"/>
                    </a:lnTo>
                    <a:lnTo>
                      <a:pt x="4834" y="126"/>
                    </a:lnTo>
                    <a:lnTo>
                      <a:pt x="4729" y="209"/>
                    </a:lnTo>
                    <a:lnTo>
                      <a:pt x="4729" y="377"/>
                    </a:lnTo>
                    <a:lnTo>
                      <a:pt x="4625" y="628"/>
                    </a:lnTo>
                    <a:lnTo>
                      <a:pt x="4520" y="753"/>
                    </a:lnTo>
                    <a:lnTo>
                      <a:pt x="4457" y="774"/>
                    </a:lnTo>
                    <a:lnTo>
                      <a:pt x="4332" y="942"/>
                    </a:lnTo>
                    <a:lnTo>
                      <a:pt x="4290" y="1025"/>
                    </a:lnTo>
                    <a:lnTo>
                      <a:pt x="4185" y="1067"/>
                    </a:lnTo>
                    <a:lnTo>
                      <a:pt x="4081" y="1046"/>
                    </a:lnTo>
                    <a:lnTo>
                      <a:pt x="3976" y="1130"/>
                    </a:lnTo>
                    <a:lnTo>
                      <a:pt x="3934" y="1235"/>
                    </a:lnTo>
                    <a:lnTo>
                      <a:pt x="3934" y="1339"/>
                    </a:lnTo>
                    <a:lnTo>
                      <a:pt x="3892" y="1360"/>
                    </a:lnTo>
                    <a:lnTo>
                      <a:pt x="3788" y="1465"/>
                    </a:lnTo>
                    <a:lnTo>
                      <a:pt x="3788" y="1590"/>
                    </a:lnTo>
                    <a:lnTo>
                      <a:pt x="3725" y="1674"/>
                    </a:lnTo>
                    <a:lnTo>
                      <a:pt x="3704" y="1758"/>
                    </a:lnTo>
                    <a:lnTo>
                      <a:pt x="3495" y="2009"/>
                    </a:lnTo>
                    <a:lnTo>
                      <a:pt x="3286" y="2176"/>
                    </a:lnTo>
                    <a:lnTo>
                      <a:pt x="3160" y="2197"/>
                    </a:lnTo>
                    <a:lnTo>
                      <a:pt x="2993" y="2281"/>
                    </a:lnTo>
                    <a:lnTo>
                      <a:pt x="2993" y="2344"/>
                    </a:lnTo>
                    <a:lnTo>
                      <a:pt x="2888" y="2344"/>
                    </a:lnTo>
                    <a:lnTo>
                      <a:pt x="2679" y="2469"/>
                    </a:lnTo>
                    <a:lnTo>
                      <a:pt x="2512" y="2616"/>
                    </a:lnTo>
                    <a:lnTo>
                      <a:pt x="2407" y="2637"/>
                    </a:lnTo>
                    <a:lnTo>
                      <a:pt x="2198" y="2783"/>
                    </a:lnTo>
                    <a:lnTo>
                      <a:pt x="2156" y="2846"/>
                    </a:lnTo>
                    <a:lnTo>
                      <a:pt x="2219" y="2929"/>
                    </a:lnTo>
                    <a:lnTo>
                      <a:pt x="2219" y="3055"/>
                    </a:lnTo>
                    <a:lnTo>
                      <a:pt x="2114" y="2950"/>
                    </a:lnTo>
                    <a:lnTo>
                      <a:pt x="2093" y="2929"/>
                    </a:lnTo>
                    <a:lnTo>
                      <a:pt x="1988" y="2950"/>
                    </a:lnTo>
                    <a:lnTo>
                      <a:pt x="1884" y="2992"/>
                    </a:lnTo>
                    <a:lnTo>
                      <a:pt x="1821" y="2950"/>
                    </a:lnTo>
                    <a:lnTo>
                      <a:pt x="1737" y="2950"/>
                    </a:lnTo>
                    <a:lnTo>
                      <a:pt x="1570" y="3118"/>
                    </a:lnTo>
                    <a:lnTo>
                      <a:pt x="1507" y="3201"/>
                    </a:lnTo>
                    <a:lnTo>
                      <a:pt x="1361" y="3327"/>
                    </a:lnTo>
                    <a:lnTo>
                      <a:pt x="1277" y="3348"/>
                    </a:lnTo>
                    <a:lnTo>
                      <a:pt x="1172" y="3453"/>
                    </a:lnTo>
                    <a:lnTo>
                      <a:pt x="1151" y="3620"/>
                    </a:lnTo>
                    <a:lnTo>
                      <a:pt x="1110" y="3536"/>
                    </a:lnTo>
                    <a:lnTo>
                      <a:pt x="1068" y="3473"/>
                    </a:lnTo>
                    <a:lnTo>
                      <a:pt x="1005" y="3557"/>
                    </a:lnTo>
                    <a:lnTo>
                      <a:pt x="942" y="3620"/>
                    </a:lnTo>
                    <a:lnTo>
                      <a:pt x="942" y="3746"/>
                    </a:lnTo>
                    <a:lnTo>
                      <a:pt x="879" y="3787"/>
                    </a:lnTo>
                    <a:lnTo>
                      <a:pt x="838" y="3766"/>
                    </a:lnTo>
                    <a:lnTo>
                      <a:pt x="670" y="3955"/>
                    </a:lnTo>
                    <a:lnTo>
                      <a:pt x="628" y="3955"/>
                    </a:lnTo>
                    <a:lnTo>
                      <a:pt x="566" y="4038"/>
                    </a:lnTo>
                    <a:lnTo>
                      <a:pt x="566" y="4206"/>
                    </a:lnTo>
                    <a:lnTo>
                      <a:pt x="524" y="4269"/>
                    </a:lnTo>
                    <a:lnTo>
                      <a:pt x="461" y="4164"/>
                    </a:lnTo>
                    <a:lnTo>
                      <a:pt x="419" y="4164"/>
                    </a:lnTo>
                    <a:lnTo>
                      <a:pt x="377" y="4206"/>
                    </a:lnTo>
                    <a:lnTo>
                      <a:pt x="335" y="4248"/>
                    </a:lnTo>
                    <a:lnTo>
                      <a:pt x="252" y="4415"/>
                    </a:lnTo>
                    <a:lnTo>
                      <a:pt x="252" y="4478"/>
                    </a:lnTo>
                    <a:lnTo>
                      <a:pt x="335" y="4582"/>
                    </a:lnTo>
                    <a:lnTo>
                      <a:pt x="377" y="4624"/>
                    </a:lnTo>
                    <a:lnTo>
                      <a:pt x="335" y="4666"/>
                    </a:lnTo>
                    <a:lnTo>
                      <a:pt x="252" y="4666"/>
                    </a:lnTo>
                    <a:lnTo>
                      <a:pt x="126" y="4687"/>
                    </a:lnTo>
                    <a:lnTo>
                      <a:pt x="1" y="4813"/>
                    </a:lnTo>
                    <a:lnTo>
                      <a:pt x="43" y="4834"/>
                    </a:lnTo>
                    <a:lnTo>
                      <a:pt x="126" y="4834"/>
                    </a:lnTo>
                    <a:lnTo>
                      <a:pt x="43" y="4896"/>
                    </a:lnTo>
                    <a:lnTo>
                      <a:pt x="43" y="5001"/>
                    </a:lnTo>
                    <a:lnTo>
                      <a:pt x="126" y="5085"/>
                    </a:lnTo>
                    <a:lnTo>
                      <a:pt x="168" y="5106"/>
                    </a:lnTo>
                    <a:lnTo>
                      <a:pt x="315" y="5106"/>
                    </a:lnTo>
                    <a:lnTo>
                      <a:pt x="335" y="5147"/>
                    </a:lnTo>
                    <a:lnTo>
                      <a:pt x="356" y="5147"/>
                    </a:lnTo>
                    <a:lnTo>
                      <a:pt x="377" y="5085"/>
                    </a:lnTo>
                    <a:lnTo>
                      <a:pt x="440" y="5085"/>
                    </a:lnTo>
                    <a:lnTo>
                      <a:pt x="524" y="5126"/>
                    </a:lnTo>
                    <a:lnTo>
                      <a:pt x="566" y="5210"/>
                    </a:lnTo>
                    <a:lnTo>
                      <a:pt x="545" y="5252"/>
                    </a:lnTo>
                    <a:lnTo>
                      <a:pt x="587" y="5315"/>
                    </a:lnTo>
                    <a:lnTo>
                      <a:pt x="670" y="5315"/>
                    </a:lnTo>
                    <a:lnTo>
                      <a:pt x="733" y="5336"/>
                    </a:lnTo>
                    <a:lnTo>
                      <a:pt x="754" y="5461"/>
                    </a:lnTo>
                    <a:lnTo>
                      <a:pt x="859" y="5545"/>
                    </a:lnTo>
                    <a:lnTo>
                      <a:pt x="942" y="5608"/>
                    </a:lnTo>
                    <a:lnTo>
                      <a:pt x="838" y="5670"/>
                    </a:lnTo>
                    <a:lnTo>
                      <a:pt x="879" y="5670"/>
                    </a:lnTo>
                    <a:lnTo>
                      <a:pt x="1005" y="5629"/>
                    </a:lnTo>
                    <a:lnTo>
                      <a:pt x="1005" y="5670"/>
                    </a:lnTo>
                    <a:lnTo>
                      <a:pt x="1110" y="5712"/>
                    </a:lnTo>
                    <a:lnTo>
                      <a:pt x="1256" y="5670"/>
                    </a:lnTo>
                    <a:lnTo>
                      <a:pt x="1465" y="5608"/>
                    </a:lnTo>
                    <a:lnTo>
                      <a:pt x="1612" y="5461"/>
                    </a:lnTo>
                    <a:lnTo>
                      <a:pt x="1737" y="5419"/>
                    </a:lnTo>
                    <a:lnTo>
                      <a:pt x="1737" y="5357"/>
                    </a:lnTo>
                    <a:lnTo>
                      <a:pt x="1716" y="5252"/>
                    </a:lnTo>
                    <a:lnTo>
                      <a:pt x="1800" y="5315"/>
                    </a:lnTo>
                    <a:lnTo>
                      <a:pt x="1779" y="5398"/>
                    </a:lnTo>
                    <a:lnTo>
                      <a:pt x="1905" y="5336"/>
                    </a:lnTo>
                    <a:lnTo>
                      <a:pt x="1926" y="5210"/>
                    </a:lnTo>
                    <a:lnTo>
                      <a:pt x="2009" y="5106"/>
                    </a:lnTo>
                    <a:lnTo>
                      <a:pt x="2198" y="5022"/>
                    </a:lnTo>
                    <a:lnTo>
                      <a:pt x="2323" y="5022"/>
                    </a:lnTo>
                    <a:lnTo>
                      <a:pt x="2365" y="5001"/>
                    </a:lnTo>
                    <a:lnTo>
                      <a:pt x="2365" y="4959"/>
                    </a:lnTo>
                    <a:lnTo>
                      <a:pt x="2260" y="4959"/>
                    </a:lnTo>
                    <a:lnTo>
                      <a:pt x="2323" y="4938"/>
                    </a:lnTo>
                    <a:lnTo>
                      <a:pt x="2344" y="4917"/>
                    </a:lnTo>
                    <a:lnTo>
                      <a:pt x="2323" y="4896"/>
                    </a:lnTo>
                    <a:lnTo>
                      <a:pt x="2449" y="4729"/>
                    </a:lnTo>
                    <a:lnTo>
                      <a:pt x="2532" y="4582"/>
                    </a:lnTo>
                    <a:lnTo>
                      <a:pt x="2574" y="4415"/>
                    </a:lnTo>
                    <a:lnTo>
                      <a:pt x="2658" y="4310"/>
                    </a:lnTo>
                    <a:lnTo>
                      <a:pt x="2930" y="4143"/>
                    </a:lnTo>
                    <a:lnTo>
                      <a:pt x="2972" y="4038"/>
                    </a:lnTo>
                    <a:lnTo>
                      <a:pt x="2993" y="3913"/>
                    </a:lnTo>
                    <a:lnTo>
                      <a:pt x="3097" y="3746"/>
                    </a:lnTo>
                    <a:lnTo>
                      <a:pt x="3160" y="3641"/>
                    </a:lnTo>
                    <a:lnTo>
                      <a:pt x="3181" y="3536"/>
                    </a:lnTo>
                    <a:lnTo>
                      <a:pt x="3265" y="3432"/>
                    </a:lnTo>
                    <a:lnTo>
                      <a:pt x="3369" y="3369"/>
                    </a:lnTo>
                    <a:lnTo>
                      <a:pt x="3390" y="3264"/>
                    </a:lnTo>
                    <a:lnTo>
                      <a:pt x="3474" y="3348"/>
                    </a:lnTo>
                    <a:lnTo>
                      <a:pt x="3516" y="3348"/>
                    </a:lnTo>
                    <a:lnTo>
                      <a:pt x="3558" y="3243"/>
                    </a:lnTo>
                    <a:lnTo>
                      <a:pt x="3662" y="3243"/>
                    </a:lnTo>
                    <a:lnTo>
                      <a:pt x="3725" y="3222"/>
                    </a:lnTo>
                    <a:lnTo>
                      <a:pt x="3788" y="3139"/>
                    </a:lnTo>
                    <a:lnTo>
                      <a:pt x="3788" y="3034"/>
                    </a:lnTo>
                    <a:lnTo>
                      <a:pt x="3704" y="2950"/>
                    </a:lnTo>
                    <a:lnTo>
                      <a:pt x="3704" y="2950"/>
                    </a:lnTo>
                    <a:lnTo>
                      <a:pt x="3809" y="3013"/>
                    </a:lnTo>
                    <a:lnTo>
                      <a:pt x="3830" y="3139"/>
                    </a:lnTo>
                    <a:lnTo>
                      <a:pt x="3892" y="3139"/>
                    </a:lnTo>
                    <a:lnTo>
                      <a:pt x="3976" y="3118"/>
                    </a:lnTo>
                    <a:lnTo>
                      <a:pt x="3976" y="3055"/>
                    </a:lnTo>
                    <a:lnTo>
                      <a:pt x="4039" y="3013"/>
                    </a:lnTo>
                    <a:lnTo>
                      <a:pt x="4123" y="3034"/>
                    </a:lnTo>
                    <a:lnTo>
                      <a:pt x="4123" y="3097"/>
                    </a:lnTo>
                    <a:lnTo>
                      <a:pt x="4018" y="3139"/>
                    </a:lnTo>
                    <a:lnTo>
                      <a:pt x="4123" y="3139"/>
                    </a:lnTo>
                    <a:lnTo>
                      <a:pt x="4227" y="3160"/>
                    </a:lnTo>
                    <a:lnTo>
                      <a:pt x="4248" y="3118"/>
                    </a:lnTo>
                    <a:lnTo>
                      <a:pt x="4248" y="3034"/>
                    </a:lnTo>
                    <a:lnTo>
                      <a:pt x="4290" y="2992"/>
                    </a:lnTo>
                    <a:lnTo>
                      <a:pt x="4311" y="3013"/>
                    </a:lnTo>
                    <a:lnTo>
                      <a:pt x="4311" y="3139"/>
                    </a:lnTo>
                    <a:lnTo>
                      <a:pt x="4332" y="3160"/>
                    </a:lnTo>
                    <a:lnTo>
                      <a:pt x="4395" y="3118"/>
                    </a:lnTo>
                    <a:lnTo>
                      <a:pt x="4416" y="2950"/>
                    </a:lnTo>
                    <a:lnTo>
                      <a:pt x="4353" y="2867"/>
                    </a:lnTo>
                    <a:lnTo>
                      <a:pt x="4290" y="2867"/>
                    </a:lnTo>
                    <a:lnTo>
                      <a:pt x="4311" y="2825"/>
                    </a:lnTo>
                    <a:lnTo>
                      <a:pt x="4311" y="2699"/>
                    </a:lnTo>
                    <a:lnTo>
                      <a:pt x="4332" y="2511"/>
                    </a:lnTo>
                    <a:lnTo>
                      <a:pt x="4416" y="2490"/>
                    </a:lnTo>
                    <a:lnTo>
                      <a:pt x="4562" y="2427"/>
                    </a:lnTo>
                    <a:lnTo>
                      <a:pt x="4750" y="2323"/>
                    </a:lnTo>
                    <a:lnTo>
                      <a:pt x="4771" y="2260"/>
                    </a:lnTo>
                    <a:lnTo>
                      <a:pt x="4918" y="2093"/>
                    </a:lnTo>
                    <a:lnTo>
                      <a:pt x="4918" y="1988"/>
                    </a:lnTo>
                    <a:lnTo>
                      <a:pt x="5043" y="1862"/>
                    </a:lnTo>
                    <a:lnTo>
                      <a:pt x="5127" y="1883"/>
                    </a:lnTo>
                    <a:lnTo>
                      <a:pt x="5127" y="1821"/>
                    </a:lnTo>
                    <a:lnTo>
                      <a:pt x="5336" y="1632"/>
                    </a:lnTo>
                    <a:lnTo>
                      <a:pt x="5336" y="1549"/>
                    </a:lnTo>
                    <a:lnTo>
                      <a:pt x="5650" y="1277"/>
                    </a:lnTo>
                    <a:lnTo>
                      <a:pt x="5755" y="1235"/>
                    </a:lnTo>
                    <a:lnTo>
                      <a:pt x="5692" y="1214"/>
                    </a:lnTo>
                    <a:lnTo>
                      <a:pt x="5671" y="1109"/>
                    </a:lnTo>
                    <a:lnTo>
                      <a:pt x="5608" y="1005"/>
                    </a:lnTo>
                    <a:lnTo>
                      <a:pt x="5650" y="900"/>
                    </a:lnTo>
                    <a:lnTo>
                      <a:pt x="5671" y="774"/>
                    </a:lnTo>
                    <a:lnTo>
                      <a:pt x="5692" y="816"/>
                    </a:lnTo>
                    <a:lnTo>
                      <a:pt x="5797" y="649"/>
                    </a:lnTo>
                    <a:lnTo>
                      <a:pt x="5713" y="691"/>
                    </a:lnTo>
                    <a:lnTo>
                      <a:pt x="5650" y="691"/>
                    </a:lnTo>
                    <a:lnTo>
                      <a:pt x="5755" y="628"/>
                    </a:lnTo>
                    <a:lnTo>
                      <a:pt x="5817" y="502"/>
                    </a:lnTo>
                    <a:lnTo>
                      <a:pt x="5797" y="502"/>
                    </a:lnTo>
                    <a:lnTo>
                      <a:pt x="5797" y="419"/>
                    </a:lnTo>
                    <a:lnTo>
                      <a:pt x="5713" y="419"/>
                    </a:lnTo>
                    <a:lnTo>
                      <a:pt x="5650" y="544"/>
                    </a:lnTo>
                    <a:lnTo>
                      <a:pt x="5671" y="586"/>
                    </a:lnTo>
                    <a:lnTo>
                      <a:pt x="5713" y="607"/>
                    </a:lnTo>
                    <a:lnTo>
                      <a:pt x="5608" y="649"/>
                    </a:lnTo>
                    <a:lnTo>
                      <a:pt x="5566" y="607"/>
                    </a:lnTo>
                    <a:lnTo>
                      <a:pt x="5566" y="544"/>
                    </a:lnTo>
                    <a:lnTo>
                      <a:pt x="5504" y="544"/>
                    </a:lnTo>
                    <a:lnTo>
                      <a:pt x="5441" y="523"/>
                    </a:lnTo>
                    <a:lnTo>
                      <a:pt x="5378" y="586"/>
                    </a:lnTo>
                    <a:lnTo>
                      <a:pt x="5294" y="691"/>
                    </a:lnTo>
                    <a:lnTo>
                      <a:pt x="5232" y="628"/>
                    </a:lnTo>
                    <a:lnTo>
                      <a:pt x="5169" y="481"/>
                    </a:lnTo>
                    <a:lnTo>
                      <a:pt x="5232" y="440"/>
                    </a:lnTo>
                    <a:lnTo>
                      <a:pt x="5273" y="377"/>
                    </a:lnTo>
                    <a:lnTo>
                      <a:pt x="5273" y="314"/>
                    </a:lnTo>
                    <a:lnTo>
                      <a:pt x="5252" y="293"/>
                    </a:lnTo>
                    <a:lnTo>
                      <a:pt x="5273" y="251"/>
                    </a:lnTo>
                    <a:lnTo>
                      <a:pt x="5232" y="209"/>
                    </a:lnTo>
                    <a:lnTo>
                      <a:pt x="5169" y="251"/>
                    </a:lnTo>
                    <a:lnTo>
                      <a:pt x="5127" y="230"/>
                    </a:lnTo>
                    <a:lnTo>
                      <a:pt x="5064" y="188"/>
                    </a:lnTo>
                    <a:lnTo>
                      <a:pt x="5085" y="105"/>
                    </a:lnTo>
                    <a:lnTo>
                      <a:pt x="516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4" name="Google Shape;5965;p93">
                <a:extLst>
                  <a:ext uri="{FF2B5EF4-FFF2-40B4-BE49-F238E27FC236}">
                    <a16:creationId xmlns:a16="http://schemas.microsoft.com/office/drawing/2014/main" id="{4DBC9587-3F22-4E84-A27D-BB3537E003F9}"/>
                  </a:ext>
                </a:extLst>
              </p:cNvPr>
              <p:cNvSpPr/>
              <p:nvPr/>
            </p:nvSpPr>
            <p:spPr>
              <a:xfrm>
                <a:off x="6101375" y="3852150"/>
                <a:ext cx="82150" cy="171075"/>
              </a:xfrm>
              <a:custGeom>
                <a:avLst/>
                <a:gdLst/>
                <a:ahLst/>
                <a:cxnLst/>
                <a:rect l="l" t="t" r="r" b="b"/>
                <a:pathLst>
                  <a:path w="3286" h="6843" extrusionOk="0">
                    <a:moveTo>
                      <a:pt x="880" y="0"/>
                    </a:moveTo>
                    <a:lnTo>
                      <a:pt x="796" y="21"/>
                    </a:lnTo>
                    <a:lnTo>
                      <a:pt x="650" y="21"/>
                    </a:lnTo>
                    <a:lnTo>
                      <a:pt x="650" y="42"/>
                    </a:lnTo>
                    <a:lnTo>
                      <a:pt x="733" y="126"/>
                    </a:lnTo>
                    <a:lnTo>
                      <a:pt x="859" y="440"/>
                    </a:lnTo>
                    <a:lnTo>
                      <a:pt x="859" y="544"/>
                    </a:lnTo>
                    <a:lnTo>
                      <a:pt x="859" y="733"/>
                    </a:lnTo>
                    <a:lnTo>
                      <a:pt x="796" y="774"/>
                    </a:lnTo>
                    <a:lnTo>
                      <a:pt x="754" y="774"/>
                    </a:lnTo>
                    <a:lnTo>
                      <a:pt x="754" y="795"/>
                    </a:lnTo>
                    <a:lnTo>
                      <a:pt x="796" y="1046"/>
                    </a:lnTo>
                    <a:lnTo>
                      <a:pt x="838" y="1067"/>
                    </a:lnTo>
                    <a:lnTo>
                      <a:pt x="942" y="1026"/>
                    </a:lnTo>
                    <a:lnTo>
                      <a:pt x="1047" y="1026"/>
                    </a:lnTo>
                    <a:lnTo>
                      <a:pt x="963" y="1046"/>
                    </a:lnTo>
                    <a:lnTo>
                      <a:pt x="880" y="1151"/>
                    </a:lnTo>
                    <a:lnTo>
                      <a:pt x="901" y="1277"/>
                    </a:lnTo>
                    <a:lnTo>
                      <a:pt x="984" y="1444"/>
                    </a:lnTo>
                    <a:lnTo>
                      <a:pt x="1005" y="1716"/>
                    </a:lnTo>
                    <a:lnTo>
                      <a:pt x="1005" y="1904"/>
                    </a:lnTo>
                    <a:lnTo>
                      <a:pt x="1005" y="2030"/>
                    </a:lnTo>
                    <a:lnTo>
                      <a:pt x="1068" y="2009"/>
                    </a:lnTo>
                    <a:lnTo>
                      <a:pt x="1089" y="1904"/>
                    </a:lnTo>
                    <a:lnTo>
                      <a:pt x="1068" y="1821"/>
                    </a:lnTo>
                    <a:lnTo>
                      <a:pt x="1089" y="1800"/>
                    </a:lnTo>
                    <a:lnTo>
                      <a:pt x="1152" y="1842"/>
                    </a:lnTo>
                    <a:lnTo>
                      <a:pt x="1152" y="1967"/>
                    </a:lnTo>
                    <a:lnTo>
                      <a:pt x="1194" y="1967"/>
                    </a:lnTo>
                    <a:lnTo>
                      <a:pt x="1214" y="1904"/>
                    </a:lnTo>
                    <a:lnTo>
                      <a:pt x="1194" y="1842"/>
                    </a:lnTo>
                    <a:lnTo>
                      <a:pt x="1214" y="1842"/>
                    </a:lnTo>
                    <a:lnTo>
                      <a:pt x="1256" y="1925"/>
                    </a:lnTo>
                    <a:lnTo>
                      <a:pt x="1173" y="2030"/>
                    </a:lnTo>
                    <a:lnTo>
                      <a:pt x="1152" y="2134"/>
                    </a:lnTo>
                    <a:lnTo>
                      <a:pt x="1152" y="2197"/>
                    </a:lnTo>
                    <a:lnTo>
                      <a:pt x="1110" y="2218"/>
                    </a:lnTo>
                    <a:lnTo>
                      <a:pt x="1068" y="2134"/>
                    </a:lnTo>
                    <a:lnTo>
                      <a:pt x="1005" y="2134"/>
                    </a:lnTo>
                    <a:lnTo>
                      <a:pt x="1047" y="2323"/>
                    </a:lnTo>
                    <a:lnTo>
                      <a:pt x="1110" y="2532"/>
                    </a:lnTo>
                    <a:lnTo>
                      <a:pt x="1173" y="2553"/>
                    </a:lnTo>
                    <a:lnTo>
                      <a:pt x="1194" y="2532"/>
                    </a:lnTo>
                    <a:lnTo>
                      <a:pt x="1256" y="2616"/>
                    </a:lnTo>
                    <a:lnTo>
                      <a:pt x="1256" y="2658"/>
                    </a:lnTo>
                    <a:lnTo>
                      <a:pt x="1298" y="2699"/>
                    </a:lnTo>
                    <a:lnTo>
                      <a:pt x="1194" y="2762"/>
                    </a:lnTo>
                    <a:lnTo>
                      <a:pt x="1194" y="2825"/>
                    </a:lnTo>
                    <a:lnTo>
                      <a:pt x="1214" y="2867"/>
                    </a:lnTo>
                    <a:lnTo>
                      <a:pt x="1194" y="2950"/>
                    </a:lnTo>
                    <a:lnTo>
                      <a:pt x="1110" y="3139"/>
                    </a:lnTo>
                    <a:lnTo>
                      <a:pt x="1152" y="3243"/>
                    </a:lnTo>
                    <a:lnTo>
                      <a:pt x="1089" y="3264"/>
                    </a:lnTo>
                    <a:lnTo>
                      <a:pt x="1173" y="3348"/>
                    </a:lnTo>
                    <a:lnTo>
                      <a:pt x="1152" y="3369"/>
                    </a:lnTo>
                    <a:lnTo>
                      <a:pt x="1068" y="3369"/>
                    </a:lnTo>
                    <a:lnTo>
                      <a:pt x="1005" y="3474"/>
                    </a:lnTo>
                    <a:lnTo>
                      <a:pt x="1005" y="3536"/>
                    </a:lnTo>
                    <a:lnTo>
                      <a:pt x="1068" y="3599"/>
                    </a:lnTo>
                    <a:lnTo>
                      <a:pt x="1005" y="3641"/>
                    </a:lnTo>
                    <a:lnTo>
                      <a:pt x="942" y="3641"/>
                    </a:lnTo>
                    <a:lnTo>
                      <a:pt x="880" y="3767"/>
                    </a:lnTo>
                    <a:lnTo>
                      <a:pt x="796" y="4164"/>
                    </a:lnTo>
                    <a:lnTo>
                      <a:pt x="796" y="4269"/>
                    </a:lnTo>
                    <a:lnTo>
                      <a:pt x="733" y="4331"/>
                    </a:lnTo>
                    <a:lnTo>
                      <a:pt x="629" y="4331"/>
                    </a:lnTo>
                    <a:lnTo>
                      <a:pt x="545" y="4290"/>
                    </a:lnTo>
                    <a:lnTo>
                      <a:pt x="419" y="4311"/>
                    </a:lnTo>
                    <a:lnTo>
                      <a:pt x="210" y="4415"/>
                    </a:lnTo>
                    <a:lnTo>
                      <a:pt x="106" y="4520"/>
                    </a:lnTo>
                    <a:lnTo>
                      <a:pt x="64" y="4645"/>
                    </a:lnTo>
                    <a:lnTo>
                      <a:pt x="106" y="4834"/>
                    </a:lnTo>
                    <a:lnTo>
                      <a:pt x="210" y="4917"/>
                    </a:lnTo>
                    <a:lnTo>
                      <a:pt x="357" y="5022"/>
                    </a:lnTo>
                    <a:lnTo>
                      <a:pt x="440" y="5168"/>
                    </a:lnTo>
                    <a:lnTo>
                      <a:pt x="587" y="5231"/>
                    </a:lnTo>
                    <a:lnTo>
                      <a:pt x="650" y="5273"/>
                    </a:lnTo>
                    <a:lnTo>
                      <a:pt x="670" y="5545"/>
                    </a:lnTo>
                    <a:lnTo>
                      <a:pt x="691" y="5566"/>
                    </a:lnTo>
                    <a:lnTo>
                      <a:pt x="670" y="5587"/>
                    </a:lnTo>
                    <a:lnTo>
                      <a:pt x="670" y="5733"/>
                    </a:lnTo>
                    <a:lnTo>
                      <a:pt x="629" y="5838"/>
                    </a:lnTo>
                    <a:lnTo>
                      <a:pt x="378" y="6110"/>
                    </a:lnTo>
                    <a:lnTo>
                      <a:pt x="231" y="6277"/>
                    </a:lnTo>
                    <a:lnTo>
                      <a:pt x="43" y="6424"/>
                    </a:lnTo>
                    <a:lnTo>
                      <a:pt x="1" y="6508"/>
                    </a:lnTo>
                    <a:lnTo>
                      <a:pt x="22" y="6549"/>
                    </a:lnTo>
                    <a:lnTo>
                      <a:pt x="126" y="6591"/>
                    </a:lnTo>
                    <a:lnTo>
                      <a:pt x="147" y="6528"/>
                    </a:lnTo>
                    <a:lnTo>
                      <a:pt x="210" y="6528"/>
                    </a:lnTo>
                    <a:lnTo>
                      <a:pt x="210" y="6612"/>
                    </a:lnTo>
                    <a:lnTo>
                      <a:pt x="210" y="6675"/>
                    </a:lnTo>
                    <a:lnTo>
                      <a:pt x="231" y="6696"/>
                    </a:lnTo>
                    <a:lnTo>
                      <a:pt x="273" y="6675"/>
                    </a:lnTo>
                    <a:lnTo>
                      <a:pt x="315" y="6717"/>
                    </a:lnTo>
                    <a:lnTo>
                      <a:pt x="315" y="6800"/>
                    </a:lnTo>
                    <a:lnTo>
                      <a:pt x="336" y="6842"/>
                    </a:lnTo>
                    <a:lnTo>
                      <a:pt x="419" y="6821"/>
                    </a:lnTo>
                    <a:lnTo>
                      <a:pt x="629" y="6675"/>
                    </a:lnTo>
                    <a:lnTo>
                      <a:pt x="796" y="6528"/>
                    </a:lnTo>
                    <a:lnTo>
                      <a:pt x="984" y="6361"/>
                    </a:lnTo>
                    <a:lnTo>
                      <a:pt x="1152" y="6173"/>
                    </a:lnTo>
                    <a:lnTo>
                      <a:pt x="1319" y="5901"/>
                    </a:lnTo>
                    <a:lnTo>
                      <a:pt x="1424" y="5859"/>
                    </a:lnTo>
                    <a:lnTo>
                      <a:pt x="1507" y="5859"/>
                    </a:lnTo>
                    <a:lnTo>
                      <a:pt x="1570" y="5775"/>
                    </a:lnTo>
                    <a:lnTo>
                      <a:pt x="1570" y="5691"/>
                    </a:lnTo>
                    <a:lnTo>
                      <a:pt x="1612" y="5650"/>
                    </a:lnTo>
                    <a:lnTo>
                      <a:pt x="1717" y="5587"/>
                    </a:lnTo>
                    <a:lnTo>
                      <a:pt x="1800" y="5357"/>
                    </a:lnTo>
                    <a:lnTo>
                      <a:pt x="1905" y="5210"/>
                    </a:lnTo>
                    <a:lnTo>
                      <a:pt x="1905" y="5147"/>
                    </a:lnTo>
                    <a:lnTo>
                      <a:pt x="1989" y="5106"/>
                    </a:lnTo>
                    <a:lnTo>
                      <a:pt x="1884" y="4980"/>
                    </a:lnTo>
                    <a:lnTo>
                      <a:pt x="1717" y="4980"/>
                    </a:lnTo>
                    <a:lnTo>
                      <a:pt x="1800" y="4938"/>
                    </a:lnTo>
                    <a:lnTo>
                      <a:pt x="1884" y="4917"/>
                    </a:lnTo>
                    <a:lnTo>
                      <a:pt x="2114" y="4624"/>
                    </a:lnTo>
                    <a:lnTo>
                      <a:pt x="2240" y="4603"/>
                    </a:lnTo>
                    <a:lnTo>
                      <a:pt x="2428" y="4624"/>
                    </a:lnTo>
                    <a:lnTo>
                      <a:pt x="2512" y="4624"/>
                    </a:lnTo>
                    <a:lnTo>
                      <a:pt x="2512" y="4708"/>
                    </a:lnTo>
                    <a:lnTo>
                      <a:pt x="2512" y="4792"/>
                    </a:lnTo>
                    <a:lnTo>
                      <a:pt x="2616" y="4708"/>
                    </a:lnTo>
                    <a:lnTo>
                      <a:pt x="2679" y="4645"/>
                    </a:lnTo>
                    <a:lnTo>
                      <a:pt x="2533" y="4603"/>
                    </a:lnTo>
                    <a:lnTo>
                      <a:pt x="2554" y="4499"/>
                    </a:lnTo>
                    <a:lnTo>
                      <a:pt x="2637" y="4311"/>
                    </a:lnTo>
                    <a:lnTo>
                      <a:pt x="2679" y="4227"/>
                    </a:lnTo>
                    <a:lnTo>
                      <a:pt x="2784" y="4227"/>
                    </a:lnTo>
                    <a:lnTo>
                      <a:pt x="2826" y="4290"/>
                    </a:lnTo>
                    <a:lnTo>
                      <a:pt x="2867" y="4227"/>
                    </a:lnTo>
                    <a:lnTo>
                      <a:pt x="2930" y="4122"/>
                    </a:lnTo>
                    <a:lnTo>
                      <a:pt x="3077" y="3892"/>
                    </a:lnTo>
                    <a:lnTo>
                      <a:pt x="3077" y="3808"/>
                    </a:lnTo>
                    <a:lnTo>
                      <a:pt x="3077" y="3746"/>
                    </a:lnTo>
                    <a:lnTo>
                      <a:pt x="3098" y="3599"/>
                    </a:lnTo>
                    <a:lnTo>
                      <a:pt x="3202" y="3495"/>
                    </a:lnTo>
                    <a:lnTo>
                      <a:pt x="3286" y="3453"/>
                    </a:lnTo>
                    <a:lnTo>
                      <a:pt x="3286" y="3411"/>
                    </a:lnTo>
                    <a:lnTo>
                      <a:pt x="3160" y="3369"/>
                    </a:lnTo>
                    <a:lnTo>
                      <a:pt x="3098" y="3285"/>
                    </a:lnTo>
                    <a:lnTo>
                      <a:pt x="3139" y="3285"/>
                    </a:lnTo>
                    <a:lnTo>
                      <a:pt x="3160" y="3243"/>
                    </a:lnTo>
                    <a:lnTo>
                      <a:pt x="3035" y="3222"/>
                    </a:lnTo>
                    <a:lnTo>
                      <a:pt x="2888" y="3327"/>
                    </a:lnTo>
                    <a:lnTo>
                      <a:pt x="2679" y="3536"/>
                    </a:lnTo>
                    <a:lnTo>
                      <a:pt x="2554" y="3536"/>
                    </a:lnTo>
                    <a:lnTo>
                      <a:pt x="2470" y="3578"/>
                    </a:lnTo>
                    <a:lnTo>
                      <a:pt x="2365" y="3536"/>
                    </a:lnTo>
                    <a:lnTo>
                      <a:pt x="2135" y="3285"/>
                    </a:lnTo>
                    <a:lnTo>
                      <a:pt x="2051" y="3285"/>
                    </a:lnTo>
                    <a:lnTo>
                      <a:pt x="1989" y="3181"/>
                    </a:lnTo>
                    <a:lnTo>
                      <a:pt x="1947" y="3118"/>
                    </a:lnTo>
                    <a:lnTo>
                      <a:pt x="2010" y="3034"/>
                    </a:lnTo>
                    <a:lnTo>
                      <a:pt x="2030" y="2888"/>
                    </a:lnTo>
                    <a:lnTo>
                      <a:pt x="1926" y="2720"/>
                    </a:lnTo>
                    <a:lnTo>
                      <a:pt x="1926" y="2637"/>
                    </a:lnTo>
                    <a:lnTo>
                      <a:pt x="1905" y="2595"/>
                    </a:lnTo>
                    <a:lnTo>
                      <a:pt x="1905" y="2448"/>
                    </a:lnTo>
                    <a:lnTo>
                      <a:pt x="1947" y="2365"/>
                    </a:lnTo>
                    <a:lnTo>
                      <a:pt x="1884" y="2365"/>
                    </a:lnTo>
                    <a:lnTo>
                      <a:pt x="1884" y="2239"/>
                    </a:lnTo>
                    <a:lnTo>
                      <a:pt x="1842" y="2176"/>
                    </a:lnTo>
                    <a:lnTo>
                      <a:pt x="1800" y="2197"/>
                    </a:lnTo>
                    <a:lnTo>
                      <a:pt x="1717" y="2134"/>
                    </a:lnTo>
                    <a:lnTo>
                      <a:pt x="1675" y="2197"/>
                    </a:lnTo>
                    <a:lnTo>
                      <a:pt x="1779" y="2281"/>
                    </a:lnTo>
                    <a:lnTo>
                      <a:pt x="1738" y="2365"/>
                    </a:lnTo>
                    <a:lnTo>
                      <a:pt x="1779" y="2427"/>
                    </a:lnTo>
                    <a:lnTo>
                      <a:pt x="1696" y="2511"/>
                    </a:lnTo>
                    <a:lnTo>
                      <a:pt x="1696" y="2595"/>
                    </a:lnTo>
                    <a:lnTo>
                      <a:pt x="1779" y="2699"/>
                    </a:lnTo>
                    <a:lnTo>
                      <a:pt x="1779" y="2741"/>
                    </a:lnTo>
                    <a:lnTo>
                      <a:pt x="1675" y="2762"/>
                    </a:lnTo>
                    <a:lnTo>
                      <a:pt x="1612" y="2720"/>
                    </a:lnTo>
                    <a:lnTo>
                      <a:pt x="1591" y="2616"/>
                    </a:lnTo>
                    <a:lnTo>
                      <a:pt x="1486" y="2595"/>
                    </a:lnTo>
                    <a:lnTo>
                      <a:pt x="1486" y="2532"/>
                    </a:lnTo>
                    <a:lnTo>
                      <a:pt x="1382" y="2511"/>
                    </a:lnTo>
                    <a:lnTo>
                      <a:pt x="1319" y="2511"/>
                    </a:lnTo>
                    <a:lnTo>
                      <a:pt x="1298" y="2448"/>
                    </a:lnTo>
                    <a:lnTo>
                      <a:pt x="1403" y="2406"/>
                    </a:lnTo>
                    <a:lnTo>
                      <a:pt x="1424" y="2323"/>
                    </a:lnTo>
                    <a:lnTo>
                      <a:pt x="1319" y="2239"/>
                    </a:lnTo>
                    <a:lnTo>
                      <a:pt x="1403" y="2114"/>
                    </a:lnTo>
                    <a:lnTo>
                      <a:pt x="1486" y="2093"/>
                    </a:lnTo>
                    <a:lnTo>
                      <a:pt x="1507" y="1988"/>
                    </a:lnTo>
                    <a:lnTo>
                      <a:pt x="1486" y="1904"/>
                    </a:lnTo>
                    <a:lnTo>
                      <a:pt x="1507" y="1821"/>
                    </a:lnTo>
                    <a:lnTo>
                      <a:pt x="1466" y="1758"/>
                    </a:lnTo>
                    <a:lnTo>
                      <a:pt x="1486" y="1611"/>
                    </a:lnTo>
                    <a:lnTo>
                      <a:pt x="1361" y="1507"/>
                    </a:lnTo>
                    <a:lnTo>
                      <a:pt x="1361" y="1465"/>
                    </a:lnTo>
                    <a:lnTo>
                      <a:pt x="1424" y="1507"/>
                    </a:lnTo>
                    <a:lnTo>
                      <a:pt x="1528" y="1486"/>
                    </a:lnTo>
                    <a:lnTo>
                      <a:pt x="1570" y="1360"/>
                    </a:lnTo>
                    <a:lnTo>
                      <a:pt x="1591" y="1318"/>
                    </a:lnTo>
                    <a:lnTo>
                      <a:pt x="1591" y="1151"/>
                    </a:lnTo>
                    <a:lnTo>
                      <a:pt x="1570" y="1026"/>
                    </a:lnTo>
                    <a:lnTo>
                      <a:pt x="1570" y="921"/>
                    </a:lnTo>
                    <a:lnTo>
                      <a:pt x="1507" y="942"/>
                    </a:lnTo>
                    <a:lnTo>
                      <a:pt x="1382" y="984"/>
                    </a:lnTo>
                    <a:lnTo>
                      <a:pt x="1277" y="879"/>
                    </a:lnTo>
                    <a:lnTo>
                      <a:pt x="1361" y="837"/>
                    </a:lnTo>
                    <a:lnTo>
                      <a:pt x="1277" y="774"/>
                    </a:lnTo>
                    <a:lnTo>
                      <a:pt x="1214" y="754"/>
                    </a:lnTo>
                    <a:lnTo>
                      <a:pt x="1277" y="712"/>
                    </a:lnTo>
                    <a:lnTo>
                      <a:pt x="1361" y="649"/>
                    </a:lnTo>
                    <a:lnTo>
                      <a:pt x="1361" y="607"/>
                    </a:lnTo>
                    <a:lnTo>
                      <a:pt x="1256" y="565"/>
                    </a:lnTo>
                    <a:lnTo>
                      <a:pt x="1173" y="502"/>
                    </a:lnTo>
                    <a:lnTo>
                      <a:pt x="1089" y="544"/>
                    </a:lnTo>
                    <a:lnTo>
                      <a:pt x="1089" y="440"/>
                    </a:lnTo>
                    <a:lnTo>
                      <a:pt x="1110" y="440"/>
                    </a:lnTo>
                    <a:lnTo>
                      <a:pt x="1173" y="356"/>
                    </a:lnTo>
                    <a:lnTo>
                      <a:pt x="1110" y="356"/>
                    </a:lnTo>
                    <a:lnTo>
                      <a:pt x="1047" y="398"/>
                    </a:lnTo>
                    <a:lnTo>
                      <a:pt x="1047" y="461"/>
                    </a:lnTo>
                    <a:lnTo>
                      <a:pt x="1005" y="544"/>
                    </a:lnTo>
                    <a:lnTo>
                      <a:pt x="942" y="523"/>
                    </a:lnTo>
                    <a:lnTo>
                      <a:pt x="963" y="419"/>
                    </a:lnTo>
                    <a:lnTo>
                      <a:pt x="901" y="335"/>
                    </a:lnTo>
                    <a:lnTo>
                      <a:pt x="880" y="209"/>
                    </a:lnTo>
                    <a:lnTo>
                      <a:pt x="880" y="105"/>
                    </a:lnTo>
                    <a:lnTo>
                      <a:pt x="880" y="42"/>
                    </a:lnTo>
                    <a:lnTo>
                      <a:pt x="942" y="42"/>
                    </a:lnTo>
                    <a:lnTo>
                      <a:pt x="88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87" name="Google Shape;5966;p93">
              <a:extLst>
                <a:ext uri="{FF2B5EF4-FFF2-40B4-BE49-F238E27FC236}">
                  <a16:creationId xmlns:a16="http://schemas.microsoft.com/office/drawing/2014/main" id="{353F85B8-E94A-46AC-A155-B8A86D0DD8E9}"/>
                </a:ext>
              </a:extLst>
            </p:cNvPr>
            <p:cNvSpPr/>
            <p:nvPr/>
          </p:nvSpPr>
          <p:spPr>
            <a:xfrm>
              <a:off x="3608564" y="2619698"/>
              <a:ext cx="60550" cy="35232"/>
            </a:xfrm>
            <a:custGeom>
              <a:avLst/>
              <a:gdLst/>
              <a:ahLst/>
              <a:cxnLst/>
              <a:rect l="l" t="t" r="r" b="b"/>
              <a:pathLst>
                <a:path w="5085" h="3098" extrusionOk="0">
                  <a:moveTo>
                    <a:pt x="900" y="1"/>
                  </a:moveTo>
                  <a:lnTo>
                    <a:pt x="733" y="22"/>
                  </a:lnTo>
                  <a:lnTo>
                    <a:pt x="733" y="64"/>
                  </a:lnTo>
                  <a:lnTo>
                    <a:pt x="775" y="126"/>
                  </a:lnTo>
                  <a:lnTo>
                    <a:pt x="837" y="126"/>
                  </a:lnTo>
                  <a:lnTo>
                    <a:pt x="858" y="64"/>
                  </a:lnTo>
                  <a:lnTo>
                    <a:pt x="942" y="64"/>
                  </a:lnTo>
                  <a:lnTo>
                    <a:pt x="984" y="126"/>
                  </a:lnTo>
                  <a:lnTo>
                    <a:pt x="1088" y="147"/>
                  </a:lnTo>
                  <a:lnTo>
                    <a:pt x="1047" y="210"/>
                  </a:lnTo>
                  <a:lnTo>
                    <a:pt x="942" y="168"/>
                  </a:lnTo>
                  <a:lnTo>
                    <a:pt x="837" y="168"/>
                  </a:lnTo>
                  <a:lnTo>
                    <a:pt x="858" y="231"/>
                  </a:lnTo>
                  <a:lnTo>
                    <a:pt x="1005" y="315"/>
                  </a:lnTo>
                  <a:lnTo>
                    <a:pt x="1109" y="440"/>
                  </a:lnTo>
                  <a:lnTo>
                    <a:pt x="1088" y="524"/>
                  </a:lnTo>
                  <a:lnTo>
                    <a:pt x="1047" y="545"/>
                  </a:lnTo>
                  <a:lnTo>
                    <a:pt x="1047" y="461"/>
                  </a:lnTo>
                  <a:lnTo>
                    <a:pt x="900" y="377"/>
                  </a:lnTo>
                  <a:lnTo>
                    <a:pt x="837" y="461"/>
                  </a:lnTo>
                  <a:lnTo>
                    <a:pt x="775" y="440"/>
                  </a:lnTo>
                  <a:lnTo>
                    <a:pt x="796" y="356"/>
                  </a:lnTo>
                  <a:lnTo>
                    <a:pt x="691" y="252"/>
                  </a:lnTo>
                  <a:lnTo>
                    <a:pt x="586" y="210"/>
                  </a:lnTo>
                  <a:lnTo>
                    <a:pt x="524" y="252"/>
                  </a:lnTo>
                  <a:lnTo>
                    <a:pt x="586" y="356"/>
                  </a:lnTo>
                  <a:lnTo>
                    <a:pt x="565" y="419"/>
                  </a:lnTo>
                  <a:lnTo>
                    <a:pt x="524" y="315"/>
                  </a:lnTo>
                  <a:lnTo>
                    <a:pt x="419" y="273"/>
                  </a:lnTo>
                  <a:lnTo>
                    <a:pt x="377" y="356"/>
                  </a:lnTo>
                  <a:lnTo>
                    <a:pt x="461" y="440"/>
                  </a:lnTo>
                  <a:lnTo>
                    <a:pt x="524" y="482"/>
                  </a:lnTo>
                  <a:lnTo>
                    <a:pt x="565" y="545"/>
                  </a:lnTo>
                  <a:lnTo>
                    <a:pt x="461" y="482"/>
                  </a:lnTo>
                  <a:lnTo>
                    <a:pt x="356" y="545"/>
                  </a:lnTo>
                  <a:lnTo>
                    <a:pt x="419" y="608"/>
                  </a:lnTo>
                  <a:lnTo>
                    <a:pt x="565" y="670"/>
                  </a:lnTo>
                  <a:lnTo>
                    <a:pt x="482" y="670"/>
                  </a:lnTo>
                  <a:lnTo>
                    <a:pt x="461" y="733"/>
                  </a:lnTo>
                  <a:lnTo>
                    <a:pt x="482" y="775"/>
                  </a:lnTo>
                  <a:lnTo>
                    <a:pt x="461" y="775"/>
                  </a:lnTo>
                  <a:lnTo>
                    <a:pt x="272" y="649"/>
                  </a:lnTo>
                  <a:lnTo>
                    <a:pt x="231" y="608"/>
                  </a:lnTo>
                  <a:lnTo>
                    <a:pt x="168" y="670"/>
                  </a:lnTo>
                  <a:lnTo>
                    <a:pt x="252" y="796"/>
                  </a:lnTo>
                  <a:lnTo>
                    <a:pt x="314" y="880"/>
                  </a:lnTo>
                  <a:lnTo>
                    <a:pt x="252" y="900"/>
                  </a:lnTo>
                  <a:lnTo>
                    <a:pt x="147" y="775"/>
                  </a:lnTo>
                  <a:lnTo>
                    <a:pt x="63" y="754"/>
                  </a:lnTo>
                  <a:lnTo>
                    <a:pt x="0" y="859"/>
                  </a:lnTo>
                  <a:lnTo>
                    <a:pt x="126" y="900"/>
                  </a:lnTo>
                  <a:lnTo>
                    <a:pt x="231" y="1005"/>
                  </a:lnTo>
                  <a:lnTo>
                    <a:pt x="356" y="1047"/>
                  </a:lnTo>
                  <a:lnTo>
                    <a:pt x="440" y="942"/>
                  </a:lnTo>
                  <a:lnTo>
                    <a:pt x="565" y="900"/>
                  </a:lnTo>
                  <a:lnTo>
                    <a:pt x="628" y="796"/>
                  </a:lnTo>
                  <a:lnTo>
                    <a:pt x="649" y="859"/>
                  </a:lnTo>
                  <a:lnTo>
                    <a:pt x="649" y="900"/>
                  </a:lnTo>
                  <a:lnTo>
                    <a:pt x="691" y="900"/>
                  </a:lnTo>
                  <a:lnTo>
                    <a:pt x="775" y="880"/>
                  </a:lnTo>
                  <a:lnTo>
                    <a:pt x="796" y="984"/>
                  </a:lnTo>
                  <a:lnTo>
                    <a:pt x="858" y="984"/>
                  </a:lnTo>
                  <a:lnTo>
                    <a:pt x="942" y="900"/>
                  </a:lnTo>
                  <a:lnTo>
                    <a:pt x="963" y="859"/>
                  </a:lnTo>
                  <a:lnTo>
                    <a:pt x="984" y="963"/>
                  </a:lnTo>
                  <a:lnTo>
                    <a:pt x="1005" y="963"/>
                  </a:lnTo>
                  <a:lnTo>
                    <a:pt x="1151" y="859"/>
                  </a:lnTo>
                  <a:lnTo>
                    <a:pt x="1109" y="900"/>
                  </a:lnTo>
                  <a:lnTo>
                    <a:pt x="1088" y="1005"/>
                  </a:lnTo>
                  <a:lnTo>
                    <a:pt x="1151" y="1047"/>
                  </a:lnTo>
                  <a:lnTo>
                    <a:pt x="1214" y="984"/>
                  </a:lnTo>
                  <a:lnTo>
                    <a:pt x="1360" y="1068"/>
                  </a:lnTo>
                  <a:lnTo>
                    <a:pt x="1277" y="1089"/>
                  </a:lnTo>
                  <a:lnTo>
                    <a:pt x="1193" y="1089"/>
                  </a:lnTo>
                  <a:lnTo>
                    <a:pt x="1109" y="1131"/>
                  </a:lnTo>
                  <a:lnTo>
                    <a:pt x="1047" y="1131"/>
                  </a:lnTo>
                  <a:lnTo>
                    <a:pt x="879" y="1214"/>
                  </a:lnTo>
                  <a:lnTo>
                    <a:pt x="879" y="1256"/>
                  </a:lnTo>
                  <a:lnTo>
                    <a:pt x="1068" y="1298"/>
                  </a:lnTo>
                  <a:lnTo>
                    <a:pt x="1172" y="1298"/>
                  </a:lnTo>
                  <a:lnTo>
                    <a:pt x="1214" y="1214"/>
                  </a:lnTo>
                  <a:lnTo>
                    <a:pt x="1277" y="1193"/>
                  </a:lnTo>
                  <a:lnTo>
                    <a:pt x="1277" y="1298"/>
                  </a:lnTo>
                  <a:lnTo>
                    <a:pt x="1193" y="1382"/>
                  </a:lnTo>
                  <a:lnTo>
                    <a:pt x="1005" y="1403"/>
                  </a:lnTo>
                  <a:lnTo>
                    <a:pt x="942" y="1382"/>
                  </a:lnTo>
                  <a:lnTo>
                    <a:pt x="858" y="1486"/>
                  </a:lnTo>
                  <a:lnTo>
                    <a:pt x="796" y="1403"/>
                  </a:lnTo>
                  <a:lnTo>
                    <a:pt x="775" y="1382"/>
                  </a:lnTo>
                  <a:lnTo>
                    <a:pt x="775" y="1319"/>
                  </a:lnTo>
                  <a:lnTo>
                    <a:pt x="691" y="1319"/>
                  </a:lnTo>
                  <a:lnTo>
                    <a:pt x="691" y="1361"/>
                  </a:lnTo>
                  <a:lnTo>
                    <a:pt x="691" y="1382"/>
                  </a:lnTo>
                  <a:lnTo>
                    <a:pt x="628" y="1465"/>
                  </a:lnTo>
                  <a:lnTo>
                    <a:pt x="544" y="1403"/>
                  </a:lnTo>
                  <a:lnTo>
                    <a:pt x="461" y="1424"/>
                  </a:lnTo>
                  <a:lnTo>
                    <a:pt x="356" y="1486"/>
                  </a:lnTo>
                  <a:lnTo>
                    <a:pt x="252" y="1424"/>
                  </a:lnTo>
                  <a:lnTo>
                    <a:pt x="168" y="1465"/>
                  </a:lnTo>
                  <a:lnTo>
                    <a:pt x="126" y="1465"/>
                  </a:lnTo>
                  <a:lnTo>
                    <a:pt x="168" y="1591"/>
                  </a:lnTo>
                  <a:lnTo>
                    <a:pt x="231" y="1654"/>
                  </a:lnTo>
                  <a:lnTo>
                    <a:pt x="377" y="1696"/>
                  </a:lnTo>
                  <a:lnTo>
                    <a:pt x="377" y="1633"/>
                  </a:lnTo>
                  <a:lnTo>
                    <a:pt x="565" y="1696"/>
                  </a:lnTo>
                  <a:lnTo>
                    <a:pt x="900" y="1696"/>
                  </a:lnTo>
                  <a:lnTo>
                    <a:pt x="900" y="1737"/>
                  </a:lnTo>
                  <a:lnTo>
                    <a:pt x="837" y="1800"/>
                  </a:lnTo>
                  <a:lnTo>
                    <a:pt x="837" y="1842"/>
                  </a:lnTo>
                  <a:lnTo>
                    <a:pt x="942" y="1926"/>
                  </a:lnTo>
                  <a:lnTo>
                    <a:pt x="963" y="2009"/>
                  </a:lnTo>
                  <a:lnTo>
                    <a:pt x="1005" y="2009"/>
                  </a:lnTo>
                  <a:lnTo>
                    <a:pt x="1172" y="1905"/>
                  </a:lnTo>
                  <a:lnTo>
                    <a:pt x="1151" y="1988"/>
                  </a:lnTo>
                  <a:lnTo>
                    <a:pt x="1047" y="2030"/>
                  </a:lnTo>
                  <a:lnTo>
                    <a:pt x="984" y="2135"/>
                  </a:lnTo>
                  <a:lnTo>
                    <a:pt x="1068" y="2177"/>
                  </a:lnTo>
                  <a:lnTo>
                    <a:pt x="1214" y="2051"/>
                  </a:lnTo>
                  <a:lnTo>
                    <a:pt x="1360" y="2114"/>
                  </a:lnTo>
                  <a:lnTo>
                    <a:pt x="1381" y="2156"/>
                  </a:lnTo>
                  <a:lnTo>
                    <a:pt x="1298" y="2114"/>
                  </a:lnTo>
                  <a:lnTo>
                    <a:pt x="1193" y="2156"/>
                  </a:lnTo>
                  <a:lnTo>
                    <a:pt x="1109" y="2240"/>
                  </a:lnTo>
                  <a:lnTo>
                    <a:pt x="984" y="2240"/>
                  </a:lnTo>
                  <a:lnTo>
                    <a:pt x="984" y="2323"/>
                  </a:lnTo>
                  <a:lnTo>
                    <a:pt x="942" y="2365"/>
                  </a:lnTo>
                  <a:lnTo>
                    <a:pt x="879" y="2365"/>
                  </a:lnTo>
                  <a:lnTo>
                    <a:pt x="796" y="2407"/>
                  </a:lnTo>
                  <a:lnTo>
                    <a:pt x="775" y="2344"/>
                  </a:lnTo>
                  <a:lnTo>
                    <a:pt x="670" y="2261"/>
                  </a:lnTo>
                  <a:lnTo>
                    <a:pt x="670" y="2323"/>
                  </a:lnTo>
                  <a:lnTo>
                    <a:pt x="628" y="2323"/>
                  </a:lnTo>
                  <a:lnTo>
                    <a:pt x="649" y="2449"/>
                  </a:lnTo>
                  <a:lnTo>
                    <a:pt x="691" y="2470"/>
                  </a:lnTo>
                  <a:lnTo>
                    <a:pt x="670" y="2512"/>
                  </a:lnTo>
                  <a:lnTo>
                    <a:pt x="649" y="2700"/>
                  </a:lnTo>
                  <a:lnTo>
                    <a:pt x="775" y="2679"/>
                  </a:lnTo>
                  <a:lnTo>
                    <a:pt x="837" y="2658"/>
                  </a:lnTo>
                  <a:lnTo>
                    <a:pt x="900" y="2700"/>
                  </a:lnTo>
                  <a:lnTo>
                    <a:pt x="1088" y="2742"/>
                  </a:lnTo>
                  <a:lnTo>
                    <a:pt x="1214" y="2637"/>
                  </a:lnTo>
                  <a:lnTo>
                    <a:pt x="1360" y="2679"/>
                  </a:lnTo>
                  <a:lnTo>
                    <a:pt x="1423" y="2637"/>
                  </a:lnTo>
                  <a:lnTo>
                    <a:pt x="1465" y="2679"/>
                  </a:lnTo>
                  <a:lnTo>
                    <a:pt x="1528" y="2700"/>
                  </a:lnTo>
                  <a:lnTo>
                    <a:pt x="1632" y="2679"/>
                  </a:lnTo>
                  <a:lnTo>
                    <a:pt x="1632" y="2784"/>
                  </a:lnTo>
                  <a:lnTo>
                    <a:pt x="1779" y="2930"/>
                  </a:lnTo>
                  <a:lnTo>
                    <a:pt x="1842" y="2972"/>
                  </a:lnTo>
                  <a:lnTo>
                    <a:pt x="1946" y="2888"/>
                  </a:lnTo>
                  <a:lnTo>
                    <a:pt x="2051" y="2888"/>
                  </a:lnTo>
                  <a:lnTo>
                    <a:pt x="2239" y="3077"/>
                  </a:lnTo>
                  <a:lnTo>
                    <a:pt x="2469" y="3077"/>
                  </a:lnTo>
                  <a:lnTo>
                    <a:pt x="2574" y="3097"/>
                  </a:lnTo>
                  <a:lnTo>
                    <a:pt x="2741" y="3056"/>
                  </a:lnTo>
                  <a:lnTo>
                    <a:pt x="2721" y="2951"/>
                  </a:lnTo>
                  <a:lnTo>
                    <a:pt x="2741" y="2867"/>
                  </a:lnTo>
                  <a:lnTo>
                    <a:pt x="2762" y="2951"/>
                  </a:lnTo>
                  <a:lnTo>
                    <a:pt x="2888" y="2972"/>
                  </a:lnTo>
                  <a:lnTo>
                    <a:pt x="3034" y="2867"/>
                  </a:lnTo>
                  <a:lnTo>
                    <a:pt x="3034" y="2700"/>
                  </a:lnTo>
                  <a:lnTo>
                    <a:pt x="3181" y="2700"/>
                  </a:lnTo>
                  <a:lnTo>
                    <a:pt x="3139" y="2763"/>
                  </a:lnTo>
                  <a:lnTo>
                    <a:pt x="3181" y="2846"/>
                  </a:lnTo>
                  <a:lnTo>
                    <a:pt x="3202" y="2763"/>
                  </a:lnTo>
                  <a:lnTo>
                    <a:pt x="3306" y="2763"/>
                  </a:lnTo>
                  <a:lnTo>
                    <a:pt x="3411" y="2637"/>
                  </a:lnTo>
                  <a:lnTo>
                    <a:pt x="3474" y="2658"/>
                  </a:lnTo>
                  <a:lnTo>
                    <a:pt x="3495" y="2637"/>
                  </a:lnTo>
                  <a:lnTo>
                    <a:pt x="3599" y="2658"/>
                  </a:lnTo>
                  <a:lnTo>
                    <a:pt x="3599" y="2679"/>
                  </a:lnTo>
                  <a:lnTo>
                    <a:pt x="3662" y="2658"/>
                  </a:lnTo>
                  <a:lnTo>
                    <a:pt x="3892" y="2449"/>
                  </a:lnTo>
                  <a:lnTo>
                    <a:pt x="3976" y="2323"/>
                  </a:lnTo>
                  <a:lnTo>
                    <a:pt x="4248" y="2261"/>
                  </a:lnTo>
                  <a:lnTo>
                    <a:pt x="4332" y="2177"/>
                  </a:lnTo>
                  <a:lnTo>
                    <a:pt x="4290" y="2135"/>
                  </a:lnTo>
                  <a:lnTo>
                    <a:pt x="4311" y="2051"/>
                  </a:lnTo>
                  <a:lnTo>
                    <a:pt x="4353" y="2051"/>
                  </a:lnTo>
                  <a:lnTo>
                    <a:pt x="4394" y="2156"/>
                  </a:lnTo>
                  <a:lnTo>
                    <a:pt x="4541" y="2177"/>
                  </a:lnTo>
                  <a:lnTo>
                    <a:pt x="4625" y="2114"/>
                  </a:lnTo>
                  <a:lnTo>
                    <a:pt x="4625" y="2030"/>
                  </a:lnTo>
                  <a:lnTo>
                    <a:pt x="4604" y="2009"/>
                  </a:lnTo>
                  <a:lnTo>
                    <a:pt x="4604" y="1926"/>
                  </a:lnTo>
                  <a:lnTo>
                    <a:pt x="4666" y="1905"/>
                  </a:lnTo>
                  <a:lnTo>
                    <a:pt x="4625" y="1779"/>
                  </a:lnTo>
                  <a:lnTo>
                    <a:pt x="4666" y="1716"/>
                  </a:lnTo>
                  <a:lnTo>
                    <a:pt x="4771" y="1779"/>
                  </a:lnTo>
                  <a:lnTo>
                    <a:pt x="4771" y="1884"/>
                  </a:lnTo>
                  <a:lnTo>
                    <a:pt x="4876" y="1842"/>
                  </a:lnTo>
                  <a:lnTo>
                    <a:pt x="4938" y="1716"/>
                  </a:lnTo>
                  <a:lnTo>
                    <a:pt x="4917" y="1612"/>
                  </a:lnTo>
                  <a:lnTo>
                    <a:pt x="4813" y="1507"/>
                  </a:lnTo>
                  <a:lnTo>
                    <a:pt x="4813" y="1403"/>
                  </a:lnTo>
                  <a:lnTo>
                    <a:pt x="4855" y="1361"/>
                  </a:lnTo>
                  <a:lnTo>
                    <a:pt x="4855" y="1256"/>
                  </a:lnTo>
                  <a:lnTo>
                    <a:pt x="4959" y="1193"/>
                  </a:lnTo>
                  <a:lnTo>
                    <a:pt x="5043" y="1193"/>
                  </a:lnTo>
                  <a:lnTo>
                    <a:pt x="5085" y="1110"/>
                  </a:lnTo>
                  <a:lnTo>
                    <a:pt x="5022" y="1005"/>
                  </a:lnTo>
                  <a:lnTo>
                    <a:pt x="4771" y="984"/>
                  </a:lnTo>
                  <a:lnTo>
                    <a:pt x="4708" y="1068"/>
                  </a:lnTo>
                  <a:lnTo>
                    <a:pt x="4750" y="963"/>
                  </a:lnTo>
                  <a:lnTo>
                    <a:pt x="4750" y="859"/>
                  </a:lnTo>
                  <a:lnTo>
                    <a:pt x="4625" y="859"/>
                  </a:lnTo>
                  <a:lnTo>
                    <a:pt x="4604" y="880"/>
                  </a:lnTo>
                  <a:lnTo>
                    <a:pt x="4541" y="775"/>
                  </a:lnTo>
                  <a:lnTo>
                    <a:pt x="4625" y="670"/>
                  </a:lnTo>
                  <a:lnTo>
                    <a:pt x="4708" y="649"/>
                  </a:lnTo>
                  <a:lnTo>
                    <a:pt x="4708" y="482"/>
                  </a:lnTo>
                  <a:lnTo>
                    <a:pt x="4645" y="461"/>
                  </a:lnTo>
                  <a:lnTo>
                    <a:pt x="4562" y="545"/>
                  </a:lnTo>
                  <a:lnTo>
                    <a:pt x="4457" y="482"/>
                  </a:lnTo>
                  <a:lnTo>
                    <a:pt x="4415" y="377"/>
                  </a:lnTo>
                  <a:lnTo>
                    <a:pt x="4520" y="336"/>
                  </a:lnTo>
                  <a:lnTo>
                    <a:pt x="4541" y="252"/>
                  </a:lnTo>
                  <a:lnTo>
                    <a:pt x="4604" y="210"/>
                  </a:lnTo>
                  <a:lnTo>
                    <a:pt x="4708" y="168"/>
                  </a:lnTo>
                  <a:lnTo>
                    <a:pt x="4562" y="126"/>
                  </a:lnTo>
                  <a:lnTo>
                    <a:pt x="4499" y="147"/>
                  </a:lnTo>
                  <a:lnTo>
                    <a:pt x="4311" y="336"/>
                  </a:lnTo>
                  <a:lnTo>
                    <a:pt x="4290" y="419"/>
                  </a:lnTo>
                  <a:lnTo>
                    <a:pt x="4206" y="440"/>
                  </a:lnTo>
                  <a:lnTo>
                    <a:pt x="4122" y="315"/>
                  </a:lnTo>
                  <a:lnTo>
                    <a:pt x="4185" y="252"/>
                  </a:lnTo>
                  <a:lnTo>
                    <a:pt x="4122" y="210"/>
                  </a:lnTo>
                  <a:lnTo>
                    <a:pt x="4101" y="84"/>
                  </a:lnTo>
                  <a:lnTo>
                    <a:pt x="3997" y="64"/>
                  </a:lnTo>
                  <a:lnTo>
                    <a:pt x="3913" y="126"/>
                  </a:lnTo>
                  <a:lnTo>
                    <a:pt x="3829" y="84"/>
                  </a:lnTo>
                  <a:lnTo>
                    <a:pt x="3788" y="168"/>
                  </a:lnTo>
                  <a:lnTo>
                    <a:pt x="3829" y="315"/>
                  </a:lnTo>
                  <a:lnTo>
                    <a:pt x="3788" y="377"/>
                  </a:lnTo>
                  <a:lnTo>
                    <a:pt x="3683" y="377"/>
                  </a:lnTo>
                  <a:lnTo>
                    <a:pt x="3578" y="440"/>
                  </a:lnTo>
                  <a:lnTo>
                    <a:pt x="3557" y="336"/>
                  </a:lnTo>
                  <a:lnTo>
                    <a:pt x="3495" y="315"/>
                  </a:lnTo>
                  <a:lnTo>
                    <a:pt x="3453" y="377"/>
                  </a:lnTo>
                  <a:lnTo>
                    <a:pt x="3369" y="545"/>
                  </a:lnTo>
                  <a:lnTo>
                    <a:pt x="3265" y="545"/>
                  </a:lnTo>
                  <a:lnTo>
                    <a:pt x="3160" y="356"/>
                  </a:lnTo>
                  <a:lnTo>
                    <a:pt x="3076" y="356"/>
                  </a:lnTo>
                  <a:lnTo>
                    <a:pt x="3034" y="336"/>
                  </a:lnTo>
                  <a:lnTo>
                    <a:pt x="2951" y="356"/>
                  </a:lnTo>
                  <a:lnTo>
                    <a:pt x="2888" y="545"/>
                  </a:lnTo>
                  <a:lnTo>
                    <a:pt x="2993" y="754"/>
                  </a:lnTo>
                  <a:lnTo>
                    <a:pt x="2888" y="1047"/>
                  </a:lnTo>
                  <a:lnTo>
                    <a:pt x="2930" y="775"/>
                  </a:lnTo>
                  <a:lnTo>
                    <a:pt x="2825" y="608"/>
                  </a:lnTo>
                  <a:lnTo>
                    <a:pt x="2825" y="524"/>
                  </a:lnTo>
                  <a:lnTo>
                    <a:pt x="2762" y="482"/>
                  </a:lnTo>
                  <a:lnTo>
                    <a:pt x="2783" y="356"/>
                  </a:lnTo>
                  <a:lnTo>
                    <a:pt x="2658" y="273"/>
                  </a:lnTo>
                  <a:lnTo>
                    <a:pt x="2448" y="440"/>
                  </a:lnTo>
                  <a:lnTo>
                    <a:pt x="2428" y="566"/>
                  </a:lnTo>
                  <a:lnTo>
                    <a:pt x="2448" y="649"/>
                  </a:lnTo>
                  <a:lnTo>
                    <a:pt x="2344" y="796"/>
                  </a:lnTo>
                  <a:lnTo>
                    <a:pt x="2260" y="796"/>
                  </a:lnTo>
                  <a:lnTo>
                    <a:pt x="2260" y="649"/>
                  </a:lnTo>
                  <a:lnTo>
                    <a:pt x="2156" y="587"/>
                  </a:lnTo>
                  <a:lnTo>
                    <a:pt x="2156" y="356"/>
                  </a:lnTo>
                  <a:lnTo>
                    <a:pt x="2093" y="315"/>
                  </a:lnTo>
                  <a:lnTo>
                    <a:pt x="1925" y="440"/>
                  </a:lnTo>
                  <a:lnTo>
                    <a:pt x="1946" y="691"/>
                  </a:lnTo>
                  <a:lnTo>
                    <a:pt x="2009" y="775"/>
                  </a:lnTo>
                  <a:lnTo>
                    <a:pt x="2009" y="963"/>
                  </a:lnTo>
                  <a:lnTo>
                    <a:pt x="1925" y="1047"/>
                  </a:lnTo>
                  <a:lnTo>
                    <a:pt x="1842" y="1047"/>
                  </a:lnTo>
                  <a:lnTo>
                    <a:pt x="1821" y="900"/>
                  </a:lnTo>
                  <a:lnTo>
                    <a:pt x="1716" y="963"/>
                  </a:lnTo>
                  <a:lnTo>
                    <a:pt x="1674" y="1110"/>
                  </a:lnTo>
                  <a:lnTo>
                    <a:pt x="1612" y="1131"/>
                  </a:lnTo>
                  <a:lnTo>
                    <a:pt x="1591" y="1319"/>
                  </a:lnTo>
                  <a:lnTo>
                    <a:pt x="1507" y="1131"/>
                  </a:lnTo>
                  <a:lnTo>
                    <a:pt x="1423" y="1131"/>
                  </a:lnTo>
                  <a:lnTo>
                    <a:pt x="1465" y="1068"/>
                  </a:lnTo>
                  <a:lnTo>
                    <a:pt x="1528" y="963"/>
                  </a:lnTo>
                  <a:lnTo>
                    <a:pt x="1528" y="859"/>
                  </a:lnTo>
                  <a:lnTo>
                    <a:pt x="1402" y="859"/>
                  </a:lnTo>
                  <a:lnTo>
                    <a:pt x="1465" y="775"/>
                  </a:lnTo>
                  <a:lnTo>
                    <a:pt x="1402" y="649"/>
                  </a:lnTo>
                  <a:lnTo>
                    <a:pt x="1486" y="691"/>
                  </a:lnTo>
                  <a:lnTo>
                    <a:pt x="1570" y="608"/>
                  </a:lnTo>
                  <a:lnTo>
                    <a:pt x="1528" y="545"/>
                  </a:lnTo>
                  <a:lnTo>
                    <a:pt x="1423" y="482"/>
                  </a:lnTo>
                  <a:lnTo>
                    <a:pt x="1528" y="440"/>
                  </a:lnTo>
                  <a:lnTo>
                    <a:pt x="1465" y="336"/>
                  </a:lnTo>
                  <a:lnTo>
                    <a:pt x="1381" y="377"/>
                  </a:lnTo>
                  <a:lnTo>
                    <a:pt x="1319" y="315"/>
                  </a:lnTo>
                  <a:lnTo>
                    <a:pt x="1193" y="231"/>
                  </a:lnTo>
                  <a:lnTo>
                    <a:pt x="1193" y="126"/>
                  </a:lnTo>
                  <a:lnTo>
                    <a:pt x="1109" y="22"/>
                  </a:lnTo>
                  <a:lnTo>
                    <a:pt x="1005" y="43"/>
                  </a:lnTo>
                  <a:lnTo>
                    <a:pt x="90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 name="Google Shape;5967;p93">
              <a:extLst>
                <a:ext uri="{FF2B5EF4-FFF2-40B4-BE49-F238E27FC236}">
                  <a16:creationId xmlns:a16="http://schemas.microsoft.com/office/drawing/2014/main" id="{3E2BD072-4041-4594-A7AD-F26A63D73874}"/>
                </a:ext>
              </a:extLst>
            </p:cNvPr>
            <p:cNvSpPr/>
            <p:nvPr/>
          </p:nvSpPr>
          <p:spPr>
            <a:xfrm>
              <a:off x="4188328" y="2704412"/>
              <a:ext cx="421823" cy="300791"/>
            </a:xfrm>
            <a:custGeom>
              <a:avLst/>
              <a:gdLst/>
              <a:ahLst/>
              <a:cxnLst/>
              <a:rect l="l" t="t" r="r" b="b"/>
              <a:pathLst>
                <a:path w="35425" h="26449" extrusionOk="0">
                  <a:moveTo>
                    <a:pt x="27390" y="1"/>
                  </a:moveTo>
                  <a:lnTo>
                    <a:pt x="27369" y="21"/>
                  </a:lnTo>
                  <a:lnTo>
                    <a:pt x="27180" y="42"/>
                  </a:lnTo>
                  <a:lnTo>
                    <a:pt x="27139" y="126"/>
                  </a:lnTo>
                  <a:lnTo>
                    <a:pt x="27097" y="126"/>
                  </a:lnTo>
                  <a:lnTo>
                    <a:pt x="27055" y="189"/>
                  </a:lnTo>
                  <a:lnTo>
                    <a:pt x="26867" y="189"/>
                  </a:lnTo>
                  <a:lnTo>
                    <a:pt x="26741" y="147"/>
                  </a:lnTo>
                  <a:lnTo>
                    <a:pt x="26678" y="231"/>
                  </a:lnTo>
                  <a:lnTo>
                    <a:pt x="26574" y="231"/>
                  </a:lnTo>
                  <a:lnTo>
                    <a:pt x="26532" y="335"/>
                  </a:lnTo>
                  <a:lnTo>
                    <a:pt x="26448" y="356"/>
                  </a:lnTo>
                  <a:lnTo>
                    <a:pt x="26344" y="356"/>
                  </a:lnTo>
                  <a:lnTo>
                    <a:pt x="26260" y="398"/>
                  </a:lnTo>
                  <a:lnTo>
                    <a:pt x="26176" y="419"/>
                  </a:lnTo>
                  <a:lnTo>
                    <a:pt x="26051" y="419"/>
                  </a:lnTo>
                  <a:lnTo>
                    <a:pt x="25967" y="461"/>
                  </a:lnTo>
                  <a:lnTo>
                    <a:pt x="25967" y="545"/>
                  </a:lnTo>
                  <a:lnTo>
                    <a:pt x="25904" y="649"/>
                  </a:lnTo>
                  <a:lnTo>
                    <a:pt x="25862" y="754"/>
                  </a:lnTo>
                  <a:lnTo>
                    <a:pt x="25820" y="817"/>
                  </a:lnTo>
                  <a:lnTo>
                    <a:pt x="25820" y="858"/>
                  </a:lnTo>
                  <a:lnTo>
                    <a:pt x="25800" y="921"/>
                  </a:lnTo>
                  <a:lnTo>
                    <a:pt x="25800" y="1068"/>
                  </a:lnTo>
                  <a:lnTo>
                    <a:pt x="25820" y="1089"/>
                  </a:lnTo>
                  <a:lnTo>
                    <a:pt x="25862" y="1130"/>
                  </a:lnTo>
                  <a:lnTo>
                    <a:pt x="26009" y="1047"/>
                  </a:lnTo>
                  <a:lnTo>
                    <a:pt x="26072" y="984"/>
                  </a:lnTo>
                  <a:lnTo>
                    <a:pt x="26155" y="1005"/>
                  </a:lnTo>
                  <a:lnTo>
                    <a:pt x="26239" y="1151"/>
                  </a:lnTo>
                  <a:lnTo>
                    <a:pt x="26281" y="1256"/>
                  </a:lnTo>
                  <a:lnTo>
                    <a:pt x="26364" y="1340"/>
                  </a:lnTo>
                  <a:lnTo>
                    <a:pt x="26364" y="1402"/>
                  </a:lnTo>
                  <a:lnTo>
                    <a:pt x="26385" y="1486"/>
                  </a:lnTo>
                  <a:lnTo>
                    <a:pt x="26385" y="1612"/>
                  </a:lnTo>
                  <a:lnTo>
                    <a:pt x="26323" y="1674"/>
                  </a:lnTo>
                  <a:lnTo>
                    <a:pt x="26239" y="1779"/>
                  </a:lnTo>
                  <a:lnTo>
                    <a:pt x="26218" y="1926"/>
                  </a:lnTo>
                  <a:lnTo>
                    <a:pt x="26134" y="1988"/>
                  </a:lnTo>
                  <a:lnTo>
                    <a:pt x="26072" y="2093"/>
                  </a:lnTo>
                  <a:lnTo>
                    <a:pt x="26051" y="2198"/>
                  </a:lnTo>
                  <a:lnTo>
                    <a:pt x="26134" y="2281"/>
                  </a:lnTo>
                  <a:lnTo>
                    <a:pt x="26092" y="2344"/>
                  </a:lnTo>
                  <a:lnTo>
                    <a:pt x="26134" y="2490"/>
                  </a:lnTo>
                  <a:lnTo>
                    <a:pt x="26176" y="2532"/>
                  </a:lnTo>
                  <a:lnTo>
                    <a:pt x="26176" y="2658"/>
                  </a:lnTo>
                  <a:lnTo>
                    <a:pt x="26092" y="2700"/>
                  </a:lnTo>
                  <a:lnTo>
                    <a:pt x="26072" y="2742"/>
                  </a:lnTo>
                  <a:lnTo>
                    <a:pt x="26134" y="2846"/>
                  </a:lnTo>
                  <a:lnTo>
                    <a:pt x="26134" y="3034"/>
                  </a:lnTo>
                  <a:lnTo>
                    <a:pt x="26092" y="3076"/>
                  </a:lnTo>
                  <a:lnTo>
                    <a:pt x="26092" y="3244"/>
                  </a:lnTo>
                  <a:lnTo>
                    <a:pt x="26155" y="3244"/>
                  </a:lnTo>
                  <a:lnTo>
                    <a:pt x="26218" y="3265"/>
                  </a:lnTo>
                  <a:lnTo>
                    <a:pt x="26260" y="3244"/>
                  </a:lnTo>
                  <a:lnTo>
                    <a:pt x="26281" y="3265"/>
                  </a:lnTo>
                  <a:lnTo>
                    <a:pt x="26323" y="3390"/>
                  </a:lnTo>
                  <a:lnTo>
                    <a:pt x="26281" y="3495"/>
                  </a:lnTo>
                  <a:lnTo>
                    <a:pt x="26218" y="3578"/>
                  </a:lnTo>
                  <a:lnTo>
                    <a:pt x="26009" y="3620"/>
                  </a:lnTo>
                  <a:lnTo>
                    <a:pt x="25862" y="3704"/>
                  </a:lnTo>
                  <a:lnTo>
                    <a:pt x="25569" y="3976"/>
                  </a:lnTo>
                  <a:lnTo>
                    <a:pt x="25527" y="3997"/>
                  </a:lnTo>
                  <a:lnTo>
                    <a:pt x="25444" y="3913"/>
                  </a:lnTo>
                  <a:lnTo>
                    <a:pt x="25276" y="3892"/>
                  </a:lnTo>
                  <a:lnTo>
                    <a:pt x="25172" y="3913"/>
                  </a:lnTo>
                  <a:lnTo>
                    <a:pt x="25130" y="3871"/>
                  </a:lnTo>
                  <a:lnTo>
                    <a:pt x="25004" y="3871"/>
                  </a:lnTo>
                  <a:lnTo>
                    <a:pt x="25004" y="3892"/>
                  </a:lnTo>
                  <a:lnTo>
                    <a:pt x="24879" y="4792"/>
                  </a:lnTo>
                  <a:lnTo>
                    <a:pt x="24900" y="4959"/>
                  </a:lnTo>
                  <a:lnTo>
                    <a:pt x="24858" y="5148"/>
                  </a:lnTo>
                  <a:lnTo>
                    <a:pt x="24879" y="5252"/>
                  </a:lnTo>
                  <a:lnTo>
                    <a:pt x="24795" y="5524"/>
                  </a:lnTo>
                  <a:lnTo>
                    <a:pt x="24900" y="5692"/>
                  </a:lnTo>
                  <a:lnTo>
                    <a:pt x="25172" y="5838"/>
                  </a:lnTo>
                  <a:lnTo>
                    <a:pt x="25339" y="5671"/>
                  </a:lnTo>
                  <a:lnTo>
                    <a:pt x="25569" y="5671"/>
                  </a:lnTo>
                  <a:lnTo>
                    <a:pt x="25841" y="5734"/>
                  </a:lnTo>
                  <a:lnTo>
                    <a:pt x="25946" y="5838"/>
                  </a:lnTo>
                  <a:lnTo>
                    <a:pt x="26072" y="5629"/>
                  </a:lnTo>
                  <a:lnTo>
                    <a:pt x="26072" y="5483"/>
                  </a:lnTo>
                  <a:lnTo>
                    <a:pt x="26072" y="5378"/>
                  </a:lnTo>
                  <a:lnTo>
                    <a:pt x="26239" y="5336"/>
                  </a:lnTo>
                  <a:lnTo>
                    <a:pt x="26281" y="5273"/>
                  </a:lnTo>
                  <a:lnTo>
                    <a:pt x="26553" y="5357"/>
                  </a:lnTo>
                  <a:lnTo>
                    <a:pt x="26699" y="5545"/>
                  </a:lnTo>
                  <a:lnTo>
                    <a:pt x="26908" y="5734"/>
                  </a:lnTo>
                  <a:lnTo>
                    <a:pt x="27076" y="5943"/>
                  </a:lnTo>
                  <a:lnTo>
                    <a:pt x="27285" y="6089"/>
                  </a:lnTo>
                  <a:lnTo>
                    <a:pt x="27306" y="6194"/>
                  </a:lnTo>
                  <a:lnTo>
                    <a:pt x="27327" y="6278"/>
                  </a:lnTo>
                  <a:lnTo>
                    <a:pt x="27327" y="6382"/>
                  </a:lnTo>
                  <a:lnTo>
                    <a:pt x="27285" y="6424"/>
                  </a:lnTo>
                  <a:lnTo>
                    <a:pt x="27285" y="6508"/>
                  </a:lnTo>
                  <a:lnTo>
                    <a:pt x="27264" y="6591"/>
                  </a:lnTo>
                  <a:lnTo>
                    <a:pt x="27139" y="6571"/>
                  </a:lnTo>
                  <a:lnTo>
                    <a:pt x="27097" y="6508"/>
                  </a:lnTo>
                  <a:lnTo>
                    <a:pt x="26992" y="6529"/>
                  </a:lnTo>
                  <a:lnTo>
                    <a:pt x="26908" y="6591"/>
                  </a:lnTo>
                  <a:lnTo>
                    <a:pt x="26762" y="6508"/>
                  </a:lnTo>
                  <a:lnTo>
                    <a:pt x="26657" y="6529"/>
                  </a:lnTo>
                  <a:lnTo>
                    <a:pt x="26553" y="6675"/>
                  </a:lnTo>
                  <a:lnTo>
                    <a:pt x="26385" y="6801"/>
                  </a:lnTo>
                  <a:lnTo>
                    <a:pt x="26323" y="6843"/>
                  </a:lnTo>
                  <a:lnTo>
                    <a:pt x="26218" y="6780"/>
                  </a:lnTo>
                  <a:lnTo>
                    <a:pt x="26155" y="6801"/>
                  </a:lnTo>
                  <a:lnTo>
                    <a:pt x="26155" y="6905"/>
                  </a:lnTo>
                  <a:lnTo>
                    <a:pt x="26092" y="6947"/>
                  </a:lnTo>
                  <a:lnTo>
                    <a:pt x="26030" y="6989"/>
                  </a:lnTo>
                  <a:lnTo>
                    <a:pt x="25967" y="6947"/>
                  </a:lnTo>
                  <a:lnTo>
                    <a:pt x="25925" y="7031"/>
                  </a:lnTo>
                  <a:lnTo>
                    <a:pt x="25820" y="7198"/>
                  </a:lnTo>
                  <a:lnTo>
                    <a:pt x="25800" y="7366"/>
                  </a:lnTo>
                  <a:lnTo>
                    <a:pt x="25800" y="7470"/>
                  </a:lnTo>
                  <a:lnTo>
                    <a:pt x="25737" y="7554"/>
                  </a:lnTo>
                  <a:lnTo>
                    <a:pt x="25611" y="7575"/>
                  </a:lnTo>
                  <a:lnTo>
                    <a:pt x="25381" y="7763"/>
                  </a:lnTo>
                  <a:lnTo>
                    <a:pt x="25214" y="7763"/>
                  </a:lnTo>
                  <a:lnTo>
                    <a:pt x="25088" y="7742"/>
                  </a:lnTo>
                  <a:lnTo>
                    <a:pt x="25004" y="7784"/>
                  </a:lnTo>
                  <a:lnTo>
                    <a:pt x="24900" y="7993"/>
                  </a:lnTo>
                  <a:lnTo>
                    <a:pt x="24795" y="8077"/>
                  </a:lnTo>
                  <a:lnTo>
                    <a:pt x="24670" y="8182"/>
                  </a:lnTo>
                  <a:lnTo>
                    <a:pt x="24586" y="8265"/>
                  </a:lnTo>
                  <a:lnTo>
                    <a:pt x="24565" y="8370"/>
                  </a:lnTo>
                  <a:lnTo>
                    <a:pt x="24502" y="8370"/>
                  </a:lnTo>
                  <a:lnTo>
                    <a:pt x="24377" y="8307"/>
                  </a:lnTo>
                  <a:lnTo>
                    <a:pt x="24251" y="8286"/>
                  </a:lnTo>
                  <a:lnTo>
                    <a:pt x="24063" y="8203"/>
                  </a:lnTo>
                  <a:lnTo>
                    <a:pt x="23937" y="8140"/>
                  </a:lnTo>
                  <a:lnTo>
                    <a:pt x="23770" y="8098"/>
                  </a:lnTo>
                  <a:lnTo>
                    <a:pt x="23561" y="8161"/>
                  </a:lnTo>
                  <a:lnTo>
                    <a:pt x="23435" y="8265"/>
                  </a:lnTo>
                  <a:lnTo>
                    <a:pt x="23331" y="8391"/>
                  </a:lnTo>
                  <a:lnTo>
                    <a:pt x="23331" y="8621"/>
                  </a:lnTo>
                  <a:lnTo>
                    <a:pt x="23351" y="8768"/>
                  </a:lnTo>
                  <a:lnTo>
                    <a:pt x="23331" y="8830"/>
                  </a:lnTo>
                  <a:lnTo>
                    <a:pt x="23603" y="9019"/>
                  </a:lnTo>
                  <a:lnTo>
                    <a:pt x="23833" y="9144"/>
                  </a:lnTo>
                  <a:lnTo>
                    <a:pt x="23833" y="9228"/>
                  </a:lnTo>
                  <a:lnTo>
                    <a:pt x="23770" y="9332"/>
                  </a:lnTo>
                  <a:lnTo>
                    <a:pt x="23707" y="9437"/>
                  </a:lnTo>
                  <a:lnTo>
                    <a:pt x="23435" y="9730"/>
                  </a:lnTo>
                  <a:lnTo>
                    <a:pt x="23310" y="9960"/>
                  </a:lnTo>
                  <a:lnTo>
                    <a:pt x="23226" y="10169"/>
                  </a:lnTo>
                  <a:lnTo>
                    <a:pt x="23121" y="10169"/>
                  </a:lnTo>
                  <a:lnTo>
                    <a:pt x="22933" y="10232"/>
                  </a:lnTo>
                  <a:lnTo>
                    <a:pt x="22807" y="10232"/>
                  </a:lnTo>
                  <a:lnTo>
                    <a:pt x="22661" y="10337"/>
                  </a:lnTo>
                  <a:lnTo>
                    <a:pt x="22494" y="10462"/>
                  </a:lnTo>
                  <a:lnTo>
                    <a:pt x="22347" y="10462"/>
                  </a:lnTo>
                  <a:lnTo>
                    <a:pt x="22096" y="10483"/>
                  </a:lnTo>
                  <a:lnTo>
                    <a:pt x="21908" y="10546"/>
                  </a:lnTo>
                  <a:lnTo>
                    <a:pt x="21740" y="10588"/>
                  </a:lnTo>
                  <a:lnTo>
                    <a:pt x="21322" y="10755"/>
                  </a:lnTo>
                  <a:lnTo>
                    <a:pt x="21008" y="10860"/>
                  </a:lnTo>
                  <a:lnTo>
                    <a:pt x="20841" y="11027"/>
                  </a:lnTo>
                  <a:lnTo>
                    <a:pt x="20590" y="11216"/>
                  </a:lnTo>
                  <a:lnTo>
                    <a:pt x="20485" y="11320"/>
                  </a:lnTo>
                  <a:lnTo>
                    <a:pt x="20338" y="11320"/>
                  </a:lnTo>
                  <a:lnTo>
                    <a:pt x="20192" y="11278"/>
                  </a:lnTo>
                  <a:lnTo>
                    <a:pt x="20192" y="11216"/>
                  </a:lnTo>
                  <a:lnTo>
                    <a:pt x="20171" y="11111"/>
                  </a:lnTo>
                  <a:lnTo>
                    <a:pt x="19899" y="11195"/>
                  </a:lnTo>
                  <a:lnTo>
                    <a:pt x="19732" y="11216"/>
                  </a:lnTo>
                  <a:lnTo>
                    <a:pt x="19522" y="11111"/>
                  </a:lnTo>
                  <a:lnTo>
                    <a:pt x="19355" y="11090"/>
                  </a:lnTo>
                  <a:lnTo>
                    <a:pt x="18999" y="10965"/>
                  </a:lnTo>
                  <a:lnTo>
                    <a:pt x="18623" y="10797"/>
                  </a:lnTo>
                  <a:lnTo>
                    <a:pt x="18413" y="10609"/>
                  </a:lnTo>
                  <a:lnTo>
                    <a:pt x="18288" y="10588"/>
                  </a:lnTo>
                  <a:lnTo>
                    <a:pt x="17869" y="10567"/>
                  </a:lnTo>
                  <a:lnTo>
                    <a:pt x="17493" y="10567"/>
                  </a:lnTo>
                  <a:lnTo>
                    <a:pt x="17430" y="10546"/>
                  </a:lnTo>
                  <a:lnTo>
                    <a:pt x="17367" y="10588"/>
                  </a:lnTo>
                  <a:lnTo>
                    <a:pt x="17325" y="10651"/>
                  </a:lnTo>
                  <a:lnTo>
                    <a:pt x="17137" y="10713"/>
                  </a:lnTo>
                  <a:lnTo>
                    <a:pt x="16865" y="10755"/>
                  </a:lnTo>
                  <a:lnTo>
                    <a:pt x="16384" y="10693"/>
                  </a:lnTo>
                  <a:lnTo>
                    <a:pt x="16028" y="10713"/>
                  </a:lnTo>
                  <a:lnTo>
                    <a:pt x="15777" y="10693"/>
                  </a:lnTo>
                  <a:lnTo>
                    <a:pt x="15547" y="10713"/>
                  </a:lnTo>
                  <a:lnTo>
                    <a:pt x="15442" y="10755"/>
                  </a:lnTo>
                  <a:lnTo>
                    <a:pt x="15338" y="10713"/>
                  </a:lnTo>
                  <a:lnTo>
                    <a:pt x="15191" y="10462"/>
                  </a:lnTo>
                  <a:lnTo>
                    <a:pt x="15149" y="10337"/>
                  </a:lnTo>
                  <a:lnTo>
                    <a:pt x="15024" y="10169"/>
                  </a:lnTo>
                  <a:lnTo>
                    <a:pt x="14919" y="10044"/>
                  </a:lnTo>
                  <a:lnTo>
                    <a:pt x="14856" y="9877"/>
                  </a:lnTo>
                  <a:lnTo>
                    <a:pt x="14856" y="9814"/>
                  </a:lnTo>
                  <a:lnTo>
                    <a:pt x="14752" y="9709"/>
                  </a:lnTo>
                  <a:lnTo>
                    <a:pt x="14668" y="9667"/>
                  </a:lnTo>
                  <a:lnTo>
                    <a:pt x="14626" y="9667"/>
                  </a:lnTo>
                  <a:lnTo>
                    <a:pt x="14584" y="9604"/>
                  </a:lnTo>
                  <a:lnTo>
                    <a:pt x="14564" y="9500"/>
                  </a:lnTo>
                  <a:lnTo>
                    <a:pt x="14333" y="9500"/>
                  </a:lnTo>
                  <a:lnTo>
                    <a:pt x="14187" y="9416"/>
                  </a:lnTo>
                  <a:lnTo>
                    <a:pt x="13978" y="9249"/>
                  </a:lnTo>
                  <a:lnTo>
                    <a:pt x="13873" y="9249"/>
                  </a:lnTo>
                  <a:lnTo>
                    <a:pt x="13768" y="9228"/>
                  </a:lnTo>
                  <a:lnTo>
                    <a:pt x="13706" y="9186"/>
                  </a:lnTo>
                  <a:lnTo>
                    <a:pt x="13517" y="9040"/>
                  </a:lnTo>
                  <a:lnTo>
                    <a:pt x="13141" y="8977"/>
                  </a:lnTo>
                  <a:lnTo>
                    <a:pt x="13099" y="8977"/>
                  </a:lnTo>
                  <a:lnTo>
                    <a:pt x="13057" y="9019"/>
                  </a:lnTo>
                  <a:lnTo>
                    <a:pt x="12890" y="9019"/>
                  </a:lnTo>
                  <a:lnTo>
                    <a:pt x="12639" y="9040"/>
                  </a:lnTo>
                  <a:lnTo>
                    <a:pt x="12053" y="8914"/>
                  </a:lnTo>
                  <a:lnTo>
                    <a:pt x="11948" y="8830"/>
                  </a:lnTo>
                  <a:lnTo>
                    <a:pt x="11823" y="8663"/>
                  </a:lnTo>
                  <a:lnTo>
                    <a:pt x="11802" y="8558"/>
                  </a:lnTo>
                  <a:lnTo>
                    <a:pt x="11802" y="8475"/>
                  </a:lnTo>
                  <a:lnTo>
                    <a:pt x="11823" y="8412"/>
                  </a:lnTo>
                  <a:lnTo>
                    <a:pt x="11906" y="8349"/>
                  </a:lnTo>
                  <a:lnTo>
                    <a:pt x="11948" y="8244"/>
                  </a:lnTo>
                  <a:lnTo>
                    <a:pt x="11885" y="8161"/>
                  </a:lnTo>
                  <a:lnTo>
                    <a:pt x="11843" y="8035"/>
                  </a:lnTo>
                  <a:lnTo>
                    <a:pt x="11885" y="7952"/>
                  </a:lnTo>
                  <a:lnTo>
                    <a:pt x="11885" y="7826"/>
                  </a:lnTo>
                  <a:lnTo>
                    <a:pt x="11823" y="7763"/>
                  </a:lnTo>
                  <a:lnTo>
                    <a:pt x="11739" y="7638"/>
                  </a:lnTo>
                  <a:lnTo>
                    <a:pt x="11676" y="7575"/>
                  </a:lnTo>
                  <a:lnTo>
                    <a:pt x="11592" y="7533"/>
                  </a:lnTo>
                  <a:lnTo>
                    <a:pt x="11530" y="7428"/>
                  </a:lnTo>
                  <a:lnTo>
                    <a:pt x="11488" y="7345"/>
                  </a:lnTo>
                  <a:lnTo>
                    <a:pt x="11446" y="7240"/>
                  </a:lnTo>
                  <a:lnTo>
                    <a:pt x="11425" y="7136"/>
                  </a:lnTo>
                  <a:lnTo>
                    <a:pt x="11383" y="7052"/>
                  </a:lnTo>
                  <a:lnTo>
                    <a:pt x="11279" y="6989"/>
                  </a:lnTo>
                  <a:lnTo>
                    <a:pt x="11195" y="6947"/>
                  </a:lnTo>
                  <a:lnTo>
                    <a:pt x="11153" y="6884"/>
                  </a:lnTo>
                  <a:lnTo>
                    <a:pt x="11069" y="6843"/>
                  </a:lnTo>
                  <a:lnTo>
                    <a:pt x="10965" y="6843"/>
                  </a:lnTo>
                  <a:lnTo>
                    <a:pt x="10902" y="6905"/>
                  </a:lnTo>
                  <a:lnTo>
                    <a:pt x="10860" y="6926"/>
                  </a:lnTo>
                  <a:lnTo>
                    <a:pt x="10776" y="6905"/>
                  </a:lnTo>
                  <a:lnTo>
                    <a:pt x="10693" y="6801"/>
                  </a:lnTo>
                  <a:lnTo>
                    <a:pt x="10672" y="6738"/>
                  </a:lnTo>
                  <a:lnTo>
                    <a:pt x="10567" y="6738"/>
                  </a:lnTo>
                  <a:lnTo>
                    <a:pt x="10442" y="6801"/>
                  </a:lnTo>
                  <a:lnTo>
                    <a:pt x="10400" y="6843"/>
                  </a:lnTo>
                  <a:lnTo>
                    <a:pt x="10379" y="6926"/>
                  </a:lnTo>
                  <a:lnTo>
                    <a:pt x="10337" y="6926"/>
                  </a:lnTo>
                  <a:lnTo>
                    <a:pt x="10211" y="6843"/>
                  </a:lnTo>
                  <a:lnTo>
                    <a:pt x="10170" y="6780"/>
                  </a:lnTo>
                  <a:lnTo>
                    <a:pt x="10170" y="6717"/>
                  </a:lnTo>
                  <a:lnTo>
                    <a:pt x="10107" y="6633"/>
                  </a:lnTo>
                  <a:lnTo>
                    <a:pt x="10002" y="6571"/>
                  </a:lnTo>
                  <a:lnTo>
                    <a:pt x="9877" y="6466"/>
                  </a:lnTo>
                  <a:lnTo>
                    <a:pt x="9835" y="6424"/>
                  </a:lnTo>
                  <a:lnTo>
                    <a:pt x="9751" y="6382"/>
                  </a:lnTo>
                  <a:lnTo>
                    <a:pt x="9730" y="6299"/>
                  </a:lnTo>
                  <a:lnTo>
                    <a:pt x="9730" y="6215"/>
                  </a:lnTo>
                  <a:lnTo>
                    <a:pt x="9709" y="6173"/>
                  </a:lnTo>
                  <a:lnTo>
                    <a:pt x="9688" y="6173"/>
                  </a:lnTo>
                  <a:lnTo>
                    <a:pt x="9688" y="6215"/>
                  </a:lnTo>
                  <a:lnTo>
                    <a:pt x="9646" y="6215"/>
                  </a:lnTo>
                  <a:lnTo>
                    <a:pt x="9605" y="6152"/>
                  </a:lnTo>
                  <a:lnTo>
                    <a:pt x="9584" y="6110"/>
                  </a:lnTo>
                  <a:lnTo>
                    <a:pt x="9584" y="5985"/>
                  </a:lnTo>
                  <a:lnTo>
                    <a:pt x="9542" y="5943"/>
                  </a:lnTo>
                  <a:lnTo>
                    <a:pt x="9521" y="5943"/>
                  </a:lnTo>
                  <a:lnTo>
                    <a:pt x="9395" y="5880"/>
                  </a:lnTo>
                  <a:lnTo>
                    <a:pt x="9312" y="5880"/>
                  </a:lnTo>
                  <a:lnTo>
                    <a:pt x="9333" y="5901"/>
                  </a:lnTo>
                  <a:lnTo>
                    <a:pt x="9228" y="6006"/>
                  </a:lnTo>
                  <a:lnTo>
                    <a:pt x="9123" y="6068"/>
                  </a:lnTo>
                  <a:lnTo>
                    <a:pt x="8998" y="6215"/>
                  </a:lnTo>
                  <a:lnTo>
                    <a:pt x="8977" y="6319"/>
                  </a:lnTo>
                  <a:lnTo>
                    <a:pt x="9019" y="6382"/>
                  </a:lnTo>
                  <a:lnTo>
                    <a:pt x="8956" y="6508"/>
                  </a:lnTo>
                  <a:lnTo>
                    <a:pt x="8768" y="6571"/>
                  </a:lnTo>
                  <a:lnTo>
                    <a:pt x="8684" y="6633"/>
                  </a:lnTo>
                  <a:lnTo>
                    <a:pt x="8663" y="6780"/>
                  </a:lnTo>
                  <a:lnTo>
                    <a:pt x="8663" y="7010"/>
                  </a:lnTo>
                  <a:lnTo>
                    <a:pt x="8768" y="7240"/>
                  </a:lnTo>
                  <a:lnTo>
                    <a:pt x="8872" y="7408"/>
                  </a:lnTo>
                  <a:lnTo>
                    <a:pt x="8872" y="7470"/>
                  </a:lnTo>
                  <a:lnTo>
                    <a:pt x="8705" y="7638"/>
                  </a:lnTo>
                  <a:lnTo>
                    <a:pt x="8579" y="7680"/>
                  </a:lnTo>
                  <a:lnTo>
                    <a:pt x="8496" y="7784"/>
                  </a:lnTo>
                  <a:lnTo>
                    <a:pt x="8433" y="7826"/>
                  </a:lnTo>
                  <a:lnTo>
                    <a:pt x="8349" y="7826"/>
                  </a:lnTo>
                  <a:lnTo>
                    <a:pt x="8307" y="7742"/>
                  </a:lnTo>
                  <a:lnTo>
                    <a:pt x="8245" y="7742"/>
                  </a:lnTo>
                  <a:lnTo>
                    <a:pt x="8014" y="7784"/>
                  </a:lnTo>
                  <a:lnTo>
                    <a:pt x="7847" y="7763"/>
                  </a:lnTo>
                  <a:lnTo>
                    <a:pt x="7638" y="7680"/>
                  </a:lnTo>
                  <a:lnTo>
                    <a:pt x="7429" y="7680"/>
                  </a:lnTo>
                  <a:lnTo>
                    <a:pt x="7387" y="7952"/>
                  </a:lnTo>
                  <a:lnTo>
                    <a:pt x="7324" y="8098"/>
                  </a:lnTo>
                  <a:lnTo>
                    <a:pt x="7324" y="8244"/>
                  </a:lnTo>
                  <a:lnTo>
                    <a:pt x="7261" y="8579"/>
                  </a:lnTo>
                  <a:lnTo>
                    <a:pt x="7261" y="8830"/>
                  </a:lnTo>
                  <a:lnTo>
                    <a:pt x="7240" y="8914"/>
                  </a:lnTo>
                  <a:lnTo>
                    <a:pt x="7303" y="8977"/>
                  </a:lnTo>
                  <a:lnTo>
                    <a:pt x="7429" y="9019"/>
                  </a:lnTo>
                  <a:lnTo>
                    <a:pt x="7387" y="9144"/>
                  </a:lnTo>
                  <a:lnTo>
                    <a:pt x="7387" y="9228"/>
                  </a:lnTo>
                  <a:lnTo>
                    <a:pt x="7303" y="9228"/>
                  </a:lnTo>
                  <a:lnTo>
                    <a:pt x="7219" y="9291"/>
                  </a:lnTo>
                  <a:lnTo>
                    <a:pt x="7136" y="9291"/>
                  </a:lnTo>
                  <a:lnTo>
                    <a:pt x="7073" y="9228"/>
                  </a:lnTo>
                  <a:lnTo>
                    <a:pt x="6989" y="9249"/>
                  </a:lnTo>
                  <a:lnTo>
                    <a:pt x="6864" y="9291"/>
                  </a:lnTo>
                  <a:lnTo>
                    <a:pt x="6592" y="9332"/>
                  </a:lnTo>
                  <a:lnTo>
                    <a:pt x="6445" y="9416"/>
                  </a:lnTo>
                  <a:lnTo>
                    <a:pt x="6341" y="9416"/>
                  </a:lnTo>
                  <a:lnTo>
                    <a:pt x="6278" y="9353"/>
                  </a:lnTo>
                  <a:lnTo>
                    <a:pt x="6173" y="9416"/>
                  </a:lnTo>
                  <a:lnTo>
                    <a:pt x="6069" y="9521"/>
                  </a:lnTo>
                  <a:lnTo>
                    <a:pt x="6069" y="9604"/>
                  </a:lnTo>
                  <a:lnTo>
                    <a:pt x="6173" y="9667"/>
                  </a:lnTo>
                  <a:lnTo>
                    <a:pt x="6341" y="9646"/>
                  </a:lnTo>
                  <a:lnTo>
                    <a:pt x="6466" y="9667"/>
                  </a:lnTo>
                  <a:lnTo>
                    <a:pt x="6466" y="9730"/>
                  </a:lnTo>
                  <a:lnTo>
                    <a:pt x="6382" y="9814"/>
                  </a:lnTo>
                  <a:lnTo>
                    <a:pt x="6445" y="9981"/>
                  </a:lnTo>
                  <a:lnTo>
                    <a:pt x="6445" y="10065"/>
                  </a:lnTo>
                  <a:lnTo>
                    <a:pt x="6487" y="10149"/>
                  </a:lnTo>
                  <a:lnTo>
                    <a:pt x="6508" y="10253"/>
                  </a:lnTo>
                  <a:lnTo>
                    <a:pt x="6613" y="10441"/>
                  </a:lnTo>
                  <a:lnTo>
                    <a:pt x="6654" y="10546"/>
                  </a:lnTo>
                  <a:lnTo>
                    <a:pt x="6780" y="10609"/>
                  </a:lnTo>
                  <a:lnTo>
                    <a:pt x="6822" y="10860"/>
                  </a:lnTo>
                  <a:lnTo>
                    <a:pt x="6738" y="10923"/>
                  </a:lnTo>
                  <a:lnTo>
                    <a:pt x="6696" y="11027"/>
                  </a:lnTo>
                  <a:lnTo>
                    <a:pt x="6801" y="11132"/>
                  </a:lnTo>
                  <a:lnTo>
                    <a:pt x="6738" y="11174"/>
                  </a:lnTo>
                  <a:lnTo>
                    <a:pt x="6738" y="11216"/>
                  </a:lnTo>
                  <a:lnTo>
                    <a:pt x="6613" y="11299"/>
                  </a:lnTo>
                  <a:lnTo>
                    <a:pt x="6654" y="11446"/>
                  </a:lnTo>
                  <a:lnTo>
                    <a:pt x="6508" y="11509"/>
                  </a:lnTo>
                  <a:lnTo>
                    <a:pt x="6278" y="11446"/>
                  </a:lnTo>
                  <a:lnTo>
                    <a:pt x="6027" y="11174"/>
                  </a:lnTo>
                  <a:lnTo>
                    <a:pt x="5922" y="11195"/>
                  </a:lnTo>
                  <a:lnTo>
                    <a:pt x="5671" y="11090"/>
                  </a:lnTo>
                  <a:lnTo>
                    <a:pt x="5336" y="11090"/>
                  </a:lnTo>
                  <a:lnTo>
                    <a:pt x="5148" y="11132"/>
                  </a:lnTo>
                  <a:lnTo>
                    <a:pt x="4876" y="11069"/>
                  </a:lnTo>
                  <a:lnTo>
                    <a:pt x="4583" y="11132"/>
                  </a:lnTo>
                  <a:lnTo>
                    <a:pt x="4457" y="11132"/>
                  </a:lnTo>
                  <a:lnTo>
                    <a:pt x="4311" y="11111"/>
                  </a:lnTo>
                  <a:lnTo>
                    <a:pt x="4206" y="11195"/>
                  </a:lnTo>
                  <a:lnTo>
                    <a:pt x="4102" y="11237"/>
                  </a:lnTo>
                  <a:lnTo>
                    <a:pt x="3767" y="11195"/>
                  </a:lnTo>
                  <a:lnTo>
                    <a:pt x="3558" y="11132"/>
                  </a:lnTo>
                  <a:lnTo>
                    <a:pt x="3432" y="11069"/>
                  </a:lnTo>
                  <a:lnTo>
                    <a:pt x="3244" y="11069"/>
                  </a:lnTo>
                  <a:lnTo>
                    <a:pt x="3202" y="11111"/>
                  </a:lnTo>
                  <a:lnTo>
                    <a:pt x="3035" y="11090"/>
                  </a:lnTo>
                  <a:lnTo>
                    <a:pt x="2930" y="11069"/>
                  </a:lnTo>
                  <a:lnTo>
                    <a:pt x="2888" y="11111"/>
                  </a:lnTo>
                  <a:lnTo>
                    <a:pt x="2888" y="11237"/>
                  </a:lnTo>
                  <a:lnTo>
                    <a:pt x="2909" y="11383"/>
                  </a:lnTo>
                  <a:lnTo>
                    <a:pt x="2930" y="11509"/>
                  </a:lnTo>
                  <a:lnTo>
                    <a:pt x="2742" y="11550"/>
                  </a:lnTo>
                  <a:lnTo>
                    <a:pt x="2386" y="11550"/>
                  </a:lnTo>
                  <a:lnTo>
                    <a:pt x="1968" y="11509"/>
                  </a:lnTo>
                  <a:lnTo>
                    <a:pt x="1863" y="11446"/>
                  </a:lnTo>
                  <a:lnTo>
                    <a:pt x="1675" y="11425"/>
                  </a:lnTo>
                  <a:lnTo>
                    <a:pt x="1570" y="11550"/>
                  </a:lnTo>
                  <a:lnTo>
                    <a:pt x="1591" y="11613"/>
                  </a:lnTo>
                  <a:lnTo>
                    <a:pt x="1465" y="11697"/>
                  </a:lnTo>
                  <a:lnTo>
                    <a:pt x="1465" y="11739"/>
                  </a:lnTo>
                  <a:lnTo>
                    <a:pt x="1507" y="11739"/>
                  </a:lnTo>
                  <a:lnTo>
                    <a:pt x="1507" y="11864"/>
                  </a:lnTo>
                  <a:lnTo>
                    <a:pt x="1340" y="12157"/>
                  </a:lnTo>
                  <a:lnTo>
                    <a:pt x="1256" y="12283"/>
                  </a:lnTo>
                  <a:lnTo>
                    <a:pt x="1361" y="12366"/>
                  </a:lnTo>
                  <a:lnTo>
                    <a:pt x="1633" y="12450"/>
                  </a:lnTo>
                  <a:lnTo>
                    <a:pt x="1737" y="12555"/>
                  </a:lnTo>
                  <a:lnTo>
                    <a:pt x="1842" y="12576"/>
                  </a:lnTo>
                  <a:lnTo>
                    <a:pt x="1947" y="12471"/>
                  </a:lnTo>
                  <a:lnTo>
                    <a:pt x="1947" y="12325"/>
                  </a:lnTo>
                  <a:lnTo>
                    <a:pt x="2009" y="12325"/>
                  </a:lnTo>
                  <a:lnTo>
                    <a:pt x="2302" y="12555"/>
                  </a:lnTo>
                  <a:lnTo>
                    <a:pt x="2323" y="12659"/>
                  </a:lnTo>
                  <a:lnTo>
                    <a:pt x="2177" y="12848"/>
                  </a:lnTo>
                  <a:lnTo>
                    <a:pt x="1968" y="12848"/>
                  </a:lnTo>
                  <a:lnTo>
                    <a:pt x="1675" y="12890"/>
                  </a:lnTo>
                  <a:lnTo>
                    <a:pt x="1654" y="12785"/>
                  </a:lnTo>
                  <a:lnTo>
                    <a:pt x="1507" y="12659"/>
                  </a:lnTo>
                  <a:lnTo>
                    <a:pt x="1340" y="12869"/>
                  </a:lnTo>
                  <a:lnTo>
                    <a:pt x="1235" y="12848"/>
                  </a:lnTo>
                  <a:lnTo>
                    <a:pt x="1068" y="12973"/>
                  </a:lnTo>
                  <a:lnTo>
                    <a:pt x="921" y="13015"/>
                  </a:lnTo>
                  <a:lnTo>
                    <a:pt x="921" y="13162"/>
                  </a:lnTo>
                  <a:lnTo>
                    <a:pt x="1110" y="13224"/>
                  </a:lnTo>
                  <a:lnTo>
                    <a:pt x="1068" y="13371"/>
                  </a:lnTo>
                  <a:lnTo>
                    <a:pt x="900" y="13434"/>
                  </a:lnTo>
                  <a:lnTo>
                    <a:pt x="628" y="13496"/>
                  </a:lnTo>
                  <a:lnTo>
                    <a:pt x="691" y="13538"/>
                  </a:lnTo>
                  <a:lnTo>
                    <a:pt x="733" y="13622"/>
                  </a:lnTo>
                  <a:lnTo>
                    <a:pt x="503" y="13706"/>
                  </a:lnTo>
                  <a:lnTo>
                    <a:pt x="503" y="13831"/>
                  </a:lnTo>
                  <a:lnTo>
                    <a:pt x="398" y="13852"/>
                  </a:lnTo>
                  <a:lnTo>
                    <a:pt x="126" y="13831"/>
                  </a:lnTo>
                  <a:lnTo>
                    <a:pt x="1" y="13936"/>
                  </a:lnTo>
                  <a:lnTo>
                    <a:pt x="1" y="14103"/>
                  </a:lnTo>
                  <a:lnTo>
                    <a:pt x="168" y="14333"/>
                  </a:lnTo>
                  <a:lnTo>
                    <a:pt x="273" y="14270"/>
                  </a:lnTo>
                  <a:lnTo>
                    <a:pt x="419" y="14250"/>
                  </a:lnTo>
                  <a:lnTo>
                    <a:pt x="440" y="14375"/>
                  </a:lnTo>
                  <a:lnTo>
                    <a:pt x="398" y="14522"/>
                  </a:lnTo>
                  <a:lnTo>
                    <a:pt x="461" y="14668"/>
                  </a:lnTo>
                  <a:lnTo>
                    <a:pt x="587" y="14731"/>
                  </a:lnTo>
                  <a:lnTo>
                    <a:pt x="607" y="14877"/>
                  </a:lnTo>
                  <a:lnTo>
                    <a:pt x="545" y="14940"/>
                  </a:lnTo>
                  <a:lnTo>
                    <a:pt x="419" y="15212"/>
                  </a:lnTo>
                  <a:lnTo>
                    <a:pt x="377" y="15589"/>
                  </a:lnTo>
                  <a:lnTo>
                    <a:pt x="335" y="15526"/>
                  </a:lnTo>
                  <a:lnTo>
                    <a:pt x="440" y="15693"/>
                  </a:lnTo>
                  <a:lnTo>
                    <a:pt x="545" y="15714"/>
                  </a:lnTo>
                  <a:lnTo>
                    <a:pt x="733" y="15693"/>
                  </a:lnTo>
                  <a:lnTo>
                    <a:pt x="859" y="15610"/>
                  </a:lnTo>
                  <a:lnTo>
                    <a:pt x="921" y="15526"/>
                  </a:lnTo>
                  <a:lnTo>
                    <a:pt x="984" y="15505"/>
                  </a:lnTo>
                  <a:lnTo>
                    <a:pt x="1047" y="15463"/>
                  </a:lnTo>
                  <a:lnTo>
                    <a:pt x="1110" y="15484"/>
                  </a:lnTo>
                  <a:lnTo>
                    <a:pt x="1172" y="15568"/>
                  </a:lnTo>
                  <a:lnTo>
                    <a:pt x="1361" y="15589"/>
                  </a:lnTo>
                  <a:lnTo>
                    <a:pt x="1361" y="15505"/>
                  </a:lnTo>
                  <a:lnTo>
                    <a:pt x="1319" y="15463"/>
                  </a:lnTo>
                  <a:lnTo>
                    <a:pt x="1319" y="15358"/>
                  </a:lnTo>
                  <a:lnTo>
                    <a:pt x="1444" y="15317"/>
                  </a:lnTo>
                  <a:lnTo>
                    <a:pt x="1486" y="15275"/>
                  </a:lnTo>
                  <a:lnTo>
                    <a:pt x="1549" y="15275"/>
                  </a:lnTo>
                  <a:lnTo>
                    <a:pt x="1570" y="15317"/>
                  </a:lnTo>
                  <a:lnTo>
                    <a:pt x="1695" y="15317"/>
                  </a:lnTo>
                  <a:lnTo>
                    <a:pt x="1779" y="15191"/>
                  </a:lnTo>
                  <a:lnTo>
                    <a:pt x="1758" y="15045"/>
                  </a:lnTo>
                  <a:lnTo>
                    <a:pt x="1779" y="14961"/>
                  </a:lnTo>
                  <a:lnTo>
                    <a:pt x="1863" y="14898"/>
                  </a:lnTo>
                  <a:lnTo>
                    <a:pt x="1884" y="14731"/>
                  </a:lnTo>
                  <a:lnTo>
                    <a:pt x="1947" y="14626"/>
                  </a:lnTo>
                  <a:lnTo>
                    <a:pt x="2072" y="14626"/>
                  </a:lnTo>
                  <a:lnTo>
                    <a:pt x="2177" y="14689"/>
                  </a:lnTo>
                  <a:lnTo>
                    <a:pt x="2281" y="14752"/>
                  </a:lnTo>
                  <a:lnTo>
                    <a:pt x="2281" y="14835"/>
                  </a:lnTo>
                  <a:lnTo>
                    <a:pt x="2260" y="14982"/>
                  </a:lnTo>
                  <a:lnTo>
                    <a:pt x="2281" y="15086"/>
                  </a:lnTo>
                  <a:lnTo>
                    <a:pt x="2386" y="15086"/>
                  </a:lnTo>
                  <a:lnTo>
                    <a:pt x="2428" y="15191"/>
                  </a:lnTo>
                  <a:lnTo>
                    <a:pt x="2407" y="15317"/>
                  </a:lnTo>
                  <a:lnTo>
                    <a:pt x="2428" y="15463"/>
                  </a:lnTo>
                  <a:lnTo>
                    <a:pt x="2428" y="15672"/>
                  </a:lnTo>
                  <a:lnTo>
                    <a:pt x="2532" y="15798"/>
                  </a:lnTo>
                  <a:lnTo>
                    <a:pt x="2532" y="15882"/>
                  </a:lnTo>
                  <a:lnTo>
                    <a:pt x="2637" y="15903"/>
                  </a:lnTo>
                  <a:lnTo>
                    <a:pt x="2784" y="15903"/>
                  </a:lnTo>
                  <a:lnTo>
                    <a:pt x="2888" y="15819"/>
                  </a:lnTo>
                  <a:lnTo>
                    <a:pt x="2909" y="15777"/>
                  </a:lnTo>
                  <a:lnTo>
                    <a:pt x="3076" y="15693"/>
                  </a:lnTo>
                  <a:lnTo>
                    <a:pt x="3202" y="15610"/>
                  </a:lnTo>
                  <a:lnTo>
                    <a:pt x="3223" y="15484"/>
                  </a:lnTo>
                  <a:lnTo>
                    <a:pt x="3307" y="15421"/>
                  </a:lnTo>
                  <a:lnTo>
                    <a:pt x="3558" y="15275"/>
                  </a:lnTo>
                  <a:lnTo>
                    <a:pt x="3725" y="15212"/>
                  </a:lnTo>
                  <a:lnTo>
                    <a:pt x="3746" y="15358"/>
                  </a:lnTo>
                  <a:lnTo>
                    <a:pt x="3976" y="15317"/>
                  </a:lnTo>
                  <a:lnTo>
                    <a:pt x="4039" y="15212"/>
                  </a:lnTo>
                  <a:lnTo>
                    <a:pt x="4290" y="15212"/>
                  </a:lnTo>
                  <a:lnTo>
                    <a:pt x="4311" y="15317"/>
                  </a:lnTo>
                  <a:lnTo>
                    <a:pt x="4123" y="15484"/>
                  </a:lnTo>
                  <a:lnTo>
                    <a:pt x="4248" y="15505"/>
                  </a:lnTo>
                  <a:lnTo>
                    <a:pt x="4290" y="15463"/>
                  </a:lnTo>
                  <a:lnTo>
                    <a:pt x="4374" y="15463"/>
                  </a:lnTo>
                  <a:lnTo>
                    <a:pt x="4478" y="15526"/>
                  </a:lnTo>
                  <a:lnTo>
                    <a:pt x="4520" y="15505"/>
                  </a:lnTo>
                  <a:lnTo>
                    <a:pt x="4625" y="15505"/>
                  </a:lnTo>
                  <a:lnTo>
                    <a:pt x="4688" y="15463"/>
                  </a:lnTo>
                  <a:lnTo>
                    <a:pt x="4729" y="15400"/>
                  </a:lnTo>
                  <a:lnTo>
                    <a:pt x="4813" y="15400"/>
                  </a:lnTo>
                  <a:lnTo>
                    <a:pt x="4897" y="15484"/>
                  </a:lnTo>
                  <a:lnTo>
                    <a:pt x="4981" y="15672"/>
                  </a:lnTo>
                  <a:lnTo>
                    <a:pt x="5232" y="16049"/>
                  </a:lnTo>
                  <a:lnTo>
                    <a:pt x="5357" y="16133"/>
                  </a:lnTo>
                  <a:lnTo>
                    <a:pt x="5399" y="16300"/>
                  </a:lnTo>
                  <a:lnTo>
                    <a:pt x="5462" y="16363"/>
                  </a:lnTo>
                  <a:lnTo>
                    <a:pt x="5545" y="16447"/>
                  </a:lnTo>
                  <a:lnTo>
                    <a:pt x="5776" y="16467"/>
                  </a:lnTo>
                  <a:lnTo>
                    <a:pt x="5985" y="16467"/>
                  </a:lnTo>
                  <a:lnTo>
                    <a:pt x="6089" y="16509"/>
                  </a:lnTo>
                  <a:lnTo>
                    <a:pt x="6131" y="16635"/>
                  </a:lnTo>
                  <a:lnTo>
                    <a:pt x="6361" y="16719"/>
                  </a:lnTo>
                  <a:lnTo>
                    <a:pt x="6550" y="16823"/>
                  </a:lnTo>
                  <a:lnTo>
                    <a:pt x="6654" y="17095"/>
                  </a:lnTo>
                  <a:lnTo>
                    <a:pt x="6801" y="17263"/>
                  </a:lnTo>
                  <a:lnTo>
                    <a:pt x="6989" y="17367"/>
                  </a:lnTo>
                  <a:lnTo>
                    <a:pt x="7073" y="17514"/>
                  </a:lnTo>
                  <a:lnTo>
                    <a:pt x="7073" y="17786"/>
                  </a:lnTo>
                  <a:lnTo>
                    <a:pt x="7177" y="18037"/>
                  </a:lnTo>
                  <a:lnTo>
                    <a:pt x="7324" y="18079"/>
                  </a:lnTo>
                  <a:lnTo>
                    <a:pt x="7387" y="18330"/>
                  </a:lnTo>
                  <a:lnTo>
                    <a:pt x="7429" y="18539"/>
                  </a:lnTo>
                  <a:lnTo>
                    <a:pt x="7345" y="18664"/>
                  </a:lnTo>
                  <a:lnTo>
                    <a:pt x="7324" y="18602"/>
                  </a:lnTo>
                  <a:lnTo>
                    <a:pt x="7219" y="18539"/>
                  </a:lnTo>
                  <a:lnTo>
                    <a:pt x="7073" y="18727"/>
                  </a:lnTo>
                  <a:lnTo>
                    <a:pt x="7094" y="18811"/>
                  </a:lnTo>
                  <a:lnTo>
                    <a:pt x="7115" y="18874"/>
                  </a:lnTo>
                  <a:lnTo>
                    <a:pt x="7261" y="18957"/>
                  </a:lnTo>
                  <a:lnTo>
                    <a:pt x="7240" y="19188"/>
                  </a:lnTo>
                  <a:lnTo>
                    <a:pt x="7303" y="19292"/>
                  </a:lnTo>
                  <a:lnTo>
                    <a:pt x="7261" y="19376"/>
                  </a:lnTo>
                  <a:lnTo>
                    <a:pt x="7324" y="19397"/>
                  </a:lnTo>
                  <a:lnTo>
                    <a:pt x="7408" y="19501"/>
                  </a:lnTo>
                  <a:lnTo>
                    <a:pt x="7408" y="19606"/>
                  </a:lnTo>
                  <a:lnTo>
                    <a:pt x="7449" y="19606"/>
                  </a:lnTo>
                  <a:lnTo>
                    <a:pt x="7491" y="19752"/>
                  </a:lnTo>
                  <a:lnTo>
                    <a:pt x="7617" y="19794"/>
                  </a:lnTo>
                  <a:lnTo>
                    <a:pt x="7701" y="19690"/>
                  </a:lnTo>
                  <a:lnTo>
                    <a:pt x="7826" y="19690"/>
                  </a:lnTo>
                  <a:lnTo>
                    <a:pt x="7868" y="19773"/>
                  </a:lnTo>
                  <a:lnTo>
                    <a:pt x="8014" y="19794"/>
                  </a:lnTo>
                  <a:lnTo>
                    <a:pt x="8119" y="19899"/>
                  </a:lnTo>
                  <a:lnTo>
                    <a:pt x="8182" y="19920"/>
                  </a:lnTo>
                  <a:lnTo>
                    <a:pt x="8266" y="20087"/>
                  </a:lnTo>
                  <a:lnTo>
                    <a:pt x="8370" y="20087"/>
                  </a:lnTo>
                  <a:lnTo>
                    <a:pt x="8391" y="20192"/>
                  </a:lnTo>
                  <a:lnTo>
                    <a:pt x="8433" y="20171"/>
                  </a:lnTo>
                  <a:lnTo>
                    <a:pt x="8454" y="20129"/>
                  </a:lnTo>
                  <a:lnTo>
                    <a:pt x="8600" y="20213"/>
                  </a:lnTo>
                  <a:lnTo>
                    <a:pt x="8663" y="20296"/>
                  </a:lnTo>
                  <a:lnTo>
                    <a:pt x="8768" y="20296"/>
                  </a:lnTo>
                  <a:lnTo>
                    <a:pt x="8830" y="20317"/>
                  </a:lnTo>
                  <a:lnTo>
                    <a:pt x="8893" y="20213"/>
                  </a:lnTo>
                  <a:lnTo>
                    <a:pt x="9061" y="20192"/>
                  </a:lnTo>
                  <a:lnTo>
                    <a:pt x="9270" y="20276"/>
                  </a:lnTo>
                  <a:lnTo>
                    <a:pt x="9312" y="20338"/>
                  </a:lnTo>
                  <a:lnTo>
                    <a:pt x="9437" y="20338"/>
                  </a:lnTo>
                  <a:lnTo>
                    <a:pt x="9542" y="20401"/>
                  </a:lnTo>
                  <a:lnTo>
                    <a:pt x="9709" y="20589"/>
                  </a:lnTo>
                  <a:lnTo>
                    <a:pt x="9835" y="20589"/>
                  </a:lnTo>
                  <a:lnTo>
                    <a:pt x="9960" y="20652"/>
                  </a:lnTo>
                  <a:lnTo>
                    <a:pt x="10023" y="20715"/>
                  </a:lnTo>
                  <a:lnTo>
                    <a:pt x="10128" y="20840"/>
                  </a:lnTo>
                  <a:lnTo>
                    <a:pt x="10170" y="20966"/>
                  </a:lnTo>
                  <a:lnTo>
                    <a:pt x="10232" y="20945"/>
                  </a:lnTo>
                  <a:lnTo>
                    <a:pt x="10232" y="20757"/>
                  </a:lnTo>
                  <a:lnTo>
                    <a:pt x="10316" y="20715"/>
                  </a:lnTo>
                  <a:lnTo>
                    <a:pt x="10337" y="20757"/>
                  </a:lnTo>
                  <a:lnTo>
                    <a:pt x="10462" y="20757"/>
                  </a:lnTo>
                  <a:lnTo>
                    <a:pt x="10588" y="20840"/>
                  </a:lnTo>
                  <a:lnTo>
                    <a:pt x="10588" y="21008"/>
                  </a:lnTo>
                  <a:lnTo>
                    <a:pt x="10755" y="21133"/>
                  </a:lnTo>
                  <a:lnTo>
                    <a:pt x="10923" y="21071"/>
                  </a:lnTo>
                  <a:lnTo>
                    <a:pt x="11069" y="21071"/>
                  </a:lnTo>
                  <a:lnTo>
                    <a:pt x="11048" y="21322"/>
                  </a:lnTo>
                  <a:lnTo>
                    <a:pt x="11090" y="21468"/>
                  </a:lnTo>
                  <a:lnTo>
                    <a:pt x="11195" y="21447"/>
                  </a:lnTo>
                  <a:lnTo>
                    <a:pt x="11362" y="21531"/>
                  </a:lnTo>
                  <a:lnTo>
                    <a:pt x="11425" y="21447"/>
                  </a:lnTo>
                  <a:lnTo>
                    <a:pt x="11571" y="21426"/>
                  </a:lnTo>
                  <a:lnTo>
                    <a:pt x="11676" y="21322"/>
                  </a:lnTo>
                  <a:lnTo>
                    <a:pt x="11885" y="21322"/>
                  </a:lnTo>
                  <a:lnTo>
                    <a:pt x="12011" y="21384"/>
                  </a:lnTo>
                  <a:lnTo>
                    <a:pt x="12053" y="21531"/>
                  </a:lnTo>
                  <a:lnTo>
                    <a:pt x="12220" y="21594"/>
                  </a:lnTo>
                  <a:lnTo>
                    <a:pt x="12346" y="21761"/>
                  </a:lnTo>
                  <a:lnTo>
                    <a:pt x="12429" y="21782"/>
                  </a:lnTo>
                  <a:lnTo>
                    <a:pt x="12576" y="21740"/>
                  </a:lnTo>
                  <a:lnTo>
                    <a:pt x="12639" y="21761"/>
                  </a:lnTo>
                  <a:lnTo>
                    <a:pt x="12785" y="21698"/>
                  </a:lnTo>
                  <a:lnTo>
                    <a:pt x="12931" y="21698"/>
                  </a:lnTo>
                  <a:lnTo>
                    <a:pt x="13015" y="21594"/>
                  </a:lnTo>
                  <a:lnTo>
                    <a:pt x="13162" y="21594"/>
                  </a:lnTo>
                  <a:lnTo>
                    <a:pt x="13203" y="21698"/>
                  </a:lnTo>
                  <a:lnTo>
                    <a:pt x="13245" y="21866"/>
                  </a:lnTo>
                  <a:lnTo>
                    <a:pt x="13350" y="21949"/>
                  </a:lnTo>
                  <a:lnTo>
                    <a:pt x="13475" y="21887"/>
                  </a:lnTo>
                  <a:lnTo>
                    <a:pt x="13601" y="21636"/>
                  </a:lnTo>
                  <a:lnTo>
                    <a:pt x="13873" y="21468"/>
                  </a:lnTo>
                  <a:lnTo>
                    <a:pt x="14040" y="21447"/>
                  </a:lnTo>
                  <a:lnTo>
                    <a:pt x="14124" y="21552"/>
                  </a:lnTo>
                  <a:lnTo>
                    <a:pt x="14396" y="21573"/>
                  </a:lnTo>
                  <a:lnTo>
                    <a:pt x="14501" y="21636"/>
                  </a:lnTo>
                  <a:lnTo>
                    <a:pt x="14647" y="21552"/>
                  </a:lnTo>
                  <a:lnTo>
                    <a:pt x="14815" y="21573"/>
                  </a:lnTo>
                  <a:lnTo>
                    <a:pt x="14877" y="21677"/>
                  </a:lnTo>
                  <a:lnTo>
                    <a:pt x="14982" y="21677"/>
                  </a:lnTo>
                  <a:lnTo>
                    <a:pt x="15191" y="21636"/>
                  </a:lnTo>
                  <a:lnTo>
                    <a:pt x="15296" y="21636"/>
                  </a:lnTo>
                  <a:lnTo>
                    <a:pt x="15359" y="21468"/>
                  </a:lnTo>
                  <a:lnTo>
                    <a:pt x="15442" y="21426"/>
                  </a:lnTo>
                  <a:lnTo>
                    <a:pt x="15547" y="21447"/>
                  </a:lnTo>
                  <a:lnTo>
                    <a:pt x="15547" y="21364"/>
                  </a:lnTo>
                  <a:lnTo>
                    <a:pt x="15631" y="21343"/>
                  </a:lnTo>
                  <a:lnTo>
                    <a:pt x="15693" y="21217"/>
                  </a:lnTo>
                  <a:lnTo>
                    <a:pt x="15798" y="21112"/>
                  </a:lnTo>
                  <a:lnTo>
                    <a:pt x="15903" y="21071"/>
                  </a:lnTo>
                  <a:lnTo>
                    <a:pt x="16133" y="21029"/>
                  </a:lnTo>
                  <a:lnTo>
                    <a:pt x="16237" y="20861"/>
                  </a:lnTo>
                  <a:lnTo>
                    <a:pt x="16237" y="20736"/>
                  </a:lnTo>
                  <a:lnTo>
                    <a:pt x="16321" y="20736"/>
                  </a:lnTo>
                  <a:lnTo>
                    <a:pt x="16447" y="20631"/>
                  </a:lnTo>
                  <a:lnTo>
                    <a:pt x="16551" y="20799"/>
                  </a:lnTo>
                  <a:lnTo>
                    <a:pt x="16719" y="20736"/>
                  </a:lnTo>
                  <a:lnTo>
                    <a:pt x="16928" y="20820"/>
                  </a:lnTo>
                  <a:lnTo>
                    <a:pt x="17012" y="20757"/>
                  </a:lnTo>
                  <a:lnTo>
                    <a:pt x="16970" y="20652"/>
                  </a:lnTo>
                  <a:lnTo>
                    <a:pt x="17242" y="20506"/>
                  </a:lnTo>
                  <a:lnTo>
                    <a:pt x="17325" y="20527"/>
                  </a:lnTo>
                  <a:lnTo>
                    <a:pt x="17367" y="20610"/>
                  </a:lnTo>
                  <a:lnTo>
                    <a:pt x="17451" y="20610"/>
                  </a:lnTo>
                  <a:lnTo>
                    <a:pt x="17472" y="20652"/>
                  </a:lnTo>
                  <a:lnTo>
                    <a:pt x="17388" y="20820"/>
                  </a:lnTo>
                  <a:lnTo>
                    <a:pt x="17451" y="20903"/>
                  </a:lnTo>
                  <a:lnTo>
                    <a:pt x="17535" y="20903"/>
                  </a:lnTo>
                  <a:lnTo>
                    <a:pt x="17597" y="20861"/>
                  </a:lnTo>
                  <a:lnTo>
                    <a:pt x="17639" y="20945"/>
                  </a:lnTo>
                  <a:lnTo>
                    <a:pt x="17702" y="21050"/>
                  </a:lnTo>
                  <a:lnTo>
                    <a:pt x="17702" y="21133"/>
                  </a:lnTo>
                  <a:lnTo>
                    <a:pt x="17597" y="21238"/>
                  </a:lnTo>
                  <a:lnTo>
                    <a:pt x="17639" y="21343"/>
                  </a:lnTo>
                  <a:lnTo>
                    <a:pt x="17765" y="21364"/>
                  </a:lnTo>
                  <a:lnTo>
                    <a:pt x="17849" y="21322"/>
                  </a:lnTo>
                  <a:lnTo>
                    <a:pt x="17953" y="21364"/>
                  </a:lnTo>
                  <a:lnTo>
                    <a:pt x="18016" y="21468"/>
                  </a:lnTo>
                  <a:lnTo>
                    <a:pt x="18121" y="21426"/>
                  </a:lnTo>
                  <a:lnTo>
                    <a:pt x="18246" y="21468"/>
                  </a:lnTo>
                  <a:lnTo>
                    <a:pt x="18330" y="21426"/>
                  </a:lnTo>
                  <a:lnTo>
                    <a:pt x="18497" y="21426"/>
                  </a:lnTo>
                  <a:lnTo>
                    <a:pt x="18539" y="21573"/>
                  </a:lnTo>
                  <a:lnTo>
                    <a:pt x="18685" y="21677"/>
                  </a:lnTo>
                  <a:lnTo>
                    <a:pt x="18706" y="21845"/>
                  </a:lnTo>
                  <a:lnTo>
                    <a:pt x="18811" y="21845"/>
                  </a:lnTo>
                  <a:lnTo>
                    <a:pt x="18916" y="21970"/>
                  </a:lnTo>
                  <a:lnTo>
                    <a:pt x="18916" y="22117"/>
                  </a:lnTo>
                  <a:lnTo>
                    <a:pt x="18999" y="22326"/>
                  </a:lnTo>
                  <a:lnTo>
                    <a:pt x="19020" y="22493"/>
                  </a:lnTo>
                  <a:lnTo>
                    <a:pt x="18999" y="22745"/>
                  </a:lnTo>
                  <a:lnTo>
                    <a:pt x="18999" y="22849"/>
                  </a:lnTo>
                  <a:lnTo>
                    <a:pt x="18957" y="22933"/>
                  </a:lnTo>
                  <a:lnTo>
                    <a:pt x="18853" y="22996"/>
                  </a:lnTo>
                  <a:lnTo>
                    <a:pt x="18832" y="23100"/>
                  </a:lnTo>
                  <a:lnTo>
                    <a:pt x="18769" y="23121"/>
                  </a:lnTo>
                  <a:lnTo>
                    <a:pt x="18748" y="23205"/>
                  </a:lnTo>
                  <a:lnTo>
                    <a:pt x="18811" y="23309"/>
                  </a:lnTo>
                  <a:lnTo>
                    <a:pt x="18748" y="23351"/>
                  </a:lnTo>
                  <a:lnTo>
                    <a:pt x="18685" y="23330"/>
                  </a:lnTo>
                  <a:lnTo>
                    <a:pt x="18602" y="23435"/>
                  </a:lnTo>
                  <a:lnTo>
                    <a:pt x="18539" y="23519"/>
                  </a:lnTo>
                  <a:lnTo>
                    <a:pt x="18602" y="23581"/>
                  </a:lnTo>
                  <a:lnTo>
                    <a:pt x="18539" y="23665"/>
                  </a:lnTo>
                  <a:lnTo>
                    <a:pt x="18539" y="23770"/>
                  </a:lnTo>
                  <a:lnTo>
                    <a:pt x="18644" y="23833"/>
                  </a:lnTo>
                  <a:lnTo>
                    <a:pt x="18706" y="23895"/>
                  </a:lnTo>
                  <a:lnTo>
                    <a:pt x="18769" y="23958"/>
                  </a:lnTo>
                  <a:lnTo>
                    <a:pt x="18748" y="24105"/>
                  </a:lnTo>
                  <a:lnTo>
                    <a:pt x="18811" y="24251"/>
                  </a:lnTo>
                  <a:lnTo>
                    <a:pt x="18937" y="24146"/>
                  </a:lnTo>
                  <a:lnTo>
                    <a:pt x="19209" y="24084"/>
                  </a:lnTo>
                  <a:lnTo>
                    <a:pt x="19229" y="24167"/>
                  </a:lnTo>
                  <a:lnTo>
                    <a:pt x="19209" y="24251"/>
                  </a:lnTo>
                  <a:lnTo>
                    <a:pt x="19271" y="24293"/>
                  </a:lnTo>
                  <a:lnTo>
                    <a:pt x="19418" y="24272"/>
                  </a:lnTo>
                  <a:lnTo>
                    <a:pt x="19439" y="24377"/>
                  </a:lnTo>
                  <a:lnTo>
                    <a:pt x="19418" y="24481"/>
                  </a:lnTo>
                  <a:lnTo>
                    <a:pt x="19481" y="24565"/>
                  </a:lnTo>
                  <a:lnTo>
                    <a:pt x="19627" y="24586"/>
                  </a:lnTo>
                  <a:lnTo>
                    <a:pt x="19585" y="24628"/>
                  </a:lnTo>
                  <a:lnTo>
                    <a:pt x="19648" y="24711"/>
                  </a:lnTo>
                  <a:lnTo>
                    <a:pt x="19669" y="24670"/>
                  </a:lnTo>
                  <a:lnTo>
                    <a:pt x="19815" y="24670"/>
                  </a:lnTo>
                  <a:lnTo>
                    <a:pt x="19941" y="24732"/>
                  </a:lnTo>
                  <a:lnTo>
                    <a:pt x="19941" y="24816"/>
                  </a:lnTo>
                  <a:lnTo>
                    <a:pt x="19878" y="24921"/>
                  </a:lnTo>
                  <a:lnTo>
                    <a:pt x="19899" y="25004"/>
                  </a:lnTo>
                  <a:lnTo>
                    <a:pt x="19753" y="25193"/>
                  </a:lnTo>
                  <a:lnTo>
                    <a:pt x="19648" y="25297"/>
                  </a:lnTo>
                  <a:lnTo>
                    <a:pt x="19669" y="25360"/>
                  </a:lnTo>
                  <a:lnTo>
                    <a:pt x="19753" y="25339"/>
                  </a:lnTo>
                  <a:lnTo>
                    <a:pt x="19941" y="25339"/>
                  </a:lnTo>
                  <a:lnTo>
                    <a:pt x="19983" y="25402"/>
                  </a:lnTo>
                  <a:lnTo>
                    <a:pt x="20066" y="25318"/>
                  </a:lnTo>
                  <a:lnTo>
                    <a:pt x="20150" y="25423"/>
                  </a:lnTo>
                  <a:lnTo>
                    <a:pt x="20108" y="25548"/>
                  </a:lnTo>
                  <a:lnTo>
                    <a:pt x="20150" y="25674"/>
                  </a:lnTo>
                  <a:lnTo>
                    <a:pt x="20276" y="25737"/>
                  </a:lnTo>
                  <a:lnTo>
                    <a:pt x="20338" y="25653"/>
                  </a:lnTo>
                  <a:lnTo>
                    <a:pt x="20485" y="25653"/>
                  </a:lnTo>
                  <a:lnTo>
                    <a:pt x="20736" y="25548"/>
                  </a:lnTo>
                  <a:lnTo>
                    <a:pt x="20841" y="25569"/>
                  </a:lnTo>
                  <a:lnTo>
                    <a:pt x="20841" y="25716"/>
                  </a:lnTo>
                  <a:lnTo>
                    <a:pt x="20799" y="25737"/>
                  </a:lnTo>
                  <a:lnTo>
                    <a:pt x="20862" y="25778"/>
                  </a:lnTo>
                  <a:lnTo>
                    <a:pt x="20924" y="25883"/>
                  </a:lnTo>
                  <a:lnTo>
                    <a:pt x="21050" y="25841"/>
                  </a:lnTo>
                  <a:lnTo>
                    <a:pt x="21154" y="25862"/>
                  </a:lnTo>
                  <a:lnTo>
                    <a:pt x="21134" y="25716"/>
                  </a:lnTo>
                  <a:lnTo>
                    <a:pt x="21134" y="25569"/>
                  </a:lnTo>
                  <a:lnTo>
                    <a:pt x="21092" y="25465"/>
                  </a:lnTo>
                  <a:lnTo>
                    <a:pt x="21092" y="25255"/>
                  </a:lnTo>
                  <a:lnTo>
                    <a:pt x="21154" y="25214"/>
                  </a:lnTo>
                  <a:lnTo>
                    <a:pt x="21154" y="25130"/>
                  </a:lnTo>
                  <a:lnTo>
                    <a:pt x="21364" y="25130"/>
                  </a:lnTo>
                  <a:lnTo>
                    <a:pt x="21426" y="25109"/>
                  </a:lnTo>
                  <a:lnTo>
                    <a:pt x="21468" y="25088"/>
                  </a:lnTo>
                  <a:lnTo>
                    <a:pt x="21510" y="25025"/>
                  </a:lnTo>
                  <a:lnTo>
                    <a:pt x="21552" y="24983"/>
                  </a:lnTo>
                  <a:lnTo>
                    <a:pt x="21678" y="24921"/>
                  </a:lnTo>
                  <a:lnTo>
                    <a:pt x="21761" y="24942"/>
                  </a:lnTo>
                  <a:lnTo>
                    <a:pt x="21740" y="25025"/>
                  </a:lnTo>
                  <a:lnTo>
                    <a:pt x="21782" y="25046"/>
                  </a:lnTo>
                  <a:lnTo>
                    <a:pt x="21866" y="25046"/>
                  </a:lnTo>
                  <a:lnTo>
                    <a:pt x="21887" y="24942"/>
                  </a:lnTo>
                  <a:lnTo>
                    <a:pt x="21970" y="24900"/>
                  </a:lnTo>
                  <a:lnTo>
                    <a:pt x="22096" y="25004"/>
                  </a:lnTo>
                  <a:lnTo>
                    <a:pt x="22159" y="24921"/>
                  </a:lnTo>
                  <a:lnTo>
                    <a:pt x="22242" y="24921"/>
                  </a:lnTo>
                  <a:lnTo>
                    <a:pt x="22263" y="25004"/>
                  </a:lnTo>
                  <a:lnTo>
                    <a:pt x="22389" y="24942"/>
                  </a:lnTo>
                  <a:lnTo>
                    <a:pt x="22389" y="24879"/>
                  </a:lnTo>
                  <a:lnTo>
                    <a:pt x="22556" y="24816"/>
                  </a:lnTo>
                  <a:lnTo>
                    <a:pt x="22661" y="24900"/>
                  </a:lnTo>
                  <a:lnTo>
                    <a:pt x="22870" y="24816"/>
                  </a:lnTo>
                  <a:lnTo>
                    <a:pt x="22828" y="24628"/>
                  </a:lnTo>
                  <a:lnTo>
                    <a:pt x="22954" y="24586"/>
                  </a:lnTo>
                  <a:lnTo>
                    <a:pt x="23100" y="24586"/>
                  </a:lnTo>
                  <a:lnTo>
                    <a:pt x="23184" y="24502"/>
                  </a:lnTo>
                  <a:lnTo>
                    <a:pt x="23310" y="24586"/>
                  </a:lnTo>
                  <a:lnTo>
                    <a:pt x="23310" y="24670"/>
                  </a:lnTo>
                  <a:lnTo>
                    <a:pt x="23435" y="24690"/>
                  </a:lnTo>
                  <a:lnTo>
                    <a:pt x="23477" y="24774"/>
                  </a:lnTo>
                  <a:lnTo>
                    <a:pt x="23749" y="24774"/>
                  </a:lnTo>
                  <a:lnTo>
                    <a:pt x="23812" y="24816"/>
                  </a:lnTo>
                  <a:lnTo>
                    <a:pt x="23958" y="24774"/>
                  </a:lnTo>
                  <a:lnTo>
                    <a:pt x="24042" y="24837"/>
                  </a:lnTo>
                  <a:lnTo>
                    <a:pt x="24042" y="24942"/>
                  </a:lnTo>
                  <a:lnTo>
                    <a:pt x="23937" y="24983"/>
                  </a:lnTo>
                  <a:lnTo>
                    <a:pt x="23875" y="25193"/>
                  </a:lnTo>
                  <a:lnTo>
                    <a:pt x="23958" y="25214"/>
                  </a:lnTo>
                  <a:lnTo>
                    <a:pt x="23979" y="25318"/>
                  </a:lnTo>
                  <a:lnTo>
                    <a:pt x="24230" y="25402"/>
                  </a:lnTo>
                  <a:lnTo>
                    <a:pt x="24251" y="25506"/>
                  </a:lnTo>
                  <a:lnTo>
                    <a:pt x="24377" y="25527"/>
                  </a:lnTo>
                  <a:lnTo>
                    <a:pt x="24481" y="25611"/>
                  </a:lnTo>
                  <a:lnTo>
                    <a:pt x="24586" y="25548"/>
                  </a:lnTo>
                  <a:lnTo>
                    <a:pt x="24649" y="25611"/>
                  </a:lnTo>
                  <a:lnTo>
                    <a:pt x="24711" y="25569"/>
                  </a:lnTo>
                  <a:lnTo>
                    <a:pt x="24816" y="25632"/>
                  </a:lnTo>
                  <a:lnTo>
                    <a:pt x="24858" y="25632"/>
                  </a:lnTo>
                  <a:lnTo>
                    <a:pt x="24900" y="25611"/>
                  </a:lnTo>
                  <a:lnTo>
                    <a:pt x="24963" y="25653"/>
                  </a:lnTo>
                  <a:lnTo>
                    <a:pt x="25046" y="25611"/>
                  </a:lnTo>
                  <a:lnTo>
                    <a:pt x="25046" y="25548"/>
                  </a:lnTo>
                  <a:lnTo>
                    <a:pt x="25088" y="25423"/>
                  </a:lnTo>
                  <a:lnTo>
                    <a:pt x="25130" y="25527"/>
                  </a:lnTo>
                  <a:lnTo>
                    <a:pt x="25235" y="25653"/>
                  </a:lnTo>
                  <a:lnTo>
                    <a:pt x="25297" y="25632"/>
                  </a:lnTo>
                  <a:lnTo>
                    <a:pt x="25444" y="25737"/>
                  </a:lnTo>
                  <a:lnTo>
                    <a:pt x="25569" y="25737"/>
                  </a:lnTo>
                  <a:lnTo>
                    <a:pt x="25632" y="25632"/>
                  </a:lnTo>
                  <a:lnTo>
                    <a:pt x="25716" y="25716"/>
                  </a:lnTo>
                  <a:lnTo>
                    <a:pt x="25820" y="25674"/>
                  </a:lnTo>
                  <a:lnTo>
                    <a:pt x="25862" y="25716"/>
                  </a:lnTo>
                  <a:lnTo>
                    <a:pt x="25862" y="25737"/>
                  </a:lnTo>
                  <a:lnTo>
                    <a:pt x="25800" y="25758"/>
                  </a:lnTo>
                  <a:lnTo>
                    <a:pt x="25758" y="25862"/>
                  </a:lnTo>
                  <a:lnTo>
                    <a:pt x="25695" y="25967"/>
                  </a:lnTo>
                  <a:lnTo>
                    <a:pt x="25695" y="26030"/>
                  </a:lnTo>
                  <a:lnTo>
                    <a:pt x="25820" y="26197"/>
                  </a:lnTo>
                  <a:lnTo>
                    <a:pt x="25904" y="26260"/>
                  </a:lnTo>
                  <a:lnTo>
                    <a:pt x="25904" y="26302"/>
                  </a:lnTo>
                  <a:lnTo>
                    <a:pt x="25925" y="26448"/>
                  </a:lnTo>
                  <a:lnTo>
                    <a:pt x="25946" y="26406"/>
                  </a:lnTo>
                  <a:lnTo>
                    <a:pt x="26009" y="26343"/>
                  </a:lnTo>
                  <a:lnTo>
                    <a:pt x="26092" y="26364"/>
                  </a:lnTo>
                  <a:lnTo>
                    <a:pt x="26134" y="26385"/>
                  </a:lnTo>
                  <a:lnTo>
                    <a:pt x="26176" y="26385"/>
                  </a:lnTo>
                  <a:lnTo>
                    <a:pt x="26281" y="26281"/>
                  </a:lnTo>
                  <a:lnTo>
                    <a:pt x="26260" y="26239"/>
                  </a:lnTo>
                  <a:lnTo>
                    <a:pt x="26218" y="26197"/>
                  </a:lnTo>
                  <a:lnTo>
                    <a:pt x="26218" y="26176"/>
                  </a:lnTo>
                  <a:lnTo>
                    <a:pt x="26155" y="26071"/>
                  </a:lnTo>
                  <a:lnTo>
                    <a:pt x="26072" y="26071"/>
                  </a:lnTo>
                  <a:lnTo>
                    <a:pt x="26030" y="25967"/>
                  </a:lnTo>
                  <a:lnTo>
                    <a:pt x="26051" y="25925"/>
                  </a:lnTo>
                  <a:lnTo>
                    <a:pt x="26155" y="25841"/>
                  </a:lnTo>
                  <a:lnTo>
                    <a:pt x="26155" y="25758"/>
                  </a:lnTo>
                  <a:lnTo>
                    <a:pt x="26155" y="25716"/>
                  </a:lnTo>
                  <a:lnTo>
                    <a:pt x="26176" y="25716"/>
                  </a:lnTo>
                  <a:lnTo>
                    <a:pt x="26218" y="25653"/>
                  </a:lnTo>
                  <a:lnTo>
                    <a:pt x="26239" y="25716"/>
                  </a:lnTo>
                  <a:lnTo>
                    <a:pt x="26260" y="25737"/>
                  </a:lnTo>
                  <a:lnTo>
                    <a:pt x="26281" y="25737"/>
                  </a:lnTo>
                  <a:lnTo>
                    <a:pt x="26260" y="25758"/>
                  </a:lnTo>
                  <a:lnTo>
                    <a:pt x="26260" y="25778"/>
                  </a:lnTo>
                  <a:lnTo>
                    <a:pt x="26323" y="25778"/>
                  </a:lnTo>
                  <a:lnTo>
                    <a:pt x="26281" y="25820"/>
                  </a:lnTo>
                  <a:lnTo>
                    <a:pt x="26344" y="25841"/>
                  </a:lnTo>
                  <a:lnTo>
                    <a:pt x="26385" y="25758"/>
                  </a:lnTo>
                  <a:lnTo>
                    <a:pt x="26490" y="25737"/>
                  </a:lnTo>
                  <a:lnTo>
                    <a:pt x="26553" y="25653"/>
                  </a:lnTo>
                  <a:lnTo>
                    <a:pt x="26616" y="25716"/>
                  </a:lnTo>
                  <a:lnTo>
                    <a:pt x="26741" y="25653"/>
                  </a:lnTo>
                  <a:lnTo>
                    <a:pt x="26867" y="25611"/>
                  </a:lnTo>
                  <a:lnTo>
                    <a:pt x="26804" y="25527"/>
                  </a:lnTo>
                  <a:lnTo>
                    <a:pt x="26908" y="25527"/>
                  </a:lnTo>
                  <a:lnTo>
                    <a:pt x="27013" y="25465"/>
                  </a:lnTo>
                  <a:lnTo>
                    <a:pt x="27139" y="25527"/>
                  </a:lnTo>
                  <a:lnTo>
                    <a:pt x="27201" y="25506"/>
                  </a:lnTo>
                  <a:lnTo>
                    <a:pt x="27327" y="25444"/>
                  </a:lnTo>
                  <a:lnTo>
                    <a:pt x="27432" y="25339"/>
                  </a:lnTo>
                  <a:lnTo>
                    <a:pt x="27515" y="25234"/>
                  </a:lnTo>
                  <a:lnTo>
                    <a:pt x="27536" y="25193"/>
                  </a:lnTo>
                  <a:lnTo>
                    <a:pt x="27578" y="25214"/>
                  </a:lnTo>
                  <a:lnTo>
                    <a:pt x="27620" y="25255"/>
                  </a:lnTo>
                  <a:lnTo>
                    <a:pt x="27662" y="25214"/>
                  </a:lnTo>
                  <a:lnTo>
                    <a:pt x="27724" y="25130"/>
                  </a:lnTo>
                  <a:lnTo>
                    <a:pt x="27808" y="25088"/>
                  </a:lnTo>
                  <a:lnTo>
                    <a:pt x="27787" y="24942"/>
                  </a:lnTo>
                  <a:lnTo>
                    <a:pt x="27745" y="24837"/>
                  </a:lnTo>
                  <a:lnTo>
                    <a:pt x="27787" y="24774"/>
                  </a:lnTo>
                  <a:lnTo>
                    <a:pt x="27745" y="24690"/>
                  </a:lnTo>
                  <a:lnTo>
                    <a:pt x="27808" y="24732"/>
                  </a:lnTo>
                  <a:lnTo>
                    <a:pt x="27934" y="24816"/>
                  </a:lnTo>
                  <a:lnTo>
                    <a:pt x="27955" y="24900"/>
                  </a:lnTo>
                  <a:lnTo>
                    <a:pt x="28059" y="25004"/>
                  </a:lnTo>
                  <a:lnTo>
                    <a:pt x="28143" y="24983"/>
                  </a:lnTo>
                  <a:lnTo>
                    <a:pt x="28143" y="24983"/>
                  </a:lnTo>
                  <a:lnTo>
                    <a:pt x="28101" y="25046"/>
                  </a:lnTo>
                  <a:lnTo>
                    <a:pt x="28017" y="25109"/>
                  </a:lnTo>
                  <a:lnTo>
                    <a:pt x="28038" y="25151"/>
                  </a:lnTo>
                  <a:lnTo>
                    <a:pt x="28248" y="25046"/>
                  </a:lnTo>
                  <a:lnTo>
                    <a:pt x="28248" y="24921"/>
                  </a:lnTo>
                  <a:lnTo>
                    <a:pt x="28352" y="24900"/>
                  </a:lnTo>
                  <a:lnTo>
                    <a:pt x="28415" y="24837"/>
                  </a:lnTo>
                  <a:lnTo>
                    <a:pt x="28520" y="24900"/>
                  </a:lnTo>
                  <a:lnTo>
                    <a:pt x="28582" y="24879"/>
                  </a:lnTo>
                  <a:lnTo>
                    <a:pt x="28624" y="24795"/>
                  </a:lnTo>
                  <a:lnTo>
                    <a:pt x="28687" y="24795"/>
                  </a:lnTo>
                  <a:lnTo>
                    <a:pt x="28708" y="24711"/>
                  </a:lnTo>
                  <a:lnTo>
                    <a:pt x="28771" y="24795"/>
                  </a:lnTo>
                  <a:lnTo>
                    <a:pt x="28854" y="24900"/>
                  </a:lnTo>
                  <a:lnTo>
                    <a:pt x="28896" y="24837"/>
                  </a:lnTo>
                  <a:lnTo>
                    <a:pt x="28938" y="24732"/>
                  </a:lnTo>
                  <a:lnTo>
                    <a:pt x="28980" y="24732"/>
                  </a:lnTo>
                  <a:lnTo>
                    <a:pt x="29001" y="24774"/>
                  </a:lnTo>
                  <a:lnTo>
                    <a:pt x="29085" y="24774"/>
                  </a:lnTo>
                  <a:lnTo>
                    <a:pt x="29105" y="24711"/>
                  </a:lnTo>
                  <a:lnTo>
                    <a:pt x="29231" y="24711"/>
                  </a:lnTo>
                  <a:lnTo>
                    <a:pt x="29294" y="24628"/>
                  </a:lnTo>
                  <a:lnTo>
                    <a:pt x="29357" y="24586"/>
                  </a:lnTo>
                  <a:lnTo>
                    <a:pt x="29377" y="24670"/>
                  </a:lnTo>
                  <a:lnTo>
                    <a:pt x="29398" y="24607"/>
                  </a:lnTo>
                  <a:lnTo>
                    <a:pt x="29482" y="24607"/>
                  </a:lnTo>
                  <a:lnTo>
                    <a:pt x="29566" y="24586"/>
                  </a:lnTo>
                  <a:lnTo>
                    <a:pt x="29524" y="24502"/>
                  </a:lnTo>
                  <a:lnTo>
                    <a:pt x="29587" y="24418"/>
                  </a:lnTo>
                  <a:lnTo>
                    <a:pt x="29608" y="24293"/>
                  </a:lnTo>
                  <a:lnTo>
                    <a:pt x="29566" y="24188"/>
                  </a:lnTo>
                  <a:lnTo>
                    <a:pt x="29566" y="24188"/>
                  </a:lnTo>
                  <a:lnTo>
                    <a:pt x="29608" y="24209"/>
                  </a:lnTo>
                  <a:lnTo>
                    <a:pt x="29670" y="24146"/>
                  </a:lnTo>
                  <a:lnTo>
                    <a:pt x="29796" y="24105"/>
                  </a:lnTo>
                  <a:lnTo>
                    <a:pt x="29817" y="24167"/>
                  </a:lnTo>
                  <a:lnTo>
                    <a:pt x="29921" y="24167"/>
                  </a:lnTo>
                  <a:lnTo>
                    <a:pt x="29942" y="24042"/>
                  </a:lnTo>
                  <a:lnTo>
                    <a:pt x="30005" y="24042"/>
                  </a:lnTo>
                  <a:lnTo>
                    <a:pt x="30026" y="23958"/>
                  </a:lnTo>
                  <a:lnTo>
                    <a:pt x="30089" y="23958"/>
                  </a:lnTo>
                  <a:lnTo>
                    <a:pt x="30089" y="23979"/>
                  </a:lnTo>
                  <a:lnTo>
                    <a:pt x="30110" y="23979"/>
                  </a:lnTo>
                  <a:lnTo>
                    <a:pt x="30193" y="23874"/>
                  </a:lnTo>
                  <a:lnTo>
                    <a:pt x="30256" y="23958"/>
                  </a:lnTo>
                  <a:lnTo>
                    <a:pt x="30256" y="23833"/>
                  </a:lnTo>
                  <a:lnTo>
                    <a:pt x="30340" y="23833"/>
                  </a:lnTo>
                  <a:lnTo>
                    <a:pt x="30361" y="23728"/>
                  </a:lnTo>
                  <a:lnTo>
                    <a:pt x="30277" y="23686"/>
                  </a:lnTo>
                  <a:lnTo>
                    <a:pt x="30193" y="23749"/>
                  </a:lnTo>
                  <a:lnTo>
                    <a:pt x="30047" y="23623"/>
                  </a:lnTo>
                  <a:lnTo>
                    <a:pt x="30235" y="23623"/>
                  </a:lnTo>
                  <a:lnTo>
                    <a:pt x="30340" y="23477"/>
                  </a:lnTo>
                  <a:lnTo>
                    <a:pt x="30361" y="23540"/>
                  </a:lnTo>
                  <a:lnTo>
                    <a:pt x="30445" y="23477"/>
                  </a:lnTo>
                  <a:lnTo>
                    <a:pt x="30612" y="23581"/>
                  </a:lnTo>
                  <a:lnTo>
                    <a:pt x="30633" y="23456"/>
                  </a:lnTo>
                  <a:lnTo>
                    <a:pt x="30549" y="23435"/>
                  </a:lnTo>
                  <a:lnTo>
                    <a:pt x="30507" y="23372"/>
                  </a:lnTo>
                  <a:lnTo>
                    <a:pt x="30528" y="23309"/>
                  </a:lnTo>
                  <a:lnTo>
                    <a:pt x="30633" y="23372"/>
                  </a:lnTo>
                  <a:lnTo>
                    <a:pt x="30717" y="23309"/>
                  </a:lnTo>
                  <a:lnTo>
                    <a:pt x="30675" y="23268"/>
                  </a:lnTo>
                  <a:lnTo>
                    <a:pt x="30612" y="23268"/>
                  </a:lnTo>
                  <a:lnTo>
                    <a:pt x="30612" y="23163"/>
                  </a:lnTo>
                  <a:lnTo>
                    <a:pt x="30528" y="23121"/>
                  </a:lnTo>
                  <a:lnTo>
                    <a:pt x="30612" y="23100"/>
                  </a:lnTo>
                  <a:lnTo>
                    <a:pt x="30654" y="23142"/>
                  </a:lnTo>
                  <a:lnTo>
                    <a:pt x="30717" y="23142"/>
                  </a:lnTo>
                  <a:lnTo>
                    <a:pt x="30758" y="23205"/>
                  </a:lnTo>
                  <a:lnTo>
                    <a:pt x="30758" y="23121"/>
                  </a:lnTo>
                  <a:lnTo>
                    <a:pt x="30654" y="23037"/>
                  </a:lnTo>
                  <a:lnTo>
                    <a:pt x="30654" y="22933"/>
                  </a:lnTo>
                  <a:lnTo>
                    <a:pt x="30737" y="22933"/>
                  </a:lnTo>
                  <a:lnTo>
                    <a:pt x="30758" y="22891"/>
                  </a:lnTo>
                  <a:lnTo>
                    <a:pt x="30863" y="22954"/>
                  </a:lnTo>
                  <a:lnTo>
                    <a:pt x="30863" y="23037"/>
                  </a:lnTo>
                  <a:lnTo>
                    <a:pt x="30926" y="23037"/>
                  </a:lnTo>
                  <a:lnTo>
                    <a:pt x="30968" y="23121"/>
                  </a:lnTo>
                  <a:lnTo>
                    <a:pt x="30989" y="22996"/>
                  </a:lnTo>
                  <a:lnTo>
                    <a:pt x="30947" y="22912"/>
                  </a:lnTo>
                  <a:lnTo>
                    <a:pt x="30884" y="22912"/>
                  </a:lnTo>
                  <a:lnTo>
                    <a:pt x="30863" y="22828"/>
                  </a:lnTo>
                  <a:lnTo>
                    <a:pt x="30947" y="22828"/>
                  </a:lnTo>
                  <a:lnTo>
                    <a:pt x="30947" y="22745"/>
                  </a:lnTo>
                  <a:lnTo>
                    <a:pt x="30863" y="22724"/>
                  </a:lnTo>
                  <a:lnTo>
                    <a:pt x="30989" y="22598"/>
                  </a:lnTo>
                  <a:lnTo>
                    <a:pt x="30926" y="22535"/>
                  </a:lnTo>
                  <a:lnTo>
                    <a:pt x="30842" y="22535"/>
                  </a:lnTo>
                  <a:lnTo>
                    <a:pt x="30779" y="22598"/>
                  </a:lnTo>
                  <a:lnTo>
                    <a:pt x="30800" y="22493"/>
                  </a:lnTo>
                  <a:lnTo>
                    <a:pt x="30947" y="22410"/>
                  </a:lnTo>
                  <a:lnTo>
                    <a:pt x="31135" y="22326"/>
                  </a:lnTo>
                  <a:lnTo>
                    <a:pt x="31072" y="22263"/>
                  </a:lnTo>
                  <a:lnTo>
                    <a:pt x="30989" y="22326"/>
                  </a:lnTo>
                  <a:lnTo>
                    <a:pt x="30863" y="22201"/>
                  </a:lnTo>
                  <a:lnTo>
                    <a:pt x="30968" y="22201"/>
                  </a:lnTo>
                  <a:lnTo>
                    <a:pt x="30884" y="22096"/>
                  </a:lnTo>
                  <a:lnTo>
                    <a:pt x="30800" y="22096"/>
                  </a:lnTo>
                  <a:lnTo>
                    <a:pt x="30863" y="22054"/>
                  </a:lnTo>
                  <a:lnTo>
                    <a:pt x="30800" y="21991"/>
                  </a:lnTo>
                  <a:lnTo>
                    <a:pt x="30884" y="21991"/>
                  </a:lnTo>
                  <a:lnTo>
                    <a:pt x="30926" y="21908"/>
                  </a:lnTo>
                  <a:lnTo>
                    <a:pt x="31030" y="21908"/>
                  </a:lnTo>
                  <a:lnTo>
                    <a:pt x="30989" y="22012"/>
                  </a:lnTo>
                  <a:lnTo>
                    <a:pt x="31072" y="22012"/>
                  </a:lnTo>
                  <a:lnTo>
                    <a:pt x="31240" y="21866"/>
                  </a:lnTo>
                  <a:lnTo>
                    <a:pt x="31240" y="21782"/>
                  </a:lnTo>
                  <a:lnTo>
                    <a:pt x="31365" y="21803"/>
                  </a:lnTo>
                  <a:lnTo>
                    <a:pt x="31281" y="21698"/>
                  </a:lnTo>
                  <a:lnTo>
                    <a:pt x="31198" y="21698"/>
                  </a:lnTo>
                  <a:lnTo>
                    <a:pt x="31240" y="21594"/>
                  </a:lnTo>
                  <a:lnTo>
                    <a:pt x="31302" y="21677"/>
                  </a:lnTo>
                  <a:lnTo>
                    <a:pt x="31386" y="21636"/>
                  </a:lnTo>
                  <a:lnTo>
                    <a:pt x="31386" y="21531"/>
                  </a:lnTo>
                  <a:lnTo>
                    <a:pt x="31449" y="21489"/>
                  </a:lnTo>
                  <a:lnTo>
                    <a:pt x="31386" y="21426"/>
                  </a:lnTo>
                  <a:lnTo>
                    <a:pt x="31386" y="21343"/>
                  </a:lnTo>
                  <a:lnTo>
                    <a:pt x="31470" y="21322"/>
                  </a:lnTo>
                  <a:lnTo>
                    <a:pt x="31407" y="21238"/>
                  </a:lnTo>
                  <a:lnTo>
                    <a:pt x="31407" y="21175"/>
                  </a:lnTo>
                  <a:lnTo>
                    <a:pt x="31302" y="21112"/>
                  </a:lnTo>
                  <a:lnTo>
                    <a:pt x="31470" y="21154"/>
                  </a:lnTo>
                  <a:lnTo>
                    <a:pt x="31512" y="21112"/>
                  </a:lnTo>
                  <a:lnTo>
                    <a:pt x="31616" y="20903"/>
                  </a:lnTo>
                  <a:lnTo>
                    <a:pt x="31700" y="20903"/>
                  </a:lnTo>
                  <a:lnTo>
                    <a:pt x="31721" y="20966"/>
                  </a:lnTo>
                  <a:lnTo>
                    <a:pt x="31763" y="21029"/>
                  </a:lnTo>
                  <a:lnTo>
                    <a:pt x="31784" y="20924"/>
                  </a:lnTo>
                  <a:lnTo>
                    <a:pt x="31846" y="20861"/>
                  </a:lnTo>
                  <a:lnTo>
                    <a:pt x="31805" y="20736"/>
                  </a:lnTo>
                  <a:lnTo>
                    <a:pt x="31679" y="20736"/>
                  </a:lnTo>
                  <a:lnTo>
                    <a:pt x="31616" y="20694"/>
                  </a:lnTo>
                  <a:lnTo>
                    <a:pt x="31679" y="20652"/>
                  </a:lnTo>
                  <a:lnTo>
                    <a:pt x="31763" y="20652"/>
                  </a:lnTo>
                  <a:lnTo>
                    <a:pt x="31826" y="20610"/>
                  </a:lnTo>
                  <a:lnTo>
                    <a:pt x="31784" y="20548"/>
                  </a:lnTo>
                  <a:lnTo>
                    <a:pt x="31700" y="20506"/>
                  </a:lnTo>
                  <a:lnTo>
                    <a:pt x="31784" y="20443"/>
                  </a:lnTo>
                  <a:lnTo>
                    <a:pt x="31826" y="20443"/>
                  </a:lnTo>
                  <a:lnTo>
                    <a:pt x="31826" y="20401"/>
                  </a:lnTo>
                  <a:lnTo>
                    <a:pt x="31784" y="20338"/>
                  </a:lnTo>
                  <a:lnTo>
                    <a:pt x="31574" y="20338"/>
                  </a:lnTo>
                  <a:lnTo>
                    <a:pt x="31595" y="20296"/>
                  </a:lnTo>
                  <a:lnTo>
                    <a:pt x="31721" y="20192"/>
                  </a:lnTo>
                  <a:lnTo>
                    <a:pt x="31826" y="20213"/>
                  </a:lnTo>
                  <a:lnTo>
                    <a:pt x="31846" y="20192"/>
                  </a:lnTo>
                  <a:lnTo>
                    <a:pt x="31888" y="20129"/>
                  </a:lnTo>
                  <a:lnTo>
                    <a:pt x="31930" y="20192"/>
                  </a:lnTo>
                  <a:lnTo>
                    <a:pt x="31972" y="20213"/>
                  </a:lnTo>
                  <a:lnTo>
                    <a:pt x="32014" y="20171"/>
                  </a:lnTo>
                  <a:lnTo>
                    <a:pt x="31993" y="20087"/>
                  </a:lnTo>
                  <a:lnTo>
                    <a:pt x="31972" y="19920"/>
                  </a:lnTo>
                  <a:lnTo>
                    <a:pt x="31909" y="19878"/>
                  </a:lnTo>
                  <a:lnTo>
                    <a:pt x="31826" y="19962"/>
                  </a:lnTo>
                  <a:lnTo>
                    <a:pt x="31846" y="19983"/>
                  </a:lnTo>
                  <a:lnTo>
                    <a:pt x="31846" y="20024"/>
                  </a:lnTo>
                  <a:lnTo>
                    <a:pt x="31763" y="20004"/>
                  </a:lnTo>
                  <a:lnTo>
                    <a:pt x="31595" y="20129"/>
                  </a:lnTo>
                  <a:lnTo>
                    <a:pt x="31512" y="20108"/>
                  </a:lnTo>
                  <a:lnTo>
                    <a:pt x="31512" y="20004"/>
                  </a:lnTo>
                  <a:lnTo>
                    <a:pt x="31679" y="19983"/>
                  </a:lnTo>
                  <a:lnTo>
                    <a:pt x="31930" y="19752"/>
                  </a:lnTo>
                  <a:lnTo>
                    <a:pt x="31909" y="19711"/>
                  </a:lnTo>
                  <a:lnTo>
                    <a:pt x="31805" y="19711"/>
                  </a:lnTo>
                  <a:lnTo>
                    <a:pt x="31763" y="19648"/>
                  </a:lnTo>
                  <a:lnTo>
                    <a:pt x="31721" y="19690"/>
                  </a:lnTo>
                  <a:lnTo>
                    <a:pt x="31553" y="19460"/>
                  </a:lnTo>
                  <a:lnTo>
                    <a:pt x="31386" y="19439"/>
                  </a:lnTo>
                  <a:lnTo>
                    <a:pt x="31240" y="19585"/>
                  </a:lnTo>
                  <a:lnTo>
                    <a:pt x="31135" y="19564"/>
                  </a:lnTo>
                  <a:lnTo>
                    <a:pt x="31030" y="19397"/>
                  </a:lnTo>
                  <a:lnTo>
                    <a:pt x="30884" y="19439"/>
                  </a:lnTo>
                  <a:lnTo>
                    <a:pt x="30779" y="19501"/>
                  </a:lnTo>
                  <a:lnTo>
                    <a:pt x="30737" y="19606"/>
                  </a:lnTo>
                  <a:lnTo>
                    <a:pt x="30758" y="19480"/>
                  </a:lnTo>
                  <a:lnTo>
                    <a:pt x="30884" y="19376"/>
                  </a:lnTo>
                  <a:lnTo>
                    <a:pt x="30968" y="19376"/>
                  </a:lnTo>
                  <a:lnTo>
                    <a:pt x="31051" y="19334"/>
                  </a:lnTo>
                  <a:lnTo>
                    <a:pt x="31177" y="19376"/>
                  </a:lnTo>
                  <a:lnTo>
                    <a:pt x="31281" y="19355"/>
                  </a:lnTo>
                  <a:lnTo>
                    <a:pt x="31281" y="19250"/>
                  </a:lnTo>
                  <a:lnTo>
                    <a:pt x="31323" y="19188"/>
                  </a:lnTo>
                  <a:lnTo>
                    <a:pt x="31407" y="19188"/>
                  </a:lnTo>
                  <a:lnTo>
                    <a:pt x="31553" y="19041"/>
                  </a:lnTo>
                  <a:lnTo>
                    <a:pt x="31700" y="19020"/>
                  </a:lnTo>
                  <a:lnTo>
                    <a:pt x="31700" y="18936"/>
                  </a:lnTo>
                  <a:lnTo>
                    <a:pt x="31574" y="18727"/>
                  </a:lnTo>
                  <a:lnTo>
                    <a:pt x="31281" y="18539"/>
                  </a:lnTo>
                  <a:lnTo>
                    <a:pt x="31072" y="18413"/>
                  </a:lnTo>
                  <a:lnTo>
                    <a:pt x="30842" y="18204"/>
                  </a:lnTo>
                  <a:lnTo>
                    <a:pt x="30737" y="18204"/>
                  </a:lnTo>
                  <a:lnTo>
                    <a:pt x="30549" y="18330"/>
                  </a:lnTo>
                  <a:lnTo>
                    <a:pt x="30445" y="18309"/>
                  </a:lnTo>
                  <a:lnTo>
                    <a:pt x="30319" y="18183"/>
                  </a:lnTo>
                  <a:lnTo>
                    <a:pt x="30319" y="18099"/>
                  </a:lnTo>
                  <a:lnTo>
                    <a:pt x="30235" y="18079"/>
                  </a:lnTo>
                  <a:lnTo>
                    <a:pt x="30110" y="18120"/>
                  </a:lnTo>
                  <a:lnTo>
                    <a:pt x="29984" y="18120"/>
                  </a:lnTo>
                  <a:lnTo>
                    <a:pt x="29838" y="18141"/>
                  </a:lnTo>
                  <a:lnTo>
                    <a:pt x="29691" y="18351"/>
                  </a:lnTo>
                  <a:lnTo>
                    <a:pt x="29817" y="18099"/>
                  </a:lnTo>
                  <a:lnTo>
                    <a:pt x="29921" y="18037"/>
                  </a:lnTo>
                  <a:lnTo>
                    <a:pt x="29984" y="18079"/>
                  </a:lnTo>
                  <a:lnTo>
                    <a:pt x="30047" y="18079"/>
                  </a:lnTo>
                  <a:lnTo>
                    <a:pt x="30089" y="18016"/>
                  </a:lnTo>
                  <a:lnTo>
                    <a:pt x="30193" y="18079"/>
                  </a:lnTo>
                  <a:lnTo>
                    <a:pt x="30340" y="17995"/>
                  </a:lnTo>
                  <a:lnTo>
                    <a:pt x="30403" y="18183"/>
                  </a:lnTo>
                  <a:lnTo>
                    <a:pt x="30465" y="18225"/>
                  </a:lnTo>
                  <a:lnTo>
                    <a:pt x="30570" y="18225"/>
                  </a:lnTo>
                  <a:lnTo>
                    <a:pt x="30654" y="18120"/>
                  </a:lnTo>
                  <a:lnTo>
                    <a:pt x="30842" y="18141"/>
                  </a:lnTo>
                  <a:lnTo>
                    <a:pt x="30968" y="18246"/>
                  </a:lnTo>
                  <a:lnTo>
                    <a:pt x="31051" y="18246"/>
                  </a:lnTo>
                  <a:lnTo>
                    <a:pt x="31177" y="18351"/>
                  </a:lnTo>
                  <a:lnTo>
                    <a:pt x="31323" y="18288"/>
                  </a:lnTo>
                  <a:lnTo>
                    <a:pt x="31574" y="18351"/>
                  </a:lnTo>
                  <a:lnTo>
                    <a:pt x="31658" y="18330"/>
                  </a:lnTo>
                  <a:lnTo>
                    <a:pt x="31553" y="18141"/>
                  </a:lnTo>
                  <a:lnTo>
                    <a:pt x="31491" y="18120"/>
                  </a:lnTo>
                  <a:lnTo>
                    <a:pt x="31323" y="17974"/>
                  </a:lnTo>
                  <a:lnTo>
                    <a:pt x="31323" y="17911"/>
                  </a:lnTo>
                  <a:lnTo>
                    <a:pt x="31281" y="17869"/>
                  </a:lnTo>
                  <a:lnTo>
                    <a:pt x="31177" y="17890"/>
                  </a:lnTo>
                  <a:lnTo>
                    <a:pt x="31051" y="17827"/>
                  </a:lnTo>
                  <a:lnTo>
                    <a:pt x="30884" y="17597"/>
                  </a:lnTo>
                  <a:lnTo>
                    <a:pt x="30884" y="17451"/>
                  </a:lnTo>
                  <a:lnTo>
                    <a:pt x="30675" y="17283"/>
                  </a:lnTo>
                  <a:lnTo>
                    <a:pt x="30675" y="17095"/>
                  </a:lnTo>
                  <a:lnTo>
                    <a:pt x="30549" y="17074"/>
                  </a:lnTo>
                  <a:lnTo>
                    <a:pt x="30612" y="16949"/>
                  </a:lnTo>
                  <a:lnTo>
                    <a:pt x="30570" y="16928"/>
                  </a:lnTo>
                  <a:lnTo>
                    <a:pt x="30403" y="16572"/>
                  </a:lnTo>
                  <a:lnTo>
                    <a:pt x="30089" y="16405"/>
                  </a:lnTo>
                  <a:lnTo>
                    <a:pt x="30005" y="16447"/>
                  </a:lnTo>
                  <a:lnTo>
                    <a:pt x="30005" y="16363"/>
                  </a:lnTo>
                  <a:lnTo>
                    <a:pt x="29712" y="16237"/>
                  </a:lnTo>
                  <a:lnTo>
                    <a:pt x="29670" y="16237"/>
                  </a:lnTo>
                  <a:lnTo>
                    <a:pt x="29670" y="15944"/>
                  </a:lnTo>
                  <a:lnTo>
                    <a:pt x="29712" y="15735"/>
                  </a:lnTo>
                  <a:lnTo>
                    <a:pt x="29670" y="15610"/>
                  </a:lnTo>
                  <a:lnTo>
                    <a:pt x="29691" y="15463"/>
                  </a:lnTo>
                  <a:lnTo>
                    <a:pt x="29712" y="15484"/>
                  </a:lnTo>
                  <a:lnTo>
                    <a:pt x="29817" y="15463"/>
                  </a:lnTo>
                  <a:lnTo>
                    <a:pt x="29921" y="15296"/>
                  </a:lnTo>
                  <a:lnTo>
                    <a:pt x="29984" y="15317"/>
                  </a:lnTo>
                  <a:lnTo>
                    <a:pt x="30089" y="15191"/>
                  </a:lnTo>
                  <a:lnTo>
                    <a:pt x="29984" y="15149"/>
                  </a:lnTo>
                  <a:lnTo>
                    <a:pt x="29921" y="15066"/>
                  </a:lnTo>
                  <a:lnTo>
                    <a:pt x="30005" y="14961"/>
                  </a:lnTo>
                  <a:lnTo>
                    <a:pt x="30193" y="14982"/>
                  </a:lnTo>
                  <a:lnTo>
                    <a:pt x="30193" y="14856"/>
                  </a:lnTo>
                  <a:lnTo>
                    <a:pt x="30319" y="14835"/>
                  </a:lnTo>
                  <a:lnTo>
                    <a:pt x="30319" y="14731"/>
                  </a:lnTo>
                  <a:lnTo>
                    <a:pt x="30193" y="14647"/>
                  </a:lnTo>
                  <a:lnTo>
                    <a:pt x="30319" y="14647"/>
                  </a:lnTo>
                  <a:lnTo>
                    <a:pt x="30424" y="14689"/>
                  </a:lnTo>
                  <a:lnTo>
                    <a:pt x="30445" y="14647"/>
                  </a:lnTo>
                  <a:lnTo>
                    <a:pt x="30549" y="14647"/>
                  </a:lnTo>
                  <a:lnTo>
                    <a:pt x="30654" y="14563"/>
                  </a:lnTo>
                  <a:lnTo>
                    <a:pt x="30717" y="14563"/>
                  </a:lnTo>
                  <a:lnTo>
                    <a:pt x="30842" y="14375"/>
                  </a:lnTo>
                  <a:lnTo>
                    <a:pt x="30884" y="14459"/>
                  </a:lnTo>
                  <a:lnTo>
                    <a:pt x="30947" y="14417"/>
                  </a:lnTo>
                  <a:lnTo>
                    <a:pt x="30947" y="14459"/>
                  </a:lnTo>
                  <a:lnTo>
                    <a:pt x="31093" y="14563"/>
                  </a:lnTo>
                  <a:lnTo>
                    <a:pt x="31240" y="14438"/>
                  </a:lnTo>
                  <a:lnTo>
                    <a:pt x="31240" y="14375"/>
                  </a:lnTo>
                  <a:lnTo>
                    <a:pt x="31156" y="14354"/>
                  </a:lnTo>
                  <a:lnTo>
                    <a:pt x="31135" y="14250"/>
                  </a:lnTo>
                  <a:lnTo>
                    <a:pt x="31198" y="14208"/>
                  </a:lnTo>
                  <a:lnTo>
                    <a:pt x="31261" y="14208"/>
                  </a:lnTo>
                  <a:lnTo>
                    <a:pt x="31177" y="14061"/>
                  </a:lnTo>
                  <a:lnTo>
                    <a:pt x="31177" y="13998"/>
                  </a:lnTo>
                  <a:lnTo>
                    <a:pt x="31302" y="13957"/>
                  </a:lnTo>
                  <a:lnTo>
                    <a:pt x="31240" y="13936"/>
                  </a:lnTo>
                  <a:lnTo>
                    <a:pt x="31093" y="13957"/>
                  </a:lnTo>
                  <a:lnTo>
                    <a:pt x="30947" y="13957"/>
                  </a:lnTo>
                  <a:lnTo>
                    <a:pt x="30947" y="13915"/>
                  </a:lnTo>
                  <a:lnTo>
                    <a:pt x="30800" y="13915"/>
                  </a:lnTo>
                  <a:lnTo>
                    <a:pt x="30758" y="13957"/>
                  </a:lnTo>
                  <a:lnTo>
                    <a:pt x="30403" y="13998"/>
                  </a:lnTo>
                  <a:lnTo>
                    <a:pt x="30319" y="13915"/>
                  </a:lnTo>
                  <a:lnTo>
                    <a:pt x="30256" y="13894"/>
                  </a:lnTo>
                  <a:lnTo>
                    <a:pt x="30193" y="13789"/>
                  </a:lnTo>
                  <a:lnTo>
                    <a:pt x="30131" y="13747"/>
                  </a:lnTo>
                  <a:lnTo>
                    <a:pt x="30089" y="13706"/>
                  </a:lnTo>
                  <a:lnTo>
                    <a:pt x="29817" y="13831"/>
                  </a:lnTo>
                  <a:lnTo>
                    <a:pt x="29691" y="13831"/>
                  </a:lnTo>
                  <a:lnTo>
                    <a:pt x="29733" y="13894"/>
                  </a:lnTo>
                  <a:lnTo>
                    <a:pt x="29733" y="13998"/>
                  </a:lnTo>
                  <a:lnTo>
                    <a:pt x="29670" y="14040"/>
                  </a:lnTo>
                  <a:lnTo>
                    <a:pt x="29503" y="14103"/>
                  </a:lnTo>
                  <a:lnTo>
                    <a:pt x="29524" y="14124"/>
                  </a:lnTo>
                  <a:lnTo>
                    <a:pt x="29587" y="14208"/>
                  </a:lnTo>
                  <a:lnTo>
                    <a:pt x="29524" y="14312"/>
                  </a:lnTo>
                  <a:lnTo>
                    <a:pt x="29482" y="14354"/>
                  </a:lnTo>
                  <a:lnTo>
                    <a:pt x="29357" y="14312"/>
                  </a:lnTo>
                  <a:lnTo>
                    <a:pt x="29231" y="14375"/>
                  </a:lnTo>
                  <a:lnTo>
                    <a:pt x="29085" y="14354"/>
                  </a:lnTo>
                  <a:lnTo>
                    <a:pt x="28938" y="14061"/>
                  </a:lnTo>
                  <a:lnTo>
                    <a:pt x="28938" y="13915"/>
                  </a:lnTo>
                  <a:lnTo>
                    <a:pt x="28896" y="13810"/>
                  </a:lnTo>
                  <a:lnTo>
                    <a:pt x="28750" y="13810"/>
                  </a:lnTo>
                  <a:lnTo>
                    <a:pt x="28687" y="13831"/>
                  </a:lnTo>
                  <a:lnTo>
                    <a:pt x="28687" y="13789"/>
                  </a:lnTo>
                  <a:lnTo>
                    <a:pt x="28624" y="13789"/>
                  </a:lnTo>
                  <a:lnTo>
                    <a:pt x="28561" y="13852"/>
                  </a:lnTo>
                  <a:lnTo>
                    <a:pt x="28540" y="13789"/>
                  </a:lnTo>
                  <a:lnTo>
                    <a:pt x="28540" y="13831"/>
                  </a:lnTo>
                  <a:lnTo>
                    <a:pt x="28436" y="13706"/>
                  </a:lnTo>
                  <a:lnTo>
                    <a:pt x="28436" y="13622"/>
                  </a:lnTo>
                  <a:lnTo>
                    <a:pt x="28227" y="13496"/>
                  </a:lnTo>
                  <a:lnTo>
                    <a:pt x="28122" y="13413"/>
                  </a:lnTo>
                  <a:lnTo>
                    <a:pt x="28101" y="13287"/>
                  </a:lnTo>
                  <a:lnTo>
                    <a:pt x="28038" y="13162"/>
                  </a:lnTo>
                  <a:lnTo>
                    <a:pt x="28101" y="13099"/>
                  </a:lnTo>
                  <a:lnTo>
                    <a:pt x="28101" y="13057"/>
                  </a:lnTo>
                  <a:lnTo>
                    <a:pt x="28101" y="12994"/>
                  </a:lnTo>
                  <a:lnTo>
                    <a:pt x="28122" y="12869"/>
                  </a:lnTo>
                  <a:lnTo>
                    <a:pt x="28164" y="12806"/>
                  </a:lnTo>
                  <a:lnTo>
                    <a:pt x="28185" y="12764"/>
                  </a:lnTo>
                  <a:lnTo>
                    <a:pt x="28415" y="12848"/>
                  </a:lnTo>
                  <a:lnTo>
                    <a:pt x="28750" y="12848"/>
                  </a:lnTo>
                  <a:lnTo>
                    <a:pt x="28792" y="12701"/>
                  </a:lnTo>
                  <a:lnTo>
                    <a:pt x="28771" y="12659"/>
                  </a:lnTo>
                  <a:lnTo>
                    <a:pt x="28854" y="12659"/>
                  </a:lnTo>
                  <a:lnTo>
                    <a:pt x="28833" y="12492"/>
                  </a:lnTo>
                  <a:lnTo>
                    <a:pt x="28792" y="12471"/>
                  </a:lnTo>
                  <a:lnTo>
                    <a:pt x="28854" y="12429"/>
                  </a:lnTo>
                  <a:lnTo>
                    <a:pt x="28896" y="12136"/>
                  </a:lnTo>
                  <a:lnTo>
                    <a:pt x="29105" y="12011"/>
                  </a:lnTo>
                  <a:lnTo>
                    <a:pt x="29210" y="12011"/>
                  </a:lnTo>
                  <a:lnTo>
                    <a:pt x="29315" y="11843"/>
                  </a:lnTo>
                  <a:lnTo>
                    <a:pt x="29377" y="11843"/>
                  </a:lnTo>
                  <a:lnTo>
                    <a:pt x="29398" y="11613"/>
                  </a:lnTo>
                  <a:lnTo>
                    <a:pt x="29503" y="11488"/>
                  </a:lnTo>
                  <a:lnTo>
                    <a:pt x="29524" y="11341"/>
                  </a:lnTo>
                  <a:lnTo>
                    <a:pt x="29587" y="11320"/>
                  </a:lnTo>
                  <a:lnTo>
                    <a:pt x="29670" y="11195"/>
                  </a:lnTo>
                  <a:lnTo>
                    <a:pt x="29796" y="11195"/>
                  </a:lnTo>
                  <a:lnTo>
                    <a:pt x="29838" y="11216"/>
                  </a:lnTo>
                  <a:lnTo>
                    <a:pt x="29942" y="11216"/>
                  </a:lnTo>
                  <a:lnTo>
                    <a:pt x="29984" y="11111"/>
                  </a:lnTo>
                  <a:lnTo>
                    <a:pt x="30152" y="11320"/>
                  </a:lnTo>
                  <a:lnTo>
                    <a:pt x="30424" y="11488"/>
                  </a:lnTo>
                  <a:lnTo>
                    <a:pt x="30424" y="11592"/>
                  </a:lnTo>
                  <a:lnTo>
                    <a:pt x="30361" y="11613"/>
                  </a:lnTo>
                  <a:lnTo>
                    <a:pt x="30340" y="11697"/>
                  </a:lnTo>
                  <a:lnTo>
                    <a:pt x="30214" y="11843"/>
                  </a:lnTo>
                  <a:lnTo>
                    <a:pt x="30193" y="12011"/>
                  </a:lnTo>
                  <a:lnTo>
                    <a:pt x="30089" y="12011"/>
                  </a:lnTo>
                  <a:lnTo>
                    <a:pt x="30110" y="12032"/>
                  </a:lnTo>
                  <a:lnTo>
                    <a:pt x="30089" y="12178"/>
                  </a:lnTo>
                  <a:lnTo>
                    <a:pt x="30214" y="12325"/>
                  </a:lnTo>
                  <a:lnTo>
                    <a:pt x="30193" y="12387"/>
                  </a:lnTo>
                  <a:lnTo>
                    <a:pt x="30131" y="12429"/>
                  </a:lnTo>
                  <a:lnTo>
                    <a:pt x="30131" y="12471"/>
                  </a:lnTo>
                  <a:lnTo>
                    <a:pt x="30193" y="12555"/>
                  </a:lnTo>
                  <a:lnTo>
                    <a:pt x="30319" y="12492"/>
                  </a:lnTo>
                  <a:lnTo>
                    <a:pt x="30445" y="12387"/>
                  </a:lnTo>
                  <a:lnTo>
                    <a:pt x="30403" y="12492"/>
                  </a:lnTo>
                  <a:lnTo>
                    <a:pt x="30277" y="12576"/>
                  </a:lnTo>
                  <a:lnTo>
                    <a:pt x="30319" y="12638"/>
                  </a:lnTo>
                  <a:lnTo>
                    <a:pt x="30361" y="12659"/>
                  </a:lnTo>
                  <a:lnTo>
                    <a:pt x="30361" y="12701"/>
                  </a:lnTo>
                  <a:lnTo>
                    <a:pt x="30319" y="12743"/>
                  </a:lnTo>
                  <a:lnTo>
                    <a:pt x="30193" y="12743"/>
                  </a:lnTo>
                  <a:lnTo>
                    <a:pt x="30131" y="12806"/>
                  </a:lnTo>
                  <a:lnTo>
                    <a:pt x="30026" y="12806"/>
                  </a:lnTo>
                  <a:lnTo>
                    <a:pt x="29984" y="12890"/>
                  </a:lnTo>
                  <a:lnTo>
                    <a:pt x="30089" y="12973"/>
                  </a:lnTo>
                  <a:lnTo>
                    <a:pt x="30089" y="13057"/>
                  </a:lnTo>
                  <a:lnTo>
                    <a:pt x="30152" y="13057"/>
                  </a:lnTo>
                  <a:lnTo>
                    <a:pt x="30235" y="12952"/>
                  </a:lnTo>
                  <a:lnTo>
                    <a:pt x="30277" y="12952"/>
                  </a:lnTo>
                  <a:lnTo>
                    <a:pt x="30403" y="12806"/>
                  </a:lnTo>
                  <a:lnTo>
                    <a:pt x="30549" y="12743"/>
                  </a:lnTo>
                  <a:lnTo>
                    <a:pt x="30570" y="12701"/>
                  </a:lnTo>
                  <a:lnTo>
                    <a:pt x="30528" y="12576"/>
                  </a:lnTo>
                  <a:lnTo>
                    <a:pt x="30654" y="12471"/>
                  </a:lnTo>
                  <a:lnTo>
                    <a:pt x="30926" y="12283"/>
                  </a:lnTo>
                  <a:lnTo>
                    <a:pt x="30989" y="12283"/>
                  </a:lnTo>
                  <a:lnTo>
                    <a:pt x="31030" y="12178"/>
                  </a:lnTo>
                  <a:lnTo>
                    <a:pt x="31156" y="12178"/>
                  </a:lnTo>
                  <a:lnTo>
                    <a:pt x="31302" y="12053"/>
                  </a:lnTo>
                  <a:lnTo>
                    <a:pt x="31365" y="12115"/>
                  </a:lnTo>
                  <a:lnTo>
                    <a:pt x="31407" y="12115"/>
                  </a:lnTo>
                  <a:lnTo>
                    <a:pt x="31553" y="12073"/>
                  </a:lnTo>
                  <a:lnTo>
                    <a:pt x="31721" y="11906"/>
                  </a:lnTo>
                  <a:lnTo>
                    <a:pt x="31763" y="12011"/>
                  </a:lnTo>
                  <a:lnTo>
                    <a:pt x="31763" y="11655"/>
                  </a:lnTo>
                  <a:lnTo>
                    <a:pt x="31909" y="11550"/>
                  </a:lnTo>
                  <a:lnTo>
                    <a:pt x="31972" y="11404"/>
                  </a:lnTo>
                  <a:lnTo>
                    <a:pt x="31972" y="11299"/>
                  </a:lnTo>
                  <a:lnTo>
                    <a:pt x="32118" y="11195"/>
                  </a:lnTo>
                  <a:lnTo>
                    <a:pt x="32223" y="11006"/>
                  </a:lnTo>
                  <a:lnTo>
                    <a:pt x="32328" y="10965"/>
                  </a:lnTo>
                  <a:lnTo>
                    <a:pt x="32411" y="10672"/>
                  </a:lnTo>
                  <a:lnTo>
                    <a:pt x="32453" y="10567"/>
                  </a:lnTo>
                  <a:lnTo>
                    <a:pt x="32453" y="10504"/>
                  </a:lnTo>
                  <a:lnTo>
                    <a:pt x="32453" y="10337"/>
                  </a:lnTo>
                  <a:lnTo>
                    <a:pt x="32600" y="10190"/>
                  </a:lnTo>
                  <a:lnTo>
                    <a:pt x="32704" y="10358"/>
                  </a:lnTo>
                  <a:lnTo>
                    <a:pt x="32767" y="10400"/>
                  </a:lnTo>
                  <a:lnTo>
                    <a:pt x="32851" y="10483"/>
                  </a:lnTo>
                  <a:lnTo>
                    <a:pt x="32955" y="10441"/>
                  </a:lnTo>
                  <a:lnTo>
                    <a:pt x="33081" y="10483"/>
                  </a:lnTo>
                  <a:lnTo>
                    <a:pt x="33332" y="10462"/>
                  </a:lnTo>
                  <a:lnTo>
                    <a:pt x="33478" y="10483"/>
                  </a:lnTo>
                  <a:lnTo>
                    <a:pt x="33541" y="10337"/>
                  </a:lnTo>
                  <a:lnTo>
                    <a:pt x="33541" y="10253"/>
                  </a:lnTo>
                  <a:lnTo>
                    <a:pt x="33395" y="10128"/>
                  </a:lnTo>
                  <a:lnTo>
                    <a:pt x="33290" y="10044"/>
                  </a:lnTo>
                  <a:lnTo>
                    <a:pt x="33374" y="9960"/>
                  </a:lnTo>
                  <a:lnTo>
                    <a:pt x="33499" y="9960"/>
                  </a:lnTo>
                  <a:lnTo>
                    <a:pt x="33750" y="9772"/>
                  </a:lnTo>
                  <a:lnTo>
                    <a:pt x="33750" y="9646"/>
                  </a:lnTo>
                  <a:lnTo>
                    <a:pt x="33855" y="9521"/>
                  </a:lnTo>
                  <a:lnTo>
                    <a:pt x="33939" y="9521"/>
                  </a:lnTo>
                  <a:lnTo>
                    <a:pt x="34002" y="9416"/>
                  </a:lnTo>
                  <a:lnTo>
                    <a:pt x="33939" y="9312"/>
                  </a:lnTo>
                  <a:lnTo>
                    <a:pt x="33939" y="9207"/>
                  </a:lnTo>
                  <a:lnTo>
                    <a:pt x="33939" y="9081"/>
                  </a:lnTo>
                  <a:lnTo>
                    <a:pt x="34022" y="9040"/>
                  </a:lnTo>
                  <a:lnTo>
                    <a:pt x="34127" y="9123"/>
                  </a:lnTo>
                  <a:lnTo>
                    <a:pt x="34127" y="9228"/>
                  </a:lnTo>
                  <a:lnTo>
                    <a:pt x="34190" y="9312"/>
                  </a:lnTo>
                  <a:lnTo>
                    <a:pt x="34378" y="9332"/>
                  </a:lnTo>
                  <a:lnTo>
                    <a:pt x="34399" y="9395"/>
                  </a:lnTo>
                  <a:lnTo>
                    <a:pt x="34399" y="9353"/>
                  </a:lnTo>
                  <a:lnTo>
                    <a:pt x="34399" y="9291"/>
                  </a:lnTo>
                  <a:lnTo>
                    <a:pt x="34378" y="9249"/>
                  </a:lnTo>
                  <a:lnTo>
                    <a:pt x="34336" y="9144"/>
                  </a:lnTo>
                  <a:lnTo>
                    <a:pt x="34336" y="9123"/>
                  </a:lnTo>
                  <a:lnTo>
                    <a:pt x="34420" y="9081"/>
                  </a:lnTo>
                  <a:lnTo>
                    <a:pt x="34546" y="9102"/>
                  </a:lnTo>
                  <a:lnTo>
                    <a:pt x="34608" y="9081"/>
                  </a:lnTo>
                  <a:lnTo>
                    <a:pt x="34608" y="8977"/>
                  </a:lnTo>
                  <a:lnTo>
                    <a:pt x="34587" y="8914"/>
                  </a:lnTo>
                  <a:lnTo>
                    <a:pt x="34587" y="8830"/>
                  </a:lnTo>
                  <a:lnTo>
                    <a:pt x="34608" y="8788"/>
                  </a:lnTo>
                  <a:lnTo>
                    <a:pt x="34608" y="8684"/>
                  </a:lnTo>
                  <a:lnTo>
                    <a:pt x="34608" y="8579"/>
                  </a:lnTo>
                  <a:lnTo>
                    <a:pt x="34525" y="8516"/>
                  </a:lnTo>
                  <a:lnTo>
                    <a:pt x="34525" y="8349"/>
                  </a:lnTo>
                  <a:lnTo>
                    <a:pt x="34525" y="8244"/>
                  </a:lnTo>
                  <a:lnTo>
                    <a:pt x="34504" y="8098"/>
                  </a:lnTo>
                  <a:lnTo>
                    <a:pt x="34504" y="7993"/>
                  </a:lnTo>
                  <a:lnTo>
                    <a:pt x="34441" y="7889"/>
                  </a:lnTo>
                  <a:lnTo>
                    <a:pt x="34399" y="7826"/>
                  </a:lnTo>
                  <a:lnTo>
                    <a:pt x="34378" y="7742"/>
                  </a:lnTo>
                  <a:lnTo>
                    <a:pt x="34232" y="7533"/>
                  </a:lnTo>
                  <a:lnTo>
                    <a:pt x="34190" y="7428"/>
                  </a:lnTo>
                  <a:lnTo>
                    <a:pt x="34211" y="7366"/>
                  </a:lnTo>
                  <a:lnTo>
                    <a:pt x="34294" y="7345"/>
                  </a:lnTo>
                  <a:lnTo>
                    <a:pt x="34378" y="7324"/>
                  </a:lnTo>
                  <a:lnTo>
                    <a:pt x="34420" y="7261"/>
                  </a:lnTo>
                  <a:lnTo>
                    <a:pt x="34441" y="7198"/>
                  </a:lnTo>
                  <a:lnTo>
                    <a:pt x="34546" y="7010"/>
                  </a:lnTo>
                  <a:lnTo>
                    <a:pt x="34587" y="7010"/>
                  </a:lnTo>
                  <a:lnTo>
                    <a:pt x="34692" y="7031"/>
                  </a:lnTo>
                  <a:lnTo>
                    <a:pt x="34755" y="7052"/>
                  </a:lnTo>
                  <a:lnTo>
                    <a:pt x="35131" y="7115"/>
                  </a:lnTo>
                  <a:lnTo>
                    <a:pt x="35173" y="7136"/>
                  </a:lnTo>
                  <a:lnTo>
                    <a:pt x="35236" y="7136"/>
                  </a:lnTo>
                  <a:lnTo>
                    <a:pt x="35278" y="7094"/>
                  </a:lnTo>
                  <a:lnTo>
                    <a:pt x="35257" y="7010"/>
                  </a:lnTo>
                  <a:lnTo>
                    <a:pt x="35236" y="6926"/>
                  </a:lnTo>
                  <a:lnTo>
                    <a:pt x="35236" y="6884"/>
                  </a:lnTo>
                  <a:lnTo>
                    <a:pt x="35257" y="6822"/>
                  </a:lnTo>
                  <a:lnTo>
                    <a:pt x="35236" y="6780"/>
                  </a:lnTo>
                  <a:lnTo>
                    <a:pt x="35215" y="6696"/>
                  </a:lnTo>
                  <a:lnTo>
                    <a:pt x="35257" y="6591"/>
                  </a:lnTo>
                  <a:lnTo>
                    <a:pt x="35320" y="6571"/>
                  </a:lnTo>
                  <a:lnTo>
                    <a:pt x="35278" y="6466"/>
                  </a:lnTo>
                  <a:lnTo>
                    <a:pt x="35257" y="6403"/>
                  </a:lnTo>
                  <a:lnTo>
                    <a:pt x="35257" y="6382"/>
                  </a:lnTo>
                  <a:lnTo>
                    <a:pt x="35341" y="6319"/>
                  </a:lnTo>
                  <a:lnTo>
                    <a:pt x="35320" y="6278"/>
                  </a:lnTo>
                  <a:lnTo>
                    <a:pt x="35320" y="6215"/>
                  </a:lnTo>
                  <a:lnTo>
                    <a:pt x="35278" y="6152"/>
                  </a:lnTo>
                  <a:lnTo>
                    <a:pt x="35320" y="6068"/>
                  </a:lnTo>
                  <a:lnTo>
                    <a:pt x="35362" y="6047"/>
                  </a:lnTo>
                  <a:lnTo>
                    <a:pt x="35362" y="5985"/>
                  </a:lnTo>
                  <a:lnTo>
                    <a:pt x="35341" y="5943"/>
                  </a:lnTo>
                  <a:lnTo>
                    <a:pt x="35278" y="5796"/>
                  </a:lnTo>
                  <a:lnTo>
                    <a:pt x="35278" y="5671"/>
                  </a:lnTo>
                  <a:lnTo>
                    <a:pt x="35320" y="5650"/>
                  </a:lnTo>
                  <a:lnTo>
                    <a:pt x="35341" y="5629"/>
                  </a:lnTo>
                  <a:lnTo>
                    <a:pt x="35341" y="5587"/>
                  </a:lnTo>
                  <a:lnTo>
                    <a:pt x="35320" y="5545"/>
                  </a:lnTo>
                  <a:lnTo>
                    <a:pt x="35320" y="5483"/>
                  </a:lnTo>
                  <a:lnTo>
                    <a:pt x="35257" y="5441"/>
                  </a:lnTo>
                  <a:lnTo>
                    <a:pt x="35236" y="5378"/>
                  </a:lnTo>
                  <a:lnTo>
                    <a:pt x="35257" y="5315"/>
                  </a:lnTo>
                  <a:lnTo>
                    <a:pt x="35257" y="5231"/>
                  </a:lnTo>
                  <a:lnTo>
                    <a:pt x="35236" y="5169"/>
                  </a:lnTo>
                  <a:lnTo>
                    <a:pt x="35173" y="5127"/>
                  </a:lnTo>
                  <a:lnTo>
                    <a:pt x="35173" y="5064"/>
                  </a:lnTo>
                  <a:lnTo>
                    <a:pt x="35257" y="4959"/>
                  </a:lnTo>
                  <a:lnTo>
                    <a:pt x="35362" y="4939"/>
                  </a:lnTo>
                  <a:lnTo>
                    <a:pt x="35383" y="4918"/>
                  </a:lnTo>
                  <a:lnTo>
                    <a:pt x="35383" y="4813"/>
                  </a:lnTo>
                  <a:lnTo>
                    <a:pt x="35424" y="4687"/>
                  </a:lnTo>
                  <a:lnTo>
                    <a:pt x="35341" y="4646"/>
                  </a:lnTo>
                  <a:lnTo>
                    <a:pt x="35278" y="4583"/>
                  </a:lnTo>
                  <a:lnTo>
                    <a:pt x="35257" y="4499"/>
                  </a:lnTo>
                  <a:lnTo>
                    <a:pt x="35173" y="4395"/>
                  </a:lnTo>
                  <a:lnTo>
                    <a:pt x="35152" y="4332"/>
                  </a:lnTo>
                  <a:lnTo>
                    <a:pt x="35215" y="4290"/>
                  </a:lnTo>
                  <a:lnTo>
                    <a:pt x="35152" y="4185"/>
                  </a:lnTo>
                  <a:lnTo>
                    <a:pt x="35131" y="4123"/>
                  </a:lnTo>
                  <a:lnTo>
                    <a:pt x="35027" y="4102"/>
                  </a:lnTo>
                  <a:lnTo>
                    <a:pt x="34964" y="4081"/>
                  </a:lnTo>
                  <a:lnTo>
                    <a:pt x="34859" y="4018"/>
                  </a:lnTo>
                  <a:lnTo>
                    <a:pt x="34797" y="4081"/>
                  </a:lnTo>
                  <a:lnTo>
                    <a:pt x="34713" y="4102"/>
                  </a:lnTo>
                  <a:lnTo>
                    <a:pt x="34629" y="4143"/>
                  </a:lnTo>
                  <a:lnTo>
                    <a:pt x="34629" y="4227"/>
                  </a:lnTo>
                  <a:lnTo>
                    <a:pt x="34587" y="4269"/>
                  </a:lnTo>
                  <a:lnTo>
                    <a:pt x="34504" y="4269"/>
                  </a:lnTo>
                  <a:lnTo>
                    <a:pt x="34483" y="4395"/>
                  </a:lnTo>
                  <a:lnTo>
                    <a:pt x="34294" y="4395"/>
                  </a:lnTo>
                  <a:lnTo>
                    <a:pt x="34232" y="4478"/>
                  </a:lnTo>
                  <a:lnTo>
                    <a:pt x="34232" y="4583"/>
                  </a:lnTo>
                  <a:lnTo>
                    <a:pt x="34190" y="4604"/>
                  </a:lnTo>
                  <a:lnTo>
                    <a:pt x="34169" y="4729"/>
                  </a:lnTo>
                  <a:lnTo>
                    <a:pt x="34169" y="4792"/>
                  </a:lnTo>
                  <a:lnTo>
                    <a:pt x="34106" y="4813"/>
                  </a:lnTo>
                  <a:lnTo>
                    <a:pt x="34022" y="4897"/>
                  </a:lnTo>
                  <a:lnTo>
                    <a:pt x="33876" y="4918"/>
                  </a:lnTo>
                  <a:lnTo>
                    <a:pt x="33709" y="4918"/>
                  </a:lnTo>
                  <a:lnTo>
                    <a:pt x="33667" y="4939"/>
                  </a:lnTo>
                  <a:lnTo>
                    <a:pt x="33604" y="5001"/>
                  </a:lnTo>
                  <a:lnTo>
                    <a:pt x="33583" y="4918"/>
                  </a:lnTo>
                  <a:lnTo>
                    <a:pt x="33541" y="4834"/>
                  </a:lnTo>
                  <a:lnTo>
                    <a:pt x="33458" y="4834"/>
                  </a:lnTo>
                  <a:lnTo>
                    <a:pt x="33374" y="4897"/>
                  </a:lnTo>
                  <a:lnTo>
                    <a:pt x="33269" y="4918"/>
                  </a:lnTo>
                  <a:lnTo>
                    <a:pt x="33248" y="4834"/>
                  </a:lnTo>
                  <a:lnTo>
                    <a:pt x="33165" y="4729"/>
                  </a:lnTo>
                  <a:lnTo>
                    <a:pt x="33123" y="4708"/>
                  </a:lnTo>
                  <a:lnTo>
                    <a:pt x="32976" y="4583"/>
                  </a:lnTo>
                  <a:lnTo>
                    <a:pt x="32976" y="4478"/>
                  </a:lnTo>
                  <a:lnTo>
                    <a:pt x="33018" y="4436"/>
                  </a:lnTo>
                  <a:lnTo>
                    <a:pt x="33039" y="4332"/>
                  </a:lnTo>
                  <a:lnTo>
                    <a:pt x="33018" y="4227"/>
                  </a:lnTo>
                  <a:lnTo>
                    <a:pt x="32976" y="4123"/>
                  </a:lnTo>
                  <a:lnTo>
                    <a:pt x="32872" y="4143"/>
                  </a:lnTo>
                  <a:lnTo>
                    <a:pt x="32872" y="4081"/>
                  </a:lnTo>
                  <a:lnTo>
                    <a:pt x="32872" y="3997"/>
                  </a:lnTo>
                  <a:lnTo>
                    <a:pt x="32934" y="3913"/>
                  </a:lnTo>
                  <a:lnTo>
                    <a:pt x="32934" y="3871"/>
                  </a:lnTo>
                  <a:lnTo>
                    <a:pt x="32872" y="3851"/>
                  </a:lnTo>
                  <a:lnTo>
                    <a:pt x="32851" y="3851"/>
                  </a:lnTo>
                  <a:lnTo>
                    <a:pt x="32767" y="3892"/>
                  </a:lnTo>
                  <a:lnTo>
                    <a:pt x="32725" y="3892"/>
                  </a:lnTo>
                  <a:lnTo>
                    <a:pt x="32642" y="3913"/>
                  </a:lnTo>
                  <a:lnTo>
                    <a:pt x="32558" y="3892"/>
                  </a:lnTo>
                  <a:lnTo>
                    <a:pt x="32516" y="3871"/>
                  </a:lnTo>
                  <a:lnTo>
                    <a:pt x="32453" y="3851"/>
                  </a:lnTo>
                  <a:lnTo>
                    <a:pt x="32432" y="3809"/>
                  </a:lnTo>
                  <a:lnTo>
                    <a:pt x="32307" y="3767"/>
                  </a:lnTo>
                  <a:lnTo>
                    <a:pt x="32307" y="3704"/>
                  </a:lnTo>
                  <a:lnTo>
                    <a:pt x="32244" y="3662"/>
                  </a:lnTo>
                  <a:lnTo>
                    <a:pt x="32202" y="3662"/>
                  </a:lnTo>
                  <a:lnTo>
                    <a:pt x="32139" y="3599"/>
                  </a:lnTo>
                  <a:lnTo>
                    <a:pt x="32139" y="3558"/>
                  </a:lnTo>
                  <a:lnTo>
                    <a:pt x="32077" y="3558"/>
                  </a:lnTo>
                  <a:lnTo>
                    <a:pt x="32014" y="3474"/>
                  </a:lnTo>
                  <a:lnTo>
                    <a:pt x="31993" y="3432"/>
                  </a:lnTo>
                  <a:lnTo>
                    <a:pt x="31930" y="3369"/>
                  </a:lnTo>
                  <a:lnTo>
                    <a:pt x="31888" y="3369"/>
                  </a:lnTo>
                  <a:lnTo>
                    <a:pt x="31846" y="3453"/>
                  </a:lnTo>
                  <a:lnTo>
                    <a:pt x="31805" y="3432"/>
                  </a:lnTo>
                  <a:lnTo>
                    <a:pt x="31763" y="3453"/>
                  </a:lnTo>
                  <a:lnTo>
                    <a:pt x="31721" y="3495"/>
                  </a:lnTo>
                  <a:lnTo>
                    <a:pt x="31658" y="3453"/>
                  </a:lnTo>
                  <a:lnTo>
                    <a:pt x="31616" y="3390"/>
                  </a:lnTo>
                  <a:lnTo>
                    <a:pt x="31574" y="3369"/>
                  </a:lnTo>
                  <a:lnTo>
                    <a:pt x="31449" y="3369"/>
                  </a:lnTo>
                  <a:lnTo>
                    <a:pt x="31386" y="3348"/>
                  </a:lnTo>
                  <a:lnTo>
                    <a:pt x="31449" y="3286"/>
                  </a:lnTo>
                  <a:lnTo>
                    <a:pt x="31449" y="3244"/>
                  </a:lnTo>
                  <a:lnTo>
                    <a:pt x="31365" y="3244"/>
                  </a:lnTo>
                  <a:lnTo>
                    <a:pt x="31302" y="3286"/>
                  </a:lnTo>
                  <a:lnTo>
                    <a:pt x="31177" y="3286"/>
                  </a:lnTo>
                  <a:lnTo>
                    <a:pt x="31135" y="3327"/>
                  </a:lnTo>
                  <a:lnTo>
                    <a:pt x="31072" y="3265"/>
                  </a:lnTo>
                  <a:lnTo>
                    <a:pt x="31030" y="3286"/>
                  </a:lnTo>
                  <a:lnTo>
                    <a:pt x="30947" y="3286"/>
                  </a:lnTo>
                  <a:lnTo>
                    <a:pt x="30884" y="3223"/>
                  </a:lnTo>
                  <a:lnTo>
                    <a:pt x="30800" y="3181"/>
                  </a:lnTo>
                  <a:lnTo>
                    <a:pt x="30675" y="3055"/>
                  </a:lnTo>
                  <a:lnTo>
                    <a:pt x="30633" y="2930"/>
                  </a:lnTo>
                  <a:lnTo>
                    <a:pt x="30633" y="2846"/>
                  </a:lnTo>
                  <a:lnTo>
                    <a:pt x="30612" y="2742"/>
                  </a:lnTo>
                  <a:lnTo>
                    <a:pt x="30549" y="2742"/>
                  </a:lnTo>
                  <a:lnTo>
                    <a:pt x="30465" y="2721"/>
                  </a:lnTo>
                  <a:lnTo>
                    <a:pt x="30465" y="2574"/>
                  </a:lnTo>
                  <a:lnTo>
                    <a:pt x="30424" y="2553"/>
                  </a:lnTo>
                  <a:lnTo>
                    <a:pt x="30403" y="2428"/>
                  </a:lnTo>
                  <a:lnTo>
                    <a:pt x="30361" y="2323"/>
                  </a:lnTo>
                  <a:lnTo>
                    <a:pt x="30152" y="2198"/>
                  </a:lnTo>
                  <a:lnTo>
                    <a:pt x="30047" y="2030"/>
                  </a:lnTo>
                  <a:lnTo>
                    <a:pt x="30026" y="1988"/>
                  </a:lnTo>
                  <a:lnTo>
                    <a:pt x="29984" y="1884"/>
                  </a:lnTo>
                  <a:lnTo>
                    <a:pt x="29921" y="1905"/>
                  </a:lnTo>
                  <a:lnTo>
                    <a:pt x="29901" y="1905"/>
                  </a:lnTo>
                  <a:lnTo>
                    <a:pt x="29901" y="1821"/>
                  </a:lnTo>
                  <a:lnTo>
                    <a:pt x="29921" y="1779"/>
                  </a:lnTo>
                  <a:lnTo>
                    <a:pt x="29838" y="1716"/>
                  </a:lnTo>
                  <a:lnTo>
                    <a:pt x="29796" y="1612"/>
                  </a:lnTo>
                  <a:lnTo>
                    <a:pt x="29733" y="1591"/>
                  </a:lnTo>
                  <a:lnTo>
                    <a:pt x="29712" y="1507"/>
                  </a:lnTo>
                  <a:lnTo>
                    <a:pt x="29670" y="1444"/>
                  </a:lnTo>
                  <a:lnTo>
                    <a:pt x="29608" y="1340"/>
                  </a:lnTo>
                  <a:lnTo>
                    <a:pt x="29482" y="1256"/>
                  </a:lnTo>
                  <a:lnTo>
                    <a:pt x="29461" y="1193"/>
                  </a:lnTo>
                  <a:lnTo>
                    <a:pt x="29503" y="1130"/>
                  </a:lnTo>
                  <a:lnTo>
                    <a:pt x="29482" y="1047"/>
                  </a:lnTo>
                  <a:lnTo>
                    <a:pt x="29315" y="1047"/>
                  </a:lnTo>
                  <a:lnTo>
                    <a:pt x="29294" y="984"/>
                  </a:lnTo>
                  <a:lnTo>
                    <a:pt x="29294" y="942"/>
                  </a:lnTo>
                  <a:lnTo>
                    <a:pt x="29273" y="879"/>
                  </a:lnTo>
                  <a:lnTo>
                    <a:pt x="29273" y="817"/>
                  </a:lnTo>
                  <a:lnTo>
                    <a:pt x="29231" y="733"/>
                  </a:lnTo>
                  <a:lnTo>
                    <a:pt x="29168" y="712"/>
                  </a:lnTo>
                  <a:lnTo>
                    <a:pt x="29168" y="649"/>
                  </a:lnTo>
                  <a:lnTo>
                    <a:pt x="29147" y="607"/>
                  </a:lnTo>
                  <a:lnTo>
                    <a:pt x="29085" y="628"/>
                  </a:lnTo>
                  <a:lnTo>
                    <a:pt x="28980" y="607"/>
                  </a:lnTo>
                  <a:lnTo>
                    <a:pt x="28959" y="545"/>
                  </a:lnTo>
                  <a:lnTo>
                    <a:pt x="28980" y="482"/>
                  </a:lnTo>
                  <a:lnTo>
                    <a:pt x="28959" y="440"/>
                  </a:lnTo>
                  <a:lnTo>
                    <a:pt x="28875" y="419"/>
                  </a:lnTo>
                  <a:lnTo>
                    <a:pt x="28833" y="461"/>
                  </a:lnTo>
                  <a:lnTo>
                    <a:pt x="28792" y="419"/>
                  </a:lnTo>
                  <a:lnTo>
                    <a:pt x="28750" y="419"/>
                  </a:lnTo>
                  <a:lnTo>
                    <a:pt x="28708" y="356"/>
                  </a:lnTo>
                  <a:lnTo>
                    <a:pt x="28750" y="293"/>
                  </a:lnTo>
                  <a:lnTo>
                    <a:pt x="28687" y="231"/>
                  </a:lnTo>
                  <a:lnTo>
                    <a:pt x="28624" y="210"/>
                  </a:lnTo>
                  <a:lnTo>
                    <a:pt x="28561" y="231"/>
                  </a:lnTo>
                  <a:lnTo>
                    <a:pt x="28520" y="147"/>
                  </a:lnTo>
                  <a:lnTo>
                    <a:pt x="28457" y="189"/>
                  </a:lnTo>
                  <a:lnTo>
                    <a:pt x="28373" y="189"/>
                  </a:lnTo>
                  <a:lnTo>
                    <a:pt x="28331" y="147"/>
                  </a:lnTo>
                  <a:lnTo>
                    <a:pt x="28268" y="189"/>
                  </a:lnTo>
                  <a:lnTo>
                    <a:pt x="28268" y="252"/>
                  </a:lnTo>
                  <a:lnTo>
                    <a:pt x="28248" y="293"/>
                  </a:lnTo>
                  <a:lnTo>
                    <a:pt x="28143" y="231"/>
                  </a:lnTo>
                  <a:lnTo>
                    <a:pt x="28101" y="189"/>
                  </a:lnTo>
                  <a:lnTo>
                    <a:pt x="28017" y="210"/>
                  </a:lnTo>
                  <a:lnTo>
                    <a:pt x="27892" y="210"/>
                  </a:lnTo>
                  <a:lnTo>
                    <a:pt x="27892" y="189"/>
                  </a:lnTo>
                  <a:lnTo>
                    <a:pt x="27808" y="105"/>
                  </a:lnTo>
                  <a:lnTo>
                    <a:pt x="27620" y="84"/>
                  </a:lnTo>
                  <a:lnTo>
                    <a:pt x="27536" y="21"/>
                  </a:lnTo>
                  <a:lnTo>
                    <a:pt x="27432" y="21"/>
                  </a:lnTo>
                  <a:lnTo>
                    <a:pt x="2739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 name="Google Shape;5968;p93">
              <a:extLst>
                <a:ext uri="{FF2B5EF4-FFF2-40B4-BE49-F238E27FC236}">
                  <a16:creationId xmlns:a16="http://schemas.microsoft.com/office/drawing/2014/main" id="{38D5F631-2B8B-46FC-95EE-EE994409BCCE}"/>
                </a:ext>
              </a:extLst>
            </p:cNvPr>
            <p:cNvSpPr/>
            <p:nvPr/>
          </p:nvSpPr>
          <p:spPr>
            <a:xfrm>
              <a:off x="4442708" y="2990191"/>
              <a:ext cx="762" cy="967"/>
            </a:xfrm>
            <a:custGeom>
              <a:avLst/>
              <a:gdLst/>
              <a:ahLst/>
              <a:cxnLst/>
              <a:rect l="l" t="t" r="r" b="b"/>
              <a:pathLst>
                <a:path w="64" h="85" extrusionOk="0">
                  <a:moveTo>
                    <a:pt x="63" y="85"/>
                  </a:moveTo>
                  <a:lnTo>
                    <a:pt x="1" y="1"/>
                  </a:lnTo>
                  <a:lnTo>
                    <a:pt x="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 name="Google Shape;5969;p93">
              <a:extLst>
                <a:ext uri="{FF2B5EF4-FFF2-40B4-BE49-F238E27FC236}">
                  <a16:creationId xmlns:a16="http://schemas.microsoft.com/office/drawing/2014/main" id="{3CD1AEF2-4F88-4775-B5F3-DFE8CFBF5624}"/>
                </a:ext>
              </a:extLst>
            </p:cNvPr>
            <p:cNvSpPr/>
            <p:nvPr/>
          </p:nvSpPr>
          <p:spPr>
            <a:xfrm>
              <a:off x="4434742" y="2997094"/>
              <a:ext cx="1250" cy="1205"/>
            </a:xfrm>
            <a:custGeom>
              <a:avLst/>
              <a:gdLst/>
              <a:ahLst/>
              <a:cxnLst/>
              <a:rect l="l" t="t" r="r" b="b"/>
              <a:pathLst>
                <a:path w="105" h="106" extrusionOk="0">
                  <a:moveTo>
                    <a:pt x="0" y="105"/>
                  </a:moveTo>
                  <a:lnTo>
                    <a:pt x="105" y="1"/>
                  </a:lnTo>
                  <a:lnTo>
                    <a:pt x="10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 name="Google Shape;5970;p93">
              <a:extLst>
                <a:ext uri="{FF2B5EF4-FFF2-40B4-BE49-F238E27FC236}">
                  <a16:creationId xmlns:a16="http://schemas.microsoft.com/office/drawing/2014/main" id="{4A8FB22C-E43E-424D-9FBD-DC5D5A6F3F06}"/>
                </a:ext>
              </a:extLst>
            </p:cNvPr>
            <p:cNvSpPr/>
            <p:nvPr/>
          </p:nvSpPr>
          <p:spPr>
            <a:xfrm>
              <a:off x="4184339" y="2879787"/>
              <a:ext cx="2512" cy="728"/>
            </a:xfrm>
            <a:custGeom>
              <a:avLst/>
              <a:gdLst/>
              <a:ahLst/>
              <a:cxnLst/>
              <a:rect l="l" t="t" r="r" b="b"/>
              <a:pathLst>
                <a:path w="211" h="64" extrusionOk="0">
                  <a:moveTo>
                    <a:pt x="210" y="0"/>
                  </a:moveTo>
                  <a:lnTo>
                    <a:pt x="1" y="63"/>
                  </a:lnTo>
                  <a:lnTo>
                    <a:pt x="22" y="63"/>
                  </a:lnTo>
                  <a:lnTo>
                    <a:pt x="21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 name="Google Shape;5971;p93">
              <a:extLst>
                <a:ext uri="{FF2B5EF4-FFF2-40B4-BE49-F238E27FC236}">
                  <a16:creationId xmlns:a16="http://schemas.microsoft.com/office/drawing/2014/main" id="{653CC3AB-D4AD-43A0-93E2-11524C32E7D7}"/>
                </a:ext>
              </a:extLst>
            </p:cNvPr>
            <p:cNvSpPr/>
            <p:nvPr/>
          </p:nvSpPr>
          <p:spPr>
            <a:xfrm>
              <a:off x="4038591" y="2720356"/>
              <a:ext cx="260870" cy="130886"/>
            </a:xfrm>
            <a:custGeom>
              <a:avLst/>
              <a:gdLst/>
              <a:ahLst/>
              <a:cxnLst/>
              <a:rect l="l" t="t" r="r" b="b"/>
              <a:pathLst>
                <a:path w="21908" h="11509" extrusionOk="0">
                  <a:moveTo>
                    <a:pt x="10860" y="0"/>
                  </a:moveTo>
                  <a:lnTo>
                    <a:pt x="10755" y="84"/>
                  </a:lnTo>
                  <a:lnTo>
                    <a:pt x="10713" y="189"/>
                  </a:lnTo>
                  <a:lnTo>
                    <a:pt x="10567" y="189"/>
                  </a:lnTo>
                  <a:lnTo>
                    <a:pt x="10483" y="252"/>
                  </a:lnTo>
                  <a:lnTo>
                    <a:pt x="10546" y="314"/>
                  </a:lnTo>
                  <a:lnTo>
                    <a:pt x="10546" y="398"/>
                  </a:lnTo>
                  <a:lnTo>
                    <a:pt x="10400" y="419"/>
                  </a:lnTo>
                  <a:lnTo>
                    <a:pt x="10337" y="419"/>
                  </a:lnTo>
                  <a:lnTo>
                    <a:pt x="10253" y="524"/>
                  </a:lnTo>
                  <a:lnTo>
                    <a:pt x="10128" y="524"/>
                  </a:lnTo>
                  <a:lnTo>
                    <a:pt x="10044" y="586"/>
                  </a:lnTo>
                  <a:lnTo>
                    <a:pt x="9981" y="586"/>
                  </a:lnTo>
                  <a:lnTo>
                    <a:pt x="9751" y="733"/>
                  </a:lnTo>
                  <a:lnTo>
                    <a:pt x="9625" y="796"/>
                  </a:lnTo>
                  <a:lnTo>
                    <a:pt x="9521" y="837"/>
                  </a:lnTo>
                  <a:lnTo>
                    <a:pt x="9437" y="837"/>
                  </a:lnTo>
                  <a:lnTo>
                    <a:pt x="9353" y="775"/>
                  </a:lnTo>
                  <a:lnTo>
                    <a:pt x="9312" y="837"/>
                  </a:lnTo>
                  <a:lnTo>
                    <a:pt x="9291" y="921"/>
                  </a:lnTo>
                  <a:lnTo>
                    <a:pt x="9144" y="921"/>
                  </a:lnTo>
                  <a:lnTo>
                    <a:pt x="9102" y="984"/>
                  </a:lnTo>
                  <a:lnTo>
                    <a:pt x="9102" y="1088"/>
                  </a:lnTo>
                  <a:lnTo>
                    <a:pt x="9040" y="1130"/>
                  </a:lnTo>
                  <a:lnTo>
                    <a:pt x="8977" y="1109"/>
                  </a:lnTo>
                  <a:lnTo>
                    <a:pt x="8893" y="1109"/>
                  </a:lnTo>
                  <a:lnTo>
                    <a:pt x="8789" y="1151"/>
                  </a:lnTo>
                  <a:lnTo>
                    <a:pt x="8663" y="1172"/>
                  </a:lnTo>
                  <a:lnTo>
                    <a:pt x="8496" y="1256"/>
                  </a:lnTo>
                  <a:lnTo>
                    <a:pt x="8475" y="1319"/>
                  </a:lnTo>
                  <a:lnTo>
                    <a:pt x="8307" y="1340"/>
                  </a:lnTo>
                  <a:lnTo>
                    <a:pt x="8182" y="1402"/>
                  </a:lnTo>
                  <a:lnTo>
                    <a:pt x="8035" y="1423"/>
                  </a:lnTo>
                  <a:lnTo>
                    <a:pt x="7847" y="1465"/>
                  </a:lnTo>
                  <a:lnTo>
                    <a:pt x="7826" y="1549"/>
                  </a:lnTo>
                  <a:lnTo>
                    <a:pt x="7763" y="1632"/>
                  </a:lnTo>
                  <a:lnTo>
                    <a:pt x="7721" y="1528"/>
                  </a:lnTo>
                  <a:lnTo>
                    <a:pt x="7617" y="1528"/>
                  </a:lnTo>
                  <a:lnTo>
                    <a:pt x="7512" y="1570"/>
                  </a:lnTo>
                  <a:lnTo>
                    <a:pt x="7512" y="1653"/>
                  </a:lnTo>
                  <a:lnTo>
                    <a:pt x="7449" y="1695"/>
                  </a:lnTo>
                  <a:lnTo>
                    <a:pt x="7345" y="1653"/>
                  </a:lnTo>
                  <a:lnTo>
                    <a:pt x="7219" y="1653"/>
                  </a:lnTo>
                  <a:lnTo>
                    <a:pt x="7198" y="1612"/>
                  </a:lnTo>
                  <a:lnTo>
                    <a:pt x="7115" y="1612"/>
                  </a:lnTo>
                  <a:lnTo>
                    <a:pt x="7031" y="1653"/>
                  </a:lnTo>
                  <a:lnTo>
                    <a:pt x="6926" y="1674"/>
                  </a:lnTo>
                  <a:lnTo>
                    <a:pt x="6884" y="1695"/>
                  </a:lnTo>
                  <a:lnTo>
                    <a:pt x="6926" y="1842"/>
                  </a:lnTo>
                  <a:lnTo>
                    <a:pt x="6884" y="1925"/>
                  </a:lnTo>
                  <a:lnTo>
                    <a:pt x="6989" y="1946"/>
                  </a:lnTo>
                  <a:lnTo>
                    <a:pt x="7136" y="1925"/>
                  </a:lnTo>
                  <a:lnTo>
                    <a:pt x="7198" y="2051"/>
                  </a:lnTo>
                  <a:lnTo>
                    <a:pt x="7031" y="2051"/>
                  </a:lnTo>
                  <a:lnTo>
                    <a:pt x="6989" y="2093"/>
                  </a:lnTo>
                  <a:lnTo>
                    <a:pt x="6989" y="2156"/>
                  </a:lnTo>
                  <a:lnTo>
                    <a:pt x="7136" y="2176"/>
                  </a:lnTo>
                  <a:lnTo>
                    <a:pt x="7240" y="2197"/>
                  </a:lnTo>
                  <a:lnTo>
                    <a:pt x="7324" y="2156"/>
                  </a:lnTo>
                  <a:lnTo>
                    <a:pt x="7408" y="2156"/>
                  </a:lnTo>
                  <a:lnTo>
                    <a:pt x="7512" y="2260"/>
                  </a:lnTo>
                  <a:lnTo>
                    <a:pt x="7617" y="2281"/>
                  </a:lnTo>
                  <a:lnTo>
                    <a:pt x="7617" y="2386"/>
                  </a:lnTo>
                  <a:lnTo>
                    <a:pt x="7554" y="2449"/>
                  </a:lnTo>
                  <a:lnTo>
                    <a:pt x="7449" y="2407"/>
                  </a:lnTo>
                  <a:lnTo>
                    <a:pt x="7219" y="2449"/>
                  </a:lnTo>
                  <a:lnTo>
                    <a:pt x="7094" y="2553"/>
                  </a:lnTo>
                  <a:lnTo>
                    <a:pt x="6947" y="2741"/>
                  </a:lnTo>
                  <a:lnTo>
                    <a:pt x="6947" y="2867"/>
                  </a:lnTo>
                  <a:lnTo>
                    <a:pt x="7031" y="2888"/>
                  </a:lnTo>
                  <a:lnTo>
                    <a:pt x="7052" y="3013"/>
                  </a:lnTo>
                  <a:lnTo>
                    <a:pt x="6989" y="3118"/>
                  </a:lnTo>
                  <a:lnTo>
                    <a:pt x="6947" y="3244"/>
                  </a:lnTo>
                  <a:lnTo>
                    <a:pt x="6843" y="3244"/>
                  </a:lnTo>
                  <a:lnTo>
                    <a:pt x="6843" y="3306"/>
                  </a:lnTo>
                  <a:lnTo>
                    <a:pt x="6884" y="3390"/>
                  </a:lnTo>
                  <a:lnTo>
                    <a:pt x="6884" y="3453"/>
                  </a:lnTo>
                  <a:lnTo>
                    <a:pt x="7031" y="3453"/>
                  </a:lnTo>
                  <a:lnTo>
                    <a:pt x="7115" y="3537"/>
                  </a:lnTo>
                  <a:lnTo>
                    <a:pt x="7240" y="3557"/>
                  </a:lnTo>
                  <a:lnTo>
                    <a:pt x="7240" y="3620"/>
                  </a:lnTo>
                  <a:lnTo>
                    <a:pt x="7366" y="3704"/>
                  </a:lnTo>
                  <a:lnTo>
                    <a:pt x="7533" y="3725"/>
                  </a:lnTo>
                  <a:lnTo>
                    <a:pt x="7575" y="3746"/>
                  </a:lnTo>
                  <a:lnTo>
                    <a:pt x="7617" y="4227"/>
                  </a:lnTo>
                  <a:lnTo>
                    <a:pt x="7554" y="4290"/>
                  </a:lnTo>
                  <a:lnTo>
                    <a:pt x="7366" y="4373"/>
                  </a:lnTo>
                  <a:lnTo>
                    <a:pt x="7219" y="4353"/>
                  </a:lnTo>
                  <a:lnTo>
                    <a:pt x="7031" y="4248"/>
                  </a:lnTo>
                  <a:lnTo>
                    <a:pt x="6947" y="4290"/>
                  </a:lnTo>
                  <a:lnTo>
                    <a:pt x="6947" y="4394"/>
                  </a:lnTo>
                  <a:lnTo>
                    <a:pt x="6905" y="4541"/>
                  </a:lnTo>
                  <a:lnTo>
                    <a:pt x="6780" y="4562"/>
                  </a:lnTo>
                  <a:lnTo>
                    <a:pt x="6571" y="4457"/>
                  </a:lnTo>
                  <a:lnTo>
                    <a:pt x="6403" y="4457"/>
                  </a:lnTo>
                  <a:lnTo>
                    <a:pt x="6320" y="4394"/>
                  </a:lnTo>
                  <a:lnTo>
                    <a:pt x="6278" y="4436"/>
                  </a:lnTo>
                  <a:lnTo>
                    <a:pt x="6173" y="4394"/>
                  </a:lnTo>
                  <a:lnTo>
                    <a:pt x="6048" y="4269"/>
                  </a:lnTo>
                  <a:lnTo>
                    <a:pt x="6152" y="4227"/>
                  </a:lnTo>
                  <a:lnTo>
                    <a:pt x="6173" y="4143"/>
                  </a:lnTo>
                  <a:lnTo>
                    <a:pt x="6089" y="4122"/>
                  </a:lnTo>
                  <a:lnTo>
                    <a:pt x="5964" y="4039"/>
                  </a:lnTo>
                  <a:lnTo>
                    <a:pt x="5880" y="4122"/>
                  </a:lnTo>
                  <a:lnTo>
                    <a:pt x="5755" y="4081"/>
                  </a:lnTo>
                  <a:lnTo>
                    <a:pt x="5671" y="4122"/>
                  </a:lnTo>
                  <a:lnTo>
                    <a:pt x="5692" y="4269"/>
                  </a:lnTo>
                  <a:lnTo>
                    <a:pt x="5545" y="4290"/>
                  </a:lnTo>
                  <a:lnTo>
                    <a:pt x="5483" y="4227"/>
                  </a:lnTo>
                  <a:lnTo>
                    <a:pt x="5336" y="4060"/>
                  </a:lnTo>
                  <a:lnTo>
                    <a:pt x="5211" y="4081"/>
                  </a:lnTo>
                  <a:lnTo>
                    <a:pt x="5148" y="4185"/>
                  </a:lnTo>
                  <a:lnTo>
                    <a:pt x="5064" y="4081"/>
                  </a:lnTo>
                  <a:lnTo>
                    <a:pt x="5001" y="4122"/>
                  </a:lnTo>
                  <a:lnTo>
                    <a:pt x="5001" y="4248"/>
                  </a:lnTo>
                  <a:lnTo>
                    <a:pt x="4855" y="4248"/>
                  </a:lnTo>
                  <a:lnTo>
                    <a:pt x="4834" y="4457"/>
                  </a:lnTo>
                  <a:lnTo>
                    <a:pt x="4708" y="4562"/>
                  </a:lnTo>
                  <a:lnTo>
                    <a:pt x="4625" y="4541"/>
                  </a:lnTo>
                  <a:lnTo>
                    <a:pt x="4541" y="4436"/>
                  </a:lnTo>
                  <a:lnTo>
                    <a:pt x="4332" y="4394"/>
                  </a:lnTo>
                  <a:lnTo>
                    <a:pt x="4269" y="4269"/>
                  </a:lnTo>
                  <a:lnTo>
                    <a:pt x="4123" y="4353"/>
                  </a:lnTo>
                  <a:lnTo>
                    <a:pt x="4164" y="4478"/>
                  </a:lnTo>
                  <a:lnTo>
                    <a:pt x="4081" y="4604"/>
                  </a:lnTo>
                  <a:lnTo>
                    <a:pt x="3997" y="4583"/>
                  </a:lnTo>
                  <a:lnTo>
                    <a:pt x="3997" y="4457"/>
                  </a:lnTo>
                  <a:lnTo>
                    <a:pt x="3955" y="4373"/>
                  </a:lnTo>
                  <a:lnTo>
                    <a:pt x="3871" y="4373"/>
                  </a:lnTo>
                  <a:lnTo>
                    <a:pt x="3704" y="4248"/>
                  </a:lnTo>
                  <a:lnTo>
                    <a:pt x="3599" y="4122"/>
                  </a:lnTo>
                  <a:lnTo>
                    <a:pt x="3474" y="4122"/>
                  </a:lnTo>
                  <a:lnTo>
                    <a:pt x="3369" y="3976"/>
                  </a:lnTo>
                  <a:lnTo>
                    <a:pt x="3286" y="3955"/>
                  </a:lnTo>
                  <a:lnTo>
                    <a:pt x="3244" y="3871"/>
                  </a:lnTo>
                  <a:lnTo>
                    <a:pt x="3160" y="3871"/>
                  </a:lnTo>
                  <a:lnTo>
                    <a:pt x="2951" y="3955"/>
                  </a:lnTo>
                  <a:lnTo>
                    <a:pt x="2825" y="3850"/>
                  </a:lnTo>
                  <a:lnTo>
                    <a:pt x="2742" y="3704"/>
                  </a:lnTo>
                  <a:lnTo>
                    <a:pt x="2637" y="3704"/>
                  </a:lnTo>
                  <a:lnTo>
                    <a:pt x="2532" y="3809"/>
                  </a:lnTo>
                  <a:lnTo>
                    <a:pt x="2407" y="3809"/>
                  </a:lnTo>
                  <a:lnTo>
                    <a:pt x="2407" y="3871"/>
                  </a:lnTo>
                  <a:lnTo>
                    <a:pt x="2323" y="3955"/>
                  </a:lnTo>
                  <a:lnTo>
                    <a:pt x="2323" y="3850"/>
                  </a:lnTo>
                  <a:lnTo>
                    <a:pt x="2239" y="3913"/>
                  </a:lnTo>
                  <a:lnTo>
                    <a:pt x="2218" y="3976"/>
                  </a:lnTo>
                  <a:lnTo>
                    <a:pt x="2114" y="4060"/>
                  </a:lnTo>
                  <a:lnTo>
                    <a:pt x="2030" y="3976"/>
                  </a:lnTo>
                  <a:lnTo>
                    <a:pt x="2114" y="3913"/>
                  </a:lnTo>
                  <a:lnTo>
                    <a:pt x="2135" y="3829"/>
                  </a:lnTo>
                  <a:lnTo>
                    <a:pt x="2009" y="3767"/>
                  </a:lnTo>
                  <a:lnTo>
                    <a:pt x="1821" y="3662"/>
                  </a:lnTo>
                  <a:lnTo>
                    <a:pt x="1800" y="3746"/>
                  </a:lnTo>
                  <a:lnTo>
                    <a:pt x="1821" y="3850"/>
                  </a:lnTo>
                  <a:lnTo>
                    <a:pt x="1821" y="3955"/>
                  </a:lnTo>
                  <a:lnTo>
                    <a:pt x="1695" y="3913"/>
                  </a:lnTo>
                  <a:lnTo>
                    <a:pt x="1612" y="3976"/>
                  </a:lnTo>
                  <a:lnTo>
                    <a:pt x="1570" y="4143"/>
                  </a:lnTo>
                  <a:lnTo>
                    <a:pt x="1486" y="4143"/>
                  </a:lnTo>
                  <a:lnTo>
                    <a:pt x="1298" y="4248"/>
                  </a:lnTo>
                  <a:lnTo>
                    <a:pt x="1277" y="4373"/>
                  </a:lnTo>
                  <a:lnTo>
                    <a:pt x="1361" y="4478"/>
                  </a:lnTo>
                  <a:lnTo>
                    <a:pt x="1361" y="4604"/>
                  </a:lnTo>
                  <a:lnTo>
                    <a:pt x="1172" y="4604"/>
                  </a:lnTo>
                  <a:lnTo>
                    <a:pt x="984" y="4645"/>
                  </a:lnTo>
                  <a:lnTo>
                    <a:pt x="1130" y="5106"/>
                  </a:lnTo>
                  <a:lnTo>
                    <a:pt x="1047" y="5169"/>
                  </a:lnTo>
                  <a:lnTo>
                    <a:pt x="1068" y="5336"/>
                  </a:lnTo>
                  <a:lnTo>
                    <a:pt x="879" y="5336"/>
                  </a:lnTo>
                  <a:lnTo>
                    <a:pt x="733" y="5231"/>
                  </a:lnTo>
                  <a:lnTo>
                    <a:pt x="670" y="5127"/>
                  </a:lnTo>
                  <a:lnTo>
                    <a:pt x="356" y="4876"/>
                  </a:lnTo>
                  <a:lnTo>
                    <a:pt x="294" y="4980"/>
                  </a:lnTo>
                  <a:lnTo>
                    <a:pt x="294" y="5106"/>
                  </a:lnTo>
                  <a:lnTo>
                    <a:pt x="126" y="5315"/>
                  </a:lnTo>
                  <a:lnTo>
                    <a:pt x="22" y="5378"/>
                  </a:lnTo>
                  <a:lnTo>
                    <a:pt x="42" y="5629"/>
                  </a:lnTo>
                  <a:lnTo>
                    <a:pt x="126" y="5734"/>
                  </a:lnTo>
                  <a:lnTo>
                    <a:pt x="105" y="6068"/>
                  </a:lnTo>
                  <a:lnTo>
                    <a:pt x="1" y="6278"/>
                  </a:lnTo>
                  <a:lnTo>
                    <a:pt x="231" y="6382"/>
                  </a:lnTo>
                  <a:lnTo>
                    <a:pt x="335" y="6550"/>
                  </a:lnTo>
                  <a:lnTo>
                    <a:pt x="314" y="6633"/>
                  </a:lnTo>
                  <a:lnTo>
                    <a:pt x="503" y="6780"/>
                  </a:lnTo>
                  <a:lnTo>
                    <a:pt x="545" y="6696"/>
                  </a:lnTo>
                  <a:lnTo>
                    <a:pt x="921" y="6801"/>
                  </a:lnTo>
                  <a:lnTo>
                    <a:pt x="1172" y="7052"/>
                  </a:lnTo>
                  <a:lnTo>
                    <a:pt x="1402" y="7428"/>
                  </a:lnTo>
                  <a:lnTo>
                    <a:pt x="1172" y="7428"/>
                  </a:lnTo>
                  <a:lnTo>
                    <a:pt x="1172" y="7533"/>
                  </a:lnTo>
                  <a:lnTo>
                    <a:pt x="1382" y="7679"/>
                  </a:lnTo>
                  <a:lnTo>
                    <a:pt x="1549" y="7617"/>
                  </a:lnTo>
                  <a:lnTo>
                    <a:pt x="1674" y="7721"/>
                  </a:lnTo>
                  <a:lnTo>
                    <a:pt x="1716" y="7721"/>
                  </a:lnTo>
                  <a:lnTo>
                    <a:pt x="1758" y="7784"/>
                  </a:lnTo>
                  <a:lnTo>
                    <a:pt x="1821" y="7784"/>
                  </a:lnTo>
                  <a:lnTo>
                    <a:pt x="1863" y="7721"/>
                  </a:lnTo>
                  <a:lnTo>
                    <a:pt x="1905" y="7721"/>
                  </a:lnTo>
                  <a:lnTo>
                    <a:pt x="1967" y="7784"/>
                  </a:lnTo>
                  <a:lnTo>
                    <a:pt x="2009" y="7721"/>
                  </a:lnTo>
                  <a:lnTo>
                    <a:pt x="2009" y="7638"/>
                  </a:lnTo>
                  <a:lnTo>
                    <a:pt x="2072" y="7679"/>
                  </a:lnTo>
                  <a:lnTo>
                    <a:pt x="2177" y="7596"/>
                  </a:lnTo>
                  <a:lnTo>
                    <a:pt x="2218" y="7512"/>
                  </a:lnTo>
                  <a:lnTo>
                    <a:pt x="2281" y="7512"/>
                  </a:lnTo>
                  <a:lnTo>
                    <a:pt x="2344" y="7428"/>
                  </a:lnTo>
                  <a:lnTo>
                    <a:pt x="2407" y="7428"/>
                  </a:lnTo>
                  <a:lnTo>
                    <a:pt x="2428" y="7470"/>
                  </a:lnTo>
                  <a:lnTo>
                    <a:pt x="2491" y="7428"/>
                  </a:lnTo>
                  <a:lnTo>
                    <a:pt x="2511" y="7366"/>
                  </a:lnTo>
                  <a:lnTo>
                    <a:pt x="2595" y="7282"/>
                  </a:lnTo>
                  <a:lnTo>
                    <a:pt x="2721" y="7282"/>
                  </a:lnTo>
                  <a:lnTo>
                    <a:pt x="2763" y="7303"/>
                  </a:lnTo>
                  <a:lnTo>
                    <a:pt x="2846" y="7303"/>
                  </a:lnTo>
                  <a:lnTo>
                    <a:pt x="2909" y="7282"/>
                  </a:lnTo>
                  <a:lnTo>
                    <a:pt x="2930" y="7303"/>
                  </a:lnTo>
                  <a:lnTo>
                    <a:pt x="2930" y="7386"/>
                  </a:lnTo>
                  <a:lnTo>
                    <a:pt x="2972" y="7470"/>
                  </a:lnTo>
                  <a:lnTo>
                    <a:pt x="3014" y="7407"/>
                  </a:lnTo>
                  <a:lnTo>
                    <a:pt x="3076" y="7407"/>
                  </a:lnTo>
                  <a:lnTo>
                    <a:pt x="3076" y="7470"/>
                  </a:lnTo>
                  <a:lnTo>
                    <a:pt x="3160" y="7491"/>
                  </a:lnTo>
                  <a:lnTo>
                    <a:pt x="3223" y="7470"/>
                  </a:lnTo>
                  <a:lnTo>
                    <a:pt x="3244" y="7407"/>
                  </a:lnTo>
                  <a:lnTo>
                    <a:pt x="3286" y="7386"/>
                  </a:lnTo>
                  <a:lnTo>
                    <a:pt x="3286" y="7324"/>
                  </a:lnTo>
                  <a:lnTo>
                    <a:pt x="3369" y="7303"/>
                  </a:lnTo>
                  <a:lnTo>
                    <a:pt x="3453" y="7324"/>
                  </a:lnTo>
                  <a:lnTo>
                    <a:pt x="3662" y="7324"/>
                  </a:lnTo>
                  <a:lnTo>
                    <a:pt x="3662" y="7386"/>
                  </a:lnTo>
                  <a:lnTo>
                    <a:pt x="3704" y="7470"/>
                  </a:lnTo>
                  <a:lnTo>
                    <a:pt x="3788" y="7491"/>
                  </a:lnTo>
                  <a:lnTo>
                    <a:pt x="3788" y="7512"/>
                  </a:lnTo>
                  <a:lnTo>
                    <a:pt x="3746" y="7596"/>
                  </a:lnTo>
                  <a:lnTo>
                    <a:pt x="3767" y="7638"/>
                  </a:lnTo>
                  <a:lnTo>
                    <a:pt x="3871" y="7742"/>
                  </a:lnTo>
                  <a:lnTo>
                    <a:pt x="3851" y="7826"/>
                  </a:lnTo>
                  <a:lnTo>
                    <a:pt x="3788" y="7951"/>
                  </a:lnTo>
                  <a:lnTo>
                    <a:pt x="3809" y="8014"/>
                  </a:lnTo>
                  <a:lnTo>
                    <a:pt x="3851" y="8056"/>
                  </a:lnTo>
                  <a:lnTo>
                    <a:pt x="3871" y="8098"/>
                  </a:lnTo>
                  <a:lnTo>
                    <a:pt x="3851" y="8140"/>
                  </a:lnTo>
                  <a:lnTo>
                    <a:pt x="3767" y="8161"/>
                  </a:lnTo>
                  <a:lnTo>
                    <a:pt x="3746" y="8307"/>
                  </a:lnTo>
                  <a:lnTo>
                    <a:pt x="3809" y="8454"/>
                  </a:lnTo>
                  <a:lnTo>
                    <a:pt x="3913" y="8475"/>
                  </a:lnTo>
                  <a:lnTo>
                    <a:pt x="3997" y="8516"/>
                  </a:lnTo>
                  <a:lnTo>
                    <a:pt x="3997" y="8558"/>
                  </a:lnTo>
                  <a:lnTo>
                    <a:pt x="3871" y="8621"/>
                  </a:lnTo>
                  <a:lnTo>
                    <a:pt x="3788" y="8621"/>
                  </a:lnTo>
                  <a:lnTo>
                    <a:pt x="3683" y="8516"/>
                  </a:lnTo>
                  <a:lnTo>
                    <a:pt x="3599" y="8516"/>
                  </a:lnTo>
                  <a:lnTo>
                    <a:pt x="3558" y="8558"/>
                  </a:lnTo>
                  <a:lnTo>
                    <a:pt x="3495" y="8516"/>
                  </a:lnTo>
                  <a:lnTo>
                    <a:pt x="3432" y="8516"/>
                  </a:lnTo>
                  <a:lnTo>
                    <a:pt x="3286" y="8558"/>
                  </a:lnTo>
                  <a:lnTo>
                    <a:pt x="3223" y="8516"/>
                  </a:lnTo>
                  <a:lnTo>
                    <a:pt x="3118" y="8537"/>
                  </a:lnTo>
                  <a:lnTo>
                    <a:pt x="2972" y="8579"/>
                  </a:lnTo>
                  <a:lnTo>
                    <a:pt x="2930" y="8663"/>
                  </a:lnTo>
                  <a:lnTo>
                    <a:pt x="2930" y="8726"/>
                  </a:lnTo>
                  <a:lnTo>
                    <a:pt x="2930" y="8788"/>
                  </a:lnTo>
                  <a:lnTo>
                    <a:pt x="2867" y="8830"/>
                  </a:lnTo>
                  <a:lnTo>
                    <a:pt x="2867" y="8893"/>
                  </a:lnTo>
                  <a:lnTo>
                    <a:pt x="3014" y="9039"/>
                  </a:lnTo>
                  <a:lnTo>
                    <a:pt x="3014" y="9102"/>
                  </a:lnTo>
                  <a:lnTo>
                    <a:pt x="3035" y="9144"/>
                  </a:lnTo>
                  <a:lnTo>
                    <a:pt x="3139" y="9102"/>
                  </a:lnTo>
                  <a:lnTo>
                    <a:pt x="3160" y="9186"/>
                  </a:lnTo>
                  <a:lnTo>
                    <a:pt x="3139" y="9207"/>
                  </a:lnTo>
                  <a:lnTo>
                    <a:pt x="3055" y="9165"/>
                  </a:lnTo>
                  <a:lnTo>
                    <a:pt x="3014" y="9186"/>
                  </a:lnTo>
                  <a:lnTo>
                    <a:pt x="2930" y="9249"/>
                  </a:lnTo>
                  <a:lnTo>
                    <a:pt x="2867" y="9207"/>
                  </a:lnTo>
                  <a:lnTo>
                    <a:pt x="2825" y="9207"/>
                  </a:lnTo>
                  <a:lnTo>
                    <a:pt x="2763" y="9186"/>
                  </a:lnTo>
                  <a:lnTo>
                    <a:pt x="2616" y="9207"/>
                  </a:lnTo>
                  <a:lnTo>
                    <a:pt x="2532" y="9186"/>
                  </a:lnTo>
                  <a:lnTo>
                    <a:pt x="2491" y="9249"/>
                  </a:lnTo>
                  <a:lnTo>
                    <a:pt x="2491" y="9291"/>
                  </a:lnTo>
                  <a:lnTo>
                    <a:pt x="2553" y="9395"/>
                  </a:lnTo>
                  <a:lnTo>
                    <a:pt x="2637" y="9395"/>
                  </a:lnTo>
                  <a:lnTo>
                    <a:pt x="2742" y="9416"/>
                  </a:lnTo>
                  <a:lnTo>
                    <a:pt x="2804" y="9521"/>
                  </a:lnTo>
                  <a:lnTo>
                    <a:pt x="2846" y="9563"/>
                  </a:lnTo>
                  <a:lnTo>
                    <a:pt x="2909" y="9688"/>
                  </a:lnTo>
                  <a:lnTo>
                    <a:pt x="2951" y="9709"/>
                  </a:lnTo>
                  <a:lnTo>
                    <a:pt x="2972" y="9772"/>
                  </a:lnTo>
                  <a:lnTo>
                    <a:pt x="3139" y="9939"/>
                  </a:lnTo>
                  <a:lnTo>
                    <a:pt x="3139" y="10086"/>
                  </a:lnTo>
                  <a:lnTo>
                    <a:pt x="3139" y="10211"/>
                  </a:lnTo>
                  <a:lnTo>
                    <a:pt x="3181" y="10211"/>
                  </a:lnTo>
                  <a:lnTo>
                    <a:pt x="3286" y="10190"/>
                  </a:lnTo>
                  <a:lnTo>
                    <a:pt x="3327" y="10190"/>
                  </a:lnTo>
                  <a:lnTo>
                    <a:pt x="3369" y="10211"/>
                  </a:lnTo>
                  <a:lnTo>
                    <a:pt x="3432" y="10295"/>
                  </a:lnTo>
                  <a:lnTo>
                    <a:pt x="3474" y="10337"/>
                  </a:lnTo>
                  <a:lnTo>
                    <a:pt x="3537" y="10441"/>
                  </a:lnTo>
                  <a:lnTo>
                    <a:pt x="3579" y="10441"/>
                  </a:lnTo>
                  <a:lnTo>
                    <a:pt x="3662" y="10420"/>
                  </a:lnTo>
                  <a:lnTo>
                    <a:pt x="3767" y="10441"/>
                  </a:lnTo>
                  <a:lnTo>
                    <a:pt x="3871" y="10462"/>
                  </a:lnTo>
                  <a:lnTo>
                    <a:pt x="3976" y="10462"/>
                  </a:lnTo>
                  <a:lnTo>
                    <a:pt x="4018" y="10504"/>
                  </a:lnTo>
                  <a:lnTo>
                    <a:pt x="3997" y="10546"/>
                  </a:lnTo>
                  <a:lnTo>
                    <a:pt x="3997" y="10609"/>
                  </a:lnTo>
                  <a:lnTo>
                    <a:pt x="3997" y="10755"/>
                  </a:lnTo>
                  <a:lnTo>
                    <a:pt x="3913" y="10923"/>
                  </a:lnTo>
                  <a:lnTo>
                    <a:pt x="3955" y="11048"/>
                  </a:lnTo>
                  <a:lnTo>
                    <a:pt x="3976" y="11195"/>
                  </a:lnTo>
                  <a:lnTo>
                    <a:pt x="4311" y="10881"/>
                  </a:lnTo>
                  <a:lnTo>
                    <a:pt x="4604" y="10776"/>
                  </a:lnTo>
                  <a:lnTo>
                    <a:pt x="4959" y="10839"/>
                  </a:lnTo>
                  <a:lnTo>
                    <a:pt x="5378" y="11069"/>
                  </a:lnTo>
                  <a:lnTo>
                    <a:pt x="5755" y="11508"/>
                  </a:lnTo>
                  <a:lnTo>
                    <a:pt x="5985" y="11467"/>
                  </a:lnTo>
                  <a:lnTo>
                    <a:pt x="6068" y="11446"/>
                  </a:lnTo>
                  <a:lnTo>
                    <a:pt x="5629" y="8726"/>
                  </a:lnTo>
                  <a:lnTo>
                    <a:pt x="7136" y="8433"/>
                  </a:lnTo>
                  <a:lnTo>
                    <a:pt x="8056" y="9060"/>
                  </a:lnTo>
                  <a:lnTo>
                    <a:pt x="8391" y="9186"/>
                  </a:lnTo>
                  <a:lnTo>
                    <a:pt x="8893" y="9479"/>
                  </a:lnTo>
                  <a:lnTo>
                    <a:pt x="9751" y="9395"/>
                  </a:lnTo>
                  <a:lnTo>
                    <a:pt x="10693" y="9395"/>
                  </a:lnTo>
                  <a:lnTo>
                    <a:pt x="10985" y="9604"/>
                  </a:lnTo>
                  <a:lnTo>
                    <a:pt x="11132" y="9981"/>
                  </a:lnTo>
                  <a:lnTo>
                    <a:pt x="11320" y="9897"/>
                  </a:lnTo>
                  <a:lnTo>
                    <a:pt x="11341" y="10713"/>
                  </a:lnTo>
                  <a:lnTo>
                    <a:pt x="11760" y="10755"/>
                  </a:lnTo>
                  <a:lnTo>
                    <a:pt x="11990" y="11446"/>
                  </a:lnTo>
                  <a:lnTo>
                    <a:pt x="12115" y="11446"/>
                  </a:lnTo>
                  <a:lnTo>
                    <a:pt x="12366" y="11299"/>
                  </a:lnTo>
                  <a:lnTo>
                    <a:pt x="12555" y="11278"/>
                  </a:lnTo>
                  <a:lnTo>
                    <a:pt x="12743" y="11299"/>
                  </a:lnTo>
                  <a:lnTo>
                    <a:pt x="12994" y="11446"/>
                  </a:lnTo>
                  <a:lnTo>
                    <a:pt x="13078" y="11467"/>
                  </a:lnTo>
                  <a:lnTo>
                    <a:pt x="13287" y="11257"/>
                  </a:lnTo>
                  <a:lnTo>
                    <a:pt x="13413" y="11048"/>
                  </a:lnTo>
                  <a:lnTo>
                    <a:pt x="13475" y="10964"/>
                  </a:lnTo>
                  <a:lnTo>
                    <a:pt x="13538" y="10818"/>
                  </a:lnTo>
                  <a:lnTo>
                    <a:pt x="13789" y="10525"/>
                  </a:lnTo>
                  <a:lnTo>
                    <a:pt x="13894" y="10504"/>
                  </a:lnTo>
                  <a:lnTo>
                    <a:pt x="13998" y="10337"/>
                  </a:lnTo>
                  <a:lnTo>
                    <a:pt x="14040" y="10337"/>
                  </a:lnTo>
                  <a:lnTo>
                    <a:pt x="14040" y="10295"/>
                  </a:lnTo>
                  <a:lnTo>
                    <a:pt x="14166" y="10211"/>
                  </a:lnTo>
                  <a:lnTo>
                    <a:pt x="14145" y="10148"/>
                  </a:lnTo>
                  <a:lnTo>
                    <a:pt x="14250" y="10023"/>
                  </a:lnTo>
                  <a:lnTo>
                    <a:pt x="14438" y="10044"/>
                  </a:lnTo>
                  <a:lnTo>
                    <a:pt x="14543" y="10107"/>
                  </a:lnTo>
                  <a:lnTo>
                    <a:pt x="14961" y="10148"/>
                  </a:lnTo>
                  <a:lnTo>
                    <a:pt x="15317" y="10148"/>
                  </a:lnTo>
                  <a:lnTo>
                    <a:pt x="15505" y="10107"/>
                  </a:lnTo>
                  <a:lnTo>
                    <a:pt x="15484" y="9981"/>
                  </a:lnTo>
                  <a:lnTo>
                    <a:pt x="15463" y="9835"/>
                  </a:lnTo>
                  <a:lnTo>
                    <a:pt x="15463" y="9709"/>
                  </a:lnTo>
                  <a:lnTo>
                    <a:pt x="15505" y="9667"/>
                  </a:lnTo>
                  <a:lnTo>
                    <a:pt x="15610" y="9688"/>
                  </a:lnTo>
                  <a:lnTo>
                    <a:pt x="15777" y="9709"/>
                  </a:lnTo>
                  <a:lnTo>
                    <a:pt x="15819" y="9667"/>
                  </a:lnTo>
                  <a:lnTo>
                    <a:pt x="16007" y="9667"/>
                  </a:lnTo>
                  <a:lnTo>
                    <a:pt x="16133" y="9730"/>
                  </a:lnTo>
                  <a:lnTo>
                    <a:pt x="16342" y="9793"/>
                  </a:lnTo>
                  <a:lnTo>
                    <a:pt x="16677" y="9835"/>
                  </a:lnTo>
                  <a:lnTo>
                    <a:pt x="16781" y="9793"/>
                  </a:lnTo>
                  <a:lnTo>
                    <a:pt x="16886" y="9709"/>
                  </a:lnTo>
                  <a:lnTo>
                    <a:pt x="17032" y="9730"/>
                  </a:lnTo>
                  <a:lnTo>
                    <a:pt x="17158" y="9730"/>
                  </a:lnTo>
                  <a:lnTo>
                    <a:pt x="17451" y="9667"/>
                  </a:lnTo>
                  <a:lnTo>
                    <a:pt x="17723" y="9730"/>
                  </a:lnTo>
                  <a:lnTo>
                    <a:pt x="17911" y="9688"/>
                  </a:lnTo>
                  <a:lnTo>
                    <a:pt x="18246" y="9688"/>
                  </a:lnTo>
                  <a:lnTo>
                    <a:pt x="18497" y="9793"/>
                  </a:lnTo>
                  <a:lnTo>
                    <a:pt x="18602" y="9772"/>
                  </a:lnTo>
                  <a:lnTo>
                    <a:pt x="18853" y="10044"/>
                  </a:lnTo>
                  <a:lnTo>
                    <a:pt x="19083" y="10107"/>
                  </a:lnTo>
                  <a:lnTo>
                    <a:pt x="19229" y="10044"/>
                  </a:lnTo>
                  <a:lnTo>
                    <a:pt x="19188" y="9897"/>
                  </a:lnTo>
                  <a:lnTo>
                    <a:pt x="19313" y="9814"/>
                  </a:lnTo>
                  <a:lnTo>
                    <a:pt x="19313" y="9772"/>
                  </a:lnTo>
                  <a:lnTo>
                    <a:pt x="19376" y="9730"/>
                  </a:lnTo>
                  <a:lnTo>
                    <a:pt x="19271" y="9625"/>
                  </a:lnTo>
                  <a:lnTo>
                    <a:pt x="19313" y="9521"/>
                  </a:lnTo>
                  <a:lnTo>
                    <a:pt x="19397" y="9458"/>
                  </a:lnTo>
                  <a:lnTo>
                    <a:pt x="19355" y="9207"/>
                  </a:lnTo>
                  <a:lnTo>
                    <a:pt x="19229" y="9144"/>
                  </a:lnTo>
                  <a:lnTo>
                    <a:pt x="19188" y="9039"/>
                  </a:lnTo>
                  <a:lnTo>
                    <a:pt x="19083" y="8851"/>
                  </a:lnTo>
                  <a:lnTo>
                    <a:pt x="19062" y="8747"/>
                  </a:lnTo>
                  <a:lnTo>
                    <a:pt x="19020" y="8663"/>
                  </a:lnTo>
                  <a:lnTo>
                    <a:pt x="19020" y="8579"/>
                  </a:lnTo>
                  <a:lnTo>
                    <a:pt x="18957" y="8412"/>
                  </a:lnTo>
                  <a:lnTo>
                    <a:pt x="19041" y="8328"/>
                  </a:lnTo>
                  <a:lnTo>
                    <a:pt x="19041" y="8265"/>
                  </a:lnTo>
                  <a:lnTo>
                    <a:pt x="18916" y="8244"/>
                  </a:lnTo>
                  <a:lnTo>
                    <a:pt x="18748" y="8265"/>
                  </a:lnTo>
                  <a:lnTo>
                    <a:pt x="18644" y="8202"/>
                  </a:lnTo>
                  <a:lnTo>
                    <a:pt x="18644" y="8119"/>
                  </a:lnTo>
                  <a:lnTo>
                    <a:pt x="18748" y="8014"/>
                  </a:lnTo>
                  <a:lnTo>
                    <a:pt x="18853" y="7951"/>
                  </a:lnTo>
                  <a:lnTo>
                    <a:pt x="18916" y="8014"/>
                  </a:lnTo>
                  <a:lnTo>
                    <a:pt x="19020" y="8014"/>
                  </a:lnTo>
                  <a:lnTo>
                    <a:pt x="19167" y="7930"/>
                  </a:lnTo>
                  <a:lnTo>
                    <a:pt x="19439" y="7889"/>
                  </a:lnTo>
                  <a:lnTo>
                    <a:pt x="19564" y="7847"/>
                  </a:lnTo>
                  <a:lnTo>
                    <a:pt x="19648" y="7826"/>
                  </a:lnTo>
                  <a:lnTo>
                    <a:pt x="19711" y="7889"/>
                  </a:lnTo>
                  <a:lnTo>
                    <a:pt x="19794" y="7889"/>
                  </a:lnTo>
                  <a:lnTo>
                    <a:pt x="19878" y="7826"/>
                  </a:lnTo>
                  <a:lnTo>
                    <a:pt x="19962" y="7826"/>
                  </a:lnTo>
                  <a:lnTo>
                    <a:pt x="19962" y="7742"/>
                  </a:lnTo>
                  <a:lnTo>
                    <a:pt x="20004" y="7617"/>
                  </a:lnTo>
                  <a:lnTo>
                    <a:pt x="19878" y="7575"/>
                  </a:lnTo>
                  <a:lnTo>
                    <a:pt x="19815" y="7512"/>
                  </a:lnTo>
                  <a:lnTo>
                    <a:pt x="19836" y="7428"/>
                  </a:lnTo>
                  <a:lnTo>
                    <a:pt x="19836" y="7177"/>
                  </a:lnTo>
                  <a:lnTo>
                    <a:pt x="19899" y="6842"/>
                  </a:lnTo>
                  <a:lnTo>
                    <a:pt x="19899" y="6696"/>
                  </a:lnTo>
                  <a:lnTo>
                    <a:pt x="19962" y="6550"/>
                  </a:lnTo>
                  <a:lnTo>
                    <a:pt x="20004" y="6278"/>
                  </a:lnTo>
                  <a:lnTo>
                    <a:pt x="20213" y="6278"/>
                  </a:lnTo>
                  <a:lnTo>
                    <a:pt x="20422" y="6361"/>
                  </a:lnTo>
                  <a:lnTo>
                    <a:pt x="20589" y="6382"/>
                  </a:lnTo>
                  <a:lnTo>
                    <a:pt x="20820" y="6340"/>
                  </a:lnTo>
                  <a:lnTo>
                    <a:pt x="20882" y="6340"/>
                  </a:lnTo>
                  <a:lnTo>
                    <a:pt x="20924" y="6424"/>
                  </a:lnTo>
                  <a:lnTo>
                    <a:pt x="21008" y="6424"/>
                  </a:lnTo>
                  <a:lnTo>
                    <a:pt x="21071" y="6382"/>
                  </a:lnTo>
                  <a:lnTo>
                    <a:pt x="21154" y="6278"/>
                  </a:lnTo>
                  <a:lnTo>
                    <a:pt x="21280" y="6236"/>
                  </a:lnTo>
                  <a:lnTo>
                    <a:pt x="21447" y="6068"/>
                  </a:lnTo>
                  <a:lnTo>
                    <a:pt x="21447" y="6006"/>
                  </a:lnTo>
                  <a:lnTo>
                    <a:pt x="21343" y="5838"/>
                  </a:lnTo>
                  <a:lnTo>
                    <a:pt x="21238" y="5608"/>
                  </a:lnTo>
                  <a:lnTo>
                    <a:pt x="21238" y="5378"/>
                  </a:lnTo>
                  <a:lnTo>
                    <a:pt x="21259" y="5231"/>
                  </a:lnTo>
                  <a:lnTo>
                    <a:pt x="21343" y="5169"/>
                  </a:lnTo>
                  <a:lnTo>
                    <a:pt x="21531" y="5106"/>
                  </a:lnTo>
                  <a:lnTo>
                    <a:pt x="21594" y="4980"/>
                  </a:lnTo>
                  <a:lnTo>
                    <a:pt x="21552" y="4917"/>
                  </a:lnTo>
                  <a:lnTo>
                    <a:pt x="21573" y="4813"/>
                  </a:lnTo>
                  <a:lnTo>
                    <a:pt x="21698" y="4666"/>
                  </a:lnTo>
                  <a:lnTo>
                    <a:pt x="21803" y="4604"/>
                  </a:lnTo>
                  <a:lnTo>
                    <a:pt x="21908" y="4499"/>
                  </a:lnTo>
                  <a:lnTo>
                    <a:pt x="21887" y="4478"/>
                  </a:lnTo>
                  <a:lnTo>
                    <a:pt x="21866" y="4457"/>
                  </a:lnTo>
                  <a:lnTo>
                    <a:pt x="21698" y="4394"/>
                  </a:lnTo>
                  <a:lnTo>
                    <a:pt x="21573" y="4269"/>
                  </a:lnTo>
                  <a:lnTo>
                    <a:pt x="21489" y="4269"/>
                  </a:lnTo>
                  <a:lnTo>
                    <a:pt x="21447" y="4164"/>
                  </a:lnTo>
                  <a:lnTo>
                    <a:pt x="21489" y="4039"/>
                  </a:lnTo>
                  <a:lnTo>
                    <a:pt x="21447" y="3976"/>
                  </a:lnTo>
                  <a:lnTo>
                    <a:pt x="21343" y="4060"/>
                  </a:lnTo>
                  <a:lnTo>
                    <a:pt x="21259" y="4164"/>
                  </a:lnTo>
                  <a:lnTo>
                    <a:pt x="21154" y="4185"/>
                  </a:lnTo>
                  <a:lnTo>
                    <a:pt x="20861" y="4227"/>
                  </a:lnTo>
                  <a:lnTo>
                    <a:pt x="20799" y="4269"/>
                  </a:lnTo>
                  <a:lnTo>
                    <a:pt x="20757" y="4332"/>
                  </a:lnTo>
                  <a:lnTo>
                    <a:pt x="20652" y="4269"/>
                  </a:lnTo>
                  <a:lnTo>
                    <a:pt x="20548" y="4227"/>
                  </a:lnTo>
                  <a:lnTo>
                    <a:pt x="20506" y="4227"/>
                  </a:lnTo>
                  <a:lnTo>
                    <a:pt x="20485" y="4185"/>
                  </a:lnTo>
                  <a:lnTo>
                    <a:pt x="20422" y="4143"/>
                  </a:lnTo>
                  <a:lnTo>
                    <a:pt x="20401" y="4060"/>
                  </a:lnTo>
                  <a:lnTo>
                    <a:pt x="20359" y="3976"/>
                  </a:lnTo>
                  <a:lnTo>
                    <a:pt x="20401" y="3934"/>
                  </a:lnTo>
                  <a:lnTo>
                    <a:pt x="20401" y="3850"/>
                  </a:lnTo>
                  <a:lnTo>
                    <a:pt x="20317" y="3809"/>
                  </a:lnTo>
                  <a:lnTo>
                    <a:pt x="20276" y="3809"/>
                  </a:lnTo>
                  <a:lnTo>
                    <a:pt x="20129" y="3725"/>
                  </a:lnTo>
                  <a:lnTo>
                    <a:pt x="20004" y="3704"/>
                  </a:lnTo>
                  <a:lnTo>
                    <a:pt x="19962" y="3704"/>
                  </a:lnTo>
                  <a:lnTo>
                    <a:pt x="19899" y="3557"/>
                  </a:lnTo>
                  <a:lnTo>
                    <a:pt x="19794" y="3390"/>
                  </a:lnTo>
                  <a:lnTo>
                    <a:pt x="19648" y="3244"/>
                  </a:lnTo>
                  <a:lnTo>
                    <a:pt x="19460" y="3223"/>
                  </a:lnTo>
                  <a:lnTo>
                    <a:pt x="19250" y="3223"/>
                  </a:lnTo>
                  <a:lnTo>
                    <a:pt x="19062" y="3244"/>
                  </a:lnTo>
                  <a:lnTo>
                    <a:pt x="19041" y="3306"/>
                  </a:lnTo>
                  <a:lnTo>
                    <a:pt x="19083" y="3348"/>
                  </a:lnTo>
                  <a:lnTo>
                    <a:pt x="19062" y="3411"/>
                  </a:lnTo>
                  <a:lnTo>
                    <a:pt x="18936" y="3453"/>
                  </a:lnTo>
                  <a:lnTo>
                    <a:pt x="18853" y="3432"/>
                  </a:lnTo>
                  <a:lnTo>
                    <a:pt x="18727" y="3495"/>
                  </a:lnTo>
                  <a:lnTo>
                    <a:pt x="18560" y="3411"/>
                  </a:lnTo>
                  <a:lnTo>
                    <a:pt x="18497" y="3432"/>
                  </a:lnTo>
                  <a:lnTo>
                    <a:pt x="18413" y="3495"/>
                  </a:lnTo>
                  <a:lnTo>
                    <a:pt x="18309" y="3495"/>
                  </a:lnTo>
                  <a:lnTo>
                    <a:pt x="18204" y="3411"/>
                  </a:lnTo>
                  <a:lnTo>
                    <a:pt x="18079" y="3348"/>
                  </a:lnTo>
                  <a:lnTo>
                    <a:pt x="18079" y="3285"/>
                  </a:lnTo>
                  <a:lnTo>
                    <a:pt x="18100" y="3202"/>
                  </a:lnTo>
                  <a:lnTo>
                    <a:pt x="17911" y="3118"/>
                  </a:lnTo>
                  <a:lnTo>
                    <a:pt x="17828" y="3181"/>
                  </a:lnTo>
                  <a:lnTo>
                    <a:pt x="17828" y="3306"/>
                  </a:lnTo>
                  <a:lnTo>
                    <a:pt x="17869" y="3327"/>
                  </a:lnTo>
                  <a:lnTo>
                    <a:pt x="17828" y="3390"/>
                  </a:lnTo>
                  <a:lnTo>
                    <a:pt x="17744" y="3453"/>
                  </a:lnTo>
                  <a:lnTo>
                    <a:pt x="17597" y="3453"/>
                  </a:lnTo>
                  <a:lnTo>
                    <a:pt x="16175" y="1695"/>
                  </a:lnTo>
                  <a:lnTo>
                    <a:pt x="15170" y="921"/>
                  </a:lnTo>
                  <a:lnTo>
                    <a:pt x="15107" y="837"/>
                  </a:lnTo>
                  <a:lnTo>
                    <a:pt x="15191" y="816"/>
                  </a:lnTo>
                  <a:lnTo>
                    <a:pt x="15296" y="712"/>
                  </a:lnTo>
                  <a:lnTo>
                    <a:pt x="15296" y="607"/>
                  </a:lnTo>
                  <a:lnTo>
                    <a:pt x="15254" y="565"/>
                  </a:lnTo>
                  <a:lnTo>
                    <a:pt x="15087" y="607"/>
                  </a:lnTo>
                  <a:lnTo>
                    <a:pt x="14961" y="628"/>
                  </a:lnTo>
                  <a:lnTo>
                    <a:pt x="14877" y="733"/>
                  </a:lnTo>
                  <a:lnTo>
                    <a:pt x="14773" y="775"/>
                  </a:lnTo>
                  <a:lnTo>
                    <a:pt x="14647" y="900"/>
                  </a:lnTo>
                  <a:lnTo>
                    <a:pt x="14647" y="984"/>
                  </a:lnTo>
                  <a:lnTo>
                    <a:pt x="14563" y="1047"/>
                  </a:lnTo>
                  <a:lnTo>
                    <a:pt x="14522" y="1151"/>
                  </a:lnTo>
                  <a:lnTo>
                    <a:pt x="14417" y="1235"/>
                  </a:lnTo>
                  <a:lnTo>
                    <a:pt x="14229" y="1235"/>
                  </a:lnTo>
                  <a:lnTo>
                    <a:pt x="14124" y="1298"/>
                  </a:lnTo>
                  <a:lnTo>
                    <a:pt x="14145" y="1423"/>
                  </a:lnTo>
                  <a:lnTo>
                    <a:pt x="14061" y="1465"/>
                  </a:lnTo>
                  <a:lnTo>
                    <a:pt x="14019" y="1423"/>
                  </a:lnTo>
                  <a:lnTo>
                    <a:pt x="13789" y="1360"/>
                  </a:lnTo>
                  <a:lnTo>
                    <a:pt x="13643" y="1423"/>
                  </a:lnTo>
                  <a:lnTo>
                    <a:pt x="13601" y="1507"/>
                  </a:lnTo>
                  <a:lnTo>
                    <a:pt x="13517" y="1507"/>
                  </a:lnTo>
                  <a:lnTo>
                    <a:pt x="13434" y="1402"/>
                  </a:lnTo>
                  <a:lnTo>
                    <a:pt x="13434" y="1235"/>
                  </a:lnTo>
                  <a:lnTo>
                    <a:pt x="13517" y="1172"/>
                  </a:lnTo>
                  <a:lnTo>
                    <a:pt x="13538" y="1088"/>
                  </a:lnTo>
                  <a:lnTo>
                    <a:pt x="13496" y="1026"/>
                  </a:lnTo>
                  <a:lnTo>
                    <a:pt x="13413" y="1109"/>
                  </a:lnTo>
                  <a:lnTo>
                    <a:pt x="13329" y="1109"/>
                  </a:lnTo>
                  <a:lnTo>
                    <a:pt x="13120" y="1005"/>
                  </a:lnTo>
                  <a:lnTo>
                    <a:pt x="12994" y="1026"/>
                  </a:lnTo>
                  <a:lnTo>
                    <a:pt x="13015" y="1109"/>
                  </a:lnTo>
                  <a:lnTo>
                    <a:pt x="13078" y="1130"/>
                  </a:lnTo>
                  <a:lnTo>
                    <a:pt x="12994" y="1214"/>
                  </a:lnTo>
                  <a:lnTo>
                    <a:pt x="12952" y="1214"/>
                  </a:lnTo>
                  <a:lnTo>
                    <a:pt x="12869" y="1088"/>
                  </a:lnTo>
                  <a:lnTo>
                    <a:pt x="12848" y="900"/>
                  </a:lnTo>
                  <a:lnTo>
                    <a:pt x="12638" y="733"/>
                  </a:lnTo>
                  <a:lnTo>
                    <a:pt x="12597" y="775"/>
                  </a:lnTo>
                  <a:lnTo>
                    <a:pt x="12638" y="900"/>
                  </a:lnTo>
                  <a:lnTo>
                    <a:pt x="12638" y="984"/>
                  </a:lnTo>
                  <a:lnTo>
                    <a:pt x="12555" y="984"/>
                  </a:lnTo>
                  <a:lnTo>
                    <a:pt x="12513" y="879"/>
                  </a:lnTo>
                  <a:lnTo>
                    <a:pt x="12450" y="900"/>
                  </a:lnTo>
                  <a:lnTo>
                    <a:pt x="12429" y="1005"/>
                  </a:lnTo>
                  <a:lnTo>
                    <a:pt x="12366" y="1026"/>
                  </a:lnTo>
                  <a:lnTo>
                    <a:pt x="12262" y="942"/>
                  </a:lnTo>
                  <a:lnTo>
                    <a:pt x="12136" y="1026"/>
                  </a:lnTo>
                  <a:lnTo>
                    <a:pt x="12074" y="984"/>
                  </a:lnTo>
                  <a:lnTo>
                    <a:pt x="12032" y="879"/>
                  </a:lnTo>
                  <a:lnTo>
                    <a:pt x="12115" y="837"/>
                  </a:lnTo>
                  <a:lnTo>
                    <a:pt x="12136" y="796"/>
                  </a:lnTo>
                  <a:lnTo>
                    <a:pt x="12115" y="691"/>
                  </a:lnTo>
                  <a:lnTo>
                    <a:pt x="12136" y="586"/>
                  </a:lnTo>
                  <a:lnTo>
                    <a:pt x="12115" y="524"/>
                  </a:lnTo>
                  <a:lnTo>
                    <a:pt x="12032" y="482"/>
                  </a:lnTo>
                  <a:lnTo>
                    <a:pt x="11948" y="398"/>
                  </a:lnTo>
                  <a:lnTo>
                    <a:pt x="11927" y="272"/>
                  </a:lnTo>
                  <a:lnTo>
                    <a:pt x="11864" y="252"/>
                  </a:lnTo>
                  <a:lnTo>
                    <a:pt x="11822" y="84"/>
                  </a:lnTo>
                  <a:lnTo>
                    <a:pt x="11718" y="84"/>
                  </a:lnTo>
                  <a:lnTo>
                    <a:pt x="11592" y="126"/>
                  </a:lnTo>
                  <a:lnTo>
                    <a:pt x="11446" y="126"/>
                  </a:lnTo>
                  <a:lnTo>
                    <a:pt x="11299" y="42"/>
                  </a:lnTo>
                  <a:lnTo>
                    <a:pt x="11132" y="63"/>
                  </a:lnTo>
                  <a:lnTo>
                    <a:pt x="11006" y="0"/>
                  </a:lnTo>
                  <a:lnTo>
                    <a:pt x="10902" y="42"/>
                  </a:lnTo>
                  <a:lnTo>
                    <a:pt x="1086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 name="Google Shape;5972;p93">
              <a:extLst>
                <a:ext uri="{FF2B5EF4-FFF2-40B4-BE49-F238E27FC236}">
                  <a16:creationId xmlns:a16="http://schemas.microsoft.com/office/drawing/2014/main" id="{C2AFA6A0-8BEE-421C-BB4B-C098F9607A54}"/>
                </a:ext>
              </a:extLst>
            </p:cNvPr>
            <p:cNvSpPr/>
            <p:nvPr/>
          </p:nvSpPr>
          <p:spPr>
            <a:xfrm>
              <a:off x="4105619" y="2816249"/>
              <a:ext cx="110383" cy="65688"/>
            </a:xfrm>
            <a:custGeom>
              <a:avLst/>
              <a:gdLst/>
              <a:ahLst/>
              <a:cxnLst/>
              <a:rect l="l" t="t" r="r" b="b"/>
              <a:pathLst>
                <a:path w="9270" h="5776" extrusionOk="0">
                  <a:moveTo>
                    <a:pt x="1507" y="1"/>
                  </a:moveTo>
                  <a:lnTo>
                    <a:pt x="0" y="294"/>
                  </a:lnTo>
                  <a:lnTo>
                    <a:pt x="439" y="3014"/>
                  </a:lnTo>
                  <a:lnTo>
                    <a:pt x="732" y="3014"/>
                  </a:lnTo>
                  <a:lnTo>
                    <a:pt x="963" y="3035"/>
                  </a:lnTo>
                  <a:lnTo>
                    <a:pt x="1004" y="2909"/>
                  </a:lnTo>
                  <a:lnTo>
                    <a:pt x="900" y="2804"/>
                  </a:lnTo>
                  <a:lnTo>
                    <a:pt x="879" y="2595"/>
                  </a:lnTo>
                  <a:lnTo>
                    <a:pt x="983" y="2344"/>
                  </a:lnTo>
                  <a:lnTo>
                    <a:pt x="1172" y="2323"/>
                  </a:lnTo>
                  <a:lnTo>
                    <a:pt x="1276" y="2198"/>
                  </a:lnTo>
                  <a:lnTo>
                    <a:pt x="1402" y="2114"/>
                  </a:lnTo>
                  <a:lnTo>
                    <a:pt x="1527" y="2198"/>
                  </a:lnTo>
                  <a:lnTo>
                    <a:pt x="1611" y="2135"/>
                  </a:lnTo>
                  <a:lnTo>
                    <a:pt x="1507" y="2009"/>
                  </a:lnTo>
                  <a:lnTo>
                    <a:pt x="1779" y="2030"/>
                  </a:lnTo>
                  <a:lnTo>
                    <a:pt x="2155" y="2219"/>
                  </a:lnTo>
                  <a:lnTo>
                    <a:pt x="2511" y="2428"/>
                  </a:lnTo>
                  <a:lnTo>
                    <a:pt x="2532" y="2553"/>
                  </a:lnTo>
                  <a:lnTo>
                    <a:pt x="2971" y="2804"/>
                  </a:lnTo>
                  <a:lnTo>
                    <a:pt x="3306" y="2951"/>
                  </a:lnTo>
                  <a:lnTo>
                    <a:pt x="3390" y="2909"/>
                  </a:lnTo>
                  <a:lnTo>
                    <a:pt x="3515" y="2930"/>
                  </a:lnTo>
                  <a:lnTo>
                    <a:pt x="3766" y="3076"/>
                  </a:lnTo>
                  <a:lnTo>
                    <a:pt x="3871" y="3432"/>
                  </a:lnTo>
                  <a:lnTo>
                    <a:pt x="3976" y="3537"/>
                  </a:lnTo>
                  <a:lnTo>
                    <a:pt x="4017" y="3662"/>
                  </a:lnTo>
                  <a:lnTo>
                    <a:pt x="4143" y="3913"/>
                  </a:lnTo>
                  <a:lnTo>
                    <a:pt x="4352" y="3997"/>
                  </a:lnTo>
                  <a:lnTo>
                    <a:pt x="4729" y="4227"/>
                  </a:lnTo>
                  <a:lnTo>
                    <a:pt x="5126" y="4520"/>
                  </a:lnTo>
                  <a:lnTo>
                    <a:pt x="5545" y="4708"/>
                  </a:lnTo>
                  <a:lnTo>
                    <a:pt x="5921" y="5001"/>
                  </a:lnTo>
                  <a:lnTo>
                    <a:pt x="6235" y="5022"/>
                  </a:lnTo>
                  <a:lnTo>
                    <a:pt x="6319" y="5106"/>
                  </a:lnTo>
                  <a:lnTo>
                    <a:pt x="6403" y="5106"/>
                  </a:lnTo>
                  <a:lnTo>
                    <a:pt x="6612" y="5232"/>
                  </a:lnTo>
                  <a:lnTo>
                    <a:pt x="6612" y="5378"/>
                  </a:lnTo>
                  <a:lnTo>
                    <a:pt x="6633" y="5650"/>
                  </a:lnTo>
                  <a:lnTo>
                    <a:pt x="6821" y="5587"/>
                  </a:lnTo>
                  <a:lnTo>
                    <a:pt x="6926" y="5671"/>
                  </a:lnTo>
                  <a:lnTo>
                    <a:pt x="7009" y="5776"/>
                  </a:lnTo>
                  <a:lnTo>
                    <a:pt x="7072" y="5776"/>
                  </a:lnTo>
                  <a:lnTo>
                    <a:pt x="7177" y="5671"/>
                  </a:lnTo>
                  <a:lnTo>
                    <a:pt x="7281" y="5692"/>
                  </a:lnTo>
                  <a:lnTo>
                    <a:pt x="7323" y="5755"/>
                  </a:lnTo>
                  <a:lnTo>
                    <a:pt x="7365" y="5378"/>
                  </a:lnTo>
                  <a:lnTo>
                    <a:pt x="7491" y="5106"/>
                  </a:lnTo>
                  <a:lnTo>
                    <a:pt x="7553" y="5043"/>
                  </a:lnTo>
                  <a:lnTo>
                    <a:pt x="7533" y="4897"/>
                  </a:lnTo>
                  <a:lnTo>
                    <a:pt x="7407" y="4834"/>
                  </a:lnTo>
                  <a:lnTo>
                    <a:pt x="7344" y="4688"/>
                  </a:lnTo>
                  <a:lnTo>
                    <a:pt x="7386" y="4541"/>
                  </a:lnTo>
                  <a:lnTo>
                    <a:pt x="7365" y="4416"/>
                  </a:lnTo>
                  <a:lnTo>
                    <a:pt x="7219" y="4436"/>
                  </a:lnTo>
                  <a:lnTo>
                    <a:pt x="7114" y="4499"/>
                  </a:lnTo>
                  <a:lnTo>
                    <a:pt x="6947" y="4269"/>
                  </a:lnTo>
                  <a:lnTo>
                    <a:pt x="6947" y="4102"/>
                  </a:lnTo>
                  <a:lnTo>
                    <a:pt x="7072" y="3997"/>
                  </a:lnTo>
                  <a:lnTo>
                    <a:pt x="7344" y="4018"/>
                  </a:lnTo>
                  <a:lnTo>
                    <a:pt x="7449" y="3997"/>
                  </a:lnTo>
                  <a:lnTo>
                    <a:pt x="7449" y="3872"/>
                  </a:lnTo>
                  <a:lnTo>
                    <a:pt x="7679" y="3788"/>
                  </a:lnTo>
                  <a:lnTo>
                    <a:pt x="7637" y="3704"/>
                  </a:lnTo>
                  <a:lnTo>
                    <a:pt x="7574" y="3662"/>
                  </a:lnTo>
                  <a:lnTo>
                    <a:pt x="7846" y="3600"/>
                  </a:lnTo>
                  <a:lnTo>
                    <a:pt x="8014" y="3537"/>
                  </a:lnTo>
                  <a:lnTo>
                    <a:pt x="8056" y="3390"/>
                  </a:lnTo>
                  <a:lnTo>
                    <a:pt x="7867" y="3328"/>
                  </a:lnTo>
                  <a:lnTo>
                    <a:pt x="7867" y="3181"/>
                  </a:lnTo>
                  <a:lnTo>
                    <a:pt x="8014" y="3139"/>
                  </a:lnTo>
                  <a:lnTo>
                    <a:pt x="8181" y="3014"/>
                  </a:lnTo>
                  <a:lnTo>
                    <a:pt x="8286" y="3035"/>
                  </a:lnTo>
                  <a:lnTo>
                    <a:pt x="8453" y="2825"/>
                  </a:lnTo>
                  <a:lnTo>
                    <a:pt x="8600" y="2951"/>
                  </a:lnTo>
                  <a:lnTo>
                    <a:pt x="8621" y="3056"/>
                  </a:lnTo>
                  <a:lnTo>
                    <a:pt x="8914" y="3014"/>
                  </a:lnTo>
                  <a:lnTo>
                    <a:pt x="9123" y="3014"/>
                  </a:lnTo>
                  <a:lnTo>
                    <a:pt x="9269" y="2825"/>
                  </a:lnTo>
                  <a:lnTo>
                    <a:pt x="9248" y="2721"/>
                  </a:lnTo>
                  <a:lnTo>
                    <a:pt x="8955" y="2491"/>
                  </a:lnTo>
                  <a:lnTo>
                    <a:pt x="8893" y="2491"/>
                  </a:lnTo>
                  <a:lnTo>
                    <a:pt x="8893" y="2637"/>
                  </a:lnTo>
                  <a:lnTo>
                    <a:pt x="8788" y="2742"/>
                  </a:lnTo>
                  <a:lnTo>
                    <a:pt x="8683" y="2721"/>
                  </a:lnTo>
                  <a:lnTo>
                    <a:pt x="8579" y="2616"/>
                  </a:lnTo>
                  <a:lnTo>
                    <a:pt x="8307" y="2532"/>
                  </a:lnTo>
                  <a:lnTo>
                    <a:pt x="8202" y="2449"/>
                  </a:lnTo>
                  <a:lnTo>
                    <a:pt x="8286" y="2323"/>
                  </a:lnTo>
                  <a:lnTo>
                    <a:pt x="8453" y="2030"/>
                  </a:lnTo>
                  <a:lnTo>
                    <a:pt x="8453" y="1905"/>
                  </a:lnTo>
                  <a:lnTo>
                    <a:pt x="8369" y="1905"/>
                  </a:lnTo>
                  <a:lnTo>
                    <a:pt x="8265" y="2072"/>
                  </a:lnTo>
                  <a:lnTo>
                    <a:pt x="8160" y="2093"/>
                  </a:lnTo>
                  <a:lnTo>
                    <a:pt x="7909" y="2386"/>
                  </a:lnTo>
                  <a:lnTo>
                    <a:pt x="7846" y="2532"/>
                  </a:lnTo>
                  <a:lnTo>
                    <a:pt x="7784" y="2616"/>
                  </a:lnTo>
                  <a:lnTo>
                    <a:pt x="7658" y="2825"/>
                  </a:lnTo>
                  <a:lnTo>
                    <a:pt x="7449" y="3035"/>
                  </a:lnTo>
                  <a:lnTo>
                    <a:pt x="7365" y="3014"/>
                  </a:lnTo>
                  <a:lnTo>
                    <a:pt x="7114" y="2867"/>
                  </a:lnTo>
                  <a:lnTo>
                    <a:pt x="6926" y="2846"/>
                  </a:lnTo>
                  <a:lnTo>
                    <a:pt x="6737" y="2867"/>
                  </a:lnTo>
                  <a:lnTo>
                    <a:pt x="6486" y="3014"/>
                  </a:lnTo>
                  <a:lnTo>
                    <a:pt x="6361" y="3014"/>
                  </a:lnTo>
                  <a:lnTo>
                    <a:pt x="6131" y="2323"/>
                  </a:lnTo>
                  <a:lnTo>
                    <a:pt x="5712" y="2281"/>
                  </a:lnTo>
                  <a:lnTo>
                    <a:pt x="5691" y="1465"/>
                  </a:lnTo>
                  <a:lnTo>
                    <a:pt x="5503" y="1549"/>
                  </a:lnTo>
                  <a:lnTo>
                    <a:pt x="5356" y="1172"/>
                  </a:lnTo>
                  <a:lnTo>
                    <a:pt x="5064" y="963"/>
                  </a:lnTo>
                  <a:lnTo>
                    <a:pt x="4122" y="963"/>
                  </a:lnTo>
                  <a:lnTo>
                    <a:pt x="3264" y="1047"/>
                  </a:lnTo>
                  <a:lnTo>
                    <a:pt x="2762" y="754"/>
                  </a:lnTo>
                  <a:lnTo>
                    <a:pt x="2427" y="628"/>
                  </a:lnTo>
                  <a:lnTo>
                    <a:pt x="15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 name="Google Shape;5973;p93">
              <a:extLst>
                <a:ext uri="{FF2B5EF4-FFF2-40B4-BE49-F238E27FC236}">
                  <a16:creationId xmlns:a16="http://schemas.microsoft.com/office/drawing/2014/main" id="{3AE71C92-AAE5-4D2A-BF5C-2EFF6BD91572}"/>
                </a:ext>
              </a:extLst>
            </p:cNvPr>
            <p:cNvSpPr/>
            <p:nvPr/>
          </p:nvSpPr>
          <p:spPr>
            <a:xfrm>
              <a:off x="4085936" y="2839096"/>
              <a:ext cx="98666" cy="59262"/>
            </a:xfrm>
            <a:custGeom>
              <a:avLst/>
              <a:gdLst/>
              <a:ahLst/>
              <a:cxnLst/>
              <a:rect l="l" t="t" r="r" b="b"/>
              <a:pathLst>
                <a:path w="8286" h="5211" extrusionOk="0">
                  <a:moveTo>
                    <a:pt x="3160" y="0"/>
                  </a:moveTo>
                  <a:lnTo>
                    <a:pt x="3264" y="126"/>
                  </a:lnTo>
                  <a:lnTo>
                    <a:pt x="3180" y="189"/>
                  </a:lnTo>
                  <a:lnTo>
                    <a:pt x="3055" y="105"/>
                  </a:lnTo>
                  <a:lnTo>
                    <a:pt x="2929" y="189"/>
                  </a:lnTo>
                  <a:lnTo>
                    <a:pt x="2825" y="314"/>
                  </a:lnTo>
                  <a:lnTo>
                    <a:pt x="2636" y="335"/>
                  </a:lnTo>
                  <a:lnTo>
                    <a:pt x="2532" y="586"/>
                  </a:lnTo>
                  <a:lnTo>
                    <a:pt x="2553" y="795"/>
                  </a:lnTo>
                  <a:lnTo>
                    <a:pt x="2657" y="900"/>
                  </a:lnTo>
                  <a:lnTo>
                    <a:pt x="2616" y="1026"/>
                  </a:lnTo>
                  <a:lnTo>
                    <a:pt x="2385" y="1005"/>
                  </a:lnTo>
                  <a:lnTo>
                    <a:pt x="2092" y="1005"/>
                  </a:lnTo>
                  <a:lnTo>
                    <a:pt x="2009" y="1026"/>
                  </a:lnTo>
                  <a:lnTo>
                    <a:pt x="1779" y="1067"/>
                  </a:lnTo>
                  <a:lnTo>
                    <a:pt x="1402" y="628"/>
                  </a:lnTo>
                  <a:lnTo>
                    <a:pt x="983" y="398"/>
                  </a:lnTo>
                  <a:lnTo>
                    <a:pt x="628" y="335"/>
                  </a:lnTo>
                  <a:lnTo>
                    <a:pt x="335" y="440"/>
                  </a:lnTo>
                  <a:lnTo>
                    <a:pt x="0" y="754"/>
                  </a:lnTo>
                  <a:lnTo>
                    <a:pt x="0" y="816"/>
                  </a:lnTo>
                  <a:lnTo>
                    <a:pt x="84" y="900"/>
                  </a:lnTo>
                  <a:lnTo>
                    <a:pt x="126" y="963"/>
                  </a:lnTo>
                  <a:lnTo>
                    <a:pt x="209" y="1047"/>
                  </a:lnTo>
                  <a:lnTo>
                    <a:pt x="251" y="1151"/>
                  </a:lnTo>
                  <a:lnTo>
                    <a:pt x="356" y="1360"/>
                  </a:lnTo>
                  <a:lnTo>
                    <a:pt x="335" y="1528"/>
                  </a:lnTo>
                  <a:lnTo>
                    <a:pt x="293" y="1653"/>
                  </a:lnTo>
                  <a:lnTo>
                    <a:pt x="314" y="1946"/>
                  </a:lnTo>
                  <a:lnTo>
                    <a:pt x="356" y="2009"/>
                  </a:lnTo>
                  <a:lnTo>
                    <a:pt x="398" y="2093"/>
                  </a:lnTo>
                  <a:lnTo>
                    <a:pt x="607" y="2302"/>
                  </a:lnTo>
                  <a:lnTo>
                    <a:pt x="565" y="2218"/>
                  </a:lnTo>
                  <a:lnTo>
                    <a:pt x="523" y="2155"/>
                  </a:lnTo>
                  <a:lnTo>
                    <a:pt x="544" y="2114"/>
                  </a:lnTo>
                  <a:lnTo>
                    <a:pt x="732" y="2155"/>
                  </a:lnTo>
                  <a:lnTo>
                    <a:pt x="816" y="2093"/>
                  </a:lnTo>
                  <a:lnTo>
                    <a:pt x="858" y="2114"/>
                  </a:lnTo>
                  <a:lnTo>
                    <a:pt x="837" y="2260"/>
                  </a:lnTo>
                  <a:lnTo>
                    <a:pt x="858" y="2365"/>
                  </a:lnTo>
                  <a:lnTo>
                    <a:pt x="942" y="2323"/>
                  </a:lnTo>
                  <a:lnTo>
                    <a:pt x="983" y="2427"/>
                  </a:lnTo>
                  <a:lnTo>
                    <a:pt x="963" y="2490"/>
                  </a:lnTo>
                  <a:lnTo>
                    <a:pt x="858" y="2469"/>
                  </a:lnTo>
                  <a:lnTo>
                    <a:pt x="816" y="2469"/>
                  </a:lnTo>
                  <a:lnTo>
                    <a:pt x="753" y="2427"/>
                  </a:lnTo>
                  <a:lnTo>
                    <a:pt x="649" y="2511"/>
                  </a:lnTo>
                  <a:lnTo>
                    <a:pt x="649" y="2616"/>
                  </a:lnTo>
                  <a:lnTo>
                    <a:pt x="732" y="2699"/>
                  </a:lnTo>
                  <a:lnTo>
                    <a:pt x="711" y="2574"/>
                  </a:lnTo>
                  <a:lnTo>
                    <a:pt x="774" y="2574"/>
                  </a:lnTo>
                  <a:lnTo>
                    <a:pt x="837" y="2595"/>
                  </a:lnTo>
                  <a:lnTo>
                    <a:pt x="921" y="2616"/>
                  </a:lnTo>
                  <a:lnTo>
                    <a:pt x="963" y="2720"/>
                  </a:lnTo>
                  <a:lnTo>
                    <a:pt x="1130" y="2804"/>
                  </a:lnTo>
                  <a:lnTo>
                    <a:pt x="1172" y="2909"/>
                  </a:lnTo>
                  <a:lnTo>
                    <a:pt x="1151" y="3097"/>
                  </a:lnTo>
                  <a:lnTo>
                    <a:pt x="1172" y="3160"/>
                  </a:lnTo>
                  <a:lnTo>
                    <a:pt x="1172" y="3453"/>
                  </a:lnTo>
                  <a:lnTo>
                    <a:pt x="1235" y="3662"/>
                  </a:lnTo>
                  <a:lnTo>
                    <a:pt x="1339" y="3955"/>
                  </a:lnTo>
                  <a:lnTo>
                    <a:pt x="1444" y="3871"/>
                  </a:lnTo>
                  <a:lnTo>
                    <a:pt x="1716" y="3871"/>
                  </a:lnTo>
                  <a:lnTo>
                    <a:pt x="1779" y="3725"/>
                  </a:lnTo>
                  <a:lnTo>
                    <a:pt x="1862" y="3620"/>
                  </a:lnTo>
                  <a:lnTo>
                    <a:pt x="1967" y="3620"/>
                  </a:lnTo>
                  <a:lnTo>
                    <a:pt x="2197" y="3411"/>
                  </a:lnTo>
                  <a:lnTo>
                    <a:pt x="2427" y="3348"/>
                  </a:lnTo>
                  <a:lnTo>
                    <a:pt x="2636" y="3411"/>
                  </a:lnTo>
                  <a:lnTo>
                    <a:pt x="2699" y="3264"/>
                  </a:lnTo>
                  <a:lnTo>
                    <a:pt x="2804" y="3243"/>
                  </a:lnTo>
                  <a:lnTo>
                    <a:pt x="2929" y="3306"/>
                  </a:lnTo>
                  <a:lnTo>
                    <a:pt x="3055" y="3264"/>
                  </a:lnTo>
                  <a:lnTo>
                    <a:pt x="3264" y="3453"/>
                  </a:lnTo>
                  <a:lnTo>
                    <a:pt x="3432" y="3515"/>
                  </a:lnTo>
                  <a:lnTo>
                    <a:pt x="3766" y="3725"/>
                  </a:lnTo>
                  <a:lnTo>
                    <a:pt x="3871" y="3725"/>
                  </a:lnTo>
                  <a:lnTo>
                    <a:pt x="3955" y="3641"/>
                  </a:lnTo>
                  <a:lnTo>
                    <a:pt x="4185" y="3746"/>
                  </a:lnTo>
                  <a:lnTo>
                    <a:pt x="4310" y="3767"/>
                  </a:lnTo>
                  <a:lnTo>
                    <a:pt x="4331" y="3934"/>
                  </a:lnTo>
                  <a:lnTo>
                    <a:pt x="4394" y="3976"/>
                  </a:lnTo>
                  <a:lnTo>
                    <a:pt x="4520" y="3955"/>
                  </a:lnTo>
                  <a:lnTo>
                    <a:pt x="4729" y="3997"/>
                  </a:lnTo>
                  <a:lnTo>
                    <a:pt x="4959" y="4311"/>
                  </a:lnTo>
                  <a:lnTo>
                    <a:pt x="5231" y="4352"/>
                  </a:lnTo>
                  <a:lnTo>
                    <a:pt x="5357" y="4394"/>
                  </a:lnTo>
                  <a:lnTo>
                    <a:pt x="5461" y="4562"/>
                  </a:lnTo>
                  <a:lnTo>
                    <a:pt x="5419" y="4666"/>
                  </a:lnTo>
                  <a:lnTo>
                    <a:pt x="5461" y="4792"/>
                  </a:lnTo>
                  <a:lnTo>
                    <a:pt x="5461" y="4876"/>
                  </a:lnTo>
                  <a:lnTo>
                    <a:pt x="5524" y="4980"/>
                  </a:lnTo>
                  <a:lnTo>
                    <a:pt x="5566" y="4938"/>
                  </a:lnTo>
                  <a:lnTo>
                    <a:pt x="5691" y="4980"/>
                  </a:lnTo>
                  <a:lnTo>
                    <a:pt x="5775" y="5043"/>
                  </a:lnTo>
                  <a:lnTo>
                    <a:pt x="5880" y="5043"/>
                  </a:lnTo>
                  <a:lnTo>
                    <a:pt x="5963" y="4980"/>
                  </a:lnTo>
                  <a:lnTo>
                    <a:pt x="6047" y="4980"/>
                  </a:lnTo>
                  <a:lnTo>
                    <a:pt x="6173" y="5085"/>
                  </a:lnTo>
                  <a:lnTo>
                    <a:pt x="6214" y="5148"/>
                  </a:lnTo>
                  <a:lnTo>
                    <a:pt x="6277" y="5210"/>
                  </a:lnTo>
                  <a:lnTo>
                    <a:pt x="6319" y="5148"/>
                  </a:lnTo>
                  <a:lnTo>
                    <a:pt x="6486" y="5127"/>
                  </a:lnTo>
                  <a:lnTo>
                    <a:pt x="6570" y="5022"/>
                  </a:lnTo>
                  <a:lnTo>
                    <a:pt x="6591" y="4938"/>
                  </a:lnTo>
                  <a:lnTo>
                    <a:pt x="6675" y="4896"/>
                  </a:lnTo>
                  <a:lnTo>
                    <a:pt x="6633" y="4813"/>
                  </a:lnTo>
                  <a:lnTo>
                    <a:pt x="6821" y="4708"/>
                  </a:lnTo>
                  <a:lnTo>
                    <a:pt x="7030" y="4666"/>
                  </a:lnTo>
                  <a:lnTo>
                    <a:pt x="7051" y="4604"/>
                  </a:lnTo>
                  <a:lnTo>
                    <a:pt x="7135" y="4520"/>
                  </a:lnTo>
                  <a:lnTo>
                    <a:pt x="7240" y="4499"/>
                  </a:lnTo>
                  <a:lnTo>
                    <a:pt x="7261" y="4373"/>
                  </a:lnTo>
                  <a:lnTo>
                    <a:pt x="7261" y="4206"/>
                  </a:lnTo>
                  <a:lnTo>
                    <a:pt x="7407" y="4080"/>
                  </a:lnTo>
                  <a:lnTo>
                    <a:pt x="7407" y="3955"/>
                  </a:lnTo>
                  <a:lnTo>
                    <a:pt x="7344" y="3892"/>
                  </a:lnTo>
                  <a:lnTo>
                    <a:pt x="7365" y="3850"/>
                  </a:lnTo>
                  <a:lnTo>
                    <a:pt x="7428" y="3829"/>
                  </a:lnTo>
                  <a:lnTo>
                    <a:pt x="7470" y="3767"/>
                  </a:lnTo>
                  <a:lnTo>
                    <a:pt x="7637" y="3725"/>
                  </a:lnTo>
                  <a:lnTo>
                    <a:pt x="7679" y="3725"/>
                  </a:lnTo>
                  <a:lnTo>
                    <a:pt x="7846" y="3620"/>
                  </a:lnTo>
                  <a:lnTo>
                    <a:pt x="7993" y="3557"/>
                  </a:lnTo>
                  <a:lnTo>
                    <a:pt x="8098" y="3641"/>
                  </a:lnTo>
                  <a:lnTo>
                    <a:pt x="8244" y="3620"/>
                  </a:lnTo>
                  <a:lnTo>
                    <a:pt x="8265" y="3641"/>
                  </a:lnTo>
                  <a:lnTo>
                    <a:pt x="8286" y="3641"/>
                  </a:lnTo>
                  <a:lnTo>
                    <a:pt x="8265" y="3369"/>
                  </a:lnTo>
                  <a:lnTo>
                    <a:pt x="8265" y="3223"/>
                  </a:lnTo>
                  <a:lnTo>
                    <a:pt x="8056" y="3097"/>
                  </a:lnTo>
                  <a:lnTo>
                    <a:pt x="7972" y="3097"/>
                  </a:lnTo>
                  <a:lnTo>
                    <a:pt x="7888" y="3013"/>
                  </a:lnTo>
                  <a:lnTo>
                    <a:pt x="7574" y="2992"/>
                  </a:lnTo>
                  <a:lnTo>
                    <a:pt x="7198" y="2699"/>
                  </a:lnTo>
                  <a:lnTo>
                    <a:pt x="6779" y="2511"/>
                  </a:lnTo>
                  <a:lnTo>
                    <a:pt x="6382" y="2218"/>
                  </a:lnTo>
                  <a:lnTo>
                    <a:pt x="6005" y="1988"/>
                  </a:lnTo>
                  <a:lnTo>
                    <a:pt x="5796" y="1904"/>
                  </a:lnTo>
                  <a:lnTo>
                    <a:pt x="5670" y="1653"/>
                  </a:lnTo>
                  <a:lnTo>
                    <a:pt x="5629" y="1528"/>
                  </a:lnTo>
                  <a:lnTo>
                    <a:pt x="5524" y="1423"/>
                  </a:lnTo>
                  <a:lnTo>
                    <a:pt x="5419" y="1067"/>
                  </a:lnTo>
                  <a:lnTo>
                    <a:pt x="5168" y="921"/>
                  </a:lnTo>
                  <a:lnTo>
                    <a:pt x="5043" y="900"/>
                  </a:lnTo>
                  <a:lnTo>
                    <a:pt x="4959" y="942"/>
                  </a:lnTo>
                  <a:lnTo>
                    <a:pt x="4624" y="795"/>
                  </a:lnTo>
                  <a:lnTo>
                    <a:pt x="4185" y="544"/>
                  </a:lnTo>
                  <a:lnTo>
                    <a:pt x="4164" y="419"/>
                  </a:lnTo>
                  <a:lnTo>
                    <a:pt x="3808" y="210"/>
                  </a:lnTo>
                  <a:lnTo>
                    <a:pt x="3432" y="21"/>
                  </a:lnTo>
                  <a:lnTo>
                    <a:pt x="316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95" name="Google Shape;5974;p93">
              <a:extLst>
                <a:ext uri="{FF2B5EF4-FFF2-40B4-BE49-F238E27FC236}">
                  <a16:creationId xmlns:a16="http://schemas.microsoft.com/office/drawing/2014/main" id="{ABFE48D5-B4AF-47C6-ADE6-153632908936}"/>
                </a:ext>
              </a:extLst>
            </p:cNvPr>
            <p:cNvGrpSpPr/>
            <p:nvPr/>
          </p:nvGrpSpPr>
          <p:grpSpPr>
            <a:xfrm>
              <a:off x="4295710" y="3079670"/>
              <a:ext cx="14968" cy="27135"/>
              <a:chOff x="4842300" y="3099950"/>
              <a:chExt cx="31425" cy="59650"/>
            </a:xfrm>
          </p:grpSpPr>
          <p:sp>
            <p:nvSpPr>
              <p:cNvPr id="1289" name="Google Shape;5975;p93">
                <a:extLst>
                  <a:ext uri="{FF2B5EF4-FFF2-40B4-BE49-F238E27FC236}">
                    <a16:creationId xmlns:a16="http://schemas.microsoft.com/office/drawing/2014/main" id="{425A5B2B-E2ED-458A-B356-E0CF84F511FE}"/>
                  </a:ext>
                </a:extLst>
              </p:cNvPr>
              <p:cNvSpPr/>
              <p:nvPr/>
            </p:nvSpPr>
            <p:spPr>
              <a:xfrm>
                <a:off x="4842300" y="3122950"/>
                <a:ext cx="2125" cy="6825"/>
              </a:xfrm>
              <a:custGeom>
                <a:avLst/>
                <a:gdLst/>
                <a:ahLst/>
                <a:cxnLst/>
                <a:rect l="l" t="t" r="r" b="b"/>
                <a:pathLst>
                  <a:path w="85" h="273" extrusionOk="0">
                    <a:moveTo>
                      <a:pt x="84" y="1"/>
                    </a:moveTo>
                    <a:lnTo>
                      <a:pt x="1" y="22"/>
                    </a:lnTo>
                    <a:lnTo>
                      <a:pt x="43" y="126"/>
                    </a:lnTo>
                    <a:lnTo>
                      <a:pt x="1" y="273"/>
                    </a:lnTo>
                    <a:lnTo>
                      <a:pt x="64" y="126"/>
                    </a:lnTo>
                    <a:lnTo>
                      <a:pt x="43" y="22"/>
                    </a:lnTo>
                    <a:lnTo>
                      <a:pt x="84" y="22"/>
                    </a:lnTo>
                    <a:lnTo>
                      <a:pt x="8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0" name="Google Shape;5976;p93">
                <a:extLst>
                  <a:ext uri="{FF2B5EF4-FFF2-40B4-BE49-F238E27FC236}">
                    <a16:creationId xmlns:a16="http://schemas.microsoft.com/office/drawing/2014/main" id="{DE814F8A-F100-4844-A967-903BE157D101}"/>
                  </a:ext>
                </a:extLst>
              </p:cNvPr>
              <p:cNvSpPr/>
              <p:nvPr/>
            </p:nvSpPr>
            <p:spPr>
              <a:xfrm>
                <a:off x="4842300" y="3106225"/>
                <a:ext cx="31425" cy="53375"/>
              </a:xfrm>
              <a:custGeom>
                <a:avLst/>
                <a:gdLst/>
                <a:ahLst/>
                <a:cxnLst/>
                <a:rect l="l" t="t" r="r" b="b"/>
                <a:pathLst>
                  <a:path w="1257" h="2135" extrusionOk="0">
                    <a:moveTo>
                      <a:pt x="273" y="0"/>
                    </a:moveTo>
                    <a:lnTo>
                      <a:pt x="273" y="21"/>
                    </a:lnTo>
                    <a:lnTo>
                      <a:pt x="294" y="42"/>
                    </a:lnTo>
                    <a:lnTo>
                      <a:pt x="273" y="63"/>
                    </a:lnTo>
                    <a:lnTo>
                      <a:pt x="252" y="105"/>
                    </a:lnTo>
                    <a:lnTo>
                      <a:pt x="252" y="126"/>
                    </a:lnTo>
                    <a:lnTo>
                      <a:pt x="252" y="209"/>
                    </a:lnTo>
                    <a:lnTo>
                      <a:pt x="189" y="314"/>
                    </a:lnTo>
                    <a:lnTo>
                      <a:pt x="147" y="272"/>
                    </a:lnTo>
                    <a:lnTo>
                      <a:pt x="84" y="230"/>
                    </a:lnTo>
                    <a:lnTo>
                      <a:pt x="1" y="230"/>
                    </a:lnTo>
                    <a:lnTo>
                      <a:pt x="1" y="251"/>
                    </a:lnTo>
                    <a:lnTo>
                      <a:pt x="84" y="272"/>
                    </a:lnTo>
                    <a:lnTo>
                      <a:pt x="105" y="335"/>
                    </a:lnTo>
                    <a:lnTo>
                      <a:pt x="84" y="356"/>
                    </a:lnTo>
                    <a:lnTo>
                      <a:pt x="147" y="461"/>
                    </a:lnTo>
                    <a:lnTo>
                      <a:pt x="147" y="628"/>
                    </a:lnTo>
                    <a:lnTo>
                      <a:pt x="84" y="691"/>
                    </a:lnTo>
                    <a:lnTo>
                      <a:pt x="64" y="942"/>
                    </a:lnTo>
                    <a:lnTo>
                      <a:pt x="84" y="1005"/>
                    </a:lnTo>
                    <a:lnTo>
                      <a:pt x="43" y="1046"/>
                    </a:lnTo>
                    <a:lnTo>
                      <a:pt x="84" y="1277"/>
                    </a:lnTo>
                    <a:lnTo>
                      <a:pt x="84" y="1360"/>
                    </a:lnTo>
                    <a:lnTo>
                      <a:pt x="168" y="1611"/>
                    </a:lnTo>
                    <a:lnTo>
                      <a:pt x="252" y="1925"/>
                    </a:lnTo>
                    <a:lnTo>
                      <a:pt x="315" y="2051"/>
                    </a:lnTo>
                    <a:lnTo>
                      <a:pt x="461" y="2134"/>
                    </a:lnTo>
                    <a:lnTo>
                      <a:pt x="587" y="2113"/>
                    </a:lnTo>
                    <a:lnTo>
                      <a:pt x="775" y="2093"/>
                    </a:lnTo>
                    <a:lnTo>
                      <a:pt x="942" y="2030"/>
                    </a:lnTo>
                    <a:lnTo>
                      <a:pt x="1131" y="1821"/>
                    </a:lnTo>
                    <a:lnTo>
                      <a:pt x="1214" y="1674"/>
                    </a:lnTo>
                    <a:lnTo>
                      <a:pt x="1256" y="1569"/>
                    </a:lnTo>
                    <a:lnTo>
                      <a:pt x="1235" y="1486"/>
                    </a:lnTo>
                    <a:lnTo>
                      <a:pt x="1256" y="1423"/>
                    </a:lnTo>
                    <a:lnTo>
                      <a:pt x="1256" y="1277"/>
                    </a:lnTo>
                    <a:lnTo>
                      <a:pt x="1235" y="1214"/>
                    </a:lnTo>
                    <a:lnTo>
                      <a:pt x="1256" y="1109"/>
                    </a:lnTo>
                    <a:lnTo>
                      <a:pt x="1152" y="1046"/>
                    </a:lnTo>
                    <a:lnTo>
                      <a:pt x="1089" y="795"/>
                    </a:lnTo>
                    <a:lnTo>
                      <a:pt x="1005" y="628"/>
                    </a:lnTo>
                    <a:lnTo>
                      <a:pt x="900" y="628"/>
                    </a:lnTo>
                    <a:lnTo>
                      <a:pt x="900" y="586"/>
                    </a:lnTo>
                    <a:lnTo>
                      <a:pt x="796" y="586"/>
                    </a:lnTo>
                    <a:lnTo>
                      <a:pt x="921" y="544"/>
                    </a:lnTo>
                    <a:lnTo>
                      <a:pt x="900" y="481"/>
                    </a:lnTo>
                    <a:lnTo>
                      <a:pt x="838" y="461"/>
                    </a:lnTo>
                    <a:lnTo>
                      <a:pt x="775" y="335"/>
                    </a:lnTo>
                    <a:lnTo>
                      <a:pt x="712" y="335"/>
                    </a:lnTo>
                    <a:lnTo>
                      <a:pt x="691" y="230"/>
                    </a:lnTo>
                    <a:lnTo>
                      <a:pt x="670" y="168"/>
                    </a:lnTo>
                    <a:lnTo>
                      <a:pt x="670" y="126"/>
                    </a:lnTo>
                    <a:lnTo>
                      <a:pt x="482" y="42"/>
                    </a:lnTo>
                    <a:lnTo>
                      <a:pt x="461" y="105"/>
                    </a:lnTo>
                    <a:lnTo>
                      <a:pt x="377" y="63"/>
                    </a:lnTo>
                    <a:lnTo>
                      <a:pt x="398" y="21"/>
                    </a:lnTo>
                    <a:lnTo>
                      <a:pt x="27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1" name="Google Shape;5977;p93">
                <a:extLst>
                  <a:ext uri="{FF2B5EF4-FFF2-40B4-BE49-F238E27FC236}">
                    <a16:creationId xmlns:a16="http://schemas.microsoft.com/office/drawing/2014/main" id="{6CF5653E-B49E-487E-AFC7-ECDC85702C66}"/>
                  </a:ext>
                </a:extLst>
              </p:cNvPr>
              <p:cNvSpPr/>
              <p:nvPr/>
            </p:nvSpPr>
            <p:spPr>
              <a:xfrm>
                <a:off x="4844400" y="3099950"/>
                <a:ext cx="5250" cy="4725"/>
              </a:xfrm>
              <a:custGeom>
                <a:avLst/>
                <a:gdLst/>
                <a:ahLst/>
                <a:cxnLst/>
                <a:rect l="l" t="t" r="r" b="b"/>
                <a:pathLst>
                  <a:path w="210" h="189" extrusionOk="0">
                    <a:moveTo>
                      <a:pt x="189" y="0"/>
                    </a:moveTo>
                    <a:lnTo>
                      <a:pt x="0" y="42"/>
                    </a:lnTo>
                    <a:lnTo>
                      <a:pt x="0" y="105"/>
                    </a:lnTo>
                    <a:lnTo>
                      <a:pt x="126" y="188"/>
                    </a:lnTo>
                    <a:lnTo>
                      <a:pt x="126" y="147"/>
                    </a:lnTo>
                    <a:lnTo>
                      <a:pt x="168" y="147"/>
                    </a:lnTo>
                    <a:lnTo>
                      <a:pt x="210" y="42"/>
                    </a:lnTo>
                    <a:lnTo>
                      <a:pt x="1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 name="Google Shape;5978;p93">
                <a:extLst>
                  <a:ext uri="{FF2B5EF4-FFF2-40B4-BE49-F238E27FC236}">
                    <a16:creationId xmlns:a16="http://schemas.microsoft.com/office/drawing/2014/main" id="{80345B85-5616-46DE-9EB2-3190F61CDCAC}"/>
                  </a:ext>
                </a:extLst>
              </p:cNvPr>
              <p:cNvSpPr/>
              <p:nvPr/>
            </p:nvSpPr>
            <p:spPr>
              <a:xfrm>
                <a:off x="4849625" y="3101500"/>
                <a:ext cx="7875" cy="6300"/>
              </a:xfrm>
              <a:custGeom>
                <a:avLst/>
                <a:gdLst/>
                <a:ahLst/>
                <a:cxnLst/>
                <a:rect l="l" t="t" r="r" b="b"/>
                <a:pathLst>
                  <a:path w="315" h="252" extrusionOk="0">
                    <a:moveTo>
                      <a:pt x="43" y="1"/>
                    </a:moveTo>
                    <a:lnTo>
                      <a:pt x="43" y="43"/>
                    </a:lnTo>
                    <a:lnTo>
                      <a:pt x="84" y="85"/>
                    </a:lnTo>
                    <a:lnTo>
                      <a:pt x="1" y="85"/>
                    </a:lnTo>
                    <a:lnTo>
                      <a:pt x="1" y="105"/>
                    </a:lnTo>
                    <a:lnTo>
                      <a:pt x="126" y="147"/>
                    </a:lnTo>
                    <a:lnTo>
                      <a:pt x="189" y="210"/>
                    </a:lnTo>
                    <a:lnTo>
                      <a:pt x="273" y="210"/>
                    </a:lnTo>
                    <a:lnTo>
                      <a:pt x="315" y="252"/>
                    </a:lnTo>
                    <a:lnTo>
                      <a:pt x="294" y="210"/>
                    </a:lnTo>
                    <a:lnTo>
                      <a:pt x="168" y="105"/>
                    </a:lnTo>
                    <a:lnTo>
                      <a:pt x="168" y="22"/>
                    </a:lnTo>
                    <a:lnTo>
                      <a:pt x="4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96" name="Google Shape;5979;p93">
              <a:extLst>
                <a:ext uri="{FF2B5EF4-FFF2-40B4-BE49-F238E27FC236}">
                  <a16:creationId xmlns:a16="http://schemas.microsoft.com/office/drawing/2014/main" id="{EF49D7DA-462C-4804-AD01-104ACC1BD003}"/>
                </a:ext>
              </a:extLst>
            </p:cNvPr>
            <p:cNvSpPr/>
            <p:nvPr/>
          </p:nvSpPr>
          <p:spPr>
            <a:xfrm>
              <a:off x="4210500" y="2911903"/>
              <a:ext cx="193104" cy="180152"/>
            </a:xfrm>
            <a:custGeom>
              <a:avLst/>
              <a:gdLst/>
              <a:ahLst/>
              <a:cxnLst/>
              <a:rect l="l" t="t" r="r" b="b"/>
              <a:pathLst>
                <a:path w="16217" h="15841" extrusionOk="0">
                  <a:moveTo>
                    <a:pt x="6906" y="15150"/>
                  </a:moveTo>
                  <a:lnTo>
                    <a:pt x="6927" y="15212"/>
                  </a:lnTo>
                  <a:lnTo>
                    <a:pt x="6927" y="15171"/>
                  </a:lnTo>
                  <a:lnTo>
                    <a:pt x="6906" y="15150"/>
                  </a:lnTo>
                  <a:close/>
                  <a:moveTo>
                    <a:pt x="3997" y="1"/>
                  </a:moveTo>
                  <a:lnTo>
                    <a:pt x="3914" y="147"/>
                  </a:lnTo>
                  <a:lnTo>
                    <a:pt x="3788" y="147"/>
                  </a:lnTo>
                  <a:lnTo>
                    <a:pt x="3600" y="294"/>
                  </a:lnTo>
                  <a:lnTo>
                    <a:pt x="3453" y="587"/>
                  </a:lnTo>
                  <a:lnTo>
                    <a:pt x="3391" y="629"/>
                  </a:lnTo>
                  <a:lnTo>
                    <a:pt x="3286" y="733"/>
                  </a:lnTo>
                  <a:lnTo>
                    <a:pt x="3223" y="733"/>
                  </a:lnTo>
                  <a:lnTo>
                    <a:pt x="3119" y="817"/>
                  </a:lnTo>
                  <a:lnTo>
                    <a:pt x="3014" y="838"/>
                  </a:lnTo>
                  <a:lnTo>
                    <a:pt x="2826" y="1026"/>
                  </a:lnTo>
                  <a:lnTo>
                    <a:pt x="2846" y="1089"/>
                  </a:lnTo>
                  <a:lnTo>
                    <a:pt x="2930" y="1298"/>
                  </a:lnTo>
                  <a:lnTo>
                    <a:pt x="2867" y="1570"/>
                  </a:lnTo>
                  <a:lnTo>
                    <a:pt x="2867" y="1717"/>
                  </a:lnTo>
                  <a:lnTo>
                    <a:pt x="2763" y="1779"/>
                  </a:lnTo>
                  <a:lnTo>
                    <a:pt x="2616" y="1968"/>
                  </a:lnTo>
                  <a:lnTo>
                    <a:pt x="2700" y="2031"/>
                  </a:lnTo>
                  <a:lnTo>
                    <a:pt x="2700" y="2135"/>
                  </a:lnTo>
                  <a:lnTo>
                    <a:pt x="2637" y="2261"/>
                  </a:lnTo>
                  <a:lnTo>
                    <a:pt x="2428" y="2365"/>
                  </a:lnTo>
                  <a:lnTo>
                    <a:pt x="2323" y="2554"/>
                  </a:lnTo>
                  <a:lnTo>
                    <a:pt x="2302" y="2721"/>
                  </a:lnTo>
                  <a:lnTo>
                    <a:pt x="2219" y="2867"/>
                  </a:lnTo>
                  <a:lnTo>
                    <a:pt x="1968" y="3035"/>
                  </a:lnTo>
                  <a:lnTo>
                    <a:pt x="1863" y="3391"/>
                  </a:lnTo>
                  <a:lnTo>
                    <a:pt x="1675" y="3600"/>
                  </a:lnTo>
                  <a:lnTo>
                    <a:pt x="1361" y="3600"/>
                  </a:lnTo>
                  <a:lnTo>
                    <a:pt x="1152" y="3725"/>
                  </a:lnTo>
                  <a:lnTo>
                    <a:pt x="1068" y="3704"/>
                  </a:lnTo>
                  <a:lnTo>
                    <a:pt x="1047" y="3600"/>
                  </a:lnTo>
                  <a:lnTo>
                    <a:pt x="922" y="3537"/>
                  </a:lnTo>
                  <a:lnTo>
                    <a:pt x="838" y="3600"/>
                  </a:lnTo>
                  <a:lnTo>
                    <a:pt x="733" y="3642"/>
                  </a:lnTo>
                  <a:lnTo>
                    <a:pt x="691" y="3746"/>
                  </a:lnTo>
                  <a:lnTo>
                    <a:pt x="545" y="3956"/>
                  </a:lnTo>
                  <a:lnTo>
                    <a:pt x="461" y="3976"/>
                  </a:lnTo>
                  <a:lnTo>
                    <a:pt x="357" y="4228"/>
                  </a:lnTo>
                  <a:lnTo>
                    <a:pt x="357" y="4374"/>
                  </a:lnTo>
                  <a:lnTo>
                    <a:pt x="461" y="4353"/>
                  </a:lnTo>
                  <a:lnTo>
                    <a:pt x="608" y="4395"/>
                  </a:lnTo>
                  <a:lnTo>
                    <a:pt x="670" y="4374"/>
                  </a:lnTo>
                  <a:lnTo>
                    <a:pt x="775" y="4374"/>
                  </a:lnTo>
                  <a:lnTo>
                    <a:pt x="859" y="4562"/>
                  </a:lnTo>
                  <a:lnTo>
                    <a:pt x="838" y="4688"/>
                  </a:lnTo>
                  <a:lnTo>
                    <a:pt x="859" y="4897"/>
                  </a:lnTo>
                  <a:lnTo>
                    <a:pt x="1068" y="5023"/>
                  </a:lnTo>
                  <a:lnTo>
                    <a:pt x="1173" y="5023"/>
                  </a:lnTo>
                  <a:lnTo>
                    <a:pt x="1256" y="5085"/>
                  </a:lnTo>
                  <a:lnTo>
                    <a:pt x="1214" y="5169"/>
                  </a:lnTo>
                  <a:lnTo>
                    <a:pt x="1340" y="5316"/>
                  </a:lnTo>
                  <a:lnTo>
                    <a:pt x="1466" y="5692"/>
                  </a:lnTo>
                  <a:lnTo>
                    <a:pt x="1445" y="5755"/>
                  </a:lnTo>
                  <a:lnTo>
                    <a:pt x="1486" y="5818"/>
                  </a:lnTo>
                  <a:lnTo>
                    <a:pt x="1382" y="5860"/>
                  </a:lnTo>
                  <a:lnTo>
                    <a:pt x="1256" y="5943"/>
                  </a:lnTo>
                  <a:lnTo>
                    <a:pt x="1194" y="5860"/>
                  </a:lnTo>
                  <a:lnTo>
                    <a:pt x="1256" y="5797"/>
                  </a:lnTo>
                  <a:lnTo>
                    <a:pt x="1256" y="5797"/>
                  </a:lnTo>
                  <a:lnTo>
                    <a:pt x="1131" y="5818"/>
                  </a:lnTo>
                  <a:lnTo>
                    <a:pt x="1068" y="5860"/>
                  </a:lnTo>
                  <a:lnTo>
                    <a:pt x="838" y="5964"/>
                  </a:lnTo>
                  <a:lnTo>
                    <a:pt x="440" y="5943"/>
                  </a:lnTo>
                  <a:lnTo>
                    <a:pt x="336" y="6006"/>
                  </a:lnTo>
                  <a:lnTo>
                    <a:pt x="252" y="5964"/>
                  </a:lnTo>
                  <a:lnTo>
                    <a:pt x="210" y="6111"/>
                  </a:lnTo>
                  <a:lnTo>
                    <a:pt x="126" y="6132"/>
                  </a:lnTo>
                  <a:lnTo>
                    <a:pt x="22" y="6215"/>
                  </a:lnTo>
                  <a:lnTo>
                    <a:pt x="1" y="6362"/>
                  </a:lnTo>
                  <a:lnTo>
                    <a:pt x="168" y="6257"/>
                  </a:lnTo>
                  <a:lnTo>
                    <a:pt x="336" y="6236"/>
                  </a:lnTo>
                  <a:lnTo>
                    <a:pt x="210" y="6320"/>
                  </a:lnTo>
                  <a:lnTo>
                    <a:pt x="106" y="6445"/>
                  </a:lnTo>
                  <a:lnTo>
                    <a:pt x="85" y="6571"/>
                  </a:lnTo>
                  <a:lnTo>
                    <a:pt x="147" y="6592"/>
                  </a:lnTo>
                  <a:lnTo>
                    <a:pt x="336" y="6780"/>
                  </a:lnTo>
                  <a:lnTo>
                    <a:pt x="691" y="6906"/>
                  </a:lnTo>
                  <a:lnTo>
                    <a:pt x="817" y="6885"/>
                  </a:lnTo>
                  <a:lnTo>
                    <a:pt x="963" y="6885"/>
                  </a:lnTo>
                  <a:lnTo>
                    <a:pt x="1194" y="6780"/>
                  </a:lnTo>
                  <a:lnTo>
                    <a:pt x="1194" y="6738"/>
                  </a:lnTo>
                  <a:lnTo>
                    <a:pt x="1194" y="6697"/>
                  </a:lnTo>
                  <a:lnTo>
                    <a:pt x="1214" y="6697"/>
                  </a:lnTo>
                  <a:lnTo>
                    <a:pt x="1340" y="6738"/>
                  </a:lnTo>
                  <a:lnTo>
                    <a:pt x="1298" y="6843"/>
                  </a:lnTo>
                  <a:lnTo>
                    <a:pt x="1256" y="6843"/>
                  </a:lnTo>
                  <a:lnTo>
                    <a:pt x="1152" y="6989"/>
                  </a:lnTo>
                  <a:lnTo>
                    <a:pt x="1068" y="6989"/>
                  </a:lnTo>
                  <a:lnTo>
                    <a:pt x="838" y="7178"/>
                  </a:lnTo>
                  <a:lnTo>
                    <a:pt x="838" y="7220"/>
                  </a:lnTo>
                  <a:lnTo>
                    <a:pt x="754" y="7199"/>
                  </a:lnTo>
                  <a:lnTo>
                    <a:pt x="733" y="7199"/>
                  </a:lnTo>
                  <a:lnTo>
                    <a:pt x="650" y="7261"/>
                  </a:lnTo>
                  <a:lnTo>
                    <a:pt x="566" y="7220"/>
                  </a:lnTo>
                  <a:lnTo>
                    <a:pt x="566" y="7115"/>
                  </a:lnTo>
                  <a:lnTo>
                    <a:pt x="503" y="7115"/>
                  </a:lnTo>
                  <a:lnTo>
                    <a:pt x="461" y="7094"/>
                  </a:lnTo>
                  <a:lnTo>
                    <a:pt x="419" y="7094"/>
                  </a:lnTo>
                  <a:lnTo>
                    <a:pt x="398" y="7178"/>
                  </a:lnTo>
                  <a:lnTo>
                    <a:pt x="419" y="7261"/>
                  </a:lnTo>
                  <a:lnTo>
                    <a:pt x="650" y="7492"/>
                  </a:lnTo>
                  <a:lnTo>
                    <a:pt x="733" y="7533"/>
                  </a:lnTo>
                  <a:lnTo>
                    <a:pt x="775" y="7533"/>
                  </a:lnTo>
                  <a:lnTo>
                    <a:pt x="817" y="7575"/>
                  </a:lnTo>
                  <a:lnTo>
                    <a:pt x="984" y="7826"/>
                  </a:lnTo>
                  <a:lnTo>
                    <a:pt x="1403" y="8161"/>
                  </a:lnTo>
                  <a:lnTo>
                    <a:pt x="1612" y="8224"/>
                  </a:lnTo>
                  <a:lnTo>
                    <a:pt x="1779" y="8161"/>
                  </a:lnTo>
                  <a:lnTo>
                    <a:pt x="2072" y="7994"/>
                  </a:lnTo>
                  <a:lnTo>
                    <a:pt x="2261" y="7889"/>
                  </a:lnTo>
                  <a:lnTo>
                    <a:pt x="2261" y="7826"/>
                  </a:lnTo>
                  <a:lnTo>
                    <a:pt x="2344" y="7722"/>
                  </a:lnTo>
                  <a:lnTo>
                    <a:pt x="2386" y="7513"/>
                  </a:lnTo>
                  <a:lnTo>
                    <a:pt x="2302" y="7408"/>
                  </a:lnTo>
                  <a:lnTo>
                    <a:pt x="2386" y="7199"/>
                  </a:lnTo>
                  <a:lnTo>
                    <a:pt x="2386" y="7094"/>
                  </a:lnTo>
                  <a:lnTo>
                    <a:pt x="2407" y="7010"/>
                  </a:lnTo>
                  <a:lnTo>
                    <a:pt x="2428" y="7094"/>
                  </a:lnTo>
                  <a:lnTo>
                    <a:pt x="2595" y="7094"/>
                  </a:lnTo>
                  <a:lnTo>
                    <a:pt x="2637" y="7115"/>
                  </a:lnTo>
                  <a:lnTo>
                    <a:pt x="2742" y="7073"/>
                  </a:lnTo>
                  <a:lnTo>
                    <a:pt x="2721" y="7115"/>
                  </a:lnTo>
                  <a:lnTo>
                    <a:pt x="2616" y="7220"/>
                  </a:lnTo>
                  <a:lnTo>
                    <a:pt x="2533" y="7199"/>
                  </a:lnTo>
                  <a:lnTo>
                    <a:pt x="2512" y="7220"/>
                  </a:lnTo>
                  <a:lnTo>
                    <a:pt x="2491" y="7366"/>
                  </a:lnTo>
                  <a:lnTo>
                    <a:pt x="2533" y="7429"/>
                  </a:lnTo>
                  <a:lnTo>
                    <a:pt x="2533" y="7533"/>
                  </a:lnTo>
                  <a:lnTo>
                    <a:pt x="2595" y="7575"/>
                  </a:lnTo>
                  <a:lnTo>
                    <a:pt x="2742" y="7533"/>
                  </a:lnTo>
                  <a:lnTo>
                    <a:pt x="2826" y="7575"/>
                  </a:lnTo>
                  <a:lnTo>
                    <a:pt x="2742" y="7575"/>
                  </a:lnTo>
                  <a:lnTo>
                    <a:pt x="2700" y="7617"/>
                  </a:lnTo>
                  <a:lnTo>
                    <a:pt x="2554" y="7701"/>
                  </a:lnTo>
                  <a:lnTo>
                    <a:pt x="2616" y="7952"/>
                  </a:lnTo>
                  <a:lnTo>
                    <a:pt x="2700" y="8015"/>
                  </a:lnTo>
                  <a:lnTo>
                    <a:pt x="2742" y="8203"/>
                  </a:lnTo>
                  <a:lnTo>
                    <a:pt x="2742" y="8349"/>
                  </a:lnTo>
                  <a:lnTo>
                    <a:pt x="2700" y="8475"/>
                  </a:lnTo>
                  <a:lnTo>
                    <a:pt x="2700" y="8580"/>
                  </a:lnTo>
                  <a:lnTo>
                    <a:pt x="2784" y="8642"/>
                  </a:lnTo>
                  <a:lnTo>
                    <a:pt x="2700" y="8684"/>
                  </a:lnTo>
                  <a:lnTo>
                    <a:pt x="2721" y="8873"/>
                  </a:lnTo>
                  <a:lnTo>
                    <a:pt x="2867" y="9186"/>
                  </a:lnTo>
                  <a:lnTo>
                    <a:pt x="2909" y="9291"/>
                  </a:lnTo>
                  <a:lnTo>
                    <a:pt x="2951" y="9375"/>
                  </a:lnTo>
                  <a:lnTo>
                    <a:pt x="2867" y="9396"/>
                  </a:lnTo>
                  <a:lnTo>
                    <a:pt x="2867" y="9521"/>
                  </a:lnTo>
                  <a:lnTo>
                    <a:pt x="3035" y="9730"/>
                  </a:lnTo>
                  <a:lnTo>
                    <a:pt x="2909" y="9730"/>
                  </a:lnTo>
                  <a:lnTo>
                    <a:pt x="3035" y="9919"/>
                  </a:lnTo>
                  <a:lnTo>
                    <a:pt x="3035" y="10086"/>
                  </a:lnTo>
                  <a:lnTo>
                    <a:pt x="3265" y="10546"/>
                  </a:lnTo>
                  <a:lnTo>
                    <a:pt x="3265" y="10860"/>
                  </a:lnTo>
                  <a:lnTo>
                    <a:pt x="3370" y="11132"/>
                  </a:lnTo>
                  <a:lnTo>
                    <a:pt x="3453" y="11174"/>
                  </a:lnTo>
                  <a:lnTo>
                    <a:pt x="3495" y="11342"/>
                  </a:lnTo>
                  <a:lnTo>
                    <a:pt x="3579" y="11383"/>
                  </a:lnTo>
                  <a:lnTo>
                    <a:pt x="3579" y="11467"/>
                  </a:lnTo>
                  <a:lnTo>
                    <a:pt x="3704" y="11697"/>
                  </a:lnTo>
                  <a:lnTo>
                    <a:pt x="3767" y="11718"/>
                  </a:lnTo>
                  <a:lnTo>
                    <a:pt x="3767" y="11781"/>
                  </a:lnTo>
                  <a:lnTo>
                    <a:pt x="3893" y="11969"/>
                  </a:lnTo>
                  <a:lnTo>
                    <a:pt x="3955" y="11969"/>
                  </a:lnTo>
                  <a:lnTo>
                    <a:pt x="3955" y="12178"/>
                  </a:lnTo>
                  <a:lnTo>
                    <a:pt x="3997" y="12241"/>
                  </a:lnTo>
                  <a:lnTo>
                    <a:pt x="4081" y="12388"/>
                  </a:lnTo>
                  <a:lnTo>
                    <a:pt x="4102" y="12555"/>
                  </a:lnTo>
                  <a:lnTo>
                    <a:pt x="4207" y="12827"/>
                  </a:lnTo>
                  <a:lnTo>
                    <a:pt x="4269" y="12932"/>
                  </a:lnTo>
                  <a:lnTo>
                    <a:pt x="4290" y="13162"/>
                  </a:lnTo>
                  <a:lnTo>
                    <a:pt x="4332" y="13225"/>
                  </a:lnTo>
                  <a:lnTo>
                    <a:pt x="4416" y="13371"/>
                  </a:lnTo>
                  <a:lnTo>
                    <a:pt x="4583" y="13539"/>
                  </a:lnTo>
                  <a:lnTo>
                    <a:pt x="4604" y="13539"/>
                  </a:lnTo>
                  <a:lnTo>
                    <a:pt x="4709" y="13685"/>
                  </a:lnTo>
                  <a:lnTo>
                    <a:pt x="4876" y="13894"/>
                  </a:lnTo>
                  <a:lnTo>
                    <a:pt x="4939" y="14083"/>
                  </a:lnTo>
                  <a:lnTo>
                    <a:pt x="5002" y="14229"/>
                  </a:lnTo>
                  <a:lnTo>
                    <a:pt x="5043" y="14271"/>
                  </a:lnTo>
                  <a:lnTo>
                    <a:pt x="5043" y="14375"/>
                  </a:lnTo>
                  <a:lnTo>
                    <a:pt x="5169" y="14606"/>
                  </a:lnTo>
                  <a:lnTo>
                    <a:pt x="5232" y="14815"/>
                  </a:lnTo>
                  <a:lnTo>
                    <a:pt x="5232" y="15045"/>
                  </a:lnTo>
                  <a:lnTo>
                    <a:pt x="5441" y="15484"/>
                  </a:lnTo>
                  <a:lnTo>
                    <a:pt x="5629" y="15673"/>
                  </a:lnTo>
                  <a:lnTo>
                    <a:pt x="5776" y="15798"/>
                  </a:lnTo>
                  <a:lnTo>
                    <a:pt x="5985" y="15840"/>
                  </a:lnTo>
                  <a:lnTo>
                    <a:pt x="6194" y="15673"/>
                  </a:lnTo>
                  <a:lnTo>
                    <a:pt x="6257" y="15547"/>
                  </a:lnTo>
                  <a:lnTo>
                    <a:pt x="6215" y="15484"/>
                  </a:lnTo>
                  <a:lnTo>
                    <a:pt x="6257" y="15464"/>
                  </a:lnTo>
                  <a:lnTo>
                    <a:pt x="6278" y="15422"/>
                  </a:lnTo>
                  <a:lnTo>
                    <a:pt x="6320" y="15317"/>
                  </a:lnTo>
                  <a:lnTo>
                    <a:pt x="6529" y="15212"/>
                  </a:lnTo>
                  <a:lnTo>
                    <a:pt x="6571" y="15212"/>
                  </a:lnTo>
                  <a:lnTo>
                    <a:pt x="6822" y="15129"/>
                  </a:lnTo>
                  <a:lnTo>
                    <a:pt x="6906" y="15150"/>
                  </a:lnTo>
                  <a:lnTo>
                    <a:pt x="6717" y="15045"/>
                  </a:lnTo>
                  <a:lnTo>
                    <a:pt x="6696" y="14961"/>
                  </a:lnTo>
                  <a:lnTo>
                    <a:pt x="6738" y="14919"/>
                  </a:lnTo>
                  <a:lnTo>
                    <a:pt x="6906" y="14710"/>
                  </a:lnTo>
                  <a:lnTo>
                    <a:pt x="6885" y="14647"/>
                  </a:lnTo>
                  <a:lnTo>
                    <a:pt x="6927" y="14543"/>
                  </a:lnTo>
                  <a:lnTo>
                    <a:pt x="7094" y="14522"/>
                  </a:lnTo>
                  <a:lnTo>
                    <a:pt x="7136" y="14543"/>
                  </a:lnTo>
                  <a:lnTo>
                    <a:pt x="7261" y="14522"/>
                  </a:lnTo>
                  <a:lnTo>
                    <a:pt x="7261" y="14375"/>
                  </a:lnTo>
                  <a:lnTo>
                    <a:pt x="7220" y="13894"/>
                  </a:lnTo>
                  <a:lnTo>
                    <a:pt x="7157" y="13811"/>
                  </a:lnTo>
                  <a:lnTo>
                    <a:pt x="7157" y="13580"/>
                  </a:lnTo>
                  <a:lnTo>
                    <a:pt x="7303" y="13329"/>
                  </a:lnTo>
                  <a:lnTo>
                    <a:pt x="7429" y="12953"/>
                  </a:lnTo>
                  <a:lnTo>
                    <a:pt x="7429" y="12660"/>
                  </a:lnTo>
                  <a:lnTo>
                    <a:pt x="7261" y="12618"/>
                  </a:lnTo>
                  <a:lnTo>
                    <a:pt x="7261" y="12178"/>
                  </a:lnTo>
                  <a:lnTo>
                    <a:pt x="7240" y="12011"/>
                  </a:lnTo>
                  <a:lnTo>
                    <a:pt x="7345" y="11906"/>
                  </a:lnTo>
                  <a:lnTo>
                    <a:pt x="7240" y="11614"/>
                  </a:lnTo>
                  <a:lnTo>
                    <a:pt x="7240" y="11404"/>
                  </a:lnTo>
                  <a:lnTo>
                    <a:pt x="7303" y="11300"/>
                  </a:lnTo>
                  <a:lnTo>
                    <a:pt x="7492" y="11132"/>
                  </a:lnTo>
                  <a:lnTo>
                    <a:pt x="7533" y="11132"/>
                  </a:lnTo>
                  <a:lnTo>
                    <a:pt x="7617" y="11195"/>
                  </a:lnTo>
                  <a:lnTo>
                    <a:pt x="7680" y="11237"/>
                  </a:lnTo>
                  <a:lnTo>
                    <a:pt x="7847" y="11028"/>
                  </a:lnTo>
                  <a:lnTo>
                    <a:pt x="7847" y="10881"/>
                  </a:lnTo>
                  <a:lnTo>
                    <a:pt x="7952" y="10818"/>
                  </a:lnTo>
                  <a:lnTo>
                    <a:pt x="8203" y="10839"/>
                  </a:lnTo>
                  <a:lnTo>
                    <a:pt x="8349" y="10756"/>
                  </a:lnTo>
                  <a:lnTo>
                    <a:pt x="8454" y="10609"/>
                  </a:lnTo>
                  <a:lnTo>
                    <a:pt x="8412" y="10463"/>
                  </a:lnTo>
                  <a:lnTo>
                    <a:pt x="8454" y="10358"/>
                  </a:lnTo>
                  <a:lnTo>
                    <a:pt x="8600" y="10212"/>
                  </a:lnTo>
                  <a:lnTo>
                    <a:pt x="8810" y="10149"/>
                  </a:lnTo>
                  <a:lnTo>
                    <a:pt x="8935" y="10023"/>
                  </a:lnTo>
                  <a:lnTo>
                    <a:pt x="9019" y="9877"/>
                  </a:lnTo>
                  <a:lnTo>
                    <a:pt x="9542" y="9479"/>
                  </a:lnTo>
                  <a:lnTo>
                    <a:pt x="9626" y="9186"/>
                  </a:lnTo>
                  <a:lnTo>
                    <a:pt x="10023" y="8852"/>
                  </a:lnTo>
                  <a:lnTo>
                    <a:pt x="9961" y="8831"/>
                  </a:lnTo>
                  <a:lnTo>
                    <a:pt x="9940" y="8852"/>
                  </a:lnTo>
                  <a:lnTo>
                    <a:pt x="9856" y="8893"/>
                  </a:lnTo>
                  <a:lnTo>
                    <a:pt x="9877" y="8747"/>
                  </a:lnTo>
                  <a:lnTo>
                    <a:pt x="9940" y="8747"/>
                  </a:lnTo>
                  <a:lnTo>
                    <a:pt x="10044" y="8663"/>
                  </a:lnTo>
                  <a:lnTo>
                    <a:pt x="10065" y="8663"/>
                  </a:lnTo>
                  <a:lnTo>
                    <a:pt x="10086" y="8684"/>
                  </a:lnTo>
                  <a:lnTo>
                    <a:pt x="10086" y="8747"/>
                  </a:lnTo>
                  <a:lnTo>
                    <a:pt x="10149" y="8789"/>
                  </a:lnTo>
                  <a:lnTo>
                    <a:pt x="10463" y="8621"/>
                  </a:lnTo>
                  <a:lnTo>
                    <a:pt x="10463" y="8559"/>
                  </a:lnTo>
                  <a:lnTo>
                    <a:pt x="10672" y="8412"/>
                  </a:lnTo>
                  <a:lnTo>
                    <a:pt x="10630" y="8329"/>
                  </a:lnTo>
                  <a:lnTo>
                    <a:pt x="10714" y="8329"/>
                  </a:lnTo>
                  <a:lnTo>
                    <a:pt x="10756" y="8224"/>
                  </a:lnTo>
                  <a:lnTo>
                    <a:pt x="10881" y="8119"/>
                  </a:lnTo>
                  <a:lnTo>
                    <a:pt x="10818" y="8098"/>
                  </a:lnTo>
                  <a:lnTo>
                    <a:pt x="10860" y="8057"/>
                  </a:lnTo>
                  <a:lnTo>
                    <a:pt x="10777" y="7931"/>
                  </a:lnTo>
                  <a:lnTo>
                    <a:pt x="10777" y="7847"/>
                  </a:lnTo>
                  <a:lnTo>
                    <a:pt x="10818" y="7743"/>
                  </a:lnTo>
                  <a:lnTo>
                    <a:pt x="10860" y="7680"/>
                  </a:lnTo>
                  <a:lnTo>
                    <a:pt x="10902" y="7617"/>
                  </a:lnTo>
                  <a:lnTo>
                    <a:pt x="11279" y="7492"/>
                  </a:lnTo>
                  <a:lnTo>
                    <a:pt x="11341" y="7387"/>
                  </a:lnTo>
                  <a:lnTo>
                    <a:pt x="11341" y="7303"/>
                  </a:lnTo>
                  <a:lnTo>
                    <a:pt x="11404" y="7220"/>
                  </a:lnTo>
                  <a:lnTo>
                    <a:pt x="11425" y="7178"/>
                  </a:lnTo>
                  <a:lnTo>
                    <a:pt x="11383" y="7115"/>
                  </a:lnTo>
                  <a:lnTo>
                    <a:pt x="11321" y="7115"/>
                  </a:lnTo>
                  <a:lnTo>
                    <a:pt x="11300" y="7073"/>
                  </a:lnTo>
                  <a:lnTo>
                    <a:pt x="11404" y="7073"/>
                  </a:lnTo>
                  <a:lnTo>
                    <a:pt x="11488" y="7157"/>
                  </a:lnTo>
                  <a:lnTo>
                    <a:pt x="11488" y="7261"/>
                  </a:lnTo>
                  <a:lnTo>
                    <a:pt x="11509" y="7387"/>
                  </a:lnTo>
                  <a:lnTo>
                    <a:pt x="11593" y="7408"/>
                  </a:lnTo>
                  <a:lnTo>
                    <a:pt x="11676" y="7408"/>
                  </a:lnTo>
                  <a:lnTo>
                    <a:pt x="11718" y="7366"/>
                  </a:lnTo>
                  <a:lnTo>
                    <a:pt x="11739" y="7387"/>
                  </a:lnTo>
                  <a:lnTo>
                    <a:pt x="11739" y="7324"/>
                  </a:lnTo>
                  <a:lnTo>
                    <a:pt x="11760" y="7282"/>
                  </a:lnTo>
                  <a:lnTo>
                    <a:pt x="11802" y="7324"/>
                  </a:lnTo>
                  <a:lnTo>
                    <a:pt x="11823" y="7492"/>
                  </a:lnTo>
                  <a:lnTo>
                    <a:pt x="11906" y="7513"/>
                  </a:lnTo>
                  <a:lnTo>
                    <a:pt x="11906" y="7429"/>
                  </a:lnTo>
                  <a:lnTo>
                    <a:pt x="11969" y="7533"/>
                  </a:lnTo>
                  <a:lnTo>
                    <a:pt x="12032" y="7429"/>
                  </a:lnTo>
                  <a:lnTo>
                    <a:pt x="11969" y="7303"/>
                  </a:lnTo>
                  <a:lnTo>
                    <a:pt x="12011" y="7303"/>
                  </a:lnTo>
                  <a:lnTo>
                    <a:pt x="11969" y="7115"/>
                  </a:lnTo>
                  <a:lnTo>
                    <a:pt x="11948" y="7010"/>
                  </a:lnTo>
                  <a:lnTo>
                    <a:pt x="11948" y="6864"/>
                  </a:lnTo>
                  <a:lnTo>
                    <a:pt x="11760" y="6634"/>
                  </a:lnTo>
                  <a:lnTo>
                    <a:pt x="11739" y="6445"/>
                  </a:lnTo>
                  <a:lnTo>
                    <a:pt x="11760" y="6341"/>
                  </a:lnTo>
                  <a:lnTo>
                    <a:pt x="11718" y="6215"/>
                  </a:lnTo>
                  <a:lnTo>
                    <a:pt x="11718" y="6027"/>
                  </a:lnTo>
                  <a:lnTo>
                    <a:pt x="11551" y="5839"/>
                  </a:lnTo>
                  <a:lnTo>
                    <a:pt x="11425" y="5797"/>
                  </a:lnTo>
                  <a:lnTo>
                    <a:pt x="11300" y="5629"/>
                  </a:lnTo>
                  <a:lnTo>
                    <a:pt x="11300" y="5399"/>
                  </a:lnTo>
                  <a:lnTo>
                    <a:pt x="11404" y="5378"/>
                  </a:lnTo>
                  <a:lnTo>
                    <a:pt x="11446" y="5211"/>
                  </a:lnTo>
                  <a:lnTo>
                    <a:pt x="11530" y="5169"/>
                  </a:lnTo>
                  <a:lnTo>
                    <a:pt x="11613" y="5190"/>
                  </a:lnTo>
                  <a:lnTo>
                    <a:pt x="11676" y="5127"/>
                  </a:lnTo>
                  <a:lnTo>
                    <a:pt x="11634" y="4981"/>
                  </a:lnTo>
                  <a:lnTo>
                    <a:pt x="11655" y="4918"/>
                  </a:lnTo>
                  <a:lnTo>
                    <a:pt x="11530" y="4897"/>
                  </a:lnTo>
                  <a:lnTo>
                    <a:pt x="11425" y="4960"/>
                  </a:lnTo>
                  <a:lnTo>
                    <a:pt x="11132" y="4855"/>
                  </a:lnTo>
                  <a:lnTo>
                    <a:pt x="11153" y="4709"/>
                  </a:lnTo>
                  <a:lnTo>
                    <a:pt x="11279" y="4583"/>
                  </a:lnTo>
                  <a:lnTo>
                    <a:pt x="11321" y="4437"/>
                  </a:lnTo>
                  <a:lnTo>
                    <a:pt x="11279" y="4374"/>
                  </a:lnTo>
                  <a:lnTo>
                    <a:pt x="11279" y="4290"/>
                  </a:lnTo>
                  <a:lnTo>
                    <a:pt x="11321" y="4290"/>
                  </a:lnTo>
                  <a:lnTo>
                    <a:pt x="11341" y="4228"/>
                  </a:lnTo>
                  <a:lnTo>
                    <a:pt x="11404" y="4269"/>
                  </a:lnTo>
                  <a:lnTo>
                    <a:pt x="11488" y="4374"/>
                  </a:lnTo>
                  <a:lnTo>
                    <a:pt x="11488" y="4437"/>
                  </a:lnTo>
                  <a:lnTo>
                    <a:pt x="11551" y="4541"/>
                  </a:lnTo>
                  <a:lnTo>
                    <a:pt x="11676" y="4562"/>
                  </a:lnTo>
                  <a:lnTo>
                    <a:pt x="11739" y="4541"/>
                  </a:lnTo>
                  <a:lnTo>
                    <a:pt x="11655" y="4479"/>
                  </a:lnTo>
                  <a:lnTo>
                    <a:pt x="11676" y="4395"/>
                  </a:lnTo>
                  <a:lnTo>
                    <a:pt x="11739" y="4395"/>
                  </a:lnTo>
                  <a:lnTo>
                    <a:pt x="11823" y="4479"/>
                  </a:lnTo>
                  <a:lnTo>
                    <a:pt x="11865" y="4541"/>
                  </a:lnTo>
                  <a:lnTo>
                    <a:pt x="11969" y="4583"/>
                  </a:lnTo>
                  <a:lnTo>
                    <a:pt x="12011" y="4541"/>
                  </a:lnTo>
                  <a:lnTo>
                    <a:pt x="12053" y="4541"/>
                  </a:lnTo>
                  <a:lnTo>
                    <a:pt x="12137" y="4667"/>
                  </a:lnTo>
                  <a:lnTo>
                    <a:pt x="12158" y="4792"/>
                  </a:lnTo>
                  <a:lnTo>
                    <a:pt x="12158" y="4876"/>
                  </a:lnTo>
                  <a:lnTo>
                    <a:pt x="12199" y="5002"/>
                  </a:lnTo>
                  <a:lnTo>
                    <a:pt x="12199" y="5085"/>
                  </a:lnTo>
                  <a:lnTo>
                    <a:pt x="12325" y="5127"/>
                  </a:lnTo>
                  <a:lnTo>
                    <a:pt x="12430" y="5106"/>
                  </a:lnTo>
                  <a:lnTo>
                    <a:pt x="12555" y="5169"/>
                  </a:lnTo>
                  <a:lnTo>
                    <a:pt x="12911" y="5169"/>
                  </a:lnTo>
                  <a:lnTo>
                    <a:pt x="13099" y="5190"/>
                  </a:lnTo>
                  <a:lnTo>
                    <a:pt x="13308" y="5169"/>
                  </a:lnTo>
                  <a:lnTo>
                    <a:pt x="13392" y="5169"/>
                  </a:lnTo>
                  <a:lnTo>
                    <a:pt x="13434" y="5190"/>
                  </a:lnTo>
                  <a:lnTo>
                    <a:pt x="13497" y="5169"/>
                  </a:lnTo>
                  <a:lnTo>
                    <a:pt x="13601" y="5274"/>
                  </a:lnTo>
                  <a:lnTo>
                    <a:pt x="13643" y="5295"/>
                  </a:lnTo>
                  <a:lnTo>
                    <a:pt x="13601" y="5420"/>
                  </a:lnTo>
                  <a:lnTo>
                    <a:pt x="13580" y="5546"/>
                  </a:lnTo>
                  <a:lnTo>
                    <a:pt x="13497" y="5755"/>
                  </a:lnTo>
                  <a:lnTo>
                    <a:pt x="13434" y="5797"/>
                  </a:lnTo>
                  <a:lnTo>
                    <a:pt x="13434" y="5860"/>
                  </a:lnTo>
                  <a:lnTo>
                    <a:pt x="13392" y="5922"/>
                  </a:lnTo>
                  <a:lnTo>
                    <a:pt x="13308" y="5922"/>
                  </a:lnTo>
                  <a:lnTo>
                    <a:pt x="13287" y="5860"/>
                  </a:lnTo>
                  <a:lnTo>
                    <a:pt x="13183" y="5943"/>
                  </a:lnTo>
                  <a:lnTo>
                    <a:pt x="13162" y="6027"/>
                  </a:lnTo>
                  <a:lnTo>
                    <a:pt x="13099" y="6048"/>
                  </a:lnTo>
                  <a:lnTo>
                    <a:pt x="13099" y="6132"/>
                  </a:lnTo>
                  <a:lnTo>
                    <a:pt x="13162" y="6278"/>
                  </a:lnTo>
                  <a:lnTo>
                    <a:pt x="13225" y="6341"/>
                  </a:lnTo>
                  <a:lnTo>
                    <a:pt x="13225" y="6383"/>
                  </a:lnTo>
                  <a:lnTo>
                    <a:pt x="13329" y="6487"/>
                  </a:lnTo>
                  <a:lnTo>
                    <a:pt x="13413" y="6592"/>
                  </a:lnTo>
                  <a:lnTo>
                    <a:pt x="13497" y="6592"/>
                  </a:lnTo>
                  <a:lnTo>
                    <a:pt x="13497" y="6529"/>
                  </a:lnTo>
                  <a:lnTo>
                    <a:pt x="13476" y="6466"/>
                  </a:lnTo>
                  <a:lnTo>
                    <a:pt x="13518" y="6383"/>
                  </a:lnTo>
                  <a:lnTo>
                    <a:pt x="13518" y="6341"/>
                  </a:lnTo>
                  <a:lnTo>
                    <a:pt x="13538" y="6278"/>
                  </a:lnTo>
                  <a:lnTo>
                    <a:pt x="13518" y="6236"/>
                  </a:lnTo>
                  <a:lnTo>
                    <a:pt x="13580" y="6173"/>
                  </a:lnTo>
                  <a:lnTo>
                    <a:pt x="13643" y="6236"/>
                  </a:lnTo>
                  <a:lnTo>
                    <a:pt x="13727" y="6236"/>
                  </a:lnTo>
                  <a:lnTo>
                    <a:pt x="13769" y="6278"/>
                  </a:lnTo>
                  <a:lnTo>
                    <a:pt x="13831" y="6362"/>
                  </a:lnTo>
                  <a:lnTo>
                    <a:pt x="13852" y="6529"/>
                  </a:lnTo>
                  <a:lnTo>
                    <a:pt x="13852" y="6655"/>
                  </a:lnTo>
                  <a:lnTo>
                    <a:pt x="13915" y="6738"/>
                  </a:lnTo>
                  <a:lnTo>
                    <a:pt x="13936" y="6969"/>
                  </a:lnTo>
                  <a:lnTo>
                    <a:pt x="13999" y="7115"/>
                  </a:lnTo>
                  <a:lnTo>
                    <a:pt x="14020" y="7199"/>
                  </a:lnTo>
                  <a:lnTo>
                    <a:pt x="14041" y="7261"/>
                  </a:lnTo>
                  <a:lnTo>
                    <a:pt x="14041" y="7303"/>
                  </a:lnTo>
                  <a:lnTo>
                    <a:pt x="14062" y="7366"/>
                  </a:lnTo>
                  <a:lnTo>
                    <a:pt x="14103" y="7387"/>
                  </a:lnTo>
                  <a:lnTo>
                    <a:pt x="14103" y="7303"/>
                  </a:lnTo>
                  <a:lnTo>
                    <a:pt x="14124" y="7199"/>
                  </a:lnTo>
                  <a:lnTo>
                    <a:pt x="14166" y="7220"/>
                  </a:lnTo>
                  <a:lnTo>
                    <a:pt x="14250" y="7199"/>
                  </a:lnTo>
                  <a:lnTo>
                    <a:pt x="14292" y="6989"/>
                  </a:lnTo>
                  <a:lnTo>
                    <a:pt x="14271" y="6885"/>
                  </a:lnTo>
                  <a:lnTo>
                    <a:pt x="14292" y="6759"/>
                  </a:lnTo>
                  <a:lnTo>
                    <a:pt x="14271" y="6592"/>
                  </a:lnTo>
                  <a:lnTo>
                    <a:pt x="14417" y="6592"/>
                  </a:lnTo>
                  <a:lnTo>
                    <a:pt x="14417" y="6383"/>
                  </a:lnTo>
                  <a:lnTo>
                    <a:pt x="14417" y="6257"/>
                  </a:lnTo>
                  <a:lnTo>
                    <a:pt x="14354" y="5964"/>
                  </a:lnTo>
                  <a:lnTo>
                    <a:pt x="14459" y="5964"/>
                  </a:lnTo>
                  <a:lnTo>
                    <a:pt x="14564" y="6006"/>
                  </a:lnTo>
                  <a:lnTo>
                    <a:pt x="14731" y="6006"/>
                  </a:lnTo>
                  <a:lnTo>
                    <a:pt x="14794" y="5797"/>
                  </a:lnTo>
                  <a:lnTo>
                    <a:pt x="14857" y="5546"/>
                  </a:lnTo>
                  <a:lnTo>
                    <a:pt x="14982" y="5232"/>
                  </a:lnTo>
                  <a:lnTo>
                    <a:pt x="14857" y="5190"/>
                  </a:lnTo>
                  <a:lnTo>
                    <a:pt x="14857" y="5085"/>
                  </a:lnTo>
                  <a:lnTo>
                    <a:pt x="15003" y="4813"/>
                  </a:lnTo>
                  <a:lnTo>
                    <a:pt x="15087" y="4583"/>
                  </a:lnTo>
                  <a:lnTo>
                    <a:pt x="15045" y="4541"/>
                  </a:lnTo>
                  <a:lnTo>
                    <a:pt x="15066" y="4374"/>
                  </a:lnTo>
                  <a:lnTo>
                    <a:pt x="15254" y="4081"/>
                  </a:lnTo>
                  <a:lnTo>
                    <a:pt x="15380" y="4039"/>
                  </a:lnTo>
                  <a:lnTo>
                    <a:pt x="15505" y="3872"/>
                  </a:lnTo>
                  <a:lnTo>
                    <a:pt x="15568" y="3725"/>
                  </a:lnTo>
                  <a:lnTo>
                    <a:pt x="15777" y="3663"/>
                  </a:lnTo>
                  <a:lnTo>
                    <a:pt x="15924" y="3558"/>
                  </a:lnTo>
                  <a:lnTo>
                    <a:pt x="16007" y="3642"/>
                  </a:lnTo>
                  <a:lnTo>
                    <a:pt x="16133" y="3704"/>
                  </a:lnTo>
                  <a:lnTo>
                    <a:pt x="16112" y="3600"/>
                  </a:lnTo>
                  <a:lnTo>
                    <a:pt x="16112" y="3432"/>
                  </a:lnTo>
                  <a:lnTo>
                    <a:pt x="16217" y="3328"/>
                  </a:lnTo>
                  <a:lnTo>
                    <a:pt x="16196" y="3244"/>
                  </a:lnTo>
                  <a:lnTo>
                    <a:pt x="16154" y="3223"/>
                  </a:lnTo>
                  <a:lnTo>
                    <a:pt x="16091" y="3119"/>
                  </a:lnTo>
                  <a:lnTo>
                    <a:pt x="15987" y="3077"/>
                  </a:lnTo>
                  <a:lnTo>
                    <a:pt x="15903" y="3119"/>
                  </a:lnTo>
                  <a:lnTo>
                    <a:pt x="15777" y="3098"/>
                  </a:lnTo>
                  <a:lnTo>
                    <a:pt x="15735" y="2993"/>
                  </a:lnTo>
                  <a:lnTo>
                    <a:pt x="15840" y="2888"/>
                  </a:lnTo>
                  <a:lnTo>
                    <a:pt x="15840" y="2805"/>
                  </a:lnTo>
                  <a:lnTo>
                    <a:pt x="15777" y="2700"/>
                  </a:lnTo>
                  <a:lnTo>
                    <a:pt x="15735" y="2616"/>
                  </a:lnTo>
                  <a:lnTo>
                    <a:pt x="15673" y="2658"/>
                  </a:lnTo>
                  <a:lnTo>
                    <a:pt x="15589" y="2658"/>
                  </a:lnTo>
                  <a:lnTo>
                    <a:pt x="15526" y="2575"/>
                  </a:lnTo>
                  <a:lnTo>
                    <a:pt x="15610" y="2407"/>
                  </a:lnTo>
                  <a:lnTo>
                    <a:pt x="15589" y="2365"/>
                  </a:lnTo>
                  <a:lnTo>
                    <a:pt x="15505" y="2365"/>
                  </a:lnTo>
                  <a:lnTo>
                    <a:pt x="15463" y="2282"/>
                  </a:lnTo>
                  <a:lnTo>
                    <a:pt x="15380" y="2261"/>
                  </a:lnTo>
                  <a:lnTo>
                    <a:pt x="15108" y="2407"/>
                  </a:lnTo>
                  <a:lnTo>
                    <a:pt x="15150" y="2512"/>
                  </a:lnTo>
                  <a:lnTo>
                    <a:pt x="15066" y="2575"/>
                  </a:lnTo>
                  <a:lnTo>
                    <a:pt x="14857" y="2491"/>
                  </a:lnTo>
                  <a:lnTo>
                    <a:pt x="14689" y="2554"/>
                  </a:lnTo>
                  <a:lnTo>
                    <a:pt x="14585" y="2386"/>
                  </a:lnTo>
                  <a:lnTo>
                    <a:pt x="14459" y="2491"/>
                  </a:lnTo>
                  <a:lnTo>
                    <a:pt x="14375" y="2491"/>
                  </a:lnTo>
                  <a:lnTo>
                    <a:pt x="14375" y="2616"/>
                  </a:lnTo>
                  <a:lnTo>
                    <a:pt x="14271" y="2784"/>
                  </a:lnTo>
                  <a:lnTo>
                    <a:pt x="14041" y="2826"/>
                  </a:lnTo>
                  <a:lnTo>
                    <a:pt x="13936" y="2867"/>
                  </a:lnTo>
                  <a:lnTo>
                    <a:pt x="13831" y="2972"/>
                  </a:lnTo>
                  <a:lnTo>
                    <a:pt x="13769" y="3098"/>
                  </a:lnTo>
                  <a:lnTo>
                    <a:pt x="13685" y="3119"/>
                  </a:lnTo>
                  <a:lnTo>
                    <a:pt x="13685" y="3202"/>
                  </a:lnTo>
                  <a:lnTo>
                    <a:pt x="13580" y="3181"/>
                  </a:lnTo>
                  <a:lnTo>
                    <a:pt x="13497" y="3223"/>
                  </a:lnTo>
                  <a:lnTo>
                    <a:pt x="13434" y="3391"/>
                  </a:lnTo>
                  <a:lnTo>
                    <a:pt x="13329" y="3391"/>
                  </a:lnTo>
                  <a:lnTo>
                    <a:pt x="13120" y="3432"/>
                  </a:lnTo>
                  <a:lnTo>
                    <a:pt x="13057" y="3432"/>
                  </a:lnTo>
                  <a:lnTo>
                    <a:pt x="13015" y="3600"/>
                  </a:lnTo>
                  <a:lnTo>
                    <a:pt x="13015" y="3704"/>
                  </a:lnTo>
                  <a:lnTo>
                    <a:pt x="13204" y="3767"/>
                  </a:lnTo>
                  <a:lnTo>
                    <a:pt x="13204" y="3935"/>
                  </a:lnTo>
                  <a:lnTo>
                    <a:pt x="13204" y="4039"/>
                  </a:lnTo>
                  <a:lnTo>
                    <a:pt x="12974" y="4123"/>
                  </a:lnTo>
                  <a:lnTo>
                    <a:pt x="12806" y="4081"/>
                  </a:lnTo>
                  <a:lnTo>
                    <a:pt x="12597" y="4144"/>
                  </a:lnTo>
                  <a:lnTo>
                    <a:pt x="12492" y="4081"/>
                  </a:lnTo>
                  <a:lnTo>
                    <a:pt x="12367" y="4123"/>
                  </a:lnTo>
                  <a:lnTo>
                    <a:pt x="12262" y="4248"/>
                  </a:lnTo>
                  <a:lnTo>
                    <a:pt x="12116" y="4248"/>
                  </a:lnTo>
                  <a:lnTo>
                    <a:pt x="11823" y="4081"/>
                  </a:lnTo>
                  <a:lnTo>
                    <a:pt x="11739" y="4144"/>
                  </a:lnTo>
                  <a:lnTo>
                    <a:pt x="11530" y="4123"/>
                  </a:lnTo>
                  <a:lnTo>
                    <a:pt x="11425" y="3935"/>
                  </a:lnTo>
                  <a:lnTo>
                    <a:pt x="11488" y="3830"/>
                  </a:lnTo>
                  <a:lnTo>
                    <a:pt x="11488" y="3704"/>
                  </a:lnTo>
                  <a:lnTo>
                    <a:pt x="11383" y="3621"/>
                  </a:lnTo>
                  <a:lnTo>
                    <a:pt x="11341" y="3453"/>
                  </a:lnTo>
                  <a:lnTo>
                    <a:pt x="11300" y="3349"/>
                  </a:lnTo>
                  <a:lnTo>
                    <a:pt x="11153" y="3349"/>
                  </a:lnTo>
                  <a:lnTo>
                    <a:pt x="11069" y="3453"/>
                  </a:lnTo>
                  <a:lnTo>
                    <a:pt x="11028" y="3453"/>
                  </a:lnTo>
                  <a:lnTo>
                    <a:pt x="11090" y="3600"/>
                  </a:lnTo>
                  <a:lnTo>
                    <a:pt x="11028" y="3851"/>
                  </a:lnTo>
                  <a:lnTo>
                    <a:pt x="11132" y="4081"/>
                  </a:lnTo>
                  <a:lnTo>
                    <a:pt x="11090" y="4353"/>
                  </a:lnTo>
                  <a:lnTo>
                    <a:pt x="10756" y="4437"/>
                  </a:lnTo>
                  <a:lnTo>
                    <a:pt x="10505" y="4290"/>
                  </a:lnTo>
                  <a:lnTo>
                    <a:pt x="10400" y="4374"/>
                  </a:lnTo>
                  <a:lnTo>
                    <a:pt x="9919" y="4186"/>
                  </a:lnTo>
                  <a:lnTo>
                    <a:pt x="9709" y="4186"/>
                  </a:lnTo>
                  <a:lnTo>
                    <a:pt x="9584" y="4248"/>
                  </a:lnTo>
                  <a:lnTo>
                    <a:pt x="9291" y="4165"/>
                  </a:lnTo>
                  <a:lnTo>
                    <a:pt x="9124" y="4039"/>
                  </a:lnTo>
                  <a:lnTo>
                    <a:pt x="9103" y="3872"/>
                  </a:lnTo>
                  <a:lnTo>
                    <a:pt x="8810" y="3830"/>
                  </a:lnTo>
                  <a:lnTo>
                    <a:pt x="8517" y="3914"/>
                  </a:lnTo>
                  <a:lnTo>
                    <a:pt x="8412" y="3830"/>
                  </a:lnTo>
                  <a:lnTo>
                    <a:pt x="8140" y="3830"/>
                  </a:lnTo>
                  <a:lnTo>
                    <a:pt x="7952" y="3725"/>
                  </a:lnTo>
                  <a:lnTo>
                    <a:pt x="7784" y="3725"/>
                  </a:lnTo>
                  <a:lnTo>
                    <a:pt x="7680" y="3642"/>
                  </a:lnTo>
                  <a:lnTo>
                    <a:pt x="7450" y="3600"/>
                  </a:lnTo>
                  <a:lnTo>
                    <a:pt x="7261" y="3391"/>
                  </a:lnTo>
                  <a:lnTo>
                    <a:pt x="7010" y="3202"/>
                  </a:lnTo>
                  <a:lnTo>
                    <a:pt x="6801" y="3139"/>
                  </a:lnTo>
                  <a:lnTo>
                    <a:pt x="6717" y="3077"/>
                  </a:lnTo>
                  <a:lnTo>
                    <a:pt x="6613" y="3077"/>
                  </a:lnTo>
                  <a:lnTo>
                    <a:pt x="6508" y="2993"/>
                  </a:lnTo>
                  <a:lnTo>
                    <a:pt x="6383" y="2972"/>
                  </a:lnTo>
                  <a:lnTo>
                    <a:pt x="6362" y="2826"/>
                  </a:lnTo>
                  <a:lnTo>
                    <a:pt x="6487" y="2616"/>
                  </a:lnTo>
                  <a:lnTo>
                    <a:pt x="6487" y="2449"/>
                  </a:lnTo>
                  <a:lnTo>
                    <a:pt x="6571" y="2135"/>
                  </a:lnTo>
                  <a:lnTo>
                    <a:pt x="6571" y="1926"/>
                  </a:lnTo>
                  <a:lnTo>
                    <a:pt x="6529" y="1947"/>
                  </a:lnTo>
                  <a:lnTo>
                    <a:pt x="6508" y="1842"/>
                  </a:lnTo>
                  <a:lnTo>
                    <a:pt x="6404" y="1842"/>
                  </a:lnTo>
                  <a:lnTo>
                    <a:pt x="6320" y="1675"/>
                  </a:lnTo>
                  <a:lnTo>
                    <a:pt x="6257" y="1654"/>
                  </a:lnTo>
                  <a:lnTo>
                    <a:pt x="6152" y="1549"/>
                  </a:lnTo>
                  <a:lnTo>
                    <a:pt x="6006" y="1528"/>
                  </a:lnTo>
                  <a:lnTo>
                    <a:pt x="5964" y="1445"/>
                  </a:lnTo>
                  <a:lnTo>
                    <a:pt x="5839" y="1445"/>
                  </a:lnTo>
                  <a:lnTo>
                    <a:pt x="5755" y="1549"/>
                  </a:lnTo>
                  <a:lnTo>
                    <a:pt x="5629" y="1507"/>
                  </a:lnTo>
                  <a:lnTo>
                    <a:pt x="5587" y="1361"/>
                  </a:lnTo>
                  <a:lnTo>
                    <a:pt x="5546" y="1361"/>
                  </a:lnTo>
                  <a:lnTo>
                    <a:pt x="5546" y="1256"/>
                  </a:lnTo>
                  <a:lnTo>
                    <a:pt x="5462" y="1152"/>
                  </a:lnTo>
                  <a:lnTo>
                    <a:pt x="5399" y="1131"/>
                  </a:lnTo>
                  <a:lnTo>
                    <a:pt x="5441" y="1047"/>
                  </a:lnTo>
                  <a:lnTo>
                    <a:pt x="5378" y="943"/>
                  </a:lnTo>
                  <a:lnTo>
                    <a:pt x="5399" y="712"/>
                  </a:lnTo>
                  <a:lnTo>
                    <a:pt x="5253" y="629"/>
                  </a:lnTo>
                  <a:lnTo>
                    <a:pt x="5232" y="566"/>
                  </a:lnTo>
                  <a:lnTo>
                    <a:pt x="5211" y="482"/>
                  </a:lnTo>
                  <a:lnTo>
                    <a:pt x="4960" y="357"/>
                  </a:lnTo>
                  <a:lnTo>
                    <a:pt x="4813" y="357"/>
                  </a:lnTo>
                  <a:lnTo>
                    <a:pt x="4751" y="189"/>
                  </a:lnTo>
                  <a:lnTo>
                    <a:pt x="4604" y="106"/>
                  </a:lnTo>
                  <a:lnTo>
                    <a:pt x="4437" y="210"/>
                  </a:lnTo>
                  <a:lnTo>
                    <a:pt x="412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 name="Google Shape;5980;p93">
              <a:extLst>
                <a:ext uri="{FF2B5EF4-FFF2-40B4-BE49-F238E27FC236}">
                  <a16:creationId xmlns:a16="http://schemas.microsoft.com/office/drawing/2014/main" id="{50B48DAB-BFF6-414A-AAB2-AC0C080F6F1E}"/>
                </a:ext>
              </a:extLst>
            </p:cNvPr>
            <p:cNvSpPr/>
            <p:nvPr/>
          </p:nvSpPr>
          <p:spPr>
            <a:xfrm>
              <a:off x="4286244" y="2933329"/>
              <a:ext cx="56823" cy="29034"/>
            </a:xfrm>
            <a:custGeom>
              <a:avLst/>
              <a:gdLst/>
              <a:ahLst/>
              <a:cxnLst/>
              <a:rect l="l" t="t" r="r" b="b"/>
              <a:pathLst>
                <a:path w="4772" h="2553" extrusionOk="0">
                  <a:moveTo>
                    <a:pt x="231" y="0"/>
                  </a:moveTo>
                  <a:lnTo>
                    <a:pt x="210" y="42"/>
                  </a:lnTo>
                  <a:lnTo>
                    <a:pt x="210" y="251"/>
                  </a:lnTo>
                  <a:lnTo>
                    <a:pt x="126" y="565"/>
                  </a:lnTo>
                  <a:lnTo>
                    <a:pt x="126" y="732"/>
                  </a:lnTo>
                  <a:lnTo>
                    <a:pt x="1" y="942"/>
                  </a:lnTo>
                  <a:lnTo>
                    <a:pt x="22" y="1088"/>
                  </a:lnTo>
                  <a:lnTo>
                    <a:pt x="147" y="1109"/>
                  </a:lnTo>
                  <a:lnTo>
                    <a:pt x="252" y="1193"/>
                  </a:lnTo>
                  <a:lnTo>
                    <a:pt x="356" y="1193"/>
                  </a:lnTo>
                  <a:lnTo>
                    <a:pt x="440" y="1255"/>
                  </a:lnTo>
                  <a:lnTo>
                    <a:pt x="649" y="1318"/>
                  </a:lnTo>
                  <a:lnTo>
                    <a:pt x="900" y="1507"/>
                  </a:lnTo>
                  <a:lnTo>
                    <a:pt x="1089" y="1716"/>
                  </a:lnTo>
                  <a:lnTo>
                    <a:pt x="1319" y="1758"/>
                  </a:lnTo>
                  <a:lnTo>
                    <a:pt x="1423" y="1841"/>
                  </a:lnTo>
                  <a:lnTo>
                    <a:pt x="1591" y="1841"/>
                  </a:lnTo>
                  <a:lnTo>
                    <a:pt x="1779" y="1946"/>
                  </a:lnTo>
                  <a:lnTo>
                    <a:pt x="2051" y="1946"/>
                  </a:lnTo>
                  <a:lnTo>
                    <a:pt x="2156" y="2030"/>
                  </a:lnTo>
                  <a:lnTo>
                    <a:pt x="2449" y="1946"/>
                  </a:lnTo>
                  <a:lnTo>
                    <a:pt x="2742" y="1988"/>
                  </a:lnTo>
                  <a:lnTo>
                    <a:pt x="2763" y="2155"/>
                  </a:lnTo>
                  <a:lnTo>
                    <a:pt x="2930" y="2281"/>
                  </a:lnTo>
                  <a:lnTo>
                    <a:pt x="3223" y="2364"/>
                  </a:lnTo>
                  <a:lnTo>
                    <a:pt x="3348" y="2302"/>
                  </a:lnTo>
                  <a:lnTo>
                    <a:pt x="3558" y="2302"/>
                  </a:lnTo>
                  <a:lnTo>
                    <a:pt x="4039" y="2490"/>
                  </a:lnTo>
                  <a:lnTo>
                    <a:pt x="4144" y="2406"/>
                  </a:lnTo>
                  <a:lnTo>
                    <a:pt x="4395" y="2553"/>
                  </a:lnTo>
                  <a:lnTo>
                    <a:pt x="4729" y="2469"/>
                  </a:lnTo>
                  <a:lnTo>
                    <a:pt x="4771" y="2197"/>
                  </a:lnTo>
                  <a:lnTo>
                    <a:pt x="4667" y="1967"/>
                  </a:lnTo>
                  <a:lnTo>
                    <a:pt x="4729" y="1716"/>
                  </a:lnTo>
                  <a:lnTo>
                    <a:pt x="4667" y="1569"/>
                  </a:lnTo>
                  <a:lnTo>
                    <a:pt x="4562" y="1569"/>
                  </a:lnTo>
                  <a:lnTo>
                    <a:pt x="4416" y="1632"/>
                  </a:lnTo>
                  <a:lnTo>
                    <a:pt x="4353" y="1611"/>
                  </a:lnTo>
                  <a:lnTo>
                    <a:pt x="4206" y="1653"/>
                  </a:lnTo>
                  <a:lnTo>
                    <a:pt x="4123" y="1632"/>
                  </a:lnTo>
                  <a:lnTo>
                    <a:pt x="3997" y="1465"/>
                  </a:lnTo>
                  <a:lnTo>
                    <a:pt x="3830" y="1402"/>
                  </a:lnTo>
                  <a:lnTo>
                    <a:pt x="3788" y="1255"/>
                  </a:lnTo>
                  <a:lnTo>
                    <a:pt x="3662" y="1193"/>
                  </a:lnTo>
                  <a:lnTo>
                    <a:pt x="3453" y="1193"/>
                  </a:lnTo>
                  <a:lnTo>
                    <a:pt x="3348" y="1297"/>
                  </a:lnTo>
                  <a:lnTo>
                    <a:pt x="3202" y="1318"/>
                  </a:lnTo>
                  <a:lnTo>
                    <a:pt x="3139" y="1402"/>
                  </a:lnTo>
                  <a:lnTo>
                    <a:pt x="2972" y="1318"/>
                  </a:lnTo>
                  <a:lnTo>
                    <a:pt x="2867" y="1339"/>
                  </a:lnTo>
                  <a:lnTo>
                    <a:pt x="2825" y="1193"/>
                  </a:lnTo>
                  <a:lnTo>
                    <a:pt x="2846" y="942"/>
                  </a:lnTo>
                  <a:lnTo>
                    <a:pt x="2700" y="942"/>
                  </a:lnTo>
                  <a:lnTo>
                    <a:pt x="2532" y="1004"/>
                  </a:lnTo>
                  <a:lnTo>
                    <a:pt x="2365" y="879"/>
                  </a:lnTo>
                  <a:lnTo>
                    <a:pt x="2365" y="711"/>
                  </a:lnTo>
                  <a:lnTo>
                    <a:pt x="2239" y="628"/>
                  </a:lnTo>
                  <a:lnTo>
                    <a:pt x="2114" y="628"/>
                  </a:lnTo>
                  <a:lnTo>
                    <a:pt x="2093" y="586"/>
                  </a:lnTo>
                  <a:lnTo>
                    <a:pt x="2009" y="628"/>
                  </a:lnTo>
                  <a:lnTo>
                    <a:pt x="2009" y="816"/>
                  </a:lnTo>
                  <a:lnTo>
                    <a:pt x="1947" y="837"/>
                  </a:lnTo>
                  <a:lnTo>
                    <a:pt x="1905" y="711"/>
                  </a:lnTo>
                  <a:lnTo>
                    <a:pt x="1800" y="586"/>
                  </a:lnTo>
                  <a:lnTo>
                    <a:pt x="1737" y="523"/>
                  </a:lnTo>
                  <a:lnTo>
                    <a:pt x="1612" y="460"/>
                  </a:lnTo>
                  <a:lnTo>
                    <a:pt x="1486" y="460"/>
                  </a:lnTo>
                  <a:lnTo>
                    <a:pt x="1319" y="272"/>
                  </a:lnTo>
                  <a:lnTo>
                    <a:pt x="1214" y="209"/>
                  </a:lnTo>
                  <a:lnTo>
                    <a:pt x="1089" y="209"/>
                  </a:lnTo>
                  <a:lnTo>
                    <a:pt x="1047" y="147"/>
                  </a:lnTo>
                  <a:lnTo>
                    <a:pt x="838" y="63"/>
                  </a:lnTo>
                  <a:lnTo>
                    <a:pt x="670" y="84"/>
                  </a:lnTo>
                  <a:lnTo>
                    <a:pt x="607" y="188"/>
                  </a:lnTo>
                  <a:lnTo>
                    <a:pt x="545" y="167"/>
                  </a:lnTo>
                  <a:lnTo>
                    <a:pt x="440" y="167"/>
                  </a:lnTo>
                  <a:lnTo>
                    <a:pt x="377" y="84"/>
                  </a:lnTo>
                  <a:lnTo>
                    <a:pt x="23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 name="Google Shape;5981;p93">
              <a:extLst>
                <a:ext uri="{FF2B5EF4-FFF2-40B4-BE49-F238E27FC236}">
                  <a16:creationId xmlns:a16="http://schemas.microsoft.com/office/drawing/2014/main" id="{C612FAE1-6762-4D65-9CFF-1775B12A48EF}"/>
                </a:ext>
              </a:extLst>
            </p:cNvPr>
            <p:cNvSpPr/>
            <p:nvPr/>
          </p:nvSpPr>
          <p:spPr>
            <a:xfrm>
              <a:off x="4155440" y="2884541"/>
              <a:ext cx="95439" cy="100431"/>
            </a:xfrm>
            <a:custGeom>
              <a:avLst/>
              <a:gdLst/>
              <a:ahLst/>
              <a:cxnLst/>
              <a:rect l="l" t="t" r="r" b="b"/>
              <a:pathLst>
                <a:path w="8015" h="8831" extrusionOk="0">
                  <a:moveTo>
                    <a:pt x="5901" y="1"/>
                  </a:moveTo>
                  <a:lnTo>
                    <a:pt x="5713" y="105"/>
                  </a:lnTo>
                  <a:lnTo>
                    <a:pt x="5587" y="252"/>
                  </a:lnTo>
                  <a:lnTo>
                    <a:pt x="5441" y="252"/>
                  </a:lnTo>
                  <a:lnTo>
                    <a:pt x="5315" y="377"/>
                  </a:lnTo>
                  <a:lnTo>
                    <a:pt x="5232" y="482"/>
                  </a:lnTo>
                  <a:lnTo>
                    <a:pt x="5462" y="838"/>
                  </a:lnTo>
                  <a:lnTo>
                    <a:pt x="5483" y="1110"/>
                  </a:lnTo>
                  <a:lnTo>
                    <a:pt x="5232" y="1444"/>
                  </a:lnTo>
                  <a:lnTo>
                    <a:pt x="5357" y="1570"/>
                  </a:lnTo>
                  <a:lnTo>
                    <a:pt x="5357" y="1737"/>
                  </a:lnTo>
                  <a:lnTo>
                    <a:pt x="5190" y="1968"/>
                  </a:lnTo>
                  <a:lnTo>
                    <a:pt x="4981" y="1968"/>
                  </a:lnTo>
                  <a:lnTo>
                    <a:pt x="4771" y="1884"/>
                  </a:lnTo>
                  <a:lnTo>
                    <a:pt x="4646" y="1968"/>
                  </a:lnTo>
                  <a:lnTo>
                    <a:pt x="4709" y="2135"/>
                  </a:lnTo>
                  <a:lnTo>
                    <a:pt x="4834" y="2198"/>
                  </a:lnTo>
                  <a:lnTo>
                    <a:pt x="4876" y="2365"/>
                  </a:lnTo>
                  <a:lnTo>
                    <a:pt x="4855" y="2449"/>
                  </a:lnTo>
                  <a:lnTo>
                    <a:pt x="4730" y="2512"/>
                  </a:lnTo>
                  <a:lnTo>
                    <a:pt x="4604" y="2553"/>
                  </a:lnTo>
                  <a:lnTo>
                    <a:pt x="4562" y="2616"/>
                  </a:lnTo>
                  <a:lnTo>
                    <a:pt x="4541" y="2825"/>
                  </a:lnTo>
                  <a:lnTo>
                    <a:pt x="4499" y="2972"/>
                  </a:lnTo>
                  <a:lnTo>
                    <a:pt x="4499" y="3035"/>
                  </a:lnTo>
                  <a:lnTo>
                    <a:pt x="4457" y="3097"/>
                  </a:lnTo>
                  <a:lnTo>
                    <a:pt x="4499" y="3328"/>
                  </a:lnTo>
                  <a:lnTo>
                    <a:pt x="4395" y="3537"/>
                  </a:lnTo>
                  <a:lnTo>
                    <a:pt x="4248" y="3390"/>
                  </a:lnTo>
                  <a:lnTo>
                    <a:pt x="4206" y="3390"/>
                  </a:lnTo>
                  <a:lnTo>
                    <a:pt x="4185" y="3453"/>
                  </a:lnTo>
                  <a:lnTo>
                    <a:pt x="4039" y="3453"/>
                  </a:lnTo>
                  <a:lnTo>
                    <a:pt x="3997" y="3411"/>
                  </a:lnTo>
                  <a:lnTo>
                    <a:pt x="3830" y="3432"/>
                  </a:lnTo>
                  <a:lnTo>
                    <a:pt x="3809" y="3495"/>
                  </a:lnTo>
                  <a:lnTo>
                    <a:pt x="3600" y="3662"/>
                  </a:lnTo>
                  <a:lnTo>
                    <a:pt x="3683" y="3704"/>
                  </a:lnTo>
                  <a:lnTo>
                    <a:pt x="3621" y="3767"/>
                  </a:lnTo>
                  <a:lnTo>
                    <a:pt x="3411" y="3872"/>
                  </a:lnTo>
                  <a:lnTo>
                    <a:pt x="3349" y="3830"/>
                  </a:lnTo>
                  <a:lnTo>
                    <a:pt x="3202" y="3851"/>
                  </a:lnTo>
                  <a:lnTo>
                    <a:pt x="3160" y="3934"/>
                  </a:lnTo>
                  <a:lnTo>
                    <a:pt x="3139" y="4039"/>
                  </a:lnTo>
                  <a:lnTo>
                    <a:pt x="3035" y="4060"/>
                  </a:lnTo>
                  <a:lnTo>
                    <a:pt x="2951" y="4165"/>
                  </a:lnTo>
                  <a:lnTo>
                    <a:pt x="2951" y="4332"/>
                  </a:lnTo>
                  <a:lnTo>
                    <a:pt x="2993" y="4499"/>
                  </a:lnTo>
                  <a:lnTo>
                    <a:pt x="2993" y="4646"/>
                  </a:lnTo>
                  <a:lnTo>
                    <a:pt x="3035" y="4750"/>
                  </a:lnTo>
                  <a:lnTo>
                    <a:pt x="3035" y="4855"/>
                  </a:lnTo>
                  <a:lnTo>
                    <a:pt x="2784" y="4960"/>
                  </a:lnTo>
                  <a:lnTo>
                    <a:pt x="2574" y="4960"/>
                  </a:lnTo>
                  <a:lnTo>
                    <a:pt x="2407" y="4981"/>
                  </a:lnTo>
                  <a:lnTo>
                    <a:pt x="2093" y="4981"/>
                  </a:lnTo>
                  <a:lnTo>
                    <a:pt x="1905" y="5022"/>
                  </a:lnTo>
                  <a:lnTo>
                    <a:pt x="1821" y="5106"/>
                  </a:lnTo>
                  <a:lnTo>
                    <a:pt x="1633" y="5085"/>
                  </a:lnTo>
                  <a:lnTo>
                    <a:pt x="1465" y="5127"/>
                  </a:lnTo>
                  <a:lnTo>
                    <a:pt x="775" y="5169"/>
                  </a:lnTo>
                  <a:lnTo>
                    <a:pt x="1" y="4918"/>
                  </a:lnTo>
                  <a:lnTo>
                    <a:pt x="273" y="5336"/>
                  </a:lnTo>
                  <a:lnTo>
                    <a:pt x="356" y="5483"/>
                  </a:lnTo>
                  <a:lnTo>
                    <a:pt x="524" y="5629"/>
                  </a:lnTo>
                  <a:lnTo>
                    <a:pt x="649" y="5713"/>
                  </a:lnTo>
                  <a:lnTo>
                    <a:pt x="691" y="5755"/>
                  </a:lnTo>
                  <a:lnTo>
                    <a:pt x="880" y="5797"/>
                  </a:lnTo>
                  <a:lnTo>
                    <a:pt x="984" y="5818"/>
                  </a:lnTo>
                  <a:lnTo>
                    <a:pt x="1005" y="5901"/>
                  </a:lnTo>
                  <a:lnTo>
                    <a:pt x="1172" y="5901"/>
                  </a:lnTo>
                  <a:lnTo>
                    <a:pt x="1172" y="6110"/>
                  </a:lnTo>
                  <a:lnTo>
                    <a:pt x="1214" y="6236"/>
                  </a:lnTo>
                  <a:lnTo>
                    <a:pt x="1214" y="6382"/>
                  </a:lnTo>
                  <a:lnTo>
                    <a:pt x="1256" y="6487"/>
                  </a:lnTo>
                  <a:lnTo>
                    <a:pt x="1403" y="6466"/>
                  </a:lnTo>
                  <a:lnTo>
                    <a:pt x="1528" y="6571"/>
                  </a:lnTo>
                  <a:lnTo>
                    <a:pt x="1570" y="6801"/>
                  </a:lnTo>
                  <a:lnTo>
                    <a:pt x="1486" y="6885"/>
                  </a:lnTo>
                  <a:lnTo>
                    <a:pt x="1319" y="6843"/>
                  </a:lnTo>
                  <a:lnTo>
                    <a:pt x="1068" y="6906"/>
                  </a:lnTo>
                  <a:lnTo>
                    <a:pt x="984" y="6968"/>
                  </a:lnTo>
                  <a:lnTo>
                    <a:pt x="838" y="7052"/>
                  </a:lnTo>
                  <a:lnTo>
                    <a:pt x="754" y="7157"/>
                  </a:lnTo>
                  <a:lnTo>
                    <a:pt x="796" y="7261"/>
                  </a:lnTo>
                  <a:lnTo>
                    <a:pt x="691" y="7387"/>
                  </a:lnTo>
                  <a:lnTo>
                    <a:pt x="754" y="7512"/>
                  </a:lnTo>
                  <a:lnTo>
                    <a:pt x="733" y="7722"/>
                  </a:lnTo>
                  <a:lnTo>
                    <a:pt x="733" y="7805"/>
                  </a:lnTo>
                  <a:lnTo>
                    <a:pt x="796" y="7805"/>
                  </a:lnTo>
                  <a:lnTo>
                    <a:pt x="796" y="7889"/>
                  </a:lnTo>
                  <a:lnTo>
                    <a:pt x="859" y="7910"/>
                  </a:lnTo>
                  <a:lnTo>
                    <a:pt x="1005" y="7805"/>
                  </a:lnTo>
                  <a:lnTo>
                    <a:pt x="1131" y="7805"/>
                  </a:lnTo>
                  <a:lnTo>
                    <a:pt x="1172" y="7847"/>
                  </a:lnTo>
                  <a:lnTo>
                    <a:pt x="1193" y="7826"/>
                  </a:lnTo>
                  <a:lnTo>
                    <a:pt x="1298" y="7784"/>
                  </a:lnTo>
                  <a:lnTo>
                    <a:pt x="1403" y="7784"/>
                  </a:lnTo>
                  <a:lnTo>
                    <a:pt x="1465" y="7805"/>
                  </a:lnTo>
                  <a:lnTo>
                    <a:pt x="1570" y="7784"/>
                  </a:lnTo>
                  <a:lnTo>
                    <a:pt x="1696" y="7784"/>
                  </a:lnTo>
                  <a:lnTo>
                    <a:pt x="1717" y="7722"/>
                  </a:lnTo>
                  <a:lnTo>
                    <a:pt x="1779" y="7638"/>
                  </a:lnTo>
                  <a:lnTo>
                    <a:pt x="1884" y="7722"/>
                  </a:lnTo>
                  <a:lnTo>
                    <a:pt x="1947" y="7722"/>
                  </a:lnTo>
                  <a:lnTo>
                    <a:pt x="1989" y="7701"/>
                  </a:lnTo>
                  <a:lnTo>
                    <a:pt x="2030" y="7701"/>
                  </a:lnTo>
                  <a:lnTo>
                    <a:pt x="2051" y="7784"/>
                  </a:lnTo>
                  <a:lnTo>
                    <a:pt x="2156" y="7784"/>
                  </a:lnTo>
                  <a:lnTo>
                    <a:pt x="2240" y="7826"/>
                  </a:lnTo>
                  <a:lnTo>
                    <a:pt x="2323" y="7826"/>
                  </a:lnTo>
                  <a:lnTo>
                    <a:pt x="2449" y="7701"/>
                  </a:lnTo>
                  <a:lnTo>
                    <a:pt x="2616" y="7701"/>
                  </a:lnTo>
                  <a:lnTo>
                    <a:pt x="2700" y="7722"/>
                  </a:lnTo>
                  <a:lnTo>
                    <a:pt x="2784" y="7680"/>
                  </a:lnTo>
                  <a:lnTo>
                    <a:pt x="2867" y="7680"/>
                  </a:lnTo>
                  <a:lnTo>
                    <a:pt x="2888" y="7617"/>
                  </a:lnTo>
                  <a:lnTo>
                    <a:pt x="2951" y="7638"/>
                  </a:lnTo>
                  <a:lnTo>
                    <a:pt x="3097" y="7680"/>
                  </a:lnTo>
                  <a:lnTo>
                    <a:pt x="3223" y="7617"/>
                  </a:lnTo>
                  <a:lnTo>
                    <a:pt x="3411" y="7617"/>
                  </a:lnTo>
                  <a:lnTo>
                    <a:pt x="3558" y="7722"/>
                  </a:lnTo>
                  <a:lnTo>
                    <a:pt x="3579" y="7847"/>
                  </a:lnTo>
                  <a:lnTo>
                    <a:pt x="3579" y="7931"/>
                  </a:lnTo>
                  <a:lnTo>
                    <a:pt x="3579" y="7952"/>
                  </a:lnTo>
                  <a:lnTo>
                    <a:pt x="3558" y="7952"/>
                  </a:lnTo>
                  <a:lnTo>
                    <a:pt x="3558" y="8014"/>
                  </a:lnTo>
                  <a:lnTo>
                    <a:pt x="3662" y="8014"/>
                  </a:lnTo>
                  <a:lnTo>
                    <a:pt x="3809" y="7931"/>
                  </a:lnTo>
                  <a:lnTo>
                    <a:pt x="3809" y="8056"/>
                  </a:lnTo>
                  <a:lnTo>
                    <a:pt x="3934" y="8203"/>
                  </a:lnTo>
                  <a:lnTo>
                    <a:pt x="3997" y="8412"/>
                  </a:lnTo>
                  <a:lnTo>
                    <a:pt x="3997" y="8433"/>
                  </a:lnTo>
                  <a:lnTo>
                    <a:pt x="3997" y="8517"/>
                  </a:lnTo>
                  <a:lnTo>
                    <a:pt x="3934" y="8538"/>
                  </a:lnTo>
                  <a:lnTo>
                    <a:pt x="4039" y="8538"/>
                  </a:lnTo>
                  <a:lnTo>
                    <a:pt x="4081" y="8663"/>
                  </a:lnTo>
                  <a:lnTo>
                    <a:pt x="4353" y="8663"/>
                  </a:lnTo>
                  <a:lnTo>
                    <a:pt x="4541" y="8747"/>
                  </a:lnTo>
                  <a:lnTo>
                    <a:pt x="4541" y="8831"/>
                  </a:lnTo>
                  <a:lnTo>
                    <a:pt x="4625" y="8768"/>
                  </a:lnTo>
                  <a:lnTo>
                    <a:pt x="4646" y="8621"/>
                  </a:lnTo>
                  <a:lnTo>
                    <a:pt x="4750" y="8538"/>
                  </a:lnTo>
                  <a:lnTo>
                    <a:pt x="4834" y="8517"/>
                  </a:lnTo>
                  <a:lnTo>
                    <a:pt x="4876" y="8370"/>
                  </a:lnTo>
                  <a:lnTo>
                    <a:pt x="4960" y="8412"/>
                  </a:lnTo>
                  <a:lnTo>
                    <a:pt x="5064" y="8349"/>
                  </a:lnTo>
                  <a:lnTo>
                    <a:pt x="5462" y="8370"/>
                  </a:lnTo>
                  <a:lnTo>
                    <a:pt x="5692" y="8266"/>
                  </a:lnTo>
                  <a:lnTo>
                    <a:pt x="5755" y="8224"/>
                  </a:lnTo>
                  <a:lnTo>
                    <a:pt x="5880" y="8203"/>
                  </a:lnTo>
                  <a:lnTo>
                    <a:pt x="5880" y="8203"/>
                  </a:lnTo>
                  <a:lnTo>
                    <a:pt x="5818" y="8266"/>
                  </a:lnTo>
                  <a:lnTo>
                    <a:pt x="5880" y="8349"/>
                  </a:lnTo>
                  <a:lnTo>
                    <a:pt x="6006" y="8266"/>
                  </a:lnTo>
                  <a:lnTo>
                    <a:pt x="6110" y="8224"/>
                  </a:lnTo>
                  <a:lnTo>
                    <a:pt x="6069" y="8161"/>
                  </a:lnTo>
                  <a:lnTo>
                    <a:pt x="6090" y="8098"/>
                  </a:lnTo>
                  <a:lnTo>
                    <a:pt x="5964" y="7722"/>
                  </a:lnTo>
                  <a:lnTo>
                    <a:pt x="5838" y="7575"/>
                  </a:lnTo>
                  <a:lnTo>
                    <a:pt x="5880" y="7491"/>
                  </a:lnTo>
                  <a:lnTo>
                    <a:pt x="5797" y="7429"/>
                  </a:lnTo>
                  <a:lnTo>
                    <a:pt x="5692" y="7429"/>
                  </a:lnTo>
                  <a:lnTo>
                    <a:pt x="5483" y="7303"/>
                  </a:lnTo>
                  <a:lnTo>
                    <a:pt x="5462" y="7094"/>
                  </a:lnTo>
                  <a:lnTo>
                    <a:pt x="5483" y="6968"/>
                  </a:lnTo>
                  <a:lnTo>
                    <a:pt x="5399" y="6780"/>
                  </a:lnTo>
                  <a:lnTo>
                    <a:pt x="5294" y="6780"/>
                  </a:lnTo>
                  <a:lnTo>
                    <a:pt x="5232" y="6801"/>
                  </a:lnTo>
                  <a:lnTo>
                    <a:pt x="5085" y="6759"/>
                  </a:lnTo>
                  <a:lnTo>
                    <a:pt x="4981" y="6780"/>
                  </a:lnTo>
                  <a:lnTo>
                    <a:pt x="4981" y="6634"/>
                  </a:lnTo>
                  <a:lnTo>
                    <a:pt x="5085" y="6382"/>
                  </a:lnTo>
                  <a:lnTo>
                    <a:pt x="5169" y="6362"/>
                  </a:lnTo>
                  <a:lnTo>
                    <a:pt x="5315" y="6152"/>
                  </a:lnTo>
                  <a:lnTo>
                    <a:pt x="5357" y="6048"/>
                  </a:lnTo>
                  <a:lnTo>
                    <a:pt x="5462" y="6006"/>
                  </a:lnTo>
                  <a:lnTo>
                    <a:pt x="5546" y="5943"/>
                  </a:lnTo>
                  <a:lnTo>
                    <a:pt x="5671" y="6006"/>
                  </a:lnTo>
                  <a:lnTo>
                    <a:pt x="5692" y="6110"/>
                  </a:lnTo>
                  <a:lnTo>
                    <a:pt x="5776" y="6131"/>
                  </a:lnTo>
                  <a:lnTo>
                    <a:pt x="5985" y="6006"/>
                  </a:lnTo>
                  <a:lnTo>
                    <a:pt x="6299" y="6006"/>
                  </a:lnTo>
                  <a:lnTo>
                    <a:pt x="6487" y="5797"/>
                  </a:lnTo>
                  <a:lnTo>
                    <a:pt x="6592" y="5441"/>
                  </a:lnTo>
                  <a:lnTo>
                    <a:pt x="6843" y="5273"/>
                  </a:lnTo>
                  <a:lnTo>
                    <a:pt x="6926" y="5127"/>
                  </a:lnTo>
                  <a:lnTo>
                    <a:pt x="6947" y="4960"/>
                  </a:lnTo>
                  <a:lnTo>
                    <a:pt x="7052" y="4771"/>
                  </a:lnTo>
                  <a:lnTo>
                    <a:pt x="7261" y="4667"/>
                  </a:lnTo>
                  <a:lnTo>
                    <a:pt x="7324" y="4541"/>
                  </a:lnTo>
                  <a:lnTo>
                    <a:pt x="7324" y="4437"/>
                  </a:lnTo>
                  <a:lnTo>
                    <a:pt x="7240" y="4374"/>
                  </a:lnTo>
                  <a:lnTo>
                    <a:pt x="7387" y="4185"/>
                  </a:lnTo>
                  <a:lnTo>
                    <a:pt x="7491" y="4123"/>
                  </a:lnTo>
                  <a:lnTo>
                    <a:pt x="7491" y="3976"/>
                  </a:lnTo>
                  <a:lnTo>
                    <a:pt x="7554" y="3704"/>
                  </a:lnTo>
                  <a:lnTo>
                    <a:pt x="7470" y="3495"/>
                  </a:lnTo>
                  <a:lnTo>
                    <a:pt x="7450" y="3432"/>
                  </a:lnTo>
                  <a:lnTo>
                    <a:pt x="7638" y="3244"/>
                  </a:lnTo>
                  <a:lnTo>
                    <a:pt x="7743" y="3223"/>
                  </a:lnTo>
                  <a:lnTo>
                    <a:pt x="7847" y="3139"/>
                  </a:lnTo>
                  <a:lnTo>
                    <a:pt x="7910" y="3139"/>
                  </a:lnTo>
                  <a:lnTo>
                    <a:pt x="8015" y="3035"/>
                  </a:lnTo>
                  <a:lnTo>
                    <a:pt x="8015" y="2909"/>
                  </a:lnTo>
                  <a:lnTo>
                    <a:pt x="7868" y="2867"/>
                  </a:lnTo>
                  <a:lnTo>
                    <a:pt x="7743" y="2909"/>
                  </a:lnTo>
                  <a:lnTo>
                    <a:pt x="7554" y="2888"/>
                  </a:lnTo>
                  <a:lnTo>
                    <a:pt x="7491" y="2721"/>
                  </a:lnTo>
                  <a:lnTo>
                    <a:pt x="7282" y="2658"/>
                  </a:lnTo>
                  <a:lnTo>
                    <a:pt x="7073" y="2595"/>
                  </a:lnTo>
                  <a:lnTo>
                    <a:pt x="6864" y="2407"/>
                  </a:lnTo>
                  <a:lnTo>
                    <a:pt x="6843" y="2240"/>
                  </a:lnTo>
                  <a:lnTo>
                    <a:pt x="6738" y="1863"/>
                  </a:lnTo>
                  <a:lnTo>
                    <a:pt x="6634" y="1675"/>
                  </a:lnTo>
                  <a:lnTo>
                    <a:pt x="6634" y="1507"/>
                  </a:lnTo>
                  <a:lnTo>
                    <a:pt x="6738" y="1465"/>
                  </a:lnTo>
                  <a:lnTo>
                    <a:pt x="6738" y="1340"/>
                  </a:lnTo>
                  <a:lnTo>
                    <a:pt x="6885" y="1235"/>
                  </a:lnTo>
                  <a:lnTo>
                    <a:pt x="6885" y="1110"/>
                  </a:lnTo>
                  <a:lnTo>
                    <a:pt x="6738" y="1047"/>
                  </a:lnTo>
                  <a:lnTo>
                    <a:pt x="6717" y="921"/>
                  </a:lnTo>
                  <a:lnTo>
                    <a:pt x="6550" y="838"/>
                  </a:lnTo>
                  <a:lnTo>
                    <a:pt x="6403" y="712"/>
                  </a:lnTo>
                  <a:lnTo>
                    <a:pt x="6278" y="566"/>
                  </a:lnTo>
                  <a:lnTo>
                    <a:pt x="6173" y="608"/>
                  </a:lnTo>
                  <a:lnTo>
                    <a:pt x="6090" y="628"/>
                  </a:lnTo>
                  <a:lnTo>
                    <a:pt x="6006" y="566"/>
                  </a:lnTo>
                  <a:lnTo>
                    <a:pt x="5985" y="315"/>
                  </a:lnTo>
                  <a:lnTo>
                    <a:pt x="6236" y="147"/>
                  </a:lnTo>
                  <a:lnTo>
                    <a:pt x="6215" y="64"/>
                  </a:lnTo>
                  <a:lnTo>
                    <a:pt x="6027" y="84"/>
                  </a:lnTo>
                  <a:lnTo>
                    <a:pt x="590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 name="Google Shape;5982;p93">
              <a:extLst>
                <a:ext uri="{FF2B5EF4-FFF2-40B4-BE49-F238E27FC236}">
                  <a16:creationId xmlns:a16="http://schemas.microsoft.com/office/drawing/2014/main" id="{829D1D34-4BFE-4964-AC52-72ECA58CADB8}"/>
                </a:ext>
              </a:extLst>
            </p:cNvPr>
            <p:cNvSpPr/>
            <p:nvPr/>
          </p:nvSpPr>
          <p:spPr>
            <a:xfrm>
              <a:off x="4148462" y="2870746"/>
              <a:ext cx="91200" cy="72579"/>
            </a:xfrm>
            <a:custGeom>
              <a:avLst/>
              <a:gdLst/>
              <a:ahLst/>
              <a:cxnLst/>
              <a:rect l="l" t="t" r="r" b="b"/>
              <a:pathLst>
                <a:path w="7659" h="6382" extrusionOk="0">
                  <a:moveTo>
                    <a:pt x="5295" y="0"/>
                  </a:moveTo>
                  <a:lnTo>
                    <a:pt x="5232" y="105"/>
                  </a:lnTo>
                  <a:lnTo>
                    <a:pt x="5211" y="272"/>
                  </a:lnTo>
                  <a:lnTo>
                    <a:pt x="5127" y="335"/>
                  </a:lnTo>
                  <a:lnTo>
                    <a:pt x="5106" y="419"/>
                  </a:lnTo>
                  <a:lnTo>
                    <a:pt x="5127" y="565"/>
                  </a:lnTo>
                  <a:lnTo>
                    <a:pt x="5043" y="691"/>
                  </a:lnTo>
                  <a:lnTo>
                    <a:pt x="4918" y="691"/>
                  </a:lnTo>
                  <a:lnTo>
                    <a:pt x="4897" y="649"/>
                  </a:lnTo>
                  <a:lnTo>
                    <a:pt x="4834" y="649"/>
                  </a:lnTo>
                  <a:lnTo>
                    <a:pt x="4792" y="691"/>
                  </a:lnTo>
                  <a:lnTo>
                    <a:pt x="4667" y="732"/>
                  </a:lnTo>
                  <a:lnTo>
                    <a:pt x="4667" y="837"/>
                  </a:lnTo>
                  <a:lnTo>
                    <a:pt x="4709" y="879"/>
                  </a:lnTo>
                  <a:lnTo>
                    <a:pt x="4709" y="963"/>
                  </a:lnTo>
                  <a:lnTo>
                    <a:pt x="4520" y="942"/>
                  </a:lnTo>
                  <a:lnTo>
                    <a:pt x="4458" y="858"/>
                  </a:lnTo>
                  <a:lnTo>
                    <a:pt x="4395" y="837"/>
                  </a:lnTo>
                  <a:lnTo>
                    <a:pt x="4332" y="879"/>
                  </a:lnTo>
                  <a:lnTo>
                    <a:pt x="4269" y="900"/>
                  </a:lnTo>
                  <a:lnTo>
                    <a:pt x="4207" y="984"/>
                  </a:lnTo>
                  <a:lnTo>
                    <a:pt x="4081" y="1067"/>
                  </a:lnTo>
                  <a:lnTo>
                    <a:pt x="3893" y="1088"/>
                  </a:lnTo>
                  <a:lnTo>
                    <a:pt x="3788" y="1067"/>
                  </a:lnTo>
                  <a:lnTo>
                    <a:pt x="3683" y="900"/>
                  </a:lnTo>
                  <a:lnTo>
                    <a:pt x="3579" y="879"/>
                  </a:lnTo>
                  <a:lnTo>
                    <a:pt x="3474" y="984"/>
                  </a:lnTo>
                  <a:lnTo>
                    <a:pt x="3411" y="984"/>
                  </a:lnTo>
                  <a:lnTo>
                    <a:pt x="3328" y="879"/>
                  </a:lnTo>
                  <a:lnTo>
                    <a:pt x="3223" y="795"/>
                  </a:lnTo>
                  <a:lnTo>
                    <a:pt x="3014" y="858"/>
                  </a:lnTo>
                  <a:lnTo>
                    <a:pt x="2993" y="837"/>
                  </a:lnTo>
                  <a:lnTo>
                    <a:pt x="2847" y="858"/>
                  </a:lnTo>
                  <a:lnTo>
                    <a:pt x="2742" y="774"/>
                  </a:lnTo>
                  <a:lnTo>
                    <a:pt x="2595" y="837"/>
                  </a:lnTo>
                  <a:lnTo>
                    <a:pt x="2428" y="942"/>
                  </a:lnTo>
                  <a:lnTo>
                    <a:pt x="2386" y="942"/>
                  </a:lnTo>
                  <a:lnTo>
                    <a:pt x="2219" y="984"/>
                  </a:lnTo>
                  <a:lnTo>
                    <a:pt x="2177" y="1046"/>
                  </a:lnTo>
                  <a:lnTo>
                    <a:pt x="2114" y="1067"/>
                  </a:lnTo>
                  <a:lnTo>
                    <a:pt x="2093" y="1109"/>
                  </a:lnTo>
                  <a:lnTo>
                    <a:pt x="2156" y="1172"/>
                  </a:lnTo>
                  <a:lnTo>
                    <a:pt x="2156" y="1297"/>
                  </a:lnTo>
                  <a:lnTo>
                    <a:pt x="2010" y="1423"/>
                  </a:lnTo>
                  <a:lnTo>
                    <a:pt x="2010" y="1590"/>
                  </a:lnTo>
                  <a:lnTo>
                    <a:pt x="1989" y="1716"/>
                  </a:lnTo>
                  <a:lnTo>
                    <a:pt x="1884" y="1737"/>
                  </a:lnTo>
                  <a:lnTo>
                    <a:pt x="1800" y="1821"/>
                  </a:lnTo>
                  <a:lnTo>
                    <a:pt x="1779" y="1883"/>
                  </a:lnTo>
                  <a:lnTo>
                    <a:pt x="1570" y="1925"/>
                  </a:lnTo>
                  <a:lnTo>
                    <a:pt x="1382" y="2030"/>
                  </a:lnTo>
                  <a:lnTo>
                    <a:pt x="1424" y="2113"/>
                  </a:lnTo>
                  <a:lnTo>
                    <a:pt x="1340" y="2155"/>
                  </a:lnTo>
                  <a:lnTo>
                    <a:pt x="1319" y="2239"/>
                  </a:lnTo>
                  <a:lnTo>
                    <a:pt x="1235" y="2344"/>
                  </a:lnTo>
                  <a:lnTo>
                    <a:pt x="1068" y="2365"/>
                  </a:lnTo>
                  <a:lnTo>
                    <a:pt x="1026" y="2427"/>
                  </a:lnTo>
                  <a:lnTo>
                    <a:pt x="963" y="2365"/>
                  </a:lnTo>
                  <a:lnTo>
                    <a:pt x="922" y="2302"/>
                  </a:lnTo>
                  <a:lnTo>
                    <a:pt x="796" y="2197"/>
                  </a:lnTo>
                  <a:lnTo>
                    <a:pt x="712" y="2197"/>
                  </a:lnTo>
                  <a:lnTo>
                    <a:pt x="629" y="2260"/>
                  </a:lnTo>
                  <a:lnTo>
                    <a:pt x="524" y="2260"/>
                  </a:lnTo>
                  <a:lnTo>
                    <a:pt x="440" y="2197"/>
                  </a:lnTo>
                  <a:lnTo>
                    <a:pt x="315" y="2155"/>
                  </a:lnTo>
                  <a:lnTo>
                    <a:pt x="273" y="2197"/>
                  </a:lnTo>
                  <a:lnTo>
                    <a:pt x="273" y="2365"/>
                  </a:lnTo>
                  <a:lnTo>
                    <a:pt x="273" y="2448"/>
                  </a:lnTo>
                  <a:lnTo>
                    <a:pt x="210" y="2532"/>
                  </a:lnTo>
                  <a:lnTo>
                    <a:pt x="294" y="2637"/>
                  </a:lnTo>
                  <a:lnTo>
                    <a:pt x="273" y="2657"/>
                  </a:lnTo>
                  <a:lnTo>
                    <a:pt x="273" y="2741"/>
                  </a:lnTo>
                  <a:lnTo>
                    <a:pt x="126" y="2846"/>
                  </a:lnTo>
                  <a:lnTo>
                    <a:pt x="1" y="2867"/>
                  </a:lnTo>
                  <a:lnTo>
                    <a:pt x="64" y="2950"/>
                  </a:lnTo>
                  <a:lnTo>
                    <a:pt x="168" y="3034"/>
                  </a:lnTo>
                  <a:lnTo>
                    <a:pt x="22" y="3181"/>
                  </a:lnTo>
                  <a:lnTo>
                    <a:pt x="85" y="3181"/>
                  </a:lnTo>
                  <a:lnTo>
                    <a:pt x="106" y="3390"/>
                  </a:lnTo>
                  <a:lnTo>
                    <a:pt x="106" y="3515"/>
                  </a:lnTo>
                  <a:lnTo>
                    <a:pt x="294" y="3557"/>
                  </a:lnTo>
                  <a:lnTo>
                    <a:pt x="336" y="3557"/>
                  </a:lnTo>
                  <a:lnTo>
                    <a:pt x="189" y="3787"/>
                  </a:lnTo>
                  <a:lnTo>
                    <a:pt x="126" y="3934"/>
                  </a:lnTo>
                  <a:lnTo>
                    <a:pt x="294" y="4227"/>
                  </a:lnTo>
                  <a:lnTo>
                    <a:pt x="378" y="4499"/>
                  </a:lnTo>
                  <a:lnTo>
                    <a:pt x="336" y="4562"/>
                  </a:lnTo>
                  <a:lnTo>
                    <a:pt x="398" y="4666"/>
                  </a:lnTo>
                  <a:lnTo>
                    <a:pt x="419" y="4875"/>
                  </a:lnTo>
                  <a:lnTo>
                    <a:pt x="922" y="4917"/>
                  </a:lnTo>
                  <a:lnTo>
                    <a:pt x="1005" y="5085"/>
                  </a:lnTo>
                  <a:lnTo>
                    <a:pt x="1005" y="5252"/>
                  </a:lnTo>
                  <a:lnTo>
                    <a:pt x="1047" y="5482"/>
                  </a:lnTo>
                  <a:lnTo>
                    <a:pt x="1005" y="5566"/>
                  </a:lnTo>
                  <a:lnTo>
                    <a:pt x="587" y="6131"/>
                  </a:lnTo>
                  <a:lnTo>
                    <a:pt x="1361" y="6382"/>
                  </a:lnTo>
                  <a:lnTo>
                    <a:pt x="2051" y="6340"/>
                  </a:lnTo>
                  <a:lnTo>
                    <a:pt x="2219" y="6298"/>
                  </a:lnTo>
                  <a:lnTo>
                    <a:pt x="2407" y="6319"/>
                  </a:lnTo>
                  <a:lnTo>
                    <a:pt x="2491" y="6235"/>
                  </a:lnTo>
                  <a:lnTo>
                    <a:pt x="2679" y="6194"/>
                  </a:lnTo>
                  <a:lnTo>
                    <a:pt x="2993" y="6194"/>
                  </a:lnTo>
                  <a:lnTo>
                    <a:pt x="3160" y="6173"/>
                  </a:lnTo>
                  <a:lnTo>
                    <a:pt x="3370" y="6173"/>
                  </a:lnTo>
                  <a:lnTo>
                    <a:pt x="3621" y="6068"/>
                  </a:lnTo>
                  <a:lnTo>
                    <a:pt x="3621" y="5963"/>
                  </a:lnTo>
                  <a:lnTo>
                    <a:pt x="3579" y="5859"/>
                  </a:lnTo>
                  <a:lnTo>
                    <a:pt x="3579" y="5712"/>
                  </a:lnTo>
                  <a:lnTo>
                    <a:pt x="3537" y="5545"/>
                  </a:lnTo>
                  <a:lnTo>
                    <a:pt x="3537" y="5378"/>
                  </a:lnTo>
                  <a:lnTo>
                    <a:pt x="3621" y="5273"/>
                  </a:lnTo>
                  <a:lnTo>
                    <a:pt x="3725" y="5252"/>
                  </a:lnTo>
                  <a:lnTo>
                    <a:pt x="3746" y="5147"/>
                  </a:lnTo>
                  <a:lnTo>
                    <a:pt x="3788" y="5064"/>
                  </a:lnTo>
                  <a:lnTo>
                    <a:pt x="3935" y="5043"/>
                  </a:lnTo>
                  <a:lnTo>
                    <a:pt x="3997" y="5085"/>
                  </a:lnTo>
                  <a:lnTo>
                    <a:pt x="4207" y="4980"/>
                  </a:lnTo>
                  <a:lnTo>
                    <a:pt x="4269" y="4917"/>
                  </a:lnTo>
                  <a:lnTo>
                    <a:pt x="4186" y="4875"/>
                  </a:lnTo>
                  <a:lnTo>
                    <a:pt x="4395" y="4708"/>
                  </a:lnTo>
                  <a:lnTo>
                    <a:pt x="4416" y="4645"/>
                  </a:lnTo>
                  <a:lnTo>
                    <a:pt x="4583" y="4624"/>
                  </a:lnTo>
                  <a:lnTo>
                    <a:pt x="4625" y="4666"/>
                  </a:lnTo>
                  <a:lnTo>
                    <a:pt x="4771" y="4666"/>
                  </a:lnTo>
                  <a:lnTo>
                    <a:pt x="4792" y="4603"/>
                  </a:lnTo>
                  <a:lnTo>
                    <a:pt x="4834" y="4603"/>
                  </a:lnTo>
                  <a:lnTo>
                    <a:pt x="4981" y="4750"/>
                  </a:lnTo>
                  <a:lnTo>
                    <a:pt x="5085" y="4541"/>
                  </a:lnTo>
                  <a:lnTo>
                    <a:pt x="5043" y="4310"/>
                  </a:lnTo>
                  <a:lnTo>
                    <a:pt x="5085" y="4248"/>
                  </a:lnTo>
                  <a:lnTo>
                    <a:pt x="5085" y="4185"/>
                  </a:lnTo>
                  <a:lnTo>
                    <a:pt x="5127" y="4038"/>
                  </a:lnTo>
                  <a:lnTo>
                    <a:pt x="5148" y="3829"/>
                  </a:lnTo>
                  <a:lnTo>
                    <a:pt x="5190" y="3766"/>
                  </a:lnTo>
                  <a:lnTo>
                    <a:pt x="5316" y="3725"/>
                  </a:lnTo>
                  <a:lnTo>
                    <a:pt x="5441" y="3662"/>
                  </a:lnTo>
                  <a:lnTo>
                    <a:pt x="5462" y="3578"/>
                  </a:lnTo>
                  <a:lnTo>
                    <a:pt x="5420" y="3411"/>
                  </a:lnTo>
                  <a:lnTo>
                    <a:pt x="5295" y="3348"/>
                  </a:lnTo>
                  <a:lnTo>
                    <a:pt x="5232" y="3181"/>
                  </a:lnTo>
                  <a:lnTo>
                    <a:pt x="5357" y="3097"/>
                  </a:lnTo>
                  <a:lnTo>
                    <a:pt x="5567" y="3181"/>
                  </a:lnTo>
                  <a:lnTo>
                    <a:pt x="5776" y="3181"/>
                  </a:lnTo>
                  <a:lnTo>
                    <a:pt x="5943" y="2950"/>
                  </a:lnTo>
                  <a:lnTo>
                    <a:pt x="5943" y="2783"/>
                  </a:lnTo>
                  <a:lnTo>
                    <a:pt x="5818" y="2657"/>
                  </a:lnTo>
                  <a:lnTo>
                    <a:pt x="6069" y="2323"/>
                  </a:lnTo>
                  <a:lnTo>
                    <a:pt x="6048" y="2051"/>
                  </a:lnTo>
                  <a:lnTo>
                    <a:pt x="5818" y="1695"/>
                  </a:lnTo>
                  <a:lnTo>
                    <a:pt x="5901" y="1590"/>
                  </a:lnTo>
                  <a:lnTo>
                    <a:pt x="6027" y="1465"/>
                  </a:lnTo>
                  <a:lnTo>
                    <a:pt x="6173" y="1465"/>
                  </a:lnTo>
                  <a:lnTo>
                    <a:pt x="6299" y="1318"/>
                  </a:lnTo>
                  <a:lnTo>
                    <a:pt x="6487" y="1214"/>
                  </a:lnTo>
                  <a:lnTo>
                    <a:pt x="6613" y="1297"/>
                  </a:lnTo>
                  <a:lnTo>
                    <a:pt x="6801" y="1277"/>
                  </a:lnTo>
                  <a:lnTo>
                    <a:pt x="7199" y="1172"/>
                  </a:lnTo>
                  <a:lnTo>
                    <a:pt x="7450" y="1067"/>
                  </a:lnTo>
                  <a:lnTo>
                    <a:pt x="7596" y="879"/>
                  </a:lnTo>
                  <a:lnTo>
                    <a:pt x="7471" y="858"/>
                  </a:lnTo>
                  <a:lnTo>
                    <a:pt x="7659" y="691"/>
                  </a:lnTo>
                  <a:lnTo>
                    <a:pt x="7638" y="586"/>
                  </a:lnTo>
                  <a:lnTo>
                    <a:pt x="7387" y="586"/>
                  </a:lnTo>
                  <a:lnTo>
                    <a:pt x="7324" y="691"/>
                  </a:lnTo>
                  <a:lnTo>
                    <a:pt x="7094" y="732"/>
                  </a:lnTo>
                  <a:lnTo>
                    <a:pt x="7073" y="586"/>
                  </a:lnTo>
                  <a:lnTo>
                    <a:pt x="6906" y="649"/>
                  </a:lnTo>
                  <a:lnTo>
                    <a:pt x="6655" y="795"/>
                  </a:lnTo>
                  <a:lnTo>
                    <a:pt x="6571" y="858"/>
                  </a:lnTo>
                  <a:lnTo>
                    <a:pt x="6550" y="984"/>
                  </a:lnTo>
                  <a:lnTo>
                    <a:pt x="6424" y="1067"/>
                  </a:lnTo>
                  <a:lnTo>
                    <a:pt x="6257" y="1151"/>
                  </a:lnTo>
                  <a:lnTo>
                    <a:pt x="6236" y="1193"/>
                  </a:lnTo>
                  <a:lnTo>
                    <a:pt x="6132" y="1277"/>
                  </a:lnTo>
                  <a:lnTo>
                    <a:pt x="5985" y="1277"/>
                  </a:lnTo>
                  <a:lnTo>
                    <a:pt x="5880" y="1256"/>
                  </a:lnTo>
                  <a:lnTo>
                    <a:pt x="5880" y="1172"/>
                  </a:lnTo>
                  <a:lnTo>
                    <a:pt x="5776" y="1046"/>
                  </a:lnTo>
                  <a:lnTo>
                    <a:pt x="5776" y="837"/>
                  </a:lnTo>
                  <a:lnTo>
                    <a:pt x="5755" y="691"/>
                  </a:lnTo>
                  <a:lnTo>
                    <a:pt x="5776" y="565"/>
                  </a:lnTo>
                  <a:lnTo>
                    <a:pt x="5734" y="460"/>
                  </a:lnTo>
                  <a:lnTo>
                    <a:pt x="5629" y="460"/>
                  </a:lnTo>
                  <a:lnTo>
                    <a:pt x="5608" y="356"/>
                  </a:lnTo>
                  <a:lnTo>
                    <a:pt x="5629" y="209"/>
                  </a:lnTo>
                  <a:lnTo>
                    <a:pt x="5629" y="126"/>
                  </a:lnTo>
                  <a:lnTo>
                    <a:pt x="5525" y="63"/>
                  </a:lnTo>
                  <a:lnTo>
                    <a:pt x="542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 name="Google Shape;5983;p93">
              <a:extLst>
                <a:ext uri="{FF2B5EF4-FFF2-40B4-BE49-F238E27FC236}">
                  <a16:creationId xmlns:a16="http://schemas.microsoft.com/office/drawing/2014/main" id="{69687495-7CDB-4506-BBEA-A81D1F708288}"/>
                </a:ext>
              </a:extLst>
            </p:cNvPr>
            <p:cNvSpPr/>
            <p:nvPr/>
          </p:nvSpPr>
          <p:spPr>
            <a:xfrm>
              <a:off x="3884115" y="2761763"/>
              <a:ext cx="113133" cy="67348"/>
            </a:xfrm>
            <a:custGeom>
              <a:avLst/>
              <a:gdLst/>
              <a:ahLst/>
              <a:cxnLst/>
              <a:rect l="l" t="t" r="r" b="b"/>
              <a:pathLst>
                <a:path w="9501" h="5922" extrusionOk="0">
                  <a:moveTo>
                    <a:pt x="5064" y="0"/>
                  </a:moveTo>
                  <a:lnTo>
                    <a:pt x="4960" y="84"/>
                  </a:lnTo>
                  <a:lnTo>
                    <a:pt x="5002" y="209"/>
                  </a:lnTo>
                  <a:lnTo>
                    <a:pt x="4855" y="230"/>
                  </a:lnTo>
                  <a:lnTo>
                    <a:pt x="4751" y="209"/>
                  </a:lnTo>
                  <a:lnTo>
                    <a:pt x="4730" y="209"/>
                  </a:lnTo>
                  <a:lnTo>
                    <a:pt x="4500" y="272"/>
                  </a:lnTo>
                  <a:lnTo>
                    <a:pt x="4332" y="293"/>
                  </a:lnTo>
                  <a:lnTo>
                    <a:pt x="4228" y="502"/>
                  </a:lnTo>
                  <a:lnTo>
                    <a:pt x="4228" y="712"/>
                  </a:lnTo>
                  <a:lnTo>
                    <a:pt x="4102" y="712"/>
                  </a:lnTo>
                  <a:lnTo>
                    <a:pt x="3997" y="628"/>
                  </a:lnTo>
                  <a:lnTo>
                    <a:pt x="3851" y="691"/>
                  </a:lnTo>
                  <a:lnTo>
                    <a:pt x="3746" y="607"/>
                  </a:lnTo>
                  <a:lnTo>
                    <a:pt x="3642" y="628"/>
                  </a:lnTo>
                  <a:lnTo>
                    <a:pt x="3537" y="753"/>
                  </a:lnTo>
                  <a:lnTo>
                    <a:pt x="3432" y="732"/>
                  </a:lnTo>
                  <a:lnTo>
                    <a:pt x="3391" y="607"/>
                  </a:lnTo>
                  <a:lnTo>
                    <a:pt x="3244" y="607"/>
                  </a:lnTo>
                  <a:lnTo>
                    <a:pt x="3056" y="712"/>
                  </a:lnTo>
                  <a:lnTo>
                    <a:pt x="2972" y="649"/>
                  </a:lnTo>
                  <a:lnTo>
                    <a:pt x="2805" y="628"/>
                  </a:lnTo>
                  <a:lnTo>
                    <a:pt x="2763" y="691"/>
                  </a:lnTo>
                  <a:lnTo>
                    <a:pt x="2700" y="691"/>
                  </a:lnTo>
                  <a:lnTo>
                    <a:pt x="2595" y="607"/>
                  </a:lnTo>
                  <a:lnTo>
                    <a:pt x="2386" y="691"/>
                  </a:lnTo>
                  <a:lnTo>
                    <a:pt x="2344" y="628"/>
                  </a:lnTo>
                  <a:lnTo>
                    <a:pt x="2219" y="544"/>
                  </a:lnTo>
                  <a:lnTo>
                    <a:pt x="1884" y="502"/>
                  </a:lnTo>
                  <a:lnTo>
                    <a:pt x="1759" y="419"/>
                  </a:lnTo>
                  <a:lnTo>
                    <a:pt x="1675" y="419"/>
                  </a:lnTo>
                  <a:lnTo>
                    <a:pt x="1570" y="523"/>
                  </a:lnTo>
                  <a:lnTo>
                    <a:pt x="1382" y="523"/>
                  </a:lnTo>
                  <a:lnTo>
                    <a:pt x="963" y="586"/>
                  </a:lnTo>
                  <a:lnTo>
                    <a:pt x="859" y="628"/>
                  </a:lnTo>
                  <a:lnTo>
                    <a:pt x="671" y="544"/>
                  </a:lnTo>
                  <a:lnTo>
                    <a:pt x="608" y="544"/>
                  </a:lnTo>
                  <a:lnTo>
                    <a:pt x="566" y="649"/>
                  </a:lnTo>
                  <a:lnTo>
                    <a:pt x="608" y="921"/>
                  </a:lnTo>
                  <a:lnTo>
                    <a:pt x="650" y="1004"/>
                  </a:lnTo>
                  <a:lnTo>
                    <a:pt x="733" y="1151"/>
                  </a:lnTo>
                  <a:lnTo>
                    <a:pt x="859" y="1235"/>
                  </a:lnTo>
                  <a:lnTo>
                    <a:pt x="817" y="1318"/>
                  </a:lnTo>
                  <a:lnTo>
                    <a:pt x="838" y="1381"/>
                  </a:lnTo>
                  <a:lnTo>
                    <a:pt x="880" y="1465"/>
                  </a:lnTo>
                  <a:lnTo>
                    <a:pt x="838" y="1653"/>
                  </a:lnTo>
                  <a:lnTo>
                    <a:pt x="754" y="1653"/>
                  </a:lnTo>
                  <a:lnTo>
                    <a:pt x="650" y="1737"/>
                  </a:lnTo>
                  <a:lnTo>
                    <a:pt x="629" y="1904"/>
                  </a:lnTo>
                  <a:lnTo>
                    <a:pt x="252" y="2302"/>
                  </a:lnTo>
                  <a:lnTo>
                    <a:pt x="294" y="2469"/>
                  </a:lnTo>
                  <a:lnTo>
                    <a:pt x="294" y="2637"/>
                  </a:lnTo>
                  <a:lnTo>
                    <a:pt x="147" y="2616"/>
                  </a:lnTo>
                  <a:lnTo>
                    <a:pt x="43" y="2888"/>
                  </a:lnTo>
                  <a:lnTo>
                    <a:pt x="22" y="3097"/>
                  </a:lnTo>
                  <a:lnTo>
                    <a:pt x="1" y="3097"/>
                  </a:lnTo>
                  <a:lnTo>
                    <a:pt x="126" y="3222"/>
                  </a:lnTo>
                  <a:lnTo>
                    <a:pt x="294" y="3327"/>
                  </a:lnTo>
                  <a:lnTo>
                    <a:pt x="315" y="3432"/>
                  </a:lnTo>
                  <a:lnTo>
                    <a:pt x="440" y="3432"/>
                  </a:lnTo>
                  <a:lnTo>
                    <a:pt x="524" y="3348"/>
                  </a:lnTo>
                  <a:lnTo>
                    <a:pt x="629" y="3348"/>
                  </a:lnTo>
                  <a:lnTo>
                    <a:pt x="838" y="3453"/>
                  </a:lnTo>
                  <a:lnTo>
                    <a:pt x="984" y="3473"/>
                  </a:lnTo>
                  <a:lnTo>
                    <a:pt x="1152" y="3536"/>
                  </a:lnTo>
                  <a:lnTo>
                    <a:pt x="1194" y="3641"/>
                  </a:lnTo>
                  <a:lnTo>
                    <a:pt x="1340" y="3683"/>
                  </a:lnTo>
                  <a:lnTo>
                    <a:pt x="1487" y="3641"/>
                  </a:lnTo>
                  <a:lnTo>
                    <a:pt x="1612" y="3641"/>
                  </a:lnTo>
                  <a:lnTo>
                    <a:pt x="1717" y="3515"/>
                  </a:lnTo>
                  <a:lnTo>
                    <a:pt x="2114" y="3453"/>
                  </a:lnTo>
                  <a:lnTo>
                    <a:pt x="2240" y="3369"/>
                  </a:lnTo>
                  <a:lnTo>
                    <a:pt x="2386" y="3348"/>
                  </a:lnTo>
                  <a:lnTo>
                    <a:pt x="2344" y="3201"/>
                  </a:lnTo>
                  <a:lnTo>
                    <a:pt x="2386" y="3139"/>
                  </a:lnTo>
                  <a:lnTo>
                    <a:pt x="2344" y="2992"/>
                  </a:lnTo>
                  <a:lnTo>
                    <a:pt x="2428" y="3013"/>
                  </a:lnTo>
                  <a:lnTo>
                    <a:pt x="2449" y="2992"/>
                  </a:lnTo>
                  <a:lnTo>
                    <a:pt x="2554" y="3034"/>
                  </a:lnTo>
                  <a:lnTo>
                    <a:pt x="2616" y="2992"/>
                  </a:lnTo>
                  <a:lnTo>
                    <a:pt x="2742" y="2992"/>
                  </a:lnTo>
                  <a:lnTo>
                    <a:pt x="2763" y="2929"/>
                  </a:lnTo>
                  <a:lnTo>
                    <a:pt x="2867" y="3055"/>
                  </a:lnTo>
                  <a:lnTo>
                    <a:pt x="3014" y="3055"/>
                  </a:lnTo>
                  <a:lnTo>
                    <a:pt x="3181" y="3243"/>
                  </a:lnTo>
                  <a:lnTo>
                    <a:pt x="3370" y="3243"/>
                  </a:lnTo>
                  <a:lnTo>
                    <a:pt x="3391" y="3201"/>
                  </a:lnTo>
                  <a:lnTo>
                    <a:pt x="3453" y="3201"/>
                  </a:lnTo>
                  <a:lnTo>
                    <a:pt x="3642" y="3369"/>
                  </a:lnTo>
                  <a:lnTo>
                    <a:pt x="3788" y="3453"/>
                  </a:lnTo>
                  <a:lnTo>
                    <a:pt x="3809" y="3641"/>
                  </a:lnTo>
                  <a:lnTo>
                    <a:pt x="3809" y="3787"/>
                  </a:lnTo>
                  <a:lnTo>
                    <a:pt x="3956" y="3850"/>
                  </a:lnTo>
                  <a:lnTo>
                    <a:pt x="3956" y="3892"/>
                  </a:lnTo>
                  <a:lnTo>
                    <a:pt x="4102" y="4038"/>
                  </a:lnTo>
                  <a:lnTo>
                    <a:pt x="4269" y="4143"/>
                  </a:lnTo>
                  <a:lnTo>
                    <a:pt x="4290" y="4248"/>
                  </a:lnTo>
                  <a:lnTo>
                    <a:pt x="4269" y="4352"/>
                  </a:lnTo>
                  <a:lnTo>
                    <a:pt x="4332" y="4457"/>
                  </a:lnTo>
                  <a:lnTo>
                    <a:pt x="4311" y="4499"/>
                  </a:lnTo>
                  <a:lnTo>
                    <a:pt x="4123" y="4499"/>
                  </a:lnTo>
                  <a:lnTo>
                    <a:pt x="4060" y="4415"/>
                  </a:lnTo>
                  <a:lnTo>
                    <a:pt x="3893" y="4478"/>
                  </a:lnTo>
                  <a:lnTo>
                    <a:pt x="3788" y="4478"/>
                  </a:lnTo>
                  <a:lnTo>
                    <a:pt x="3767" y="4687"/>
                  </a:lnTo>
                  <a:lnTo>
                    <a:pt x="3767" y="4834"/>
                  </a:lnTo>
                  <a:lnTo>
                    <a:pt x="3704" y="4813"/>
                  </a:lnTo>
                  <a:lnTo>
                    <a:pt x="3600" y="5022"/>
                  </a:lnTo>
                  <a:lnTo>
                    <a:pt x="3600" y="5126"/>
                  </a:lnTo>
                  <a:lnTo>
                    <a:pt x="3495" y="5106"/>
                  </a:lnTo>
                  <a:lnTo>
                    <a:pt x="3432" y="5147"/>
                  </a:lnTo>
                  <a:lnTo>
                    <a:pt x="3537" y="5315"/>
                  </a:lnTo>
                  <a:lnTo>
                    <a:pt x="3684" y="5357"/>
                  </a:lnTo>
                  <a:lnTo>
                    <a:pt x="3893" y="5357"/>
                  </a:lnTo>
                  <a:lnTo>
                    <a:pt x="3976" y="5294"/>
                  </a:lnTo>
                  <a:lnTo>
                    <a:pt x="4165" y="5294"/>
                  </a:lnTo>
                  <a:lnTo>
                    <a:pt x="4269" y="5357"/>
                  </a:lnTo>
                  <a:lnTo>
                    <a:pt x="4290" y="5252"/>
                  </a:lnTo>
                  <a:lnTo>
                    <a:pt x="4228" y="5189"/>
                  </a:lnTo>
                  <a:lnTo>
                    <a:pt x="4228" y="5106"/>
                  </a:lnTo>
                  <a:lnTo>
                    <a:pt x="4228" y="5022"/>
                  </a:lnTo>
                  <a:lnTo>
                    <a:pt x="4290" y="5106"/>
                  </a:lnTo>
                  <a:lnTo>
                    <a:pt x="4374" y="5106"/>
                  </a:lnTo>
                  <a:lnTo>
                    <a:pt x="4583" y="4834"/>
                  </a:lnTo>
                  <a:lnTo>
                    <a:pt x="4541" y="4771"/>
                  </a:lnTo>
                  <a:lnTo>
                    <a:pt x="4604" y="4771"/>
                  </a:lnTo>
                  <a:lnTo>
                    <a:pt x="4730" y="4603"/>
                  </a:lnTo>
                  <a:lnTo>
                    <a:pt x="4730" y="4478"/>
                  </a:lnTo>
                  <a:lnTo>
                    <a:pt x="4813" y="4394"/>
                  </a:lnTo>
                  <a:lnTo>
                    <a:pt x="4939" y="4394"/>
                  </a:lnTo>
                  <a:lnTo>
                    <a:pt x="5064" y="4269"/>
                  </a:lnTo>
                  <a:lnTo>
                    <a:pt x="5127" y="4310"/>
                  </a:lnTo>
                  <a:lnTo>
                    <a:pt x="5127" y="4352"/>
                  </a:lnTo>
                  <a:lnTo>
                    <a:pt x="5232" y="4352"/>
                  </a:lnTo>
                  <a:lnTo>
                    <a:pt x="5274" y="4289"/>
                  </a:lnTo>
                  <a:lnTo>
                    <a:pt x="5336" y="4206"/>
                  </a:lnTo>
                  <a:lnTo>
                    <a:pt x="5357" y="4269"/>
                  </a:lnTo>
                  <a:lnTo>
                    <a:pt x="5441" y="4310"/>
                  </a:lnTo>
                  <a:lnTo>
                    <a:pt x="5525" y="4352"/>
                  </a:lnTo>
                  <a:lnTo>
                    <a:pt x="5692" y="4310"/>
                  </a:lnTo>
                  <a:lnTo>
                    <a:pt x="5567" y="4373"/>
                  </a:lnTo>
                  <a:lnTo>
                    <a:pt x="5483" y="4415"/>
                  </a:lnTo>
                  <a:lnTo>
                    <a:pt x="5378" y="4394"/>
                  </a:lnTo>
                  <a:lnTo>
                    <a:pt x="5211" y="4415"/>
                  </a:lnTo>
                  <a:lnTo>
                    <a:pt x="5064" y="4415"/>
                  </a:lnTo>
                  <a:lnTo>
                    <a:pt x="5127" y="4478"/>
                  </a:lnTo>
                  <a:lnTo>
                    <a:pt x="5336" y="4478"/>
                  </a:lnTo>
                  <a:lnTo>
                    <a:pt x="5483" y="4561"/>
                  </a:lnTo>
                  <a:lnTo>
                    <a:pt x="5462" y="4582"/>
                  </a:lnTo>
                  <a:lnTo>
                    <a:pt x="5420" y="4624"/>
                  </a:lnTo>
                  <a:lnTo>
                    <a:pt x="5483" y="4708"/>
                  </a:lnTo>
                  <a:lnTo>
                    <a:pt x="5567" y="4708"/>
                  </a:lnTo>
                  <a:lnTo>
                    <a:pt x="5671" y="4771"/>
                  </a:lnTo>
                  <a:lnTo>
                    <a:pt x="5797" y="4708"/>
                  </a:lnTo>
                  <a:lnTo>
                    <a:pt x="5943" y="4687"/>
                  </a:lnTo>
                  <a:lnTo>
                    <a:pt x="6069" y="4729"/>
                  </a:lnTo>
                  <a:lnTo>
                    <a:pt x="6173" y="4792"/>
                  </a:lnTo>
                  <a:lnTo>
                    <a:pt x="6194" y="4708"/>
                  </a:lnTo>
                  <a:lnTo>
                    <a:pt x="6257" y="4729"/>
                  </a:lnTo>
                  <a:lnTo>
                    <a:pt x="6278" y="4875"/>
                  </a:lnTo>
                  <a:lnTo>
                    <a:pt x="6362" y="4938"/>
                  </a:lnTo>
                  <a:lnTo>
                    <a:pt x="6299" y="4980"/>
                  </a:lnTo>
                  <a:lnTo>
                    <a:pt x="6111" y="5022"/>
                  </a:lnTo>
                  <a:lnTo>
                    <a:pt x="5943" y="5126"/>
                  </a:lnTo>
                  <a:lnTo>
                    <a:pt x="5797" y="5315"/>
                  </a:lnTo>
                  <a:lnTo>
                    <a:pt x="5901" y="5357"/>
                  </a:lnTo>
                  <a:lnTo>
                    <a:pt x="5985" y="5294"/>
                  </a:lnTo>
                  <a:lnTo>
                    <a:pt x="6111" y="5357"/>
                  </a:lnTo>
                  <a:lnTo>
                    <a:pt x="6173" y="5336"/>
                  </a:lnTo>
                  <a:lnTo>
                    <a:pt x="6362" y="5503"/>
                  </a:lnTo>
                  <a:lnTo>
                    <a:pt x="6383" y="5566"/>
                  </a:lnTo>
                  <a:lnTo>
                    <a:pt x="6299" y="5775"/>
                  </a:lnTo>
                  <a:lnTo>
                    <a:pt x="6278" y="5838"/>
                  </a:lnTo>
                  <a:lnTo>
                    <a:pt x="6383" y="5922"/>
                  </a:lnTo>
                  <a:lnTo>
                    <a:pt x="6592" y="5922"/>
                  </a:lnTo>
                  <a:lnTo>
                    <a:pt x="6780" y="5817"/>
                  </a:lnTo>
                  <a:lnTo>
                    <a:pt x="7031" y="5629"/>
                  </a:lnTo>
                  <a:lnTo>
                    <a:pt x="7220" y="5629"/>
                  </a:lnTo>
                  <a:lnTo>
                    <a:pt x="7324" y="5503"/>
                  </a:lnTo>
                  <a:lnTo>
                    <a:pt x="7450" y="5419"/>
                  </a:lnTo>
                  <a:lnTo>
                    <a:pt x="7680" y="5440"/>
                  </a:lnTo>
                  <a:lnTo>
                    <a:pt x="7889" y="5440"/>
                  </a:lnTo>
                  <a:lnTo>
                    <a:pt x="7952" y="5336"/>
                  </a:lnTo>
                  <a:lnTo>
                    <a:pt x="7889" y="5231"/>
                  </a:lnTo>
                  <a:lnTo>
                    <a:pt x="7952" y="5210"/>
                  </a:lnTo>
                  <a:lnTo>
                    <a:pt x="7994" y="5126"/>
                  </a:lnTo>
                  <a:lnTo>
                    <a:pt x="7847" y="5106"/>
                  </a:lnTo>
                  <a:lnTo>
                    <a:pt x="7659" y="5126"/>
                  </a:lnTo>
                  <a:lnTo>
                    <a:pt x="7638" y="5252"/>
                  </a:lnTo>
                  <a:lnTo>
                    <a:pt x="7513" y="5189"/>
                  </a:lnTo>
                  <a:lnTo>
                    <a:pt x="7450" y="5189"/>
                  </a:lnTo>
                  <a:lnTo>
                    <a:pt x="7345" y="5294"/>
                  </a:lnTo>
                  <a:lnTo>
                    <a:pt x="7303" y="5252"/>
                  </a:lnTo>
                  <a:lnTo>
                    <a:pt x="7010" y="4938"/>
                  </a:lnTo>
                  <a:lnTo>
                    <a:pt x="6948" y="4813"/>
                  </a:lnTo>
                  <a:lnTo>
                    <a:pt x="6885" y="4687"/>
                  </a:lnTo>
                  <a:lnTo>
                    <a:pt x="6822" y="4708"/>
                  </a:lnTo>
                  <a:lnTo>
                    <a:pt x="6885" y="4875"/>
                  </a:lnTo>
                  <a:lnTo>
                    <a:pt x="7094" y="5106"/>
                  </a:lnTo>
                  <a:lnTo>
                    <a:pt x="7261" y="5294"/>
                  </a:lnTo>
                  <a:lnTo>
                    <a:pt x="7220" y="5315"/>
                  </a:lnTo>
                  <a:lnTo>
                    <a:pt x="7094" y="5294"/>
                  </a:lnTo>
                  <a:lnTo>
                    <a:pt x="7031" y="5210"/>
                  </a:lnTo>
                  <a:lnTo>
                    <a:pt x="7010" y="5085"/>
                  </a:lnTo>
                  <a:lnTo>
                    <a:pt x="6927" y="5043"/>
                  </a:lnTo>
                  <a:lnTo>
                    <a:pt x="6885" y="5106"/>
                  </a:lnTo>
                  <a:lnTo>
                    <a:pt x="6885" y="5022"/>
                  </a:lnTo>
                  <a:lnTo>
                    <a:pt x="6822" y="5022"/>
                  </a:lnTo>
                  <a:lnTo>
                    <a:pt x="6780" y="5043"/>
                  </a:lnTo>
                  <a:lnTo>
                    <a:pt x="6780" y="5001"/>
                  </a:lnTo>
                  <a:lnTo>
                    <a:pt x="6822" y="4917"/>
                  </a:lnTo>
                  <a:lnTo>
                    <a:pt x="6801" y="4875"/>
                  </a:lnTo>
                  <a:lnTo>
                    <a:pt x="6717" y="4896"/>
                  </a:lnTo>
                  <a:lnTo>
                    <a:pt x="6676" y="4834"/>
                  </a:lnTo>
                  <a:lnTo>
                    <a:pt x="6592" y="4771"/>
                  </a:lnTo>
                  <a:lnTo>
                    <a:pt x="6404" y="4792"/>
                  </a:lnTo>
                  <a:lnTo>
                    <a:pt x="6320" y="4729"/>
                  </a:lnTo>
                  <a:lnTo>
                    <a:pt x="6362" y="4687"/>
                  </a:lnTo>
                  <a:lnTo>
                    <a:pt x="6487" y="4708"/>
                  </a:lnTo>
                  <a:lnTo>
                    <a:pt x="6529" y="4624"/>
                  </a:lnTo>
                  <a:lnTo>
                    <a:pt x="6634" y="4708"/>
                  </a:lnTo>
                  <a:lnTo>
                    <a:pt x="6738" y="4708"/>
                  </a:lnTo>
                  <a:lnTo>
                    <a:pt x="6780" y="4624"/>
                  </a:lnTo>
                  <a:lnTo>
                    <a:pt x="6885" y="4603"/>
                  </a:lnTo>
                  <a:lnTo>
                    <a:pt x="7052" y="4415"/>
                  </a:lnTo>
                  <a:lnTo>
                    <a:pt x="7052" y="4373"/>
                  </a:lnTo>
                  <a:lnTo>
                    <a:pt x="7136" y="4394"/>
                  </a:lnTo>
                  <a:lnTo>
                    <a:pt x="7136" y="4457"/>
                  </a:lnTo>
                  <a:lnTo>
                    <a:pt x="7031" y="4582"/>
                  </a:lnTo>
                  <a:lnTo>
                    <a:pt x="6989" y="4603"/>
                  </a:lnTo>
                  <a:lnTo>
                    <a:pt x="7010" y="4666"/>
                  </a:lnTo>
                  <a:lnTo>
                    <a:pt x="7094" y="4624"/>
                  </a:lnTo>
                  <a:lnTo>
                    <a:pt x="7220" y="4457"/>
                  </a:lnTo>
                  <a:lnTo>
                    <a:pt x="7241" y="4373"/>
                  </a:lnTo>
                  <a:lnTo>
                    <a:pt x="7157" y="4289"/>
                  </a:lnTo>
                  <a:lnTo>
                    <a:pt x="7136" y="4248"/>
                  </a:lnTo>
                  <a:lnTo>
                    <a:pt x="7199" y="4206"/>
                  </a:lnTo>
                  <a:lnTo>
                    <a:pt x="7261" y="4352"/>
                  </a:lnTo>
                  <a:lnTo>
                    <a:pt x="7345" y="4373"/>
                  </a:lnTo>
                  <a:lnTo>
                    <a:pt x="7450" y="4289"/>
                  </a:lnTo>
                  <a:lnTo>
                    <a:pt x="7617" y="4310"/>
                  </a:lnTo>
                  <a:lnTo>
                    <a:pt x="7722" y="4248"/>
                  </a:lnTo>
                  <a:lnTo>
                    <a:pt x="7868" y="4248"/>
                  </a:lnTo>
                  <a:lnTo>
                    <a:pt x="7973" y="4101"/>
                  </a:lnTo>
                  <a:lnTo>
                    <a:pt x="8057" y="4038"/>
                  </a:lnTo>
                  <a:lnTo>
                    <a:pt x="8182" y="4038"/>
                  </a:lnTo>
                  <a:lnTo>
                    <a:pt x="8203" y="3934"/>
                  </a:lnTo>
                  <a:lnTo>
                    <a:pt x="8287" y="3871"/>
                  </a:lnTo>
                  <a:lnTo>
                    <a:pt x="8454" y="3871"/>
                  </a:lnTo>
                  <a:lnTo>
                    <a:pt x="8580" y="3829"/>
                  </a:lnTo>
                  <a:lnTo>
                    <a:pt x="8663" y="3829"/>
                  </a:lnTo>
                  <a:lnTo>
                    <a:pt x="8663" y="3892"/>
                  </a:lnTo>
                  <a:lnTo>
                    <a:pt x="8768" y="3850"/>
                  </a:lnTo>
                  <a:lnTo>
                    <a:pt x="8789" y="3578"/>
                  </a:lnTo>
                  <a:lnTo>
                    <a:pt x="8873" y="3557"/>
                  </a:lnTo>
                  <a:lnTo>
                    <a:pt x="8998" y="3348"/>
                  </a:lnTo>
                  <a:lnTo>
                    <a:pt x="9291" y="3327"/>
                  </a:lnTo>
                  <a:lnTo>
                    <a:pt x="9396" y="3243"/>
                  </a:lnTo>
                  <a:lnTo>
                    <a:pt x="9354" y="3118"/>
                  </a:lnTo>
                  <a:lnTo>
                    <a:pt x="9438" y="2909"/>
                  </a:lnTo>
                  <a:lnTo>
                    <a:pt x="9417" y="2720"/>
                  </a:lnTo>
                  <a:lnTo>
                    <a:pt x="9228" y="2616"/>
                  </a:lnTo>
                  <a:lnTo>
                    <a:pt x="9291" y="2365"/>
                  </a:lnTo>
                  <a:lnTo>
                    <a:pt x="9396" y="2323"/>
                  </a:lnTo>
                  <a:lnTo>
                    <a:pt x="9500" y="2197"/>
                  </a:lnTo>
                  <a:lnTo>
                    <a:pt x="9500" y="2072"/>
                  </a:lnTo>
                  <a:lnTo>
                    <a:pt x="9417" y="2009"/>
                  </a:lnTo>
                  <a:lnTo>
                    <a:pt x="9354" y="1883"/>
                  </a:lnTo>
                  <a:lnTo>
                    <a:pt x="9291" y="1967"/>
                  </a:lnTo>
                  <a:lnTo>
                    <a:pt x="9103" y="1946"/>
                  </a:lnTo>
                  <a:lnTo>
                    <a:pt x="8935" y="1841"/>
                  </a:lnTo>
                  <a:lnTo>
                    <a:pt x="8810" y="1862"/>
                  </a:lnTo>
                  <a:lnTo>
                    <a:pt x="8705" y="1800"/>
                  </a:lnTo>
                  <a:lnTo>
                    <a:pt x="8559" y="1779"/>
                  </a:lnTo>
                  <a:lnTo>
                    <a:pt x="8349" y="1758"/>
                  </a:lnTo>
                  <a:lnTo>
                    <a:pt x="8266" y="1841"/>
                  </a:lnTo>
                  <a:lnTo>
                    <a:pt x="8203" y="1695"/>
                  </a:lnTo>
                  <a:lnTo>
                    <a:pt x="8057" y="1590"/>
                  </a:lnTo>
                  <a:lnTo>
                    <a:pt x="7931" y="1318"/>
                  </a:lnTo>
                  <a:lnTo>
                    <a:pt x="7826" y="1339"/>
                  </a:lnTo>
                  <a:lnTo>
                    <a:pt x="7638" y="1465"/>
                  </a:lnTo>
                  <a:lnTo>
                    <a:pt x="7513" y="1444"/>
                  </a:lnTo>
                  <a:lnTo>
                    <a:pt x="7366" y="1486"/>
                  </a:lnTo>
                  <a:lnTo>
                    <a:pt x="7220" y="1423"/>
                  </a:lnTo>
                  <a:lnTo>
                    <a:pt x="7115" y="1528"/>
                  </a:lnTo>
                  <a:lnTo>
                    <a:pt x="6843" y="1256"/>
                  </a:lnTo>
                  <a:lnTo>
                    <a:pt x="6780" y="1067"/>
                  </a:lnTo>
                  <a:lnTo>
                    <a:pt x="6780" y="921"/>
                  </a:lnTo>
                  <a:lnTo>
                    <a:pt x="6676" y="921"/>
                  </a:lnTo>
                  <a:lnTo>
                    <a:pt x="6676" y="795"/>
                  </a:lnTo>
                  <a:lnTo>
                    <a:pt x="6529" y="691"/>
                  </a:lnTo>
                  <a:lnTo>
                    <a:pt x="6215" y="732"/>
                  </a:lnTo>
                  <a:lnTo>
                    <a:pt x="6069" y="523"/>
                  </a:lnTo>
                  <a:lnTo>
                    <a:pt x="6111" y="398"/>
                  </a:lnTo>
                  <a:lnTo>
                    <a:pt x="6006" y="293"/>
                  </a:lnTo>
                  <a:lnTo>
                    <a:pt x="5901" y="21"/>
                  </a:lnTo>
                  <a:lnTo>
                    <a:pt x="5776" y="21"/>
                  </a:lnTo>
                  <a:lnTo>
                    <a:pt x="5650" y="105"/>
                  </a:lnTo>
                  <a:lnTo>
                    <a:pt x="5357" y="105"/>
                  </a:lnTo>
                  <a:lnTo>
                    <a:pt x="506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 name="Google Shape;5984;p93">
              <a:extLst>
                <a:ext uri="{FF2B5EF4-FFF2-40B4-BE49-F238E27FC236}">
                  <a16:creationId xmlns:a16="http://schemas.microsoft.com/office/drawing/2014/main" id="{6631BE36-F5FB-41C4-8307-F65893F76934}"/>
                </a:ext>
              </a:extLst>
            </p:cNvPr>
            <p:cNvSpPr/>
            <p:nvPr/>
          </p:nvSpPr>
          <p:spPr>
            <a:xfrm>
              <a:off x="3912027" y="2795073"/>
              <a:ext cx="23684" cy="25236"/>
            </a:xfrm>
            <a:custGeom>
              <a:avLst/>
              <a:gdLst/>
              <a:ahLst/>
              <a:cxnLst/>
              <a:rect l="l" t="t" r="r" b="b"/>
              <a:pathLst>
                <a:path w="1989" h="2219" extrusionOk="0">
                  <a:moveTo>
                    <a:pt x="419" y="0"/>
                  </a:moveTo>
                  <a:lnTo>
                    <a:pt x="398" y="63"/>
                  </a:lnTo>
                  <a:lnTo>
                    <a:pt x="272" y="63"/>
                  </a:lnTo>
                  <a:lnTo>
                    <a:pt x="210" y="105"/>
                  </a:lnTo>
                  <a:lnTo>
                    <a:pt x="105" y="63"/>
                  </a:lnTo>
                  <a:lnTo>
                    <a:pt x="84" y="84"/>
                  </a:lnTo>
                  <a:lnTo>
                    <a:pt x="0" y="63"/>
                  </a:lnTo>
                  <a:lnTo>
                    <a:pt x="42" y="210"/>
                  </a:lnTo>
                  <a:lnTo>
                    <a:pt x="0" y="272"/>
                  </a:lnTo>
                  <a:lnTo>
                    <a:pt x="42" y="419"/>
                  </a:lnTo>
                  <a:lnTo>
                    <a:pt x="251" y="377"/>
                  </a:lnTo>
                  <a:lnTo>
                    <a:pt x="314" y="628"/>
                  </a:lnTo>
                  <a:lnTo>
                    <a:pt x="565" y="837"/>
                  </a:lnTo>
                  <a:lnTo>
                    <a:pt x="586" y="942"/>
                  </a:lnTo>
                  <a:lnTo>
                    <a:pt x="900" y="1214"/>
                  </a:lnTo>
                  <a:lnTo>
                    <a:pt x="921" y="1360"/>
                  </a:lnTo>
                  <a:lnTo>
                    <a:pt x="1026" y="1528"/>
                  </a:lnTo>
                  <a:lnTo>
                    <a:pt x="1005" y="2072"/>
                  </a:lnTo>
                  <a:lnTo>
                    <a:pt x="1088" y="2218"/>
                  </a:lnTo>
                  <a:lnTo>
                    <a:pt x="1151" y="2177"/>
                  </a:lnTo>
                  <a:lnTo>
                    <a:pt x="1256" y="2197"/>
                  </a:lnTo>
                  <a:lnTo>
                    <a:pt x="1256" y="2093"/>
                  </a:lnTo>
                  <a:lnTo>
                    <a:pt x="1360" y="1884"/>
                  </a:lnTo>
                  <a:lnTo>
                    <a:pt x="1423" y="1905"/>
                  </a:lnTo>
                  <a:lnTo>
                    <a:pt x="1423" y="1758"/>
                  </a:lnTo>
                  <a:lnTo>
                    <a:pt x="1444" y="1549"/>
                  </a:lnTo>
                  <a:lnTo>
                    <a:pt x="1549" y="1549"/>
                  </a:lnTo>
                  <a:lnTo>
                    <a:pt x="1716" y="1486"/>
                  </a:lnTo>
                  <a:lnTo>
                    <a:pt x="1779" y="1570"/>
                  </a:lnTo>
                  <a:lnTo>
                    <a:pt x="1967" y="1570"/>
                  </a:lnTo>
                  <a:lnTo>
                    <a:pt x="1988" y="1528"/>
                  </a:lnTo>
                  <a:lnTo>
                    <a:pt x="1925" y="1423"/>
                  </a:lnTo>
                  <a:lnTo>
                    <a:pt x="1946" y="1319"/>
                  </a:lnTo>
                  <a:lnTo>
                    <a:pt x="1925" y="1214"/>
                  </a:lnTo>
                  <a:lnTo>
                    <a:pt x="1758" y="1109"/>
                  </a:lnTo>
                  <a:lnTo>
                    <a:pt x="1612" y="963"/>
                  </a:lnTo>
                  <a:lnTo>
                    <a:pt x="1612" y="921"/>
                  </a:lnTo>
                  <a:lnTo>
                    <a:pt x="1465" y="858"/>
                  </a:lnTo>
                  <a:lnTo>
                    <a:pt x="1465" y="712"/>
                  </a:lnTo>
                  <a:lnTo>
                    <a:pt x="1444" y="524"/>
                  </a:lnTo>
                  <a:lnTo>
                    <a:pt x="1298" y="440"/>
                  </a:lnTo>
                  <a:lnTo>
                    <a:pt x="1109" y="272"/>
                  </a:lnTo>
                  <a:lnTo>
                    <a:pt x="1047" y="272"/>
                  </a:lnTo>
                  <a:lnTo>
                    <a:pt x="1026" y="314"/>
                  </a:lnTo>
                  <a:lnTo>
                    <a:pt x="837" y="314"/>
                  </a:lnTo>
                  <a:lnTo>
                    <a:pt x="670" y="126"/>
                  </a:lnTo>
                  <a:lnTo>
                    <a:pt x="523" y="126"/>
                  </a:lnTo>
                  <a:lnTo>
                    <a:pt x="41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 name="Google Shape;5985;p93">
              <a:extLst>
                <a:ext uri="{FF2B5EF4-FFF2-40B4-BE49-F238E27FC236}">
                  <a16:creationId xmlns:a16="http://schemas.microsoft.com/office/drawing/2014/main" id="{7815BD35-E4C9-4F35-BDC6-44145C0149E2}"/>
                </a:ext>
              </a:extLst>
            </p:cNvPr>
            <p:cNvSpPr/>
            <p:nvPr/>
          </p:nvSpPr>
          <p:spPr>
            <a:xfrm>
              <a:off x="3874161" y="2799361"/>
              <a:ext cx="60800" cy="37131"/>
            </a:xfrm>
            <a:custGeom>
              <a:avLst/>
              <a:gdLst/>
              <a:ahLst/>
              <a:cxnLst/>
              <a:rect l="l" t="t" r="r" b="b"/>
              <a:pathLst>
                <a:path w="5106" h="3265" extrusionOk="0">
                  <a:moveTo>
                    <a:pt x="3431" y="0"/>
                  </a:moveTo>
                  <a:lnTo>
                    <a:pt x="3076" y="63"/>
                  </a:lnTo>
                  <a:lnTo>
                    <a:pt x="2950" y="147"/>
                  </a:lnTo>
                  <a:lnTo>
                    <a:pt x="2553" y="209"/>
                  </a:lnTo>
                  <a:lnTo>
                    <a:pt x="2448" y="335"/>
                  </a:lnTo>
                  <a:lnTo>
                    <a:pt x="2323" y="335"/>
                  </a:lnTo>
                  <a:lnTo>
                    <a:pt x="2176" y="377"/>
                  </a:lnTo>
                  <a:lnTo>
                    <a:pt x="2030" y="335"/>
                  </a:lnTo>
                  <a:lnTo>
                    <a:pt x="1988" y="230"/>
                  </a:lnTo>
                  <a:lnTo>
                    <a:pt x="1820" y="167"/>
                  </a:lnTo>
                  <a:lnTo>
                    <a:pt x="1674" y="147"/>
                  </a:lnTo>
                  <a:lnTo>
                    <a:pt x="1465" y="42"/>
                  </a:lnTo>
                  <a:lnTo>
                    <a:pt x="1360" y="42"/>
                  </a:lnTo>
                  <a:lnTo>
                    <a:pt x="1276" y="126"/>
                  </a:lnTo>
                  <a:lnTo>
                    <a:pt x="1151" y="126"/>
                  </a:lnTo>
                  <a:lnTo>
                    <a:pt x="1172" y="147"/>
                  </a:lnTo>
                  <a:lnTo>
                    <a:pt x="1130" y="272"/>
                  </a:lnTo>
                  <a:lnTo>
                    <a:pt x="962" y="314"/>
                  </a:lnTo>
                  <a:lnTo>
                    <a:pt x="858" y="544"/>
                  </a:lnTo>
                  <a:lnTo>
                    <a:pt x="732" y="879"/>
                  </a:lnTo>
                  <a:lnTo>
                    <a:pt x="523" y="1193"/>
                  </a:lnTo>
                  <a:lnTo>
                    <a:pt x="544" y="1297"/>
                  </a:lnTo>
                  <a:lnTo>
                    <a:pt x="439" y="1402"/>
                  </a:lnTo>
                  <a:lnTo>
                    <a:pt x="293" y="1381"/>
                  </a:lnTo>
                  <a:lnTo>
                    <a:pt x="230" y="1486"/>
                  </a:lnTo>
                  <a:lnTo>
                    <a:pt x="126" y="1507"/>
                  </a:lnTo>
                  <a:lnTo>
                    <a:pt x="0" y="1632"/>
                  </a:lnTo>
                  <a:lnTo>
                    <a:pt x="126" y="1674"/>
                  </a:lnTo>
                  <a:lnTo>
                    <a:pt x="146" y="1737"/>
                  </a:lnTo>
                  <a:lnTo>
                    <a:pt x="335" y="1946"/>
                  </a:lnTo>
                  <a:lnTo>
                    <a:pt x="356" y="2051"/>
                  </a:lnTo>
                  <a:lnTo>
                    <a:pt x="523" y="2134"/>
                  </a:lnTo>
                  <a:lnTo>
                    <a:pt x="670" y="2260"/>
                  </a:lnTo>
                  <a:lnTo>
                    <a:pt x="607" y="2406"/>
                  </a:lnTo>
                  <a:lnTo>
                    <a:pt x="628" y="2448"/>
                  </a:lnTo>
                  <a:lnTo>
                    <a:pt x="837" y="2532"/>
                  </a:lnTo>
                  <a:lnTo>
                    <a:pt x="879" y="2616"/>
                  </a:lnTo>
                  <a:lnTo>
                    <a:pt x="983" y="2574"/>
                  </a:lnTo>
                  <a:lnTo>
                    <a:pt x="1088" y="2657"/>
                  </a:lnTo>
                  <a:lnTo>
                    <a:pt x="1172" y="2532"/>
                  </a:lnTo>
                  <a:lnTo>
                    <a:pt x="1381" y="2553"/>
                  </a:lnTo>
                  <a:lnTo>
                    <a:pt x="1276" y="2678"/>
                  </a:lnTo>
                  <a:lnTo>
                    <a:pt x="1297" y="2762"/>
                  </a:lnTo>
                  <a:lnTo>
                    <a:pt x="1339" y="2888"/>
                  </a:lnTo>
                  <a:lnTo>
                    <a:pt x="1486" y="2888"/>
                  </a:lnTo>
                  <a:lnTo>
                    <a:pt x="1569" y="2971"/>
                  </a:lnTo>
                  <a:lnTo>
                    <a:pt x="1569" y="3055"/>
                  </a:lnTo>
                  <a:lnTo>
                    <a:pt x="1507" y="3097"/>
                  </a:lnTo>
                  <a:lnTo>
                    <a:pt x="1590" y="3201"/>
                  </a:lnTo>
                  <a:lnTo>
                    <a:pt x="1716" y="3139"/>
                  </a:lnTo>
                  <a:lnTo>
                    <a:pt x="1883" y="3139"/>
                  </a:lnTo>
                  <a:lnTo>
                    <a:pt x="1925" y="3201"/>
                  </a:lnTo>
                  <a:lnTo>
                    <a:pt x="1988" y="3180"/>
                  </a:lnTo>
                  <a:lnTo>
                    <a:pt x="2197" y="3264"/>
                  </a:lnTo>
                  <a:lnTo>
                    <a:pt x="2343" y="3180"/>
                  </a:lnTo>
                  <a:lnTo>
                    <a:pt x="2490" y="3201"/>
                  </a:lnTo>
                  <a:lnTo>
                    <a:pt x="2553" y="3160"/>
                  </a:lnTo>
                  <a:lnTo>
                    <a:pt x="2699" y="3201"/>
                  </a:lnTo>
                  <a:lnTo>
                    <a:pt x="2804" y="3201"/>
                  </a:lnTo>
                  <a:lnTo>
                    <a:pt x="3013" y="3243"/>
                  </a:lnTo>
                  <a:lnTo>
                    <a:pt x="3076" y="3180"/>
                  </a:lnTo>
                  <a:lnTo>
                    <a:pt x="3222" y="3139"/>
                  </a:lnTo>
                  <a:lnTo>
                    <a:pt x="3264" y="3055"/>
                  </a:lnTo>
                  <a:lnTo>
                    <a:pt x="3599" y="2888"/>
                  </a:lnTo>
                  <a:lnTo>
                    <a:pt x="3766" y="2867"/>
                  </a:lnTo>
                  <a:lnTo>
                    <a:pt x="3955" y="2888"/>
                  </a:lnTo>
                  <a:lnTo>
                    <a:pt x="4122" y="2971"/>
                  </a:lnTo>
                  <a:lnTo>
                    <a:pt x="4185" y="3034"/>
                  </a:lnTo>
                  <a:lnTo>
                    <a:pt x="4289" y="2992"/>
                  </a:lnTo>
                  <a:lnTo>
                    <a:pt x="4436" y="3055"/>
                  </a:lnTo>
                  <a:lnTo>
                    <a:pt x="4478" y="3139"/>
                  </a:lnTo>
                  <a:lnTo>
                    <a:pt x="4603" y="3139"/>
                  </a:lnTo>
                  <a:lnTo>
                    <a:pt x="4582" y="2992"/>
                  </a:lnTo>
                  <a:lnTo>
                    <a:pt x="4624" y="2888"/>
                  </a:lnTo>
                  <a:lnTo>
                    <a:pt x="4624" y="2720"/>
                  </a:lnTo>
                  <a:lnTo>
                    <a:pt x="4603" y="2636"/>
                  </a:lnTo>
                  <a:lnTo>
                    <a:pt x="4645" y="2553"/>
                  </a:lnTo>
                  <a:lnTo>
                    <a:pt x="4708" y="2427"/>
                  </a:lnTo>
                  <a:lnTo>
                    <a:pt x="4896" y="2427"/>
                  </a:lnTo>
                  <a:lnTo>
                    <a:pt x="5022" y="2406"/>
                  </a:lnTo>
                  <a:lnTo>
                    <a:pt x="5105" y="2239"/>
                  </a:lnTo>
                  <a:lnTo>
                    <a:pt x="5105" y="2155"/>
                  </a:lnTo>
                  <a:lnTo>
                    <a:pt x="5043" y="2113"/>
                  </a:lnTo>
                  <a:lnTo>
                    <a:pt x="5105" y="2051"/>
                  </a:lnTo>
                  <a:lnTo>
                    <a:pt x="5001" y="1988"/>
                  </a:lnTo>
                  <a:lnTo>
                    <a:pt x="4812" y="1988"/>
                  </a:lnTo>
                  <a:lnTo>
                    <a:pt x="4729" y="2051"/>
                  </a:lnTo>
                  <a:lnTo>
                    <a:pt x="4520" y="2051"/>
                  </a:lnTo>
                  <a:lnTo>
                    <a:pt x="4373" y="2009"/>
                  </a:lnTo>
                  <a:lnTo>
                    <a:pt x="4268" y="1841"/>
                  </a:lnTo>
                  <a:lnTo>
                    <a:pt x="4185" y="1695"/>
                  </a:lnTo>
                  <a:lnTo>
                    <a:pt x="4206" y="1151"/>
                  </a:lnTo>
                  <a:lnTo>
                    <a:pt x="4101" y="983"/>
                  </a:lnTo>
                  <a:lnTo>
                    <a:pt x="4080" y="837"/>
                  </a:lnTo>
                  <a:lnTo>
                    <a:pt x="3766" y="565"/>
                  </a:lnTo>
                  <a:lnTo>
                    <a:pt x="3745" y="460"/>
                  </a:lnTo>
                  <a:lnTo>
                    <a:pt x="3494" y="251"/>
                  </a:lnTo>
                  <a:lnTo>
                    <a:pt x="343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 name="Google Shape;5986;p93">
              <a:extLst>
                <a:ext uri="{FF2B5EF4-FFF2-40B4-BE49-F238E27FC236}">
                  <a16:creationId xmlns:a16="http://schemas.microsoft.com/office/drawing/2014/main" id="{5A7D4B82-9848-4CBA-941C-EE16C3A8F317}"/>
                </a:ext>
              </a:extLst>
            </p:cNvPr>
            <p:cNvSpPr/>
            <p:nvPr/>
          </p:nvSpPr>
          <p:spPr>
            <a:xfrm>
              <a:off x="3889355" y="2831954"/>
              <a:ext cx="39878" cy="24041"/>
            </a:xfrm>
            <a:custGeom>
              <a:avLst/>
              <a:gdLst/>
              <a:ahLst/>
              <a:cxnLst/>
              <a:rect l="l" t="t" r="r" b="b"/>
              <a:pathLst>
                <a:path w="3349" h="2114" extrusionOk="0">
                  <a:moveTo>
                    <a:pt x="2490" y="1"/>
                  </a:moveTo>
                  <a:lnTo>
                    <a:pt x="2323" y="22"/>
                  </a:lnTo>
                  <a:lnTo>
                    <a:pt x="1988" y="189"/>
                  </a:lnTo>
                  <a:lnTo>
                    <a:pt x="1946" y="273"/>
                  </a:lnTo>
                  <a:lnTo>
                    <a:pt x="1800" y="314"/>
                  </a:lnTo>
                  <a:lnTo>
                    <a:pt x="1737" y="377"/>
                  </a:lnTo>
                  <a:lnTo>
                    <a:pt x="1528" y="335"/>
                  </a:lnTo>
                  <a:lnTo>
                    <a:pt x="1423" y="335"/>
                  </a:lnTo>
                  <a:lnTo>
                    <a:pt x="1277" y="294"/>
                  </a:lnTo>
                  <a:lnTo>
                    <a:pt x="1214" y="335"/>
                  </a:lnTo>
                  <a:lnTo>
                    <a:pt x="1067" y="314"/>
                  </a:lnTo>
                  <a:lnTo>
                    <a:pt x="921" y="398"/>
                  </a:lnTo>
                  <a:lnTo>
                    <a:pt x="712" y="314"/>
                  </a:lnTo>
                  <a:lnTo>
                    <a:pt x="649" y="335"/>
                  </a:lnTo>
                  <a:lnTo>
                    <a:pt x="607" y="273"/>
                  </a:lnTo>
                  <a:lnTo>
                    <a:pt x="440" y="273"/>
                  </a:lnTo>
                  <a:lnTo>
                    <a:pt x="314" y="335"/>
                  </a:lnTo>
                  <a:lnTo>
                    <a:pt x="231" y="231"/>
                  </a:lnTo>
                  <a:lnTo>
                    <a:pt x="293" y="189"/>
                  </a:lnTo>
                  <a:lnTo>
                    <a:pt x="293" y="105"/>
                  </a:lnTo>
                  <a:lnTo>
                    <a:pt x="210" y="22"/>
                  </a:lnTo>
                  <a:lnTo>
                    <a:pt x="63" y="22"/>
                  </a:lnTo>
                  <a:lnTo>
                    <a:pt x="84" y="126"/>
                  </a:lnTo>
                  <a:lnTo>
                    <a:pt x="0" y="210"/>
                  </a:lnTo>
                  <a:lnTo>
                    <a:pt x="63" y="440"/>
                  </a:lnTo>
                  <a:lnTo>
                    <a:pt x="231" y="628"/>
                  </a:lnTo>
                  <a:lnTo>
                    <a:pt x="314" y="754"/>
                  </a:lnTo>
                  <a:lnTo>
                    <a:pt x="272" y="900"/>
                  </a:lnTo>
                  <a:lnTo>
                    <a:pt x="63" y="1068"/>
                  </a:lnTo>
                  <a:lnTo>
                    <a:pt x="84" y="1172"/>
                  </a:lnTo>
                  <a:lnTo>
                    <a:pt x="168" y="1277"/>
                  </a:lnTo>
                  <a:lnTo>
                    <a:pt x="105" y="1382"/>
                  </a:lnTo>
                  <a:lnTo>
                    <a:pt x="335" y="1570"/>
                  </a:lnTo>
                  <a:lnTo>
                    <a:pt x="503" y="1842"/>
                  </a:lnTo>
                  <a:lnTo>
                    <a:pt x="523" y="1988"/>
                  </a:lnTo>
                  <a:lnTo>
                    <a:pt x="523" y="2093"/>
                  </a:lnTo>
                  <a:lnTo>
                    <a:pt x="607" y="2114"/>
                  </a:lnTo>
                  <a:lnTo>
                    <a:pt x="795" y="2114"/>
                  </a:lnTo>
                  <a:lnTo>
                    <a:pt x="942" y="2093"/>
                  </a:lnTo>
                  <a:lnTo>
                    <a:pt x="1026" y="1988"/>
                  </a:lnTo>
                  <a:lnTo>
                    <a:pt x="1172" y="2009"/>
                  </a:lnTo>
                  <a:lnTo>
                    <a:pt x="1319" y="2009"/>
                  </a:lnTo>
                  <a:lnTo>
                    <a:pt x="1339" y="2114"/>
                  </a:lnTo>
                  <a:lnTo>
                    <a:pt x="1444" y="2114"/>
                  </a:lnTo>
                  <a:lnTo>
                    <a:pt x="1528" y="2051"/>
                  </a:lnTo>
                  <a:lnTo>
                    <a:pt x="1653" y="2051"/>
                  </a:lnTo>
                  <a:lnTo>
                    <a:pt x="1737" y="2114"/>
                  </a:lnTo>
                  <a:lnTo>
                    <a:pt x="1863" y="2072"/>
                  </a:lnTo>
                  <a:lnTo>
                    <a:pt x="2093" y="2072"/>
                  </a:lnTo>
                  <a:lnTo>
                    <a:pt x="2176" y="2009"/>
                  </a:lnTo>
                  <a:lnTo>
                    <a:pt x="2114" y="1905"/>
                  </a:lnTo>
                  <a:lnTo>
                    <a:pt x="2114" y="1779"/>
                  </a:lnTo>
                  <a:lnTo>
                    <a:pt x="2281" y="1675"/>
                  </a:lnTo>
                  <a:lnTo>
                    <a:pt x="2323" y="1675"/>
                  </a:lnTo>
                  <a:lnTo>
                    <a:pt x="2427" y="1570"/>
                  </a:lnTo>
                  <a:lnTo>
                    <a:pt x="2511" y="1570"/>
                  </a:lnTo>
                  <a:lnTo>
                    <a:pt x="2595" y="1486"/>
                  </a:lnTo>
                  <a:lnTo>
                    <a:pt x="2741" y="1486"/>
                  </a:lnTo>
                  <a:lnTo>
                    <a:pt x="2909" y="1633"/>
                  </a:lnTo>
                  <a:lnTo>
                    <a:pt x="3013" y="1549"/>
                  </a:lnTo>
                  <a:lnTo>
                    <a:pt x="3118" y="1570"/>
                  </a:lnTo>
                  <a:lnTo>
                    <a:pt x="3034" y="1444"/>
                  </a:lnTo>
                  <a:lnTo>
                    <a:pt x="2930" y="1256"/>
                  </a:lnTo>
                  <a:lnTo>
                    <a:pt x="2825" y="1256"/>
                  </a:lnTo>
                  <a:lnTo>
                    <a:pt x="2804" y="1172"/>
                  </a:lnTo>
                  <a:lnTo>
                    <a:pt x="2951" y="1068"/>
                  </a:lnTo>
                  <a:lnTo>
                    <a:pt x="3013" y="942"/>
                  </a:lnTo>
                  <a:lnTo>
                    <a:pt x="2992" y="712"/>
                  </a:lnTo>
                  <a:lnTo>
                    <a:pt x="3139" y="545"/>
                  </a:lnTo>
                  <a:lnTo>
                    <a:pt x="3244" y="586"/>
                  </a:lnTo>
                  <a:lnTo>
                    <a:pt x="3327" y="503"/>
                  </a:lnTo>
                  <a:lnTo>
                    <a:pt x="3348" y="294"/>
                  </a:lnTo>
                  <a:lnTo>
                    <a:pt x="3327" y="273"/>
                  </a:lnTo>
                  <a:lnTo>
                    <a:pt x="3202" y="273"/>
                  </a:lnTo>
                  <a:lnTo>
                    <a:pt x="3160" y="189"/>
                  </a:lnTo>
                  <a:lnTo>
                    <a:pt x="3013" y="126"/>
                  </a:lnTo>
                  <a:lnTo>
                    <a:pt x="2909" y="168"/>
                  </a:lnTo>
                  <a:lnTo>
                    <a:pt x="2846" y="105"/>
                  </a:lnTo>
                  <a:lnTo>
                    <a:pt x="2679" y="22"/>
                  </a:lnTo>
                  <a:lnTo>
                    <a:pt x="249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04" name="Google Shape;5987;p93">
              <a:extLst>
                <a:ext uri="{FF2B5EF4-FFF2-40B4-BE49-F238E27FC236}">
                  <a16:creationId xmlns:a16="http://schemas.microsoft.com/office/drawing/2014/main" id="{D674FA71-C497-456A-909E-0A51E8A61AE6}"/>
                </a:ext>
              </a:extLst>
            </p:cNvPr>
            <p:cNvGrpSpPr/>
            <p:nvPr/>
          </p:nvGrpSpPr>
          <p:grpSpPr>
            <a:xfrm>
              <a:off x="3831056" y="2816010"/>
              <a:ext cx="37378" cy="27612"/>
              <a:chOff x="3866750" y="2520350"/>
              <a:chExt cx="78475" cy="60700"/>
            </a:xfrm>
          </p:grpSpPr>
          <p:sp>
            <p:nvSpPr>
              <p:cNvPr id="1285" name="Google Shape;5988;p93">
                <a:extLst>
                  <a:ext uri="{FF2B5EF4-FFF2-40B4-BE49-F238E27FC236}">
                    <a16:creationId xmlns:a16="http://schemas.microsoft.com/office/drawing/2014/main" id="{2BC43FB5-8B2B-45D8-B966-7C3458D180CE}"/>
                  </a:ext>
                </a:extLst>
              </p:cNvPr>
              <p:cNvSpPr/>
              <p:nvPr/>
            </p:nvSpPr>
            <p:spPr>
              <a:xfrm>
                <a:off x="3877200" y="2546500"/>
                <a:ext cx="4725" cy="6300"/>
              </a:xfrm>
              <a:custGeom>
                <a:avLst/>
                <a:gdLst/>
                <a:ahLst/>
                <a:cxnLst/>
                <a:rect l="l" t="t" r="r" b="b"/>
                <a:pathLst>
                  <a:path w="189" h="252" extrusionOk="0">
                    <a:moveTo>
                      <a:pt x="1" y="1"/>
                    </a:moveTo>
                    <a:lnTo>
                      <a:pt x="84" y="126"/>
                    </a:lnTo>
                    <a:lnTo>
                      <a:pt x="63" y="147"/>
                    </a:lnTo>
                    <a:lnTo>
                      <a:pt x="168" y="252"/>
                    </a:lnTo>
                    <a:lnTo>
                      <a:pt x="189" y="252"/>
                    </a:lnTo>
                    <a:lnTo>
                      <a:pt x="168" y="106"/>
                    </a:lnTo>
                    <a:lnTo>
                      <a:pt x="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 name="Google Shape;5989;p93">
                <a:extLst>
                  <a:ext uri="{FF2B5EF4-FFF2-40B4-BE49-F238E27FC236}">
                    <a16:creationId xmlns:a16="http://schemas.microsoft.com/office/drawing/2014/main" id="{3DDF6174-9EAC-4850-BE3A-617C1B46BF2B}"/>
                  </a:ext>
                </a:extLst>
              </p:cNvPr>
              <p:cNvSpPr/>
              <p:nvPr/>
            </p:nvSpPr>
            <p:spPr>
              <a:xfrm>
                <a:off x="3882425" y="2554350"/>
                <a:ext cx="2650" cy="3175"/>
              </a:xfrm>
              <a:custGeom>
                <a:avLst/>
                <a:gdLst/>
                <a:ahLst/>
                <a:cxnLst/>
                <a:rect l="l" t="t" r="r" b="b"/>
                <a:pathLst>
                  <a:path w="106" h="127" extrusionOk="0">
                    <a:moveTo>
                      <a:pt x="1" y="1"/>
                    </a:moveTo>
                    <a:lnTo>
                      <a:pt x="106" y="126"/>
                    </a:lnTo>
                    <a:lnTo>
                      <a:pt x="85" y="43"/>
                    </a:lnTo>
                    <a:lnTo>
                      <a:pt x="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 name="Google Shape;5990;p93">
                <a:extLst>
                  <a:ext uri="{FF2B5EF4-FFF2-40B4-BE49-F238E27FC236}">
                    <a16:creationId xmlns:a16="http://schemas.microsoft.com/office/drawing/2014/main" id="{705E7628-24E8-41F7-8224-958C1DB1E100}"/>
                  </a:ext>
                </a:extLst>
              </p:cNvPr>
              <p:cNvSpPr/>
              <p:nvPr/>
            </p:nvSpPr>
            <p:spPr>
              <a:xfrm>
                <a:off x="3866750" y="2520350"/>
                <a:ext cx="78475" cy="60700"/>
              </a:xfrm>
              <a:custGeom>
                <a:avLst/>
                <a:gdLst/>
                <a:ahLst/>
                <a:cxnLst/>
                <a:rect l="l" t="t" r="r" b="b"/>
                <a:pathLst>
                  <a:path w="3139" h="2428" extrusionOk="0">
                    <a:moveTo>
                      <a:pt x="1653" y="1"/>
                    </a:moveTo>
                    <a:lnTo>
                      <a:pt x="1653" y="22"/>
                    </a:lnTo>
                    <a:lnTo>
                      <a:pt x="1402" y="22"/>
                    </a:lnTo>
                    <a:lnTo>
                      <a:pt x="1046" y="210"/>
                    </a:lnTo>
                    <a:lnTo>
                      <a:pt x="1025" y="356"/>
                    </a:lnTo>
                    <a:lnTo>
                      <a:pt x="837" y="440"/>
                    </a:lnTo>
                    <a:lnTo>
                      <a:pt x="816" y="649"/>
                    </a:lnTo>
                    <a:lnTo>
                      <a:pt x="691" y="649"/>
                    </a:lnTo>
                    <a:lnTo>
                      <a:pt x="481" y="545"/>
                    </a:lnTo>
                    <a:lnTo>
                      <a:pt x="356" y="587"/>
                    </a:lnTo>
                    <a:lnTo>
                      <a:pt x="209" y="691"/>
                    </a:lnTo>
                    <a:lnTo>
                      <a:pt x="0" y="691"/>
                    </a:lnTo>
                    <a:lnTo>
                      <a:pt x="0" y="733"/>
                    </a:lnTo>
                    <a:lnTo>
                      <a:pt x="42" y="942"/>
                    </a:lnTo>
                    <a:lnTo>
                      <a:pt x="168" y="1068"/>
                    </a:lnTo>
                    <a:lnTo>
                      <a:pt x="168" y="1110"/>
                    </a:lnTo>
                    <a:lnTo>
                      <a:pt x="209" y="1152"/>
                    </a:lnTo>
                    <a:lnTo>
                      <a:pt x="356" y="942"/>
                    </a:lnTo>
                    <a:lnTo>
                      <a:pt x="377" y="796"/>
                    </a:lnTo>
                    <a:lnTo>
                      <a:pt x="461" y="691"/>
                    </a:lnTo>
                    <a:lnTo>
                      <a:pt x="607" y="691"/>
                    </a:lnTo>
                    <a:lnTo>
                      <a:pt x="628" y="796"/>
                    </a:lnTo>
                    <a:lnTo>
                      <a:pt x="733" y="900"/>
                    </a:lnTo>
                    <a:lnTo>
                      <a:pt x="774" y="1068"/>
                    </a:lnTo>
                    <a:lnTo>
                      <a:pt x="879" y="1256"/>
                    </a:lnTo>
                    <a:lnTo>
                      <a:pt x="1025" y="1403"/>
                    </a:lnTo>
                    <a:lnTo>
                      <a:pt x="1088" y="1403"/>
                    </a:lnTo>
                    <a:lnTo>
                      <a:pt x="1193" y="1507"/>
                    </a:lnTo>
                    <a:lnTo>
                      <a:pt x="1088" y="1486"/>
                    </a:lnTo>
                    <a:lnTo>
                      <a:pt x="1005" y="1507"/>
                    </a:lnTo>
                    <a:lnTo>
                      <a:pt x="942" y="1591"/>
                    </a:lnTo>
                    <a:lnTo>
                      <a:pt x="1005" y="1696"/>
                    </a:lnTo>
                    <a:lnTo>
                      <a:pt x="1130" y="1696"/>
                    </a:lnTo>
                    <a:lnTo>
                      <a:pt x="1256" y="1821"/>
                    </a:lnTo>
                    <a:lnTo>
                      <a:pt x="1360" y="1842"/>
                    </a:lnTo>
                    <a:lnTo>
                      <a:pt x="1423" y="1947"/>
                    </a:lnTo>
                    <a:lnTo>
                      <a:pt x="1465" y="2030"/>
                    </a:lnTo>
                    <a:lnTo>
                      <a:pt x="1611" y="2009"/>
                    </a:lnTo>
                    <a:lnTo>
                      <a:pt x="1862" y="2030"/>
                    </a:lnTo>
                    <a:lnTo>
                      <a:pt x="1988" y="2093"/>
                    </a:lnTo>
                    <a:lnTo>
                      <a:pt x="2281" y="2365"/>
                    </a:lnTo>
                    <a:lnTo>
                      <a:pt x="2197" y="2407"/>
                    </a:lnTo>
                    <a:lnTo>
                      <a:pt x="2072" y="2323"/>
                    </a:lnTo>
                    <a:lnTo>
                      <a:pt x="2155" y="2407"/>
                    </a:lnTo>
                    <a:lnTo>
                      <a:pt x="2260" y="2428"/>
                    </a:lnTo>
                    <a:lnTo>
                      <a:pt x="2302" y="2344"/>
                    </a:lnTo>
                    <a:lnTo>
                      <a:pt x="1925" y="1884"/>
                    </a:lnTo>
                    <a:lnTo>
                      <a:pt x="1444" y="1486"/>
                    </a:lnTo>
                    <a:lnTo>
                      <a:pt x="1423" y="1403"/>
                    </a:lnTo>
                    <a:lnTo>
                      <a:pt x="1465" y="1382"/>
                    </a:lnTo>
                    <a:lnTo>
                      <a:pt x="1402" y="1277"/>
                    </a:lnTo>
                    <a:lnTo>
                      <a:pt x="1360" y="1172"/>
                    </a:lnTo>
                    <a:lnTo>
                      <a:pt x="1235" y="1047"/>
                    </a:lnTo>
                    <a:lnTo>
                      <a:pt x="1193" y="1047"/>
                    </a:lnTo>
                    <a:lnTo>
                      <a:pt x="1151" y="963"/>
                    </a:lnTo>
                    <a:lnTo>
                      <a:pt x="1214" y="900"/>
                    </a:lnTo>
                    <a:lnTo>
                      <a:pt x="1214" y="775"/>
                    </a:lnTo>
                    <a:lnTo>
                      <a:pt x="1256" y="733"/>
                    </a:lnTo>
                    <a:lnTo>
                      <a:pt x="1402" y="838"/>
                    </a:lnTo>
                    <a:lnTo>
                      <a:pt x="1444" y="900"/>
                    </a:lnTo>
                    <a:lnTo>
                      <a:pt x="1528" y="880"/>
                    </a:lnTo>
                    <a:lnTo>
                      <a:pt x="1528" y="796"/>
                    </a:lnTo>
                    <a:lnTo>
                      <a:pt x="1632" y="775"/>
                    </a:lnTo>
                    <a:lnTo>
                      <a:pt x="1716" y="796"/>
                    </a:lnTo>
                    <a:lnTo>
                      <a:pt x="1758" y="733"/>
                    </a:lnTo>
                    <a:lnTo>
                      <a:pt x="1841" y="775"/>
                    </a:lnTo>
                    <a:lnTo>
                      <a:pt x="1883" y="733"/>
                    </a:lnTo>
                    <a:lnTo>
                      <a:pt x="1988" y="754"/>
                    </a:lnTo>
                    <a:lnTo>
                      <a:pt x="2051" y="859"/>
                    </a:lnTo>
                    <a:lnTo>
                      <a:pt x="2093" y="796"/>
                    </a:lnTo>
                    <a:lnTo>
                      <a:pt x="2239" y="859"/>
                    </a:lnTo>
                    <a:lnTo>
                      <a:pt x="2344" y="796"/>
                    </a:lnTo>
                    <a:lnTo>
                      <a:pt x="2365" y="859"/>
                    </a:lnTo>
                    <a:lnTo>
                      <a:pt x="2490" y="838"/>
                    </a:lnTo>
                    <a:lnTo>
                      <a:pt x="2616" y="880"/>
                    </a:lnTo>
                    <a:lnTo>
                      <a:pt x="2699" y="859"/>
                    </a:lnTo>
                    <a:lnTo>
                      <a:pt x="2804" y="963"/>
                    </a:lnTo>
                    <a:lnTo>
                      <a:pt x="2971" y="963"/>
                    </a:lnTo>
                    <a:lnTo>
                      <a:pt x="2992" y="984"/>
                    </a:lnTo>
                    <a:lnTo>
                      <a:pt x="2971" y="880"/>
                    </a:lnTo>
                    <a:lnTo>
                      <a:pt x="3097" y="859"/>
                    </a:lnTo>
                    <a:lnTo>
                      <a:pt x="3139" y="859"/>
                    </a:lnTo>
                    <a:lnTo>
                      <a:pt x="3139" y="796"/>
                    </a:lnTo>
                    <a:lnTo>
                      <a:pt x="3034" y="775"/>
                    </a:lnTo>
                    <a:lnTo>
                      <a:pt x="2971" y="733"/>
                    </a:lnTo>
                    <a:lnTo>
                      <a:pt x="2930" y="566"/>
                    </a:lnTo>
                    <a:lnTo>
                      <a:pt x="2888" y="419"/>
                    </a:lnTo>
                    <a:lnTo>
                      <a:pt x="2804" y="356"/>
                    </a:lnTo>
                    <a:lnTo>
                      <a:pt x="2699" y="482"/>
                    </a:lnTo>
                    <a:lnTo>
                      <a:pt x="2490" y="419"/>
                    </a:lnTo>
                    <a:lnTo>
                      <a:pt x="2197" y="356"/>
                    </a:lnTo>
                    <a:lnTo>
                      <a:pt x="2093" y="273"/>
                    </a:lnTo>
                    <a:lnTo>
                      <a:pt x="1988" y="231"/>
                    </a:lnTo>
                    <a:lnTo>
                      <a:pt x="1737" y="22"/>
                    </a:lnTo>
                    <a:lnTo>
                      <a:pt x="165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 name="Google Shape;5991;p93">
                <a:extLst>
                  <a:ext uri="{FF2B5EF4-FFF2-40B4-BE49-F238E27FC236}">
                    <a16:creationId xmlns:a16="http://schemas.microsoft.com/office/drawing/2014/main" id="{56526B86-5180-47AD-9E2C-22E9FBA05AE6}"/>
                  </a:ext>
                </a:extLst>
              </p:cNvPr>
              <p:cNvSpPr/>
              <p:nvPr/>
            </p:nvSpPr>
            <p:spPr>
              <a:xfrm>
                <a:off x="3886100" y="2558550"/>
                <a:ext cx="3675" cy="5250"/>
              </a:xfrm>
              <a:custGeom>
                <a:avLst/>
                <a:gdLst/>
                <a:ahLst/>
                <a:cxnLst/>
                <a:rect l="l" t="t" r="r" b="b"/>
                <a:pathLst>
                  <a:path w="147" h="210" extrusionOk="0">
                    <a:moveTo>
                      <a:pt x="0" y="0"/>
                    </a:moveTo>
                    <a:lnTo>
                      <a:pt x="147" y="209"/>
                    </a:lnTo>
                    <a:lnTo>
                      <a:pt x="126" y="105"/>
                    </a:lnTo>
                    <a:lnTo>
                      <a:pt x="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05" name="Google Shape;5992;p93">
              <a:extLst>
                <a:ext uri="{FF2B5EF4-FFF2-40B4-BE49-F238E27FC236}">
                  <a16:creationId xmlns:a16="http://schemas.microsoft.com/office/drawing/2014/main" id="{7F87FBE6-35B2-4851-A823-D92EE8C66AD1}"/>
                </a:ext>
              </a:extLst>
            </p:cNvPr>
            <p:cNvSpPr/>
            <p:nvPr/>
          </p:nvSpPr>
          <p:spPr>
            <a:xfrm>
              <a:off x="3799155" y="2842190"/>
              <a:ext cx="6990" cy="13340"/>
            </a:xfrm>
            <a:custGeom>
              <a:avLst/>
              <a:gdLst/>
              <a:ahLst/>
              <a:cxnLst/>
              <a:rect l="l" t="t" r="r" b="b"/>
              <a:pathLst>
                <a:path w="587" h="1173" extrusionOk="0">
                  <a:moveTo>
                    <a:pt x="461" y="0"/>
                  </a:moveTo>
                  <a:lnTo>
                    <a:pt x="440" y="105"/>
                  </a:lnTo>
                  <a:lnTo>
                    <a:pt x="482" y="147"/>
                  </a:lnTo>
                  <a:lnTo>
                    <a:pt x="461" y="251"/>
                  </a:lnTo>
                  <a:lnTo>
                    <a:pt x="419" y="251"/>
                  </a:lnTo>
                  <a:lnTo>
                    <a:pt x="357" y="210"/>
                  </a:lnTo>
                  <a:lnTo>
                    <a:pt x="273" y="251"/>
                  </a:lnTo>
                  <a:lnTo>
                    <a:pt x="106" y="335"/>
                  </a:lnTo>
                  <a:lnTo>
                    <a:pt x="22" y="461"/>
                  </a:lnTo>
                  <a:lnTo>
                    <a:pt x="106" y="523"/>
                  </a:lnTo>
                  <a:lnTo>
                    <a:pt x="64" y="565"/>
                  </a:lnTo>
                  <a:lnTo>
                    <a:pt x="1" y="565"/>
                  </a:lnTo>
                  <a:lnTo>
                    <a:pt x="22" y="649"/>
                  </a:lnTo>
                  <a:lnTo>
                    <a:pt x="106" y="691"/>
                  </a:lnTo>
                  <a:lnTo>
                    <a:pt x="106" y="754"/>
                  </a:lnTo>
                  <a:lnTo>
                    <a:pt x="64" y="775"/>
                  </a:lnTo>
                  <a:lnTo>
                    <a:pt x="106" y="837"/>
                  </a:lnTo>
                  <a:lnTo>
                    <a:pt x="168" y="879"/>
                  </a:lnTo>
                  <a:lnTo>
                    <a:pt x="168" y="963"/>
                  </a:lnTo>
                  <a:lnTo>
                    <a:pt x="210" y="963"/>
                  </a:lnTo>
                  <a:lnTo>
                    <a:pt x="252" y="1005"/>
                  </a:lnTo>
                  <a:lnTo>
                    <a:pt x="210" y="984"/>
                  </a:lnTo>
                  <a:lnTo>
                    <a:pt x="147" y="1067"/>
                  </a:lnTo>
                  <a:lnTo>
                    <a:pt x="210" y="1109"/>
                  </a:lnTo>
                  <a:lnTo>
                    <a:pt x="357" y="1172"/>
                  </a:lnTo>
                  <a:lnTo>
                    <a:pt x="461" y="1109"/>
                  </a:lnTo>
                  <a:lnTo>
                    <a:pt x="545" y="942"/>
                  </a:lnTo>
                  <a:lnTo>
                    <a:pt x="545" y="795"/>
                  </a:lnTo>
                  <a:lnTo>
                    <a:pt x="587" y="544"/>
                  </a:lnTo>
                  <a:lnTo>
                    <a:pt x="545" y="314"/>
                  </a:lnTo>
                  <a:lnTo>
                    <a:pt x="545" y="147"/>
                  </a:lnTo>
                  <a:lnTo>
                    <a:pt x="52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 name="Google Shape;5993;p93">
              <a:extLst>
                <a:ext uri="{FF2B5EF4-FFF2-40B4-BE49-F238E27FC236}">
                  <a16:creationId xmlns:a16="http://schemas.microsoft.com/office/drawing/2014/main" id="{FFDF73BF-7DBD-40FB-8120-8DBCFA2E3BC8}"/>
                </a:ext>
              </a:extLst>
            </p:cNvPr>
            <p:cNvSpPr/>
            <p:nvPr/>
          </p:nvSpPr>
          <p:spPr>
            <a:xfrm>
              <a:off x="3688535" y="2836242"/>
              <a:ext cx="76506" cy="61161"/>
            </a:xfrm>
            <a:custGeom>
              <a:avLst/>
              <a:gdLst/>
              <a:ahLst/>
              <a:cxnLst/>
              <a:rect l="l" t="t" r="r" b="b"/>
              <a:pathLst>
                <a:path w="6425" h="5378" extrusionOk="0">
                  <a:moveTo>
                    <a:pt x="817" y="0"/>
                  </a:moveTo>
                  <a:lnTo>
                    <a:pt x="733" y="42"/>
                  </a:lnTo>
                  <a:lnTo>
                    <a:pt x="712" y="21"/>
                  </a:lnTo>
                  <a:lnTo>
                    <a:pt x="503" y="126"/>
                  </a:lnTo>
                  <a:lnTo>
                    <a:pt x="524" y="209"/>
                  </a:lnTo>
                  <a:lnTo>
                    <a:pt x="608" y="251"/>
                  </a:lnTo>
                  <a:lnTo>
                    <a:pt x="524" y="335"/>
                  </a:lnTo>
                  <a:lnTo>
                    <a:pt x="336" y="356"/>
                  </a:lnTo>
                  <a:lnTo>
                    <a:pt x="252" y="335"/>
                  </a:lnTo>
                  <a:lnTo>
                    <a:pt x="43" y="419"/>
                  </a:lnTo>
                  <a:lnTo>
                    <a:pt x="1" y="544"/>
                  </a:lnTo>
                  <a:lnTo>
                    <a:pt x="43" y="670"/>
                  </a:lnTo>
                  <a:lnTo>
                    <a:pt x="126" y="649"/>
                  </a:lnTo>
                  <a:lnTo>
                    <a:pt x="126" y="691"/>
                  </a:lnTo>
                  <a:lnTo>
                    <a:pt x="189" y="733"/>
                  </a:lnTo>
                  <a:lnTo>
                    <a:pt x="147" y="879"/>
                  </a:lnTo>
                  <a:lnTo>
                    <a:pt x="210" y="900"/>
                  </a:lnTo>
                  <a:lnTo>
                    <a:pt x="294" y="837"/>
                  </a:lnTo>
                  <a:lnTo>
                    <a:pt x="252" y="963"/>
                  </a:lnTo>
                  <a:lnTo>
                    <a:pt x="315" y="1005"/>
                  </a:lnTo>
                  <a:lnTo>
                    <a:pt x="252" y="1088"/>
                  </a:lnTo>
                  <a:lnTo>
                    <a:pt x="357" y="1109"/>
                  </a:lnTo>
                  <a:lnTo>
                    <a:pt x="231" y="1256"/>
                  </a:lnTo>
                  <a:lnTo>
                    <a:pt x="231" y="1277"/>
                  </a:lnTo>
                  <a:lnTo>
                    <a:pt x="482" y="1214"/>
                  </a:lnTo>
                  <a:lnTo>
                    <a:pt x="587" y="1256"/>
                  </a:lnTo>
                  <a:lnTo>
                    <a:pt x="566" y="1381"/>
                  </a:lnTo>
                  <a:lnTo>
                    <a:pt x="629" y="1465"/>
                  </a:lnTo>
                  <a:lnTo>
                    <a:pt x="796" y="1360"/>
                  </a:lnTo>
                  <a:lnTo>
                    <a:pt x="1110" y="1423"/>
                  </a:lnTo>
                  <a:lnTo>
                    <a:pt x="1214" y="1318"/>
                  </a:lnTo>
                  <a:lnTo>
                    <a:pt x="1486" y="1360"/>
                  </a:lnTo>
                  <a:lnTo>
                    <a:pt x="1507" y="1486"/>
                  </a:lnTo>
                  <a:lnTo>
                    <a:pt x="1612" y="1632"/>
                  </a:lnTo>
                  <a:lnTo>
                    <a:pt x="1591" y="1737"/>
                  </a:lnTo>
                  <a:lnTo>
                    <a:pt x="1445" y="1737"/>
                  </a:lnTo>
                  <a:lnTo>
                    <a:pt x="1235" y="1946"/>
                  </a:lnTo>
                  <a:lnTo>
                    <a:pt x="1256" y="2114"/>
                  </a:lnTo>
                  <a:lnTo>
                    <a:pt x="1235" y="2469"/>
                  </a:lnTo>
                  <a:lnTo>
                    <a:pt x="1089" y="2616"/>
                  </a:lnTo>
                  <a:lnTo>
                    <a:pt x="1194" y="2720"/>
                  </a:lnTo>
                  <a:lnTo>
                    <a:pt x="1047" y="2930"/>
                  </a:lnTo>
                  <a:lnTo>
                    <a:pt x="942" y="2888"/>
                  </a:lnTo>
                  <a:lnTo>
                    <a:pt x="817" y="2930"/>
                  </a:lnTo>
                  <a:lnTo>
                    <a:pt x="963" y="3202"/>
                  </a:lnTo>
                  <a:lnTo>
                    <a:pt x="1089" y="3285"/>
                  </a:lnTo>
                  <a:lnTo>
                    <a:pt x="1089" y="3515"/>
                  </a:lnTo>
                  <a:lnTo>
                    <a:pt x="922" y="3704"/>
                  </a:lnTo>
                  <a:lnTo>
                    <a:pt x="984" y="3871"/>
                  </a:lnTo>
                  <a:lnTo>
                    <a:pt x="1131" y="3871"/>
                  </a:lnTo>
                  <a:lnTo>
                    <a:pt x="1089" y="3976"/>
                  </a:lnTo>
                  <a:lnTo>
                    <a:pt x="963" y="4080"/>
                  </a:lnTo>
                  <a:lnTo>
                    <a:pt x="838" y="4331"/>
                  </a:lnTo>
                  <a:lnTo>
                    <a:pt x="922" y="4457"/>
                  </a:lnTo>
                  <a:lnTo>
                    <a:pt x="922" y="4603"/>
                  </a:lnTo>
                  <a:lnTo>
                    <a:pt x="1026" y="4624"/>
                  </a:lnTo>
                  <a:lnTo>
                    <a:pt x="1173" y="4645"/>
                  </a:lnTo>
                  <a:lnTo>
                    <a:pt x="1403" y="4875"/>
                  </a:lnTo>
                  <a:lnTo>
                    <a:pt x="1382" y="4917"/>
                  </a:lnTo>
                  <a:lnTo>
                    <a:pt x="1486" y="5168"/>
                  </a:lnTo>
                  <a:lnTo>
                    <a:pt x="1675" y="5357"/>
                  </a:lnTo>
                  <a:lnTo>
                    <a:pt x="1842" y="5378"/>
                  </a:lnTo>
                  <a:lnTo>
                    <a:pt x="2010" y="5273"/>
                  </a:lnTo>
                  <a:lnTo>
                    <a:pt x="2010" y="5168"/>
                  </a:lnTo>
                  <a:lnTo>
                    <a:pt x="2093" y="5085"/>
                  </a:lnTo>
                  <a:lnTo>
                    <a:pt x="2303" y="5064"/>
                  </a:lnTo>
                  <a:lnTo>
                    <a:pt x="2470" y="4875"/>
                  </a:lnTo>
                  <a:lnTo>
                    <a:pt x="2679" y="4855"/>
                  </a:lnTo>
                  <a:lnTo>
                    <a:pt x="2784" y="4813"/>
                  </a:lnTo>
                  <a:lnTo>
                    <a:pt x="3035" y="4875"/>
                  </a:lnTo>
                  <a:lnTo>
                    <a:pt x="3181" y="4917"/>
                  </a:lnTo>
                  <a:lnTo>
                    <a:pt x="3202" y="4855"/>
                  </a:lnTo>
                  <a:lnTo>
                    <a:pt x="3307" y="4855"/>
                  </a:lnTo>
                  <a:lnTo>
                    <a:pt x="3411" y="4938"/>
                  </a:lnTo>
                  <a:lnTo>
                    <a:pt x="3495" y="4855"/>
                  </a:lnTo>
                  <a:lnTo>
                    <a:pt x="3558" y="4750"/>
                  </a:lnTo>
                  <a:lnTo>
                    <a:pt x="3663" y="4855"/>
                  </a:lnTo>
                  <a:lnTo>
                    <a:pt x="3788" y="4917"/>
                  </a:lnTo>
                  <a:lnTo>
                    <a:pt x="3914" y="4708"/>
                  </a:lnTo>
                  <a:lnTo>
                    <a:pt x="3914" y="4603"/>
                  </a:lnTo>
                  <a:lnTo>
                    <a:pt x="4248" y="4436"/>
                  </a:lnTo>
                  <a:lnTo>
                    <a:pt x="4458" y="4436"/>
                  </a:lnTo>
                  <a:lnTo>
                    <a:pt x="4520" y="4352"/>
                  </a:lnTo>
                  <a:lnTo>
                    <a:pt x="4458" y="4311"/>
                  </a:lnTo>
                  <a:lnTo>
                    <a:pt x="4499" y="4143"/>
                  </a:lnTo>
                  <a:lnTo>
                    <a:pt x="4667" y="3892"/>
                  </a:lnTo>
                  <a:lnTo>
                    <a:pt x="4667" y="3766"/>
                  </a:lnTo>
                  <a:lnTo>
                    <a:pt x="4855" y="3704"/>
                  </a:lnTo>
                  <a:lnTo>
                    <a:pt x="4981" y="3578"/>
                  </a:lnTo>
                  <a:lnTo>
                    <a:pt x="4855" y="3390"/>
                  </a:lnTo>
                  <a:lnTo>
                    <a:pt x="4771" y="3348"/>
                  </a:lnTo>
                  <a:lnTo>
                    <a:pt x="4751" y="3243"/>
                  </a:lnTo>
                  <a:lnTo>
                    <a:pt x="4646" y="3076"/>
                  </a:lnTo>
                  <a:lnTo>
                    <a:pt x="4730" y="2992"/>
                  </a:lnTo>
                  <a:lnTo>
                    <a:pt x="4960" y="2637"/>
                  </a:lnTo>
                  <a:lnTo>
                    <a:pt x="5064" y="2574"/>
                  </a:lnTo>
                  <a:lnTo>
                    <a:pt x="5232" y="2302"/>
                  </a:lnTo>
                  <a:lnTo>
                    <a:pt x="5274" y="2323"/>
                  </a:lnTo>
                  <a:lnTo>
                    <a:pt x="5253" y="2344"/>
                  </a:lnTo>
                  <a:lnTo>
                    <a:pt x="5253" y="2365"/>
                  </a:lnTo>
                  <a:lnTo>
                    <a:pt x="5336" y="2323"/>
                  </a:lnTo>
                  <a:lnTo>
                    <a:pt x="5357" y="2197"/>
                  </a:lnTo>
                  <a:lnTo>
                    <a:pt x="5295" y="2134"/>
                  </a:lnTo>
                  <a:lnTo>
                    <a:pt x="5441" y="2051"/>
                  </a:lnTo>
                  <a:lnTo>
                    <a:pt x="5567" y="1946"/>
                  </a:lnTo>
                  <a:lnTo>
                    <a:pt x="5776" y="1946"/>
                  </a:lnTo>
                  <a:lnTo>
                    <a:pt x="5964" y="1883"/>
                  </a:lnTo>
                  <a:lnTo>
                    <a:pt x="6069" y="1737"/>
                  </a:lnTo>
                  <a:lnTo>
                    <a:pt x="6278" y="1611"/>
                  </a:lnTo>
                  <a:lnTo>
                    <a:pt x="6320" y="1507"/>
                  </a:lnTo>
                  <a:lnTo>
                    <a:pt x="6341" y="1381"/>
                  </a:lnTo>
                  <a:lnTo>
                    <a:pt x="6320" y="1193"/>
                  </a:lnTo>
                  <a:lnTo>
                    <a:pt x="6424" y="1151"/>
                  </a:lnTo>
                  <a:lnTo>
                    <a:pt x="6424" y="1088"/>
                  </a:lnTo>
                  <a:lnTo>
                    <a:pt x="6341" y="1067"/>
                  </a:lnTo>
                  <a:lnTo>
                    <a:pt x="6215" y="879"/>
                  </a:lnTo>
                  <a:lnTo>
                    <a:pt x="5964" y="900"/>
                  </a:lnTo>
                  <a:lnTo>
                    <a:pt x="5797" y="837"/>
                  </a:lnTo>
                  <a:lnTo>
                    <a:pt x="5629" y="837"/>
                  </a:lnTo>
                  <a:lnTo>
                    <a:pt x="5525" y="774"/>
                  </a:lnTo>
                  <a:lnTo>
                    <a:pt x="5253" y="774"/>
                  </a:lnTo>
                  <a:lnTo>
                    <a:pt x="5148" y="879"/>
                  </a:lnTo>
                  <a:lnTo>
                    <a:pt x="5064" y="837"/>
                  </a:lnTo>
                  <a:lnTo>
                    <a:pt x="4918" y="837"/>
                  </a:lnTo>
                  <a:lnTo>
                    <a:pt x="4792" y="691"/>
                  </a:lnTo>
                  <a:lnTo>
                    <a:pt x="4688" y="753"/>
                  </a:lnTo>
                  <a:lnTo>
                    <a:pt x="4583" y="649"/>
                  </a:lnTo>
                  <a:lnTo>
                    <a:pt x="4332" y="565"/>
                  </a:lnTo>
                  <a:lnTo>
                    <a:pt x="4186" y="586"/>
                  </a:lnTo>
                  <a:lnTo>
                    <a:pt x="4207" y="523"/>
                  </a:lnTo>
                  <a:lnTo>
                    <a:pt x="4186" y="377"/>
                  </a:lnTo>
                  <a:lnTo>
                    <a:pt x="4102" y="377"/>
                  </a:lnTo>
                  <a:lnTo>
                    <a:pt x="4102" y="356"/>
                  </a:lnTo>
                  <a:lnTo>
                    <a:pt x="3997" y="314"/>
                  </a:lnTo>
                  <a:lnTo>
                    <a:pt x="3955" y="335"/>
                  </a:lnTo>
                  <a:lnTo>
                    <a:pt x="3872" y="335"/>
                  </a:lnTo>
                  <a:lnTo>
                    <a:pt x="3809" y="419"/>
                  </a:lnTo>
                  <a:lnTo>
                    <a:pt x="3495" y="230"/>
                  </a:lnTo>
                  <a:lnTo>
                    <a:pt x="3391" y="230"/>
                  </a:lnTo>
                  <a:lnTo>
                    <a:pt x="3286" y="335"/>
                  </a:lnTo>
                  <a:lnTo>
                    <a:pt x="3077" y="272"/>
                  </a:lnTo>
                  <a:lnTo>
                    <a:pt x="3035" y="168"/>
                  </a:lnTo>
                  <a:lnTo>
                    <a:pt x="2826" y="147"/>
                  </a:lnTo>
                  <a:lnTo>
                    <a:pt x="2533" y="272"/>
                  </a:lnTo>
                  <a:lnTo>
                    <a:pt x="2344" y="230"/>
                  </a:lnTo>
                  <a:lnTo>
                    <a:pt x="1926" y="168"/>
                  </a:lnTo>
                  <a:lnTo>
                    <a:pt x="1779" y="105"/>
                  </a:lnTo>
                  <a:lnTo>
                    <a:pt x="1758" y="42"/>
                  </a:lnTo>
                  <a:lnTo>
                    <a:pt x="1570" y="105"/>
                  </a:lnTo>
                  <a:lnTo>
                    <a:pt x="1403" y="147"/>
                  </a:lnTo>
                  <a:lnTo>
                    <a:pt x="1277" y="105"/>
                  </a:lnTo>
                  <a:lnTo>
                    <a:pt x="1173" y="105"/>
                  </a:lnTo>
                  <a:lnTo>
                    <a:pt x="1068" y="168"/>
                  </a:lnTo>
                  <a:lnTo>
                    <a:pt x="942" y="21"/>
                  </a:lnTo>
                  <a:lnTo>
                    <a:pt x="81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 name="Google Shape;5994;p93">
              <a:extLst>
                <a:ext uri="{FF2B5EF4-FFF2-40B4-BE49-F238E27FC236}">
                  <a16:creationId xmlns:a16="http://schemas.microsoft.com/office/drawing/2014/main" id="{DBE7C119-6746-4F60-A875-C2CBF00C658F}"/>
                </a:ext>
              </a:extLst>
            </p:cNvPr>
            <p:cNvSpPr/>
            <p:nvPr/>
          </p:nvSpPr>
          <p:spPr>
            <a:xfrm>
              <a:off x="4036603" y="2865264"/>
              <a:ext cx="11967" cy="9064"/>
            </a:xfrm>
            <a:custGeom>
              <a:avLst/>
              <a:gdLst/>
              <a:ahLst/>
              <a:cxnLst/>
              <a:rect l="l" t="t" r="r" b="b"/>
              <a:pathLst>
                <a:path w="1005" h="797" extrusionOk="0">
                  <a:moveTo>
                    <a:pt x="189" y="1"/>
                  </a:moveTo>
                  <a:lnTo>
                    <a:pt x="84" y="64"/>
                  </a:lnTo>
                  <a:lnTo>
                    <a:pt x="0" y="64"/>
                  </a:lnTo>
                  <a:lnTo>
                    <a:pt x="0" y="106"/>
                  </a:lnTo>
                  <a:lnTo>
                    <a:pt x="42" y="106"/>
                  </a:lnTo>
                  <a:lnTo>
                    <a:pt x="105" y="189"/>
                  </a:lnTo>
                  <a:lnTo>
                    <a:pt x="189" y="189"/>
                  </a:lnTo>
                  <a:lnTo>
                    <a:pt x="251" y="294"/>
                  </a:lnTo>
                  <a:lnTo>
                    <a:pt x="209" y="378"/>
                  </a:lnTo>
                  <a:lnTo>
                    <a:pt x="481" y="503"/>
                  </a:lnTo>
                  <a:lnTo>
                    <a:pt x="502" y="629"/>
                  </a:lnTo>
                  <a:lnTo>
                    <a:pt x="670" y="712"/>
                  </a:lnTo>
                  <a:lnTo>
                    <a:pt x="795" y="712"/>
                  </a:lnTo>
                  <a:lnTo>
                    <a:pt x="984" y="796"/>
                  </a:lnTo>
                  <a:lnTo>
                    <a:pt x="1005" y="712"/>
                  </a:lnTo>
                  <a:lnTo>
                    <a:pt x="733" y="315"/>
                  </a:lnTo>
                  <a:lnTo>
                    <a:pt x="586" y="273"/>
                  </a:lnTo>
                  <a:lnTo>
                    <a:pt x="502" y="85"/>
                  </a:lnTo>
                  <a:lnTo>
                    <a:pt x="398" y="85"/>
                  </a:lnTo>
                  <a:lnTo>
                    <a:pt x="356" y="126"/>
                  </a:lnTo>
                  <a:lnTo>
                    <a:pt x="18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 name="Google Shape;5995;p93">
              <a:extLst>
                <a:ext uri="{FF2B5EF4-FFF2-40B4-BE49-F238E27FC236}">
                  <a16:creationId xmlns:a16="http://schemas.microsoft.com/office/drawing/2014/main" id="{70FFAEB3-224A-4561-9BBB-20A9ED57D2CB}"/>
                </a:ext>
              </a:extLst>
            </p:cNvPr>
            <p:cNvSpPr/>
            <p:nvPr/>
          </p:nvSpPr>
          <p:spPr>
            <a:xfrm>
              <a:off x="4033614" y="2866458"/>
              <a:ext cx="140532" cy="108039"/>
            </a:xfrm>
            <a:custGeom>
              <a:avLst/>
              <a:gdLst/>
              <a:ahLst/>
              <a:cxnLst/>
              <a:rect l="l" t="t" r="r" b="b"/>
              <a:pathLst>
                <a:path w="11802" h="9500" extrusionOk="0">
                  <a:moveTo>
                    <a:pt x="502" y="1863"/>
                  </a:moveTo>
                  <a:lnTo>
                    <a:pt x="502" y="1884"/>
                  </a:lnTo>
                  <a:lnTo>
                    <a:pt x="506" y="1864"/>
                  </a:lnTo>
                  <a:lnTo>
                    <a:pt x="506" y="1864"/>
                  </a:lnTo>
                  <a:lnTo>
                    <a:pt x="502" y="1863"/>
                  </a:lnTo>
                  <a:close/>
                  <a:moveTo>
                    <a:pt x="251" y="1"/>
                  </a:moveTo>
                  <a:lnTo>
                    <a:pt x="209" y="63"/>
                  </a:lnTo>
                  <a:lnTo>
                    <a:pt x="147" y="210"/>
                  </a:lnTo>
                  <a:lnTo>
                    <a:pt x="0" y="210"/>
                  </a:lnTo>
                  <a:lnTo>
                    <a:pt x="0" y="273"/>
                  </a:lnTo>
                  <a:lnTo>
                    <a:pt x="42" y="398"/>
                  </a:lnTo>
                  <a:lnTo>
                    <a:pt x="105" y="607"/>
                  </a:lnTo>
                  <a:lnTo>
                    <a:pt x="105" y="712"/>
                  </a:lnTo>
                  <a:lnTo>
                    <a:pt x="105" y="858"/>
                  </a:lnTo>
                  <a:lnTo>
                    <a:pt x="230" y="900"/>
                  </a:lnTo>
                  <a:lnTo>
                    <a:pt x="251" y="942"/>
                  </a:lnTo>
                  <a:lnTo>
                    <a:pt x="188" y="1130"/>
                  </a:lnTo>
                  <a:lnTo>
                    <a:pt x="209" y="1277"/>
                  </a:lnTo>
                  <a:lnTo>
                    <a:pt x="188" y="1361"/>
                  </a:lnTo>
                  <a:lnTo>
                    <a:pt x="335" y="1423"/>
                  </a:lnTo>
                  <a:lnTo>
                    <a:pt x="460" y="1654"/>
                  </a:lnTo>
                  <a:lnTo>
                    <a:pt x="523" y="1779"/>
                  </a:lnTo>
                  <a:lnTo>
                    <a:pt x="506" y="1864"/>
                  </a:lnTo>
                  <a:lnTo>
                    <a:pt x="506" y="1864"/>
                  </a:lnTo>
                  <a:lnTo>
                    <a:pt x="607" y="1884"/>
                  </a:lnTo>
                  <a:lnTo>
                    <a:pt x="670" y="2009"/>
                  </a:lnTo>
                  <a:lnTo>
                    <a:pt x="649" y="2114"/>
                  </a:lnTo>
                  <a:lnTo>
                    <a:pt x="712" y="2260"/>
                  </a:lnTo>
                  <a:lnTo>
                    <a:pt x="816" y="2260"/>
                  </a:lnTo>
                  <a:lnTo>
                    <a:pt x="858" y="2365"/>
                  </a:lnTo>
                  <a:lnTo>
                    <a:pt x="921" y="2490"/>
                  </a:lnTo>
                  <a:lnTo>
                    <a:pt x="1025" y="2532"/>
                  </a:lnTo>
                  <a:lnTo>
                    <a:pt x="1088" y="2574"/>
                  </a:lnTo>
                  <a:lnTo>
                    <a:pt x="1297" y="2679"/>
                  </a:lnTo>
                  <a:lnTo>
                    <a:pt x="1381" y="2700"/>
                  </a:lnTo>
                  <a:lnTo>
                    <a:pt x="1507" y="2679"/>
                  </a:lnTo>
                  <a:lnTo>
                    <a:pt x="1590" y="2721"/>
                  </a:lnTo>
                  <a:lnTo>
                    <a:pt x="1653" y="2742"/>
                  </a:lnTo>
                  <a:lnTo>
                    <a:pt x="1590" y="2783"/>
                  </a:lnTo>
                  <a:lnTo>
                    <a:pt x="1486" y="2825"/>
                  </a:lnTo>
                  <a:lnTo>
                    <a:pt x="1402" y="2825"/>
                  </a:lnTo>
                  <a:lnTo>
                    <a:pt x="1444" y="2993"/>
                  </a:lnTo>
                  <a:lnTo>
                    <a:pt x="1486" y="3014"/>
                  </a:lnTo>
                  <a:lnTo>
                    <a:pt x="1486" y="3223"/>
                  </a:lnTo>
                  <a:lnTo>
                    <a:pt x="1402" y="3244"/>
                  </a:lnTo>
                  <a:lnTo>
                    <a:pt x="1339" y="3244"/>
                  </a:lnTo>
                  <a:lnTo>
                    <a:pt x="1297" y="3432"/>
                  </a:lnTo>
                  <a:lnTo>
                    <a:pt x="1256" y="3474"/>
                  </a:lnTo>
                  <a:lnTo>
                    <a:pt x="1256" y="3683"/>
                  </a:lnTo>
                  <a:lnTo>
                    <a:pt x="1235" y="3767"/>
                  </a:lnTo>
                  <a:lnTo>
                    <a:pt x="1256" y="3830"/>
                  </a:lnTo>
                  <a:lnTo>
                    <a:pt x="1193" y="3871"/>
                  </a:lnTo>
                  <a:lnTo>
                    <a:pt x="1193" y="3955"/>
                  </a:lnTo>
                  <a:lnTo>
                    <a:pt x="1276" y="3976"/>
                  </a:lnTo>
                  <a:lnTo>
                    <a:pt x="1360" y="4060"/>
                  </a:lnTo>
                  <a:lnTo>
                    <a:pt x="1465" y="4081"/>
                  </a:lnTo>
                  <a:lnTo>
                    <a:pt x="1486" y="4164"/>
                  </a:lnTo>
                  <a:lnTo>
                    <a:pt x="1611" y="4269"/>
                  </a:lnTo>
                  <a:lnTo>
                    <a:pt x="1569" y="4394"/>
                  </a:lnTo>
                  <a:lnTo>
                    <a:pt x="1590" y="4415"/>
                  </a:lnTo>
                  <a:lnTo>
                    <a:pt x="1590" y="4499"/>
                  </a:lnTo>
                  <a:lnTo>
                    <a:pt x="1695" y="4583"/>
                  </a:lnTo>
                  <a:lnTo>
                    <a:pt x="1758" y="4562"/>
                  </a:lnTo>
                  <a:lnTo>
                    <a:pt x="1862" y="4520"/>
                  </a:lnTo>
                  <a:lnTo>
                    <a:pt x="2302" y="4813"/>
                  </a:lnTo>
                  <a:lnTo>
                    <a:pt x="2344" y="4792"/>
                  </a:lnTo>
                  <a:lnTo>
                    <a:pt x="2427" y="4834"/>
                  </a:lnTo>
                  <a:lnTo>
                    <a:pt x="2532" y="5043"/>
                  </a:lnTo>
                  <a:lnTo>
                    <a:pt x="2636" y="5106"/>
                  </a:lnTo>
                  <a:lnTo>
                    <a:pt x="2762" y="5357"/>
                  </a:lnTo>
                  <a:lnTo>
                    <a:pt x="2636" y="5462"/>
                  </a:lnTo>
                  <a:lnTo>
                    <a:pt x="2636" y="5650"/>
                  </a:lnTo>
                  <a:lnTo>
                    <a:pt x="2657" y="5817"/>
                  </a:lnTo>
                  <a:lnTo>
                    <a:pt x="2846" y="5817"/>
                  </a:lnTo>
                  <a:lnTo>
                    <a:pt x="2909" y="6152"/>
                  </a:lnTo>
                  <a:lnTo>
                    <a:pt x="3013" y="6236"/>
                  </a:lnTo>
                  <a:lnTo>
                    <a:pt x="3118" y="6278"/>
                  </a:lnTo>
                  <a:lnTo>
                    <a:pt x="3160" y="6299"/>
                  </a:lnTo>
                  <a:lnTo>
                    <a:pt x="3222" y="6278"/>
                  </a:lnTo>
                  <a:lnTo>
                    <a:pt x="3222" y="6340"/>
                  </a:lnTo>
                  <a:lnTo>
                    <a:pt x="3285" y="6445"/>
                  </a:lnTo>
                  <a:lnTo>
                    <a:pt x="3369" y="6445"/>
                  </a:lnTo>
                  <a:lnTo>
                    <a:pt x="3432" y="6382"/>
                  </a:lnTo>
                  <a:lnTo>
                    <a:pt x="3453" y="6257"/>
                  </a:lnTo>
                  <a:lnTo>
                    <a:pt x="3348" y="6194"/>
                  </a:lnTo>
                  <a:lnTo>
                    <a:pt x="3494" y="6194"/>
                  </a:lnTo>
                  <a:lnTo>
                    <a:pt x="3536" y="6173"/>
                  </a:lnTo>
                  <a:lnTo>
                    <a:pt x="3494" y="6236"/>
                  </a:lnTo>
                  <a:lnTo>
                    <a:pt x="3494" y="6299"/>
                  </a:lnTo>
                  <a:lnTo>
                    <a:pt x="3641" y="6361"/>
                  </a:lnTo>
                  <a:lnTo>
                    <a:pt x="3683" y="6340"/>
                  </a:lnTo>
                  <a:lnTo>
                    <a:pt x="3745" y="6445"/>
                  </a:lnTo>
                  <a:lnTo>
                    <a:pt x="3787" y="6445"/>
                  </a:lnTo>
                  <a:lnTo>
                    <a:pt x="3976" y="6299"/>
                  </a:lnTo>
                  <a:lnTo>
                    <a:pt x="4017" y="6340"/>
                  </a:lnTo>
                  <a:lnTo>
                    <a:pt x="4164" y="6487"/>
                  </a:lnTo>
                  <a:lnTo>
                    <a:pt x="4164" y="6591"/>
                  </a:lnTo>
                  <a:lnTo>
                    <a:pt x="4373" y="6863"/>
                  </a:lnTo>
                  <a:lnTo>
                    <a:pt x="4394" y="7031"/>
                  </a:lnTo>
                  <a:lnTo>
                    <a:pt x="4436" y="7073"/>
                  </a:lnTo>
                  <a:lnTo>
                    <a:pt x="4541" y="7073"/>
                  </a:lnTo>
                  <a:lnTo>
                    <a:pt x="4603" y="7177"/>
                  </a:lnTo>
                  <a:lnTo>
                    <a:pt x="4541" y="7177"/>
                  </a:lnTo>
                  <a:lnTo>
                    <a:pt x="4520" y="7135"/>
                  </a:lnTo>
                  <a:lnTo>
                    <a:pt x="4499" y="7177"/>
                  </a:lnTo>
                  <a:lnTo>
                    <a:pt x="4603" y="7240"/>
                  </a:lnTo>
                  <a:lnTo>
                    <a:pt x="4645" y="7219"/>
                  </a:lnTo>
                  <a:lnTo>
                    <a:pt x="4687" y="7324"/>
                  </a:lnTo>
                  <a:lnTo>
                    <a:pt x="4833" y="7721"/>
                  </a:lnTo>
                  <a:lnTo>
                    <a:pt x="4959" y="7763"/>
                  </a:lnTo>
                  <a:lnTo>
                    <a:pt x="5168" y="7763"/>
                  </a:lnTo>
                  <a:lnTo>
                    <a:pt x="5315" y="7805"/>
                  </a:lnTo>
                  <a:lnTo>
                    <a:pt x="5377" y="7868"/>
                  </a:lnTo>
                  <a:lnTo>
                    <a:pt x="5566" y="7868"/>
                  </a:lnTo>
                  <a:lnTo>
                    <a:pt x="5587" y="7931"/>
                  </a:lnTo>
                  <a:lnTo>
                    <a:pt x="5691" y="7931"/>
                  </a:lnTo>
                  <a:lnTo>
                    <a:pt x="5733" y="7972"/>
                  </a:lnTo>
                  <a:lnTo>
                    <a:pt x="5649" y="8035"/>
                  </a:lnTo>
                  <a:lnTo>
                    <a:pt x="5796" y="8224"/>
                  </a:lnTo>
                  <a:lnTo>
                    <a:pt x="5963" y="8244"/>
                  </a:lnTo>
                  <a:lnTo>
                    <a:pt x="6047" y="8328"/>
                  </a:lnTo>
                  <a:lnTo>
                    <a:pt x="6152" y="8328"/>
                  </a:lnTo>
                  <a:lnTo>
                    <a:pt x="6319" y="8496"/>
                  </a:lnTo>
                  <a:lnTo>
                    <a:pt x="6403" y="8475"/>
                  </a:lnTo>
                  <a:lnTo>
                    <a:pt x="6528" y="8454"/>
                  </a:lnTo>
                  <a:lnTo>
                    <a:pt x="6717" y="8496"/>
                  </a:lnTo>
                  <a:lnTo>
                    <a:pt x="6947" y="8663"/>
                  </a:lnTo>
                  <a:lnTo>
                    <a:pt x="7135" y="8475"/>
                  </a:lnTo>
                  <a:lnTo>
                    <a:pt x="7407" y="8349"/>
                  </a:lnTo>
                  <a:lnTo>
                    <a:pt x="7407" y="8328"/>
                  </a:lnTo>
                  <a:lnTo>
                    <a:pt x="7533" y="8328"/>
                  </a:lnTo>
                  <a:lnTo>
                    <a:pt x="7679" y="8224"/>
                  </a:lnTo>
                  <a:lnTo>
                    <a:pt x="7784" y="8161"/>
                  </a:lnTo>
                  <a:lnTo>
                    <a:pt x="7993" y="8182"/>
                  </a:lnTo>
                  <a:lnTo>
                    <a:pt x="7993" y="8244"/>
                  </a:lnTo>
                  <a:lnTo>
                    <a:pt x="8056" y="8244"/>
                  </a:lnTo>
                  <a:lnTo>
                    <a:pt x="8056" y="8286"/>
                  </a:lnTo>
                  <a:lnTo>
                    <a:pt x="8160" y="8454"/>
                  </a:lnTo>
                  <a:lnTo>
                    <a:pt x="8244" y="8663"/>
                  </a:lnTo>
                  <a:lnTo>
                    <a:pt x="8349" y="8872"/>
                  </a:lnTo>
                  <a:lnTo>
                    <a:pt x="8349" y="9019"/>
                  </a:lnTo>
                  <a:lnTo>
                    <a:pt x="8411" y="9081"/>
                  </a:lnTo>
                  <a:lnTo>
                    <a:pt x="8453" y="9123"/>
                  </a:lnTo>
                  <a:lnTo>
                    <a:pt x="8872" y="9123"/>
                  </a:lnTo>
                  <a:lnTo>
                    <a:pt x="8976" y="9207"/>
                  </a:lnTo>
                  <a:lnTo>
                    <a:pt x="9102" y="9081"/>
                  </a:lnTo>
                  <a:lnTo>
                    <a:pt x="9144" y="9102"/>
                  </a:lnTo>
                  <a:lnTo>
                    <a:pt x="9311" y="9228"/>
                  </a:lnTo>
                  <a:lnTo>
                    <a:pt x="9625" y="9207"/>
                  </a:lnTo>
                  <a:lnTo>
                    <a:pt x="9813" y="9291"/>
                  </a:lnTo>
                  <a:lnTo>
                    <a:pt x="10064" y="9312"/>
                  </a:lnTo>
                  <a:lnTo>
                    <a:pt x="10169" y="9332"/>
                  </a:lnTo>
                  <a:lnTo>
                    <a:pt x="10232" y="9312"/>
                  </a:lnTo>
                  <a:lnTo>
                    <a:pt x="10295" y="9395"/>
                  </a:lnTo>
                  <a:lnTo>
                    <a:pt x="10315" y="9395"/>
                  </a:lnTo>
                  <a:lnTo>
                    <a:pt x="10357" y="9291"/>
                  </a:lnTo>
                  <a:lnTo>
                    <a:pt x="10441" y="9291"/>
                  </a:lnTo>
                  <a:lnTo>
                    <a:pt x="10483" y="9374"/>
                  </a:lnTo>
                  <a:lnTo>
                    <a:pt x="10608" y="9416"/>
                  </a:lnTo>
                  <a:lnTo>
                    <a:pt x="10818" y="9500"/>
                  </a:lnTo>
                  <a:lnTo>
                    <a:pt x="10901" y="9437"/>
                  </a:lnTo>
                  <a:lnTo>
                    <a:pt x="10922" y="9395"/>
                  </a:lnTo>
                  <a:lnTo>
                    <a:pt x="10964" y="9395"/>
                  </a:lnTo>
                  <a:lnTo>
                    <a:pt x="10964" y="9312"/>
                  </a:lnTo>
                  <a:lnTo>
                    <a:pt x="10985" y="9102"/>
                  </a:lnTo>
                  <a:lnTo>
                    <a:pt x="10922" y="8977"/>
                  </a:lnTo>
                  <a:lnTo>
                    <a:pt x="11027" y="8851"/>
                  </a:lnTo>
                  <a:lnTo>
                    <a:pt x="10985" y="8747"/>
                  </a:lnTo>
                  <a:lnTo>
                    <a:pt x="11069" y="8642"/>
                  </a:lnTo>
                  <a:lnTo>
                    <a:pt x="11215" y="8558"/>
                  </a:lnTo>
                  <a:lnTo>
                    <a:pt x="11299" y="8496"/>
                  </a:lnTo>
                  <a:lnTo>
                    <a:pt x="11550" y="8433"/>
                  </a:lnTo>
                  <a:lnTo>
                    <a:pt x="11717" y="8475"/>
                  </a:lnTo>
                  <a:lnTo>
                    <a:pt x="11801" y="8391"/>
                  </a:lnTo>
                  <a:lnTo>
                    <a:pt x="11759" y="8161"/>
                  </a:lnTo>
                  <a:lnTo>
                    <a:pt x="11634" y="8056"/>
                  </a:lnTo>
                  <a:lnTo>
                    <a:pt x="11487" y="8077"/>
                  </a:lnTo>
                  <a:lnTo>
                    <a:pt x="11445" y="7972"/>
                  </a:lnTo>
                  <a:lnTo>
                    <a:pt x="11445" y="7826"/>
                  </a:lnTo>
                  <a:lnTo>
                    <a:pt x="11403" y="7700"/>
                  </a:lnTo>
                  <a:lnTo>
                    <a:pt x="11403" y="7491"/>
                  </a:lnTo>
                  <a:lnTo>
                    <a:pt x="11236" y="7491"/>
                  </a:lnTo>
                  <a:lnTo>
                    <a:pt x="11215" y="7408"/>
                  </a:lnTo>
                  <a:lnTo>
                    <a:pt x="11111" y="7387"/>
                  </a:lnTo>
                  <a:lnTo>
                    <a:pt x="10922" y="7345"/>
                  </a:lnTo>
                  <a:lnTo>
                    <a:pt x="10880" y="7303"/>
                  </a:lnTo>
                  <a:lnTo>
                    <a:pt x="10755" y="7219"/>
                  </a:lnTo>
                  <a:lnTo>
                    <a:pt x="10587" y="7073"/>
                  </a:lnTo>
                  <a:lnTo>
                    <a:pt x="10504" y="6926"/>
                  </a:lnTo>
                  <a:lnTo>
                    <a:pt x="10232" y="6508"/>
                  </a:lnTo>
                  <a:lnTo>
                    <a:pt x="10650" y="5943"/>
                  </a:lnTo>
                  <a:lnTo>
                    <a:pt x="10692" y="5859"/>
                  </a:lnTo>
                  <a:lnTo>
                    <a:pt x="10650" y="5629"/>
                  </a:lnTo>
                  <a:lnTo>
                    <a:pt x="10650" y="5462"/>
                  </a:lnTo>
                  <a:lnTo>
                    <a:pt x="10567" y="5294"/>
                  </a:lnTo>
                  <a:lnTo>
                    <a:pt x="10064" y="5252"/>
                  </a:lnTo>
                  <a:lnTo>
                    <a:pt x="10043" y="5043"/>
                  </a:lnTo>
                  <a:lnTo>
                    <a:pt x="9981" y="4939"/>
                  </a:lnTo>
                  <a:lnTo>
                    <a:pt x="10023" y="4876"/>
                  </a:lnTo>
                  <a:lnTo>
                    <a:pt x="9939" y="4604"/>
                  </a:lnTo>
                  <a:lnTo>
                    <a:pt x="9771" y="4311"/>
                  </a:lnTo>
                  <a:lnTo>
                    <a:pt x="9834" y="4164"/>
                  </a:lnTo>
                  <a:lnTo>
                    <a:pt x="9981" y="3934"/>
                  </a:lnTo>
                  <a:lnTo>
                    <a:pt x="9939" y="3934"/>
                  </a:lnTo>
                  <a:lnTo>
                    <a:pt x="9751" y="3892"/>
                  </a:lnTo>
                  <a:lnTo>
                    <a:pt x="9751" y="3767"/>
                  </a:lnTo>
                  <a:lnTo>
                    <a:pt x="9730" y="3558"/>
                  </a:lnTo>
                  <a:lnTo>
                    <a:pt x="9667" y="3558"/>
                  </a:lnTo>
                  <a:lnTo>
                    <a:pt x="9813" y="3411"/>
                  </a:lnTo>
                  <a:lnTo>
                    <a:pt x="9709" y="3327"/>
                  </a:lnTo>
                  <a:lnTo>
                    <a:pt x="9646" y="3244"/>
                  </a:lnTo>
                  <a:lnTo>
                    <a:pt x="9771" y="3223"/>
                  </a:lnTo>
                  <a:lnTo>
                    <a:pt x="9918" y="3118"/>
                  </a:lnTo>
                  <a:lnTo>
                    <a:pt x="9918" y="3034"/>
                  </a:lnTo>
                  <a:lnTo>
                    <a:pt x="9939" y="3014"/>
                  </a:lnTo>
                  <a:lnTo>
                    <a:pt x="9855" y="2909"/>
                  </a:lnTo>
                  <a:lnTo>
                    <a:pt x="9918" y="2825"/>
                  </a:lnTo>
                  <a:lnTo>
                    <a:pt x="9918" y="2742"/>
                  </a:lnTo>
                  <a:lnTo>
                    <a:pt x="9918" y="2574"/>
                  </a:lnTo>
                  <a:lnTo>
                    <a:pt x="9855" y="2470"/>
                  </a:lnTo>
                  <a:lnTo>
                    <a:pt x="9855" y="2386"/>
                  </a:lnTo>
                  <a:lnTo>
                    <a:pt x="9813" y="2260"/>
                  </a:lnTo>
                  <a:lnTo>
                    <a:pt x="9855" y="2156"/>
                  </a:lnTo>
                  <a:lnTo>
                    <a:pt x="9751" y="1988"/>
                  </a:lnTo>
                  <a:lnTo>
                    <a:pt x="9625" y="1946"/>
                  </a:lnTo>
                  <a:lnTo>
                    <a:pt x="9353" y="1905"/>
                  </a:lnTo>
                  <a:lnTo>
                    <a:pt x="9123" y="1591"/>
                  </a:lnTo>
                  <a:lnTo>
                    <a:pt x="8914" y="1549"/>
                  </a:lnTo>
                  <a:lnTo>
                    <a:pt x="8788" y="1570"/>
                  </a:lnTo>
                  <a:lnTo>
                    <a:pt x="8725" y="1528"/>
                  </a:lnTo>
                  <a:lnTo>
                    <a:pt x="8704" y="1361"/>
                  </a:lnTo>
                  <a:lnTo>
                    <a:pt x="8579" y="1340"/>
                  </a:lnTo>
                  <a:lnTo>
                    <a:pt x="8349" y="1235"/>
                  </a:lnTo>
                  <a:lnTo>
                    <a:pt x="8265" y="1319"/>
                  </a:lnTo>
                  <a:lnTo>
                    <a:pt x="8160" y="1319"/>
                  </a:lnTo>
                  <a:lnTo>
                    <a:pt x="7826" y="1109"/>
                  </a:lnTo>
                  <a:lnTo>
                    <a:pt x="7658" y="1047"/>
                  </a:lnTo>
                  <a:lnTo>
                    <a:pt x="7449" y="858"/>
                  </a:lnTo>
                  <a:lnTo>
                    <a:pt x="7323" y="900"/>
                  </a:lnTo>
                  <a:lnTo>
                    <a:pt x="7198" y="837"/>
                  </a:lnTo>
                  <a:lnTo>
                    <a:pt x="7093" y="858"/>
                  </a:lnTo>
                  <a:lnTo>
                    <a:pt x="7030" y="1005"/>
                  </a:lnTo>
                  <a:lnTo>
                    <a:pt x="6821" y="942"/>
                  </a:lnTo>
                  <a:lnTo>
                    <a:pt x="6591" y="1005"/>
                  </a:lnTo>
                  <a:lnTo>
                    <a:pt x="6361" y="1214"/>
                  </a:lnTo>
                  <a:lnTo>
                    <a:pt x="6256" y="1214"/>
                  </a:lnTo>
                  <a:lnTo>
                    <a:pt x="6173" y="1319"/>
                  </a:lnTo>
                  <a:lnTo>
                    <a:pt x="6110" y="1465"/>
                  </a:lnTo>
                  <a:lnTo>
                    <a:pt x="5838" y="1465"/>
                  </a:lnTo>
                  <a:lnTo>
                    <a:pt x="5733" y="1549"/>
                  </a:lnTo>
                  <a:lnTo>
                    <a:pt x="5775" y="1695"/>
                  </a:lnTo>
                  <a:lnTo>
                    <a:pt x="5859" y="1842"/>
                  </a:lnTo>
                  <a:lnTo>
                    <a:pt x="5838" y="1967"/>
                  </a:lnTo>
                  <a:lnTo>
                    <a:pt x="5691" y="1967"/>
                  </a:lnTo>
                  <a:lnTo>
                    <a:pt x="5357" y="1905"/>
                  </a:lnTo>
                  <a:lnTo>
                    <a:pt x="5064" y="1967"/>
                  </a:lnTo>
                  <a:lnTo>
                    <a:pt x="4708" y="2072"/>
                  </a:lnTo>
                  <a:lnTo>
                    <a:pt x="4520" y="2072"/>
                  </a:lnTo>
                  <a:lnTo>
                    <a:pt x="4185" y="1967"/>
                  </a:lnTo>
                  <a:lnTo>
                    <a:pt x="4059" y="1967"/>
                  </a:lnTo>
                  <a:lnTo>
                    <a:pt x="3766" y="1842"/>
                  </a:lnTo>
                  <a:lnTo>
                    <a:pt x="3662" y="1737"/>
                  </a:lnTo>
                  <a:lnTo>
                    <a:pt x="3641" y="1591"/>
                  </a:lnTo>
                  <a:lnTo>
                    <a:pt x="3557" y="1591"/>
                  </a:lnTo>
                  <a:lnTo>
                    <a:pt x="3432" y="1528"/>
                  </a:lnTo>
                  <a:lnTo>
                    <a:pt x="3264" y="1570"/>
                  </a:lnTo>
                  <a:lnTo>
                    <a:pt x="3181" y="1528"/>
                  </a:lnTo>
                  <a:lnTo>
                    <a:pt x="3055" y="1528"/>
                  </a:lnTo>
                  <a:lnTo>
                    <a:pt x="2929" y="1423"/>
                  </a:lnTo>
                  <a:lnTo>
                    <a:pt x="2846" y="1381"/>
                  </a:lnTo>
                  <a:lnTo>
                    <a:pt x="2804" y="1340"/>
                  </a:lnTo>
                  <a:lnTo>
                    <a:pt x="2825" y="1214"/>
                  </a:lnTo>
                  <a:lnTo>
                    <a:pt x="2825" y="1068"/>
                  </a:lnTo>
                  <a:lnTo>
                    <a:pt x="2741" y="942"/>
                  </a:lnTo>
                  <a:lnTo>
                    <a:pt x="2741" y="921"/>
                  </a:lnTo>
                  <a:lnTo>
                    <a:pt x="2699" y="942"/>
                  </a:lnTo>
                  <a:lnTo>
                    <a:pt x="2595" y="921"/>
                  </a:lnTo>
                  <a:lnTo>
                    <a:pt x="2553" y="858"/>
                  </a:lnTo>
                  <a:lnTo>
                    <a:pt x="2448" y="817"/>
                  </a:lnTo>
                  <a:lnTo>
                    <a:pt x="2281" y="607"/>
                  </a:lnTo>
                  <a:lnTo>
                    <a:pt x="2448" y="482"/>
                  </a:lnTo>
                  <a:lnTo>
                    <a:pt x="2323" y="398"/>
                  </a:lnTo>
                  <a:lnTo>
                    <a:pt x="2302" y="335"/>
                  </a:lnTo>
                  <a:lnTo>
                    <a:pt x="2344" y="293"/>
                  </a:lnTo>
                  <a:lnTo>
                    <a:pt x="2281" y="210"/>
                  </a:lnTo>
                  <a:lnTo>
                    <a:pt x="2218" y="105"/>
                  </a:lnTo>
                  <a:lnTo>
                    <a:pt x="2176" y="105"/>
                  </a:lnTo>
                  <a:lnTo>
                    <a:pt x="2176" y="84"/>
                  </a:lnTo>
                  <a:lnTo>
                    <a:pt x="2113" y="84"/>
                  </a:lnTo>
                  <a:lnTo>
                    <a:pt x="1988" y="168"/>
                  </a:lnTo>
                  <a:lnTo>
                    <a:pt x="1904" y="168"/>
                  </a:lnTo>
                  <a:lnTo>
                    <a:pt x="1862" y="273"/>
                  </a:lnTo>
                  <a:lnTo>
                    <a:pt x="1779" y="293"/>
                  </a:lnTo>
                  <a:lnTo>
                    <a:pt x="1674" y="419"/>
                  </a:lnTo>
                  <a:lnTo>
                    <a:pt x="1611" y="440"/>
                  </a:lnTo>
                  <a:lnTo>
                    <a:pt x="1569" y="503"/>
                  </a:lnTo>
                  <a:lnTo>
                    <a:pt x="1569" y="545"/>
                  </a:lnTo>
                  <a:lnTo>
                    <a:pt x="1465" y="607"/>
                  </a:lnTo>
                  <a:lnTo>
                    <a:pt x="1381" y="586"/>
                  </a:lnTo>
                  <a:lnTo>
                    <a:pt x="1256" y="607"/>
                  </a:lnTo>
                  <a:lnTo>
                    <a:pt x="1235" y="691"/>
                  </a:lnTo>
                  <a:lnTo>
                    <a:pt x="1046" y="607"/>
                  </a:lnTo>
                  <a:lnTo>
                    <a:pt x="921" y="607"/>
                  </a:lnTo>
                  <a:lnTo>
                    <a:pt x="753" y="524"/>
                  </a:lnTo>
                  <a:lnTo>
                    <a:pt x="732" y="398"/>
                  </a:lnTo>
                  <a:lnTo>
                    <a:pt x="460" y="273"/>
                  </a:lnTo>
                  <a:lnTo>
                    <a:pt x="502" y="189"/>
                  </a:lnTo>
                  <a:lnTo>
                    <a:pt x="440" y="84"/>
                  </a:lnTo>
                  <a:lnTo>
                    <a:pt x="356" y="84"/>
                  </a:lnTo>
                  <a:lnTo>
                    <a:pt x="29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 name="Google Shape;5996;p93">
              <a:extLst>
                <a:ext uri="{FF2B5EF4-FFF2-40B4-BE49-F238E27FC236}">
                  <a16:creationId xmlns:a16="http://schemas.microsoft.com/office/drawing/2014/main" id="{32AFE50A-06F0-4A4E-95EB-7793818BECF2}"/>
                </a:ext>
              </a:extLst>
            </p:cNvPr>
            <p:cNvSpPr/>
            <p:nvPr/>
          </p:nvSpPr>
          <p:spPr>
            <a:xfrm>
              <a:off x="4026636" y="2853369"/>
              <a:ext cx="24672" cy="20004"/>
            </a:xfrm>
            <a:custGeom>
              <a:avLst/>
              <a:gdLst/>
              <a:ahLst/>
              <a:cxnLst/>
              <a:rect l="l" t="t" r="r" b="b"/>
              <a:pathLst>
                <a:path w="2072" h="1759" extrusionOk="0">
                  <a:moveTo>
                    <a:pt x="419" y="1"/>
                  </a:moveTo>
                  <a:lnTo>
                    <a:pt x="168" y="64"/>
                  </a:lnTo>
                  <a:lnTo>
                    <a:pt x="0" y="105"/>
                  </a:lnTo>
                  <a:lnTo>
                    <a:pt x="84" y="210"/>
                  </a:lnTo>
                  <a:lnTo>
                    <a:pt x="84" y="294"/>
                  </a:lnTo>
                  <a:lnTo>
                    <a:pt x="189" y="315"/>
                  </a:lnTo>
                  <a:lnTo>
                    <a:pt x="272" y="419"/>
                  </a:lnTo>
                  <a:lnTo>
                    <a:pt x="209" y="608"/>
                  </a:lnTo>
                  <a:lnTo>
                    <a:pt x="251" y="838"/>
                  </a:lnTo>
                  <a:lnTo>
                    <a:pt x="398" y="942"/>
                  </a:lnTo>
                  <a:lnTo>
                    <a:pt x="691" y="942"/>
                  </a:lnTo>
                  <a:lnTo>
                    <a:pt x="795" y="1026"/>
                  </a:lnTo>
                  <a:lnTo>
                    <a:pt x="837" y="1110"/>
                  </a:lnTo>
                  <a:lnTo>
                    <a:pt x="921" y="1110"/>
                  </a:lnTo>
                  <a:lnTo>
                    <a:pt x="1026" y="1047"/>
                  </a:lnTo>
                  <a:lnTo>
                    <a:pt x="1193" y="1172"/>
                  </a:lnTo>
                  <a:lnTo>
                    <a:pt x="1235" y="1131"/>
                  </a:lnTo>
                  <a:lnTo>
                    <a:pt x="1339" y="1131"/>
                  </a:lnTo>
                  <a:lnTo>
                    <a:pt x="1423" y="1319"/>
                  </a:lnTo>
                  <a:lnTo>
                    <a:pt x="1570" y="1361"/>
                  </a:lnTo>
                  <a:lnTo>
                    <a:pt x="1842" y="1758"/>
                  </a:lnTo>
                  <a:lnTo>
                    <a:pt x="1967" y="1737"/>
                  </a:lnTo>
                  <a:lnTo>
                    <a:pt x="1967" y="1591"/>
                  </a:lnTo>
                  <a:lnTo>
                    <a:pt x="1988" y="1549"/>
                  </a:lnTo>
                  <a:lnTo>
                    <a:pt x="1925" y="1382"/>
                  </a:lnTo>
                  <a:lnTo>
                    <a:pt x="2072" y="1361"/>
                  </a:lnTo>
                  <a:lnTo>
                    <a:pt x="1946" y="1235"/>
                  </a:lnTo>
                  <a:lnTo>
                    <a:pt x="1758" y="1235"/>
                  </a:lnTo>
                  <a:lnTo>
                    <a:pt x="1507" y="1110"/>
                  </a:lnTo>
                  <a:lnTo>
                    <a:pt x="1423" y="921"/>
                  </a:lnTo>
                  <a:lnTo>
                    <a:pt x="1507" y="838"/>
                  </a:lnTo>
                  <a:lnTo>
                    <a:pt x="1507" y="712"/>
                  </a:lnTo>
                  <a:lnTo>
                    <a:pt x="1256" y="524"/>
                  </a:lnTo>
                  <a:lnTo>
                    <a:pt x="1256" y="419"/>
                  </a:lnTo>
                  <a:lnTo>
                    <a:pt x="1298" y="294"/>
                  </a:lnTo>
                  <a:lnTo>
                    <a:pt x="1193" y="168"/>
                  </a:lnTo>
                  <a:lnTo>
                    <a:pt x="984" y="126"/>
                  </a:lnTo>
                  <a:lnTo>
                    <a:pt x="83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 name="Google Shape;5997;p93">
              <a:extLst>
                <a:ext uri="{FF2B5EF4-FFF2-40B4-BE49-F238E27FC236}">
                  <a16:creationId xmlns:a16="http://schemas.microsoft.com/office/drawing/2014/main" id="{C9AE9742-BB77-4800-A1E0-04C1FC25C516}"/>
                </a:ext>
              </a:extLst>
            </p:cNvPr>
            <p:cNvSpPr/>
            <p:nvPr/>
          </p:nvSpPr>
          <p:spPr>
            <a:xfrm>
              <a:off x="3915766" y="2848615"/>
              <a:ext cx="124088" cy="48788"/>
            </a:xfrm>
            <a:custGeom>
              <a:avLst/>
              <a:gdLst/>
              <a:ahLst/>
              <a:cxnLst/>
              <a:rect l="l" t="t" r="r" b="b"/>
              <a:pathLst>
                <a:path w="10421" h="4290" extrusionOk="0">
                  <a:moveTo>
                    <a:pt x="4708" y="0"/>
                  </a:moveTo>
                  <a:lnTo>
                    <a:pt x="4562" y="63"/>
                  </a:lnTo>
                  <a:lnTo>
                    <a:pt x="4373" y="63"/>
                  </a:lnTo>
                  <a:lnTo>
                    <a:pt x="4290" y="21"/>
                  </a:lnTo>
                  <a:lnTo>
                    <a:pt x="4185" y="63"/>
                  </a:lnTo>
                  <a:lnTo>
                    <a:pt x="3913" y="63"/>
                  </a:lnTo>
                  <a:lnTo>
                    <a:pt x="3766" y="84"/>
                  </a:lnTo>
                  <a:lnTo>
                    <a:pt x="3494" y="189"/>
                  </a:lnTo>
                  <a:lnTo>
                    <a:pt x="3390" y="210"/>
                  </a:lnTo>
                  <a:lnTo>
                    <a:pt x="3181" y="230"/>
                  </a:lnTo>
                  <a:lnTo>
                    <a:pt x="3097" y="335"/>
                  </a:lnTo>
                  <a:lnTo>
                    <a:pt x="2992" y="377"/>
                  </a:lnTo>
                  <a:lnTo>
                    <a:pt x="2909" y="440"/>
                  </a:lnTo>
                  <a:lnTo>
                    <a:pt x="2867" y="502"/>
                  </a:lnTo>
                  <a:lnTo>
                    <a:pt x="2804" y="628"/>
                  </a:lnTo>
                  <a:lnTo>
                    <a:pt x="2762" y="649"/>
                  </a:lnTo>
                  <a:lnTo>
                    <a:pt x="2762" y="733"/>
                  </a:lnTo>
                  <a:lnTo>
                    <a:pt x="2553" y="733"/>
                  </a:lnTo>
                  <a:lnTo>
                    <a:pt x="2239" y="628"/>
                  </a:lnTo>
                  <a:lnTo>
                    <a:pt x="2155" y="628"/>
                  </a:lnTo>
                  <a:lnTo>
                    <a:pt x="2072" y="691"/>
                  </a:lnTo>
                  <a:lnTo>
                    <a:pt x="1946" y="649"/>
                  </a:lnTo>
                  <a:lnTo>
                    <a:pt x="1779" y="691"/>
                  </a:lnTo>
                  <a:lnTo>
                    <a:pt x="1674" y="649"/>
                  </a:lnTo>
                  <a:lnTo>
                    <a:pt x="1549" y="712"/>
                  </a:lnTo>
                  <a:lnTo>
                    <a:pt x="1528" y="795"/>
                  </a:lnTo>
                  <a:lnTo>
                    <a:pt x="1632" y="942"/>
                  </a:lnTo>
                  <a:lnTo>
                    <a:pt x="1779" y="963"/>
                  </a:lnTo>
                  <a:lnTo>
                    <a:pt x="1925" y="963"/>
                  </a:lnTo>
                  <a:lnTo>
                    <a:pt x="1883" y="1046"/>
                  </a:lnTo>
                  <a:lnTo>
                    <a:pt x="1653" y="1046"/>
                  </a:lnTo>
                  <a:lnTo>
                    <a:pt x="1444" y="1109"/>
                  </a:lnTo>
                  <a:lnTo>
                    <a:pt x="1402" y="1214"/>
                  </a:lnTo>
                  <a:lnTo>
                    <a:pt x="1423" y="1256"/>
                  </a:lnTo>
                  <a:lnTo>
                    <a:pt x="1528" y="1235"/>
                  </a:lnTo>
                  <a:lnTo>
                    <a:pt x="1570" y="1277"/>
                  </a:lnTo>
                  <a:lnTo>
                    <a:pt x="1507" y="1318"/>
                  </a:lnTo>
                  <a:lnTo>
                    <a:pt x="1214" y="1339"/>
                  </a:lnTo>
                  <a:lnTo>
                    <a:pt x="1109" y="1256"/>
                  </a:lnTo>
                  <a:lnTo>
                    <a:pt x="984" y="1339"/>
                  </a:lnTo>
                  <a:lnTo>
                    <a:pt x="900" y="1235"/>
                  </a:lnTo>
                  <a:lnTo>
                    <a:pt x="837" y="1235"/>
                  </a:lnTo>
                  <a:lnTo>
                    <a:pt x="733" y="1339"/>
                  </a:lnTo>
                  <a:lnTo>
                    <a:pt x="628" y="1339"/>
                  </a:lnTo>
                  <a:lnTo>
                    <a:pt x="502" y="1235"/>
                  </a:lnTo>
                  <a:lnTo>
                    <a:pt x="377" y="1235"/>
                  </a:lnTo>
                  <a:lnTo>
                    <a:pt x="105" y="1444"/>
                  </a:lnTo>
                  <a:lnTo>
                    <a:pt x="63" y="1549"/>
                  </a:lnTo>
                  <a:lnTo>
                    <a:pt x="0" y="1653"/>
                  </a:lnTo>
                  <a:lnTo>
                    <a:pt x="63" y="1695"/>
                  </a:lnTo>
                  <a:lnTo>
                    <a:pt x="63" y="1842"/>
                  </a:lnTo>
                  <a:lnTo>
                    <a:pt x="0" y="1883"/>
                  </a:lnTo>
                  <a:lnTo>
                    <a:pt x="63" y="1946"/>
                  </a:lnTo>
                  <a:lnTo>
                    <a:pt x="209" y="1883"/>
                  </a:lnTo>
                  <a:lnTo>
                    <a:pt x="251" y="1904"/>
                  </a:lnTo>
                  <a:lnTo>
                    <a:pt x="377" y="1883"/>
                  </a:lnTo>
                  <a:lnTo>
                    <a:pt x="502" y="1883"/>
                  </a:lnTo>
                  <a:lnTo>
                    <a:pt x="377" y="2009"/>
                  </a:lnTo>
                  <a:lnTo>
                    <a:pt x="398" y="2093"/>
                  </a:lnTo>
                  <a:lnTo>
                    <a:pt x="461" y="2197"/>
                  </a:lnTo>
                  <a:lnTo>
                    <a:pt x="461" y="2281"/>
                  </a:lnTo>
                  <a:lnTo>
                    <a:pt x="419" y="2302"/>
                  </a:lnTo>
                  <a:lnTo>
                    <a:pt x="481" y="2323"/>
                  </a:lnTo>
                  <a:lnTo>
                    <a:pt x="586" y="2281"/>
                  </a:lnTo>
                  <a:lnTo>
                    <a:pt x="586" y="2323"/>
                  </a:lnTo>
                  <a:lnTo>
                    <a:pt x="502" y="2406"/>
                  </a:lnTo>
                  <a:lnTo>
                    <a:pt x="377" y="2490"/>
                  </a:lnTo>
                  <a:lnTo>
                    <a:pt x="419" y="2532"/>
                  </a:lnTo>
                  <a:lnTo>
                    <a:pt x="502" y="2532"/>
                  </a:lnTo>
                  <a:lnTo>
                    <a:pt x="419" y="2595"/>
                  </a:lnTo>
                  <a:lnTo>
                    <a:pt x="377" y="2699"/>
                  </a:lnTo>
                  <a:lnTo>
                    <a:pt x="293" y="2699"/>
                  </a:lnTo>
                  <a:lnTo>
                    <a:pt x="251" y="2532"/>
                  </a:lnTo>
                  <a:lnTo>
                    <a:pt x="189" y="2511"/>
                  </a:lnTo>
                  <a:lnTo>
                    <a:pt x="189" y="2616"/>
                  </a:lnTo>
                  <a:lnTo>
                    <a:pt x="209" y="2720"/>
                  </a:lnTo>
                  <a:lnTo>
                    <a:pt x="168" y="2783"/>
                  </a:lnTo>
                  <a:lnTo>
                    <a:pt x="189" y="2846"/>
                  </a:lnTo>
                  <a:lnTo>
                    <a:pt x="293" y="2930"/>
                  </a:lnTo>
                  <a:lnTo>
                    <a:pt x="293" y="2888"/>
                  </a:lnTo>
                  <a:lnTo>
                    <a:pt x="419" y="2950"/>
                  </a:lnTo>
                  <a:lnTo>
                    <a:pt x="502" y="2950"/>
                  </a:lnTo>
                  <a:lnTo>
                    <a:pt x="628" y="3034"/>
                  </a:lnTo>
                  <a:lnTo>
                    <a:pt x="670" y="3160"/>
                  </a:lnTo>
                  <a:lnTo>
                    <a:pt x="586" y="3243"/>
                  </a:lnTo>
                  <a:lnTo>
                    <a:pt x="670" y="3327"/>
                  </a:lnTo>
                  <a:lnTo>
                    <a:pt x="670" y="3411"/>
                  </a:lnTo>
                  <a:lnTo>
                    <a:pt x="733" y="3411"/>
                  </a:lnTo>
                  <a:lnTo>
                    <a:pt x="879" y="3536"/>
                  </a:lnTo>
                  <a:lnTo>
                    <a:pt x="816" y="3641"/>
                  </a:lnTo>
                  <a:lnTo>
                    <a:pt x="733" y="3620"/>
                  </a:lnTo>
                  <a:lnTo>
                    <a:pt x="712" y="3662"/>
                  </a:lnTo>
                  <a:lnTo>
                    <a:pt x="795" y="3683"/>
                  </a:lnTo>
                  <a:lnTo>
                    <a:pt x="942" y="3662"/>
                  </a:lnTo>
                  <a:lnTo>
                    <a:pt x="1214" y="3662"/>
                  </a:lnTo>
                  <a:lnTo>
                    <a:pt x="1193" y="3725"/>
                  </a:lnTo>
                  <a:lnTo>
                    <a:pt x="1130" y="3767"/>
                  </a:lnTo>
                  <a:lnTo>
                    <a:pt x="1005" y="3829"/>
                  </a:lnTo>
                  <a:lnTo>
                    <a:pt x="816" y="3829"/>
                  </a:lnTo>
                  <a:lnTo>
                    <a:pt x="774" y="3871"/>
                  </a:lnTo>
                  <a:lnTo>
                    <a:pt x="837" y="3892"/>
                  </a:lnTo>
                  <a:lnTo>
                    <a:pt x="942" y="3871"/>
                  </a:lnTo>
                  <a:lnTo>
                    <a:pt x="1088" y="3871"/>
                  </a:lnTo>
                  <a:lnTo>
                    <a:pt x="1130" y="3829"/>
                  </a:lnTo>
                  <a:lnTo>
                    <a:pt x="1130" y="3934"/>
                  </a:lnTo>
                  <a:lnTo>
                    <a:pt x="1151" y="3955"/>
                  </a:lnTo>
                  <a:lnTo>
                    <a:pt x="1235" y="3871"/>
                  </a:lnTo>
                  <a:lnTo>
                    <a:pt x="1318" y="3767"/>
                  </a:lnTo>
                  <a:lnTo>
                    <a:pt x="1402" y="3767"/>
                  </a:lnTo>
                  <a:lnTo>
                    <a:pt x="1444" y="3829"/>
                  </a:lnTo>
                  <a:lnTo>
                    <a:pt x="1528" y="3829"/>
                  </a:lnTo>
                  <a:lnTo>
                    <a:pt x="1632" y="3892"/>
                  </a:lnTo>
                  <a:lnTo>
                    <a:pt x="1674" y="3829"/>
                  </a:lnTo>
                  <a:lnTo>
                    <a:pt x="1758" y="3850"/>
                  </a:lnTo>
                  <a:lnTo>
                    <a:pt x="1758" y="3892"/>
                  </a:lnTo>
                  <a:lnTo>
                    <a:pt x="1716" y="3934"/>
                  </a:lnTo>
                  <a:lnTo>
                    <a:pt x="1758" y="3997"/>
                  </a:lnTo>
                  <a:lnTo>
                    <a:pt x="1779" y="4080"/>
                  </a:lnTo>
                  <a:lnTo>
                    <a:pt x="1883" y="4185"/>
                  </a:lnTo>
                  <a:lnTo>
                    <a:pt x="1946" y="4164"/>
                  </a:lnTo>
                  <a:lnTo>
                    <a:pt x="2072" y="4206"/>
                  </a:lnTo>
                  <a:lnTo>
                    <a:pt x="2197" y="4185"/>
                  </a:lnTo>
                  <a:lnTo>
                    <a:pt x="2281" y="4143"/>
                  </a:lnTo>
                  <a:lnTo>
                    <a:pt x="2386" y="4143"/>
                  </a:lnTo>
                  <a:lnTo>
                    <a:pt x="2469" y="4080"/>
                  </a:lnTo>
                  <a:lnTo>
                    <a:pt x="2574" y="4143"/>
                  </a:lnTo>
                  <a:lnTo>
                    <a:pt x="2616" y="4080"/>
                  </a:lnTo>
                  <a:lnTo>
                    <a:pt x="2616" y="3955"/>
                  </a:lnTo>
                  <a:lnTo>
                    <a:pt x="2658" y="3871"/>
                  </a:lnTo>
                  <a:lnTo>
                    <a:pt x="2616" y="3767"/>
                  </a:lnTo>
                  <a:lnTo>
                    <a:pt x="2867" y="3746"/>
                  </a:lnTo>
                  <a:lnTo>
                    <a:pt x="3076" y="3746"/>
                  </a:lnTo>
                  <a:lnTo>
                    <a:pt x="3348" y="3892"/>
                  </a:lnTo>
                  <a:lnTo>
                    <a:pt x="3453" y="3892"/>
                  </a:lnTo>
                  <a:lnTo>
                    <a:pt x="3641" y="4143"/>
                  </a:lnTo>
                  <a:lnTo>
                    <a:pt x="3808" y="4248"/>
                  </a:lnTo>
                  <a:lnTo>
                    <a:pt x="4331" y="4185"/>
                  </a:lnTo>
                  <a:lnTo>
                    <a:pt x="4478" y="4101"/>
                  </a:lnTo>
                  <a:lnTo>
                    <a:pt x="4541" y="4101"/>
                  </a:lnTo>
                  <a:lnTo>
                    <a:pt x="4562" y="4143"/>
                  </a:lnTo>
                  <a:lnTo>
                    <a:pt x="4603" y="4080"/>
                  </a:lnTo>
                  <a:lnTo>
                    <a:pt x="4645" y="3976"/>
                  </a:lnTo>
                  <a:lnTo>
                    <a:pt x="4896" y="3725"/>
                  </a:lnTo>
                  <a:lnTo>
                    <a:pt x="4959" y="3683"/>
                  </a:lnTo>
                  <a:lnTo>
                    <a:pt x="5189" y="3767"/>
                  </a:lnTo>
                  <a:lnTo>
                    <a:pt x="5336" y="3850"/>
                  </a:lnTo>
                  <a:lnTo>
                    <a:pt x="5524" y="3787"/>
                  </a:lnTo>
                  <a:lnTo>
                    <a:pt x="5524" y="3746"/>
                  </a:lnTo>
                  <a:lnTo>
                    <a:pt x="5650" y="3662"/>
                  </a:lnTo>
                  <a:lnTo>
                    <a:pt x="5754" y="3683"/>
                  </a:lnTo>
                  <a:lnTo>
                    <a:pt x="5754" y="3767"/>
                  </a:lnTo>
                  <a:lnTo>
                    <a:pt x="5691" y="3934"/>
                  </a:lnTo>
                  <a:lnTo>
                    <a:pt x="5545" y="3997"/>
                  </a:lnTo>
                  <a:lnTo>
                    <a:pt x="5587" y="4059"/>
                  </a:lnTo>
                  <a:lnTo>
                    <a:pt x="5691" y="4185"/>
                  </a:lnTo>
                  <a:lnTo>
                    <a:pt x="5650" y="4269"/>
                  </a:lnTo>
                  <a:lnTo>
                    <a:pt x="5754" y="4290"/>
                  </a:lnTo>
                  <a:lnTo>
                    <a:pt x="5901" y="4269"/>
                  </a:lnTo>
                  <a:lnTo>
                    <a:pt x="6005" y="4206"/>
                  </a:lnTo>
                  <a:lnTo>
                    <a:pt x="5963" y="4080"/>
                  </a:lnTo>
                  <a:lnTo>
                    <a:pt x="6047" y="4059"/>
                  </a:lnTo>
                  <a:lnTo>
                    <a:pt x="6047" y="3829"/>
                  </a:lnTo>
                  <a:lnTo>
                    <a:pt x="6110" y="3746"/>
                  </a:lnTo>
                  <a:lnTo>
                    <a:pt x="6256" y="3787"/>
                  </a:lnTo>
                  <a:lnTo>
                    <a:pt x="6361" y="3829"/>
                  </a:lnTo>
                  <a:lnTo>
                    <a:pt x="6654" y="3683"/>
                  </a:lnTo>
                  <a:lnTo>
                    <a:pt x="6696" y="3683"/>
                  </a:lnTo>
                  <a:lnTo>
                    <a:pt x="6780" y="3641"/>
                  </a:lnTo>
                  <a:lnTo>
                    <a:pt x="7093" y="3620"/>
                  </a:lnTo>
                  <a:lnTo>
                    <a:pt x="7198" y="3641"/>
                  </a:lnTo>
                  <a:lnTo>
                    <a:pt x="7261" y="3683"/>
                  </a:lnTo>
                  <a:lnTo>
                    <a:pt x="7428" y="3746"/>
                  </a:lnTo>
                  <a:lnTo>
                    <a:pt x="7700" y="3746"/>
                  </a:lnTo>
                  <a:lnTo>
                    <a:pt x="7721" y="3683"/>
                  </a:lnTo>
                  <a:lnTo>
                    <a:pt x="7888" y="3641"/>
                  </a:lnTo>
                  <a:lnTo>
                    <a:pt x="7951" y="3557"/>
                  </a:lnTo>
                  <a:lnTo>
                    <a:pt x="8160" y="3474"/>
                  </a:lnTo>
                  <a:lnTo>
                    <a:pt x="8307" y="3474"/>
                  </a:lnTo>
                  <a:lnTo>
                    <a:pt x="8432" y="3453"/>
                  </a:lnTo>
                  <a:lnTo>
                    <a:pt x="8725" y="3474"/>
                  </a:lnTo>
                  <a:lnTo>
                    <a:pt x="8956" y="3411"/>
                  </a:lnTo>
                  <a:lnTo>
                    <a:pt x="9102" y="3411"/>
                  </a:lnTo>
                  <a:lnTo>
                    <a:pt x="9165" y="3432"/>
                  </a:lnTo>
                  <a:lnTo>
                    <a:pt x="9311" y="3306"/>
                  </a:lnTo>
                  <a:lnTo>
                    <a:pt x="9458" y="3306"/>
                  </a:lnTo>
                  <a:lnTo>
                    <a:pt x="9500" y="3264"/>
                  </a:lnTo>
                  <a:lnTo>
                    <a:pt x="9730" y="3264"/>
                  </a:lnTo>
                  <a:lnTo>
                    <a:pt x="9939" y="3327"/>
                  </a:lnTo>
                  <a:lnTo>
                    <a:pt x="10085" y="3264"/>
                  </a:lnTo>
                  <a:lnTo>
                    <a:pt x="10148" y="3327"/>
                  </a:lnTo>
                  <a:lnTo>
                    <a:pt x="10148" y="3432"/>
                  </a:lnTo>
                  <a:lnTo>
                    <a:pt x="10253" y="3474"/>
                  </a:lnTo>
                  <a:lnTo>
                    <a:pt x="10399" y="3453"/>
                  </a:lnTo>
                  <a:lnTo>
                    <a:pt x="10420" y="3348"/>
                  </a:lnTo>
                  <a:lnTo>
                    <a:pt x="10357" y="3223"/>
                  </a:lnTo>
                  <a:lnTo>
                    <a:pt x="10232" y="2992"/>
                  </a:lnTo>
                  <a:lnTo>
                    <a:pt x="10085" y="2930"/>
                  </a:lnTo>
                  <a:lnTo>
                    <a:pt x="10106" y="2846"/>
                  </a:lnTo>
                  <a:lnTo>
                    <a:pt x="10085" y="2699"/>
                  </a:lnTo>
                  <a:lnTo>
                    <a:pt x="10148" y="2511"/>
                  </a:lnTo>
                  <a:lnTo>
                    <a:pt x="10127" y="2469"/>
                  </a:lnTo>
                  <a:lnTo>
                    <a:pt x="10002" y="2427"/>
                  </a:lnTo>
                  <a:lnTo>
                    <a:pt x="10002" y="2281"/>
                  </a:lnTo>
                  <a:lnTo>
                    <a:pt x="10002" y="2176"/>
                  </a:lnTo>
                  <a:lnTo>
                    <a:pt x="9939" y="1967"/>
                  </a:lnTo>
                  <a:lnTo>
                    <a:pt x="9897" y="1842"/>
                  </a:lnTo>
                  <a:lnTo>
                    <a:pt x="9897" y="1779"/>
                  </a:lnTo>
                  <a:lnTo>
                    <a:pt x="10044" y="1779"/>
                  </a:lnTo>
                  <a:lnTo>
                    <a:pt x="10106" y="1632"/>
                  </a:lnTo>
                  <a:lnTo>
                    <a:pt x="10148" y="1570"/>
                  </a:lnTo>
                  <a:lnTo>
                    <a:pt x="10148" y="1528"/>
                  </a:lnTo>
                  <a:lnTo>
                    <a:pt x="10106" y="1444"/>
                  </a:lnTo>
                  <a:lnTo>
                    <a:pt x="10002" y="1360"/>
                  </a:lnTo>
                  <a:lnTo>
                    <a:pt x="9709" y="1360"/>
                  </a:lnTo>
                  <a:lnTo>
                    <a:pt x="9562" y="1256"/>
                  </a:lnTo>
                  <a:lnTo>
                    <a:pt x="9520" y="1026"/>
                  </a:lnTo>
                  <a:lnTo>
                    <a:pt x="9583" y="837"/>
                  </a:lnTo>
                  <a:lnTo>
                    <a:pt x="9500" y="733"/>
                  </a:lnTo>
                  <a:lnTo>
                    <a:pt x="9395" y="712"/>
                  </a:lnTo>
                  <a:lnTo>
                    <a:pt x="9395" y="628"/>
                  </a:lnTo>
                  <a:lnTo>
                    <a:pt x="9290" y="523"/>
                  </a:lnTo>
                  <a:lnTo>
                    <a:pt x="9186" y="502"/>
                  </a:lnTo>
                  <a:lnTo>
                    <a:pt x="8956" y="293"/>
                  </a:lnTo>
                  <a:lnTo>
                    <a:pt x="8851" y="272"/>
                  </a:lnTo>
                  <a:lnTo>
                    <a:pt x="8767" y="335"/>
                  </a:lnTo>
                  <a:lnTo>
                    <a:pt x="8725" y="335"/>
                  </a:lnTo>
                  <a:lnTo>
                    <a:pt x="8558" y="293"/>
                  </a:lnTo>
                  <a:lnTo>
                    <a:pt x="8516" y="377"/>
                  </a:lnTo>
                  <a:lnTo>
                    <a:pt x="8432" y="335"/>
                  </a:lnTo>
                  <a:lnTo>
                    <a:pt x="8412" y="230"/>
                  </a:lnTo>
                  <a:lnTo>
                    <a:pt x="8349" y="230"/>
                  </a:lnTo>
                  <a:lnTo>
                    <a:pt x="8328" y="272"/>
                  </a:lnTo>
                  <a:lnTo>
                    <a:pt x="8244" y="419"/>
                  </a:lnTo>
                  <a:lnTo>
                    <a:pt x="8098" y="502"/>
                  </a:lnTo>
                  <a:lnTo>
                    <a:pt x="7909" y="607"/>
                  </a:lnTo>
                  <a:lnTo>
                    <a:pt x="7888" y="691"/>
                  </a:lnTo>
                  <a:lnTo>
                    <a:pt x="7700" y="712"/>
                  </a:lnTo>
                  <a:lnTo>
                    <a:pt x="7616" y="754"/>
                  </a:lnTo>
                  <a:lnTo>
                    <a:pt x="7386" y="712"/>
                  </a:lnTo>
                  <a:lnTo>
                    <a:pt x="7324" y="649"/>
                  </a:lnTo>
                  <a:lnTo>
                    <a:pt x="7219" y="649"/>
                  </a:lnTo>
                  <a:lnTo>
                    <a:pt x="7198" y="628"/>
                  </a:lnTo>
                  <a:lnTo>
                    <a:pt x="7093" y="691"/>
                  </a:lnTo>
                  <a:lnTo>
                    <a:pt x="6884" y="691"/>
                  </a:lnTo>
                  <a:lnTo>
                    <a:pt x="6633" y="795"/>
                  </a:lnTo>
                  <a:lnTo>
                    <a:pt x="6445" y="754"/>
                  </a:lnTo>
                  <a:lnTo>
                    <a:pt x="6319" y="649"/>
                  </a:lnTo>
                  <a:lnTo>
                    <a:pt x="6235" y="712"/>
                  </a:lnTo>
                  <a:lnTo>
                    <a:pt x="6026" y="607"/>
                  </a:lnTo>
                  <a:lnTo>
                    <a:pt x="5901" y="586"/>
                  </a:lnTo>
                  <a:lnTo>
                    <a:pt x="5712" y="440"/>
                  </a:lnTo>
                  <a:lnTo>
                    <a:pt x="5629" y="440"/>
                  </a:lnTo>
                  <a:lnTo>
                    <a:pt x="5587" y="523"/>
                  </a:lnTo>
                  <a:lnTo>
                    <a:pt x="5503" y="502"/>
                  </a:lnTo>
                  <a:lnTo>
                    <a:pt x="5399" y="377"/>
                  </a:lnTo>
                  <a:lnTo>
                    <a:pt x="5378" y="210"/>
                  </a:lnTo>
                  <a:lnTo>
                    <a:pt x="5273" y="126"/>
                  </a:lnTo>
                  <a:lnTo>
                    <a:pt x="5210" y="168"/>
                  </a:lnTo>
                  <a:lnTo>
                    <a:pt x="5085" y="293"/>
                  </a:lnTo>
                  <a:lnTo>
                    <a:pt x="5022" y="272"/>
                  </a:lnTo>
                  <a:lnTo>
                    <a:pt x="4980" y="314"/>
                  </a:lnTo>
                  <a:lnTo>
                    <a:pt x="4771" y="105"/>
                  </a:lnTo>
                  <a:lnTo>
                    <a:pt x="475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 name="Google Shape;5998;p93">
              <a:extLst>
                <a:ext uri="{FF2B5EF4-FFF2-40B4-BE49-F238E27FC236}">
                  <a16:creationId xmlns:a16="http://schemas.microsoft.com/office/drawing/2014/main" id="{B1E787A2-5F4D-4114-BAD6-0EDCA478AF77}"/>
                </a:ext>
              </a:extLst>
            </p:cNvPr>
            <p:cNvSpPr/>
            <p:nvPr/>
          </p:nvSpPr>
          <p:spPr>
            <a:xfrm>
              <a:off x="3914265" y="2848854"/>
              <a:ext cx="18945" cy="15956"/>
            </a:xfrm>
            <a:custGeom>
              <a:avLst/>
              <a:gdLst/>
              <a:ahLst/>
              <a:cxnLst/>
              <a:rect l="l" t="t" r="r" b="b"/>
              <a:pathLst>
                <a:path w="1591" h="1403" extrusionOk="0">
                  <a:moveTo>
                    <a:pt x="503" y="0"/>
                  </a:moveTo>
                  <a:lnTo>
                    <a:pt x="419" y="84"/>
                  </a:lnTo>
                  <a:lnTo>
                    <a:pt x="335" y="84"/>
                  </a:lnTo>
                  <a:lnTo>
                    <a:pt x="231" y="189"/>
                  </a:lnTo>
                  <a:lnTo>
                    <a:pt x="210" y="356"/>
                  </a:lnTo>
                  <a:lnTo>
                    <a:pt x="335" y="398"/>
                  </a:lnTo>
                  <a:lnTo>
                    <a:pt x="335" y="523"/>
                  </a:lnTo>
                  <a:lnTo>
                    <a:pt x="189" y="628"/>
                  </a:lnTo>
                  <a:lnTo>
                    <a:pt x="210" y="733"/>
                  </a:lnTo>
                  <a:lnTo>
                    <a:pt x="126" y="879"/>
                  </a:lnTo>
                  <a:lnTo>
                    <a:pt x="1" y="921"/>
                  </a:lnTo>
                  <a:lnTo>
                    <a:pt x="22" y="921"/>
                  </a:lnTo>
                  <a:lnTo>
                    <a:pt x="84" y="1025"/>
                  </a:lnTo>
                  <a:lnTo>
                    <a:pt x="168" y="1088"/>
                  </a:lnTo>
                  <a:lnTo>
                    <a:pt x="231" y="1046"/>
                  </a:lnTo>
                  <a:lnTo>
                    <a:pt x="294" y="1088"/>
                  </a:lnTo>
                  <a:lnTo>
                    <a:pt x="398" y="1046"/>
                  </a:lnTo>
                  <a:lnTo>
                    <a:pt x="294" y="1130"/>
                  </a:lnTo>
                  <a:lnTo>
                    <a:pt x="231" y="1130"/>
                  </a:lnTo>
                  <a:lnTo>
                    <a:pt x="168" y="1318"/>
                  </a:lnTo>
                  <a:lnTo>
                    <a:pt x="189" y="1402"/>
                  </a:lnTo>
                  <a:lnTo>
                    <a:pt x="419" y="1193"/>
                  </a:lnTo>
                  <a:lnTo>
                    <a:pt x="712" y="1025"/>
                  </a:lnTo>
                  <a:lnTo>
                    <a:pt x="796" y="879"/>
                  </a:lnTo>
                  <a:lnTo>
                    <a:pt x="900" y="816"/>
                  </a:lnTo>
                  <a:lnTo>
                    <a:pt x="1110" y="837"/>
                  </a:lnTo>
                  <a:lnTo>
                    <a:pt x="1152" y="795"/>
                  </a:lnTo>
                  <a:lnTo>
                    <a:pt x="1277" y="795"/>
                  </a:lnTo>
                  <a:lnTo>
                    <a:pt x="1361" y="816"/>
                  </a:lnTo>
                  <a:lnTo>
                    <a:pt x="1486" y="837"/>
                  </a:lnTo>
                  <a:lnTo>
                    <a:pt x="1591" y="733"/>
                  </a:lnTo>
                  <a:lnTo>
                    <a:pt x="1591" y="670"/>
                  </a:lnTo>
                  <a:lnTo>
                    <a:pt x="1486" y="607"/>
                  </a:lnTo>
                  <a:lnTo>
                    <a:pt x="1361" y="481"/>
                  </a:lnTo>
                  <a:lnTo>
                    <a:pt x="1235" y="461"/>
                  </a:lnTo>
                  <a:lnTo>
                    <a:pt x="1047" y="293"/>
                  </a:lnTo>
                  <a:lnTo>
                    <a:pt x="1026" y="84"/>
                  </a:lnTo>
                  <a:lnTo>
                    <a:pt x="921" y="63"/>
                  </a:lnTo>
                  <a:lnTo>
                    <a:pt x="817" y="147"/>
                  </a:lnTo>
                  <a:lnTo>
                    <a:pt x="64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 name="Google Shape;5999;p93">
              <a:extLst>
                <a:ext uri="{FF2B5EF4-FFF2-40B4-BE49-F238E27FC236}">
                  <a16:creationId xmlns:a16="http://schemas.microsoft.com/office/drawing/2014/main" id="{F67AF83E-53EF-4D7B-AA3E-C1D1773CB8C2}"/>
                </a:ext>
              </a:extLst>
            </p:cNvPr>
            <p:cNvSpPr/>
            <p:nvPr/>
          </p:nvSpPr>
          <p:spPr>
            <a:xfrm>
              <a:off x="4004703" y="2885735"/>
              <a:ext cx="66539" cy="61161"/>
            </a:xfrm>
            <a:custGeom>
              <a:avLst/>
              <a:gdLst/>
              <a:ahLst/>
              <a:cxnLst/>
              <a:rect l="l" t="t" r="r" b="b"/>
              <a:pathLst>
                <a:path w="5588" h="5378" extrusionOk="0">
                  <a:moveTo>
                    <a:pt x="2031" y="0"/>
                  </a:moveTo>
                  <a:lnTo>
                    <a:pt x="1989" y="42"/>
                  </a:lnTo>
                  <a:lnTo>
                    <a:pt x="1842" y="42"/>
                  </a:lnTo>
                  <a:lnTo>
                    <a:pt x="1696" y="168"/>
                  </a:lnTo>
                  <a:lnTo>
                    <a:pt x="1717" y="189"/>
                  </a:lnTo>
                  <a:lnTo>
                    <a:pt x="1633" y="314"/>
                  </a:lnTo>
                  <a:lnTo>
                    <a:pt x="1591" y="314"/>
                  </a:lnTo>
                  <a:lnTo>
                    <a:pt x="1466" y="419"/>
                  </a:lnTo>
                  <a:lnTo>
                    <a:pt x="1215" y="482"/>
                  </a:lnTo>
                  <a:lnTo>
                    <a:pt x="1110" y="670"/>
                  </a:lnTo>
                  <a:lnTo>
                    <a:pt x="1110" y="837"/>
                  </a:lnTo>
                  <a:lnTo>
                    <a:pt x="1215" y="1047"/>
                  </a:lnTo>
                  <a:lnTo>
                    <a:pt x="1215" y="1235"/>
                  </a:lnTo>
                  <a:lnTo>
                    <a:pt x="1110" y="1444"/>
                  </a:lnTo>
                  <a:lnTo>
                    <a:pt x="1173" y="1549"/>
                  </a:lnTo>
                  <a:lnTo>
                    <a:pt x="1152" y="1716"/>
                  </a:lnTo>
                  <a:lnTo>
                    <a:pt x="1068" y="1842"/>
                  </a:lnTo>
                  <a:lnTo>
                    <a:pt x="1005" y="1925"/>
                  </a:lnTo>
                  <a:lnTo>
                    <a:pt x="1" y="2658"/>
                  </a:lnTo>
                  <a:lnTo>
                    <a:pt x="273" y="3411"/>
                  </a:lnTo>
                  <a:lnTo>
                    <a:pt x="775" y="3453"/>
                  </a:lnTo>
                  <a:lnTo>
                    <a:pt x="3474" y="5336"/>
                  </a:lnTo>
                  <a:lnTo>
                    <a:pt x="4562" y="5378"/>
                  </a:lnTo>
                  <a:lnTo>
                    <a:pt x="4709" y="5106"/>
                  </a:lnTo>
                  <a:lnTo>
                    <a:pt x="4834" y="4855"/>
                  </a:lnTo>
                  <a:lnTo>
                    <a:pt x="5085" y="4708"/>
                  </a:lnTo>
                  <a:lnTo>
                    <a:pt x="5274" y="4792"/>
                  </a:lnTo>
                  <a:lnTo>
                    <a:pt x="5399" y="4750"/>
                  </a:lnTo>
                  <a:lnTo>
                    <a:pt x="5462" y="4771"/>
                  </a:lnTo>
                  <a:lnTo>
                    <a:pt x="5546" y="4645"/>
                  </a:lnTo>
                  <a:lnTo>
                    <a:pt x="5588" y="4604"/>
                  </a:lnTo>
                  <a:lnTo>
                    <a:pt x="5546" y="4583"/>
                  </a:lnTo>
                  <a:lnTo>
                    <a:pt x="5441" y="4541"/>
                  </a:lnTo>
                  <a:lnTo>
                    <a:pt x="5337" y="4457"/>
                  </a:lnTo>
                  <a:lnTo>
                    <a:pt x="5274" y="4122"/>
                  </a:lnTo>
                  <a:lnTo>
                    <a:pt x="5085" y="4122"/>
                  </a:lnTo>
                  <a:lnTo>
                    <a:pt x="5064" y="3955"/>
                  </a:lnTo>
                  <a:lnTo>
                    <a:pt x="5064" y="3767"/>
                  </a:lnTo>
                  <a:lnTo>
                    <a:pt x="5190" y="3662"/>
                  </a:lnTo>
                  <a:lnTo>
                    <a:pt x="5064" y="3411"/>
                  </a:lnTo>
                  <a:lnTo>
                    <a:pt x="4960" y="3348"/>
                  </a:lnTo>
                  <a:lnTo>
                    <a:pt x="4855" y="3139"/>
                  </a:lnTo>
                  <a:lnTo>
                    <a:pt x="4772" y="3097"/>
                  </a:lnTo>
                  <a:lnTo>
                    <a:pt x="4730" y="3118"/>
                  </a:lnTo>
                  <a:lnTo>
                    <a:pt x="4290" y="2825"/>
                  </a:lnTo>
                  <a:lnTo>
                    <a:pt x="4186" y="2867"/>
                  </a:lnTo>
                  <a:lnTo>
                    <a:pt x="4123" y="2888"/>
                  </a:lnTo>
                  <a:lnTo>
                    <a:pt x="4018" y="2804"/>
                  </a:lnTo>
                  <a:lnTo>
                    <a:pt x="4018" y="2720"/>
                  </a:lnTo>
                  <a:lnTo>
                    <a:pt x="3997" y="2699"/>
                  </a:lnTo>
                  <a:lnTo>
                    <a:pt x="4039" y="2574"/>
                  </a:lnTo>
                  <a:lnTo>
                    <a:pt x="3914" y="2469"/>
                  </a:lnTo>
                  <a:lnTo>
                    <a:pt x="3893" y="2386"/>
                  </a:lnTo>
                  <a:lnTo>
                    <a:pt x="3788" y="2365"/>
                  </a:lnTo>
                  <a:lnTo>
                    <a:pt x="3704" y="2281"/>
                  </a:lnTo>
                  <a:lnTo>
                    <a:pt x="3621" y="2260"/>
                  </a:lnTo>
                  <a:lnTo>
                    <a:pt x="3621" y="2176"/>
                  </a:lnTo>
                  <a:lnTo>
                    <a:pt x="3684" y="2135"/>
                  </a:lnTo>
                  <a:lnTo>
                    <a:pt x="3663" y="2072"/>
                  </a:lnTo>
                  <a:lnTo>
                    <a:pt x="3684" y="1988"/>
                  </a:lnTo>
                  <a:lnTo>
                    <a:pt x="3684" y="1779"/>
                  </a:lnTo>
                  <a:lnTo>
                    <a:pt x="3725" y="1737"/>
                  </a:lnTo>
                  <a:lnTo>
                    <a:pt x="3767" y="1549"/>
                  </a:lnTo>
                  <a:lnTo>
                    <a:pt x="3830" y="1549"/>
                  </a:lnTo>
                  <a:lnTo>
                    <a:pt x="3914" y="1528"/>
                  </a:lnTo>
                  <a:lnTo>
                    <a:pt x="3914" y="1319"/>
                  </a:lnTo>
                  <a:lnTo>
                    <a:pt x="3872" y="1298"/>
                  </a:lnTo>
                  <a:lnTo>
                    <a:pt x="3830" y="1130"/>
                  </a:lnTo>
                  <a:lnTo>
                    <a:pt x="3914" y="1130"/>
                  </a:lnTo>
                  <a:lnTo>
                    <a:pt x="4018" y="1088"/>
                  </a:lnTo>
                  <a:lnTo>
                    <a:pt x="4081" y="1047"/>
                  </a:lnTo>
                  <a:lnTo>
                    <a:pt x="4018" y="1026"/>
                  </a:lnTo>
                  <a:lnTo>
                    <a:pt x="3935" y="984"/>
                  </a:lnTo>
                  <a:lnTo>
                    <a:pt x="3809" y="1005"/>
                  </a:lnTo>
                  <a:lnTo>
                    <a:pt x="3725" y="984"/>
                  </a:lnTo>
                  <a:lnTo>
                    <a:pt x="3516" y="879"/>
                  </a:lnTo>
                  <a:lnTo>
                    <a:pt x="3453" y="837"/>
                  </a:lnTo>
                  <a:lnTo>
                    <a:pt x="3349" y="795"/>
                  </a:lnTo>
                  <a:lnTo>
                    <a:pt x="3286" y="670"/>
                  </a:lnTo>
                  <a:lnTo>
                    <a:pt x="3244" y="565"/>
                  </a:lnTo>
                  <a:lnTo>
                    <a:pt x="3140" y="565"/>
                  </a:lnTo>
                  <a:lnTo>
                    <a:pt x="3077" y="419"/>
                  </a:lnTo>
                  <a:lnTo>
                    <a:pt x="3098" y="314"/>
                  </a:lnTo>
                  <a:lnTo>
                    <a:pt x="3035" y="189"/>
                  </a:lnTo>
                  <a:lnTo>
                    <a:pt x="2930" y="168"/>
                  </a:lnTo>
                  <a:lnTo>
                    <a:pt x="2784" y="210"/>
                  </a:lnTo>
                  <a:lnTo>
                    <a:pt x="2679" y="168"/>
                  </a:lnTo>
                  <a:lnTo>
                    <a:pt x="2679" y="63"/>
                  </a:lnTo>
                  <a:lnTo>
                    <a:pt x="2616" y="0"/>
                  </a:lnTo>
                  <a:lnTo>
                    <a:pt x="2470" y="63"/>
                  </a:lnTo>
                  <a:lnTo>
                    <a:pt x="226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 name="Google Shape;6000;p93">
              <a:extLst>
                <a:ext uri="{FF2B5EF4-FFF2-40B4-BE49-F238E27FC236}">
                  <a16:creationId xmlns:a16="http://schemas.microsoft.com/office/drawing/2014/main" id="{E9424067-B133-4618-B6EB-E77985B2FE51}"/>
                </a:ext>
              </a:extLst>
            </p:cNvPr>
            <p:cNvSpPr/>
            <p:nvPr/>
          </p:nvSpPr>
          <p:spPr>
            <a:xfrm>
              <a:off x="4059025" y="2939277"/>
              <a:ext cx="11967" cy="11668"/>
            </a:xfrm>
            <a:custGeom>
              <a:avLst/>
              <a:gdLst/>
              <a:ahLst/>
              <a:cxnLst/>
              <a:rect l="l" t="t" r="r" b="b"/>
              <a:pathLst>
                <a:path w="1005" h="1026" extrusionOk="0">
                  <a:moveTo>
                    <a:pt x="523" y="0"/>
                  </a:moveTo>
                  <a:lnTo>
                    <a:pt x="272" y="147"/>
                  </a:lnTo>
                  <a:lnTo>
                    <a:pt x="147" y="398"/>
                  </a:lnTo>
                  <a:lnTo>
                    <a:pt x="0" y="670"/>
                  </a:lnTo>
                  <a:lnTo>
                    <a:pt x="84" y="670"/>
                  </a:lnTo>
                  <a:lnTo>
                    <a:pt x="607" y="816"/>
                  </a:lnTo>
                  <a:lnTo>
                    <a:pt x="628" y="1025"/>
                  </a:lnTo>
                  <a:lnTo>
                    <a:pt x="1005" y="879"/>
                  </a:lnTo>
                  <a:lnTo>
                    <a:pt x="942" y="795"/>
                  </a:lnTo>
                  <a:lnTo>
                    <a:pt x="942" y="774"/>
                  </a:lnTo>
                  <a:lnTo>
                    <a:pt x="984" y="774"/>
                  </a:lnTo>
                  <a:lnTo>
                    <a:pt x="921" y="691"/>
                  </a:lnTo>
                  <a:lnTo>
                    <a:pt x="921" y="607"/>
                  </a:lnTo>
                  <a:lnTo>
                    <a:pt x="879" y="502"/>
                  </a:lnTo>
                  <a:lnTo>
                    <a:pt x="837" y="565"/>
                  </a:lnTo>
                  <a:lnTo>
                    <a:pt x="607" y="419"/>
                  </a:lnTo>
                  <a:lnTo>
                    <a:pt x="942" y="356"/>
                  </a:lnTo>
                  <a:lnTo>
                    <a:pt x="900" y="84"/>
                  </a:lnTo>
                  <a:lnTo>
                    <a:pt x="900" y="63"/>
                  </a:lnTo>
                  <a:lnTo>
                    <a:pt x="837" y="42"/>
                  </a:lnTo>
                  <a:lnTo>
                    <a:pt x="712" y="84"/>
                  </a:lnTo>
                  <a:lnTo>
                    <a:pt x="52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 name="Google Shape;6001;p93">
              <a:extLst>
                <a:ext uri="{FF2B5EF4-FFF2-40B4-BE49-F238E27FC236}">
                  <a16:creationId xmlns:a16="http://schemas.microsoft.com/office/drawing/2014/main" id="{E5C57595-610E-42D0-8A6A-7955AB12AFD7}"/>
                </a:ext>
              </a:extLst>
            </p:cNvPr>
            <p:cNvSpPr/>
            <p:nvPr/>
          </p:nvSpPr>
          <p:spPr>
            <a:xfrm>
              <a:off x="3959359" y="2899768"/>
              <a:ext cx="15468" cy="8347"/>
            </a:xfrm>
            <a:custGeom>
              <a:avLst/>
              <a:gdLst/>
              <a:ahLst/>
              <a:cxnLst/>
              <a:rect l="l" t="t" r="r" b="b"/>
              <a:pathLst>
                <a:path w="1299" h="734" extrusionOk="0">
                  <a:moveTo>
                    <a:pt x="1194" y="1"/>
                  </a:moveTo>
                  <a:lnTo>
                    <a:pt x="1005" y="105"/>
                  </a:lnTo>
                  <a:lnTo>
                    <a:pt x="775" y="210"/>
                  </a:lnTo>
                  <a:lnTo>
                    <a:pt x="608" y="210"/>
                  </a:lnTo>
                  <a:lnTo>
                    <a:pt x="482" y="168"/>
                  </a:lnTo>
                  <a:lnTo>
                    <a:pt x="378" y="168"/>
                  </a:lnTo>
                  <a:lnTo>
                    <a:pt x="378" y="231"/>
                  </a:lnTo>
                  <a:lnTo>
                    <a:pt x="357" y="315"/>
                  </a:lnTo>
                  <a:lnTo>
                    <a:pt x="273" y="336"/>
                  </a:lnTo>
                  <a:lnTo>
                    <a:pt x="147" y="294"/>
                  </a:lnTo>
                  <a:lnTo>
                    <a:pt x="85" y="377"/>
                  </a:lnTo>
                  <a:lnTo>
                    <a:pt x="1" y="398"/>
                  </a:lnTo>
                  <a:lnTo>
                    <a:pt x="1" y="524"/>
                  </a:lnTo>
                  <a:lnTo>
                    <a:pt x="85" y="629"/>
                  </a:lnTo>
                  <a:lnTo>
                    <a:pt x="210" y="712"/>
                  </a:lnTo>
                  <a:lnTo>
                    <a:pt x="378" y="691"/>
                  </a:lnTo>
                  <a:lnTo>
                    <a:pt x="461" y="733"/>
                  </a:lnTo>
                  <a:lnTo>
                    <a:pt x="503" y="691"/>
                  </a:lnTo>
                  <a:lnTo>
                    <a:pt x="629" y="649"/>
                  </a:lnTo>
                  <a:lnTo>
                    <a:pt x="775" y="545"/>
                  </a:lnTo>
                  <a:lnTo>
                    <a:pt x="838" y="503"/>
                  </a:lnTo>
                  <a:lnTo>
                    <a:pt x="1005" y="524"/>
                  </a:lnTo>
                  <a:lnTo>
                    <a:pt x="1005" y="419"/>
                  </a:lnTo>
                  <a:lnTo>
                    <a:pt x="984" y="315"/>
                  </a:lnTo>
                  <a:lnTo>
                    <a:pt x="1110" y="168"/>
                  </a:lnTo>
                  <a:lnTo>
                    <a:pt x="1235" y="85"/>
                  </a:lnTo>
                  <a:lnTo>
                    <a:pt x="1298" y="22"/>
                  </a:lnTo>
                  <a:lnTo>
                    <a:pt x="125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 name="Google Shape;6002;p93">
              <a:extLst>
                <a:ext uri="{FF2B5EF4-FFF2-40B4-BE49-F238E27FC236}">
                  <a16:creationId xmlns:a16="http://schemas.microsoft.com/office/drawing/2014/main" id="{B2B379B5-69E4-463B-B39D-FFD02B0BC41F}"/>
                </a:ext>
              </a:extLst>
            </p:cNvPr>
            <p:cNvSpPr/>
            <p:nvPr/>
          </p:nvSpPr>
          <p:spPr>
            <a:xfrm>
              <a:off x="3982281" y="2887395"/>
              <a:ext cx="42867" cy="36426"/>
            </a:xfrm>
            <a:custGeom>
              <a:avLst/>
              <a:gdLst/>
              <a:ahLst/>
              <a:cxnLst/>
              <a:rect l="l" t="t" r="r" b="b"/>
              <a:pathLst>
                <a:path w="3600" h="3203" extrusionOk="0">
                  <a:moveTo>
                    <a:pt x="3370" y="1"/>
                  </a:moveTo>
                  <a:lnTo>
                    <a:pt x="3139" y="64"/>
                  </a:lnTo>
                  <a:lnTo>
                    <a:pt x="2846" y="43"/>
                  </a:lnTo>
                  <a:lnTo>
                    <a:pt x="2721" y="64"/>
                  </a:lnTo>
                  <a:lnTo>
                    <a:pt x="2574" y="64"/>
                  </a:lnTo>
                  <a:lnTo>
                    <a:pt x="2365" y="147"/>
                  </a:lnTo>
                  <a:lnTo>
                    <a:pt x="2302" y="231"/>
                  </a:lnTo>
                  <a:lnTo>
                    <a:pt x="2135" y="273"/>
                  </a:lnTo>
                  <a:lnTo>
                    <a:pt x="2114" y="336"/>
                  </a:lnTo>
                  <a:lnTo>
                    <a:pt x="1842" y="336"/>
                  </a:lnTo>
                  <a:lnTo>
                    <a:pt x="1675" y="273"/>
                  </a:lnTo>
                  <a:lnTo>
                    <a:pt x="1612" y="231"/>
                  </a:lnTo>
                  <a:lnTo>
                    <a:pt x="1507" y="210"/>
                  </a:lnTo>
                  <a:lnTo>
                    <a:pt x="1194" y="231"/>
                  </a:lnTo>
                  <a:lnTo>
                    <a:pt x="1110" y="273"/>
                  </a:lnTo>
                  <a:lnTo>
                    <a:pt x="1068" y="273"/>
                  </a:lnTo>
                  <a:lnTo>
                    <a:pt x="775" y="419"/>
                  </a:lnTo>
                  <a:lnTo>
                    <a:pt x="670" y="377"/>
                  </a:lnTo>
                  <a:lnTo>
                    <a:pt x="524" y="336"/>
                  </a:lnTo>
                  <a:lnTo>
                    <a:pt x="461" y="419"/>
                  </a:lnTo>
                  <a:lnTo>
                    <a:pt x="461" y="649"/>
                  </a:lnTo>
                  <a:lnTo>
                    <a:pt x="377" y="670"/>
                  </a:lnTo>
                  <a:lnTo>
                    <a:pt x="419" y="796"/>
                  </a:lnTo>
                  <a:lnTo>
                    <a:pt x="315" y="859"/>
                  </a:lnTo>
                  <a:lnTo>
                    <a:pt x="168" y="880"/>
                  </a:lnTo>
                  <a:lnTo>
                    <a:pt x="64" y="859"/>
                  </a:lnTo>
                  <a:lnTo>
                    <a:pt x="1" y="901"/>
                  </a:lnTo>
                  <a:lnTo>
                    <a:pt x="22" y="1068"/>
                  </a:lnTo>
                  <a:lnTo>
                    <a:pt x="105" y="1277"/>
                  </a:lnTo>
                  <a:lnTo>
                    <a:pt x="147" y="1403"/>
                  </a:lnTo>
                  <a:lnTo>
                    <a:pt x="126" y="1528"/>
                  </a:lnTo>
                  <a:lnTo>
                    <a:pt x="105" y="1779"/>
                  </a:lnTo>
                  <a:lnTo>
                    <a:pt x="336" y="1779"/>
                  </a:lnTo>
                  <a:lnTo>
                    <a:pt x="377" y="1905"/>
                  </a:lnTo>
                  <a:lnTo>
                    <a:pt x="482" y="1947"/>
                  </a:lnTo>
                  <a:lnTo>
                    <a:pt x="482" y="2114"/>
                  </a:lnTo>
                  <a:lnTo>
                    <a:pt x="545" y="2198"/>
                  </a:lnTo>
                  <a:lnTo>
                    <a:pt x="461" y="2219"/>
                  </a:lnTo>
                  <a:lnTo>
                    <a:pt x="419" y="2219"/>
                  </a:lnTo>
                  <a:lnTo>
                    <a:pt x="315" y="2302"/>
                  </a:lnTo>
                  <a:lnTo>
                    <a:pt x="252" y="2449"/>
                  </a:lnTo>
                  <a:lnTo>
                    <a:pt x="168" y="2574"/>
                  </a:lnTo>
                  <a:lnTo>
                    <a:pt x="147" y="2574"/>
                  </a:lnTo>
                  <a:lnTo>
                    <a:pt x="168" y="2616"/>
                  </a:lnTo>
                  <a:lnTo>
                    <a:pt x="252" y="2679"/>
                  </a:lnTo>
                  <a:lnTo>
                    <a:pt x="273" y="2888"/>
                  </a:lnTo>
                  <a:lnTo>
                    <a:pt x="252" y="2993"/>
                  </a:lnTo>
                  <a:lnTo>
                    <a:pt x="315" y="2993"/>
                  </a:lnTo>
                  <a:lnTo>
                    <a:pt x="482" y="3077"/>
                  </a:lnTo>
                  <a:lnTo>
                    <a:pt x="629" y="3181"/>
                  </a:lnTo>
                  <a:lnTo>
                    <a:pt x="649" y="3181"/>
                  </a:lnTo>
                  <a:lnTo>
                    <a:pt x="733" y="3202"/>
                  </a:lnTo>
                  <a:lnTo>
                    <a:pt x="1884" y="2512"/>
                  </a:lnTo>
                  <a:lnTo>
                    <a:pt x="2888" y="1779"/>
                  </a:lnTo>
                  <a:lnTo>
                    <a:pt x="2951" y="1696"/>
                  </a:lnTo>
                  <a:lnTo>
                    <a:pt x="3035" y="1570"/>
                  </a:lnTo>
                  <a:lnTo>
                    <a:pt x="3056" y="1403"/>
                  </a:lnTo>
                  <a:lnTo>
                    <a:pt x="2993" y="1298"/>
                  </a:lnTo>
                  <a:lnTo>
                    <a:pt x="3098" y="1089"/>
                  </a:lnTo>
                  <a:lnTo>
                    <a:pt x="3098" y="901"/>
                  </a:lnTo>
                  <a:lnTo>
                    <a:pt x="2993" y="691"/>
                  </a:lnTo>
                  <a:lnTo>
                    <a:pt x="2993" y="524"/>
                  </a:lnTo>
                  <a:lnTo>
                    <a:pt x="3098" y="336"/>
                  </a:lnTo>
                  <a:lnTo>
                    <a:pt x="3349" y="273"/>
                  </a:lnTo>
                  <a:lnTo>
                    <a:pt x="3474" y="168"/>
                  </a:lnTo>
                  <a:lnTo>
                    <a:pt x="3516" y="168"/>
                  </a:lnTo>
                  <a:lnTo>
                    <a:pt x="3600" y="43"/>
                  </a:lnTo>
                  <a:lnTo>
                    <a:pt x="3579" y="22"/>
                  </a:lnTo>
                  <a:lnTo>
                    <a:pt x="351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 name="Google Shape;6003;p93">
              <a:extLst>
                <a:ext uri="{FF2B5EF4-FFF2-40B4-BE49-F238E27FC236}">
                  <a16:creationId xmlns:a16="http://schemas.microsoft.com/office/drawing/2014/main" id="{B80E513C-29C7-4192-8BF8-8042A7763395}"/>
                </a:ext>
              </a:extLst>
            </p:cNvPr>
            <p:cNvSpPr/>
            <p:nvPr/>
          </p:nvSpPr>
          <p:spPr>
            <a:xfrm>
              <a:off x="3973565" y="2916668"/>
              <a:ext cx="10479" cy="29045"/>
            </a:xfrm>
            <a:custGeom>
              <a:avLst/>
              <a:gdLst/>
              <a:ahLst/>
              <a:cxnLst/>
              <a:rect l="l" t="t" r="r" b="b"/>
              <a:pathLst>
                <a:path w="880" h="2554" extrusionOk="0">
                  <a:moveTo>
                    <a:pt x="837" y="0"/>
                  </a:moveTo>
                  <a:lnTo>
                    <a:pt x="754" y="105"/>
                  </a:lnTo>
                  <a:lnTo>
                    <a:pt x="565" y="147"/>
                  </a:lnTo>
                  <a:lnTo>
                    <a:pt x="524" y="105"/>
                  </a:lnTo>
                  <a:lnTo>
                    <a:pt x="377" y="252"/>
                  </a:lnTo>
                  <a:lnTo>
                    <a:pt x="335" y="670"/>
                  </a:lnTo>
                  <a:lnTo>
                    <a:pt x="168" y="1005"/>
                  </a:lnTo>
                  <a:lnTo>
                    <a:pt x="1" y="1235"/>
                  </a:lnTo>
                  <a:lnTo>
                    <a:pt x="63" y="1256"/>
                  </a:lnTo>
                  <a:lnTo>
                    <a:pt x="168" y="1444"/>
                  </a:lnTo>
                  <a:lnTo>
                    <a:pt x="231" y="1653"/>
                  </a:lnTo>
                  <a:lnTo>
                    <a:pt x="377" y="1884"/>
                  </a:lnTo>
                  <a:lnTo>
                    <a:pt x="524" y="2197"/>
                  </a:lnTo>
                  <a:lnTo>
                    <a:pt x="461" y="2344"/>
                  </a:lnTo>
                  <a:lnTo>
                    <a:pt x="545" y="2553"/>
                  </a:lnTo>
                  <a:lnTo>
                    <a:pt x="628" y="2448"/>
                  </a:lnTo>
                  <a:lnTo>
                    <a:pt x="628" y="2407"/>
                  </a:lnTo>
                  <a:lnTo>
                    <a:pt x="628" y="2344"/>
                  </a:lnTo>
                  <a:lnTo>
                    <a:pt x="670" y="2281"/>
                  </a:lnTo>
                  <a:lnTo>
                    <a:pt x="670" y="2156"/>
                  </a:lnTo>
                  <a:lnTo>
                    <a:pt x="733" y="1988"/>
                  </a:lnTo>
                  <a:lnTo>
                    <a:pt x="691" y="1842"/>
                  </a:lnTo>
                  <a:lnTo>
                    <a:pt x="754" y="1821"/>
                  </a:lnTo>
                  <a:lnTo>
                    <a:pt x="754" y="1674"/>
                  </a:lnTo>
                  <a:lnTo>
                    <a:pt x="775" y="1549"/>
                  </a:lnTo>
                  <a:lnTo>
                    <a:pt x="775" y="1465"/>
                  </a:lnTo>
                  <a:lnTo>
                    <a:pt x="775" y="1214"/>
                  </a:lnTo>
                  <a:lnTo>
                    <a:pt x="754" y="1235"/>
                  </a:lnTo>
                  <a:lnTo>
                    <a:pt x="670" y="1235"/>
                  </a:lnTo>
                  <a:lnTo>
                    <a:pt x="565" y="1298"/>
                  </a:lnTo>
                  <a:lnTo>
                    <a:pt x="524" y="1235"/>
                  </a:lnTo>
                  <a:lnTo>
                    <a:pt x="545" y="1047"/>
                  </a:lnTo>
                  <a:lnTo>
                    <a:pt x="545" y="796"/>
                  </a:lnTo>
                  <a:lnTo>
                    <a:pt x="524" y="712"/>
                  </a:lnTo>
                  <a:lnTo>
                    <a:pt x="545" y="565"/>
                  </a:lnTo>
                  <a:lnTo>
                    <a:pt x="670" y="565"/>
                  </a:lnTo>
                  <a:lnTo>
                    <a:pt x="691" y="670"/>
                  </a:lnTo>
                  <a:lnTo>
                    <a:pt x="754" y="670"/>
                  </a:lnTo>
                  <a:lnTo>
                    <a:pt x="837" y="607"/>
                  </a:lnTo>
                  <a:lnTo>
                    <a:pt x="837" y="524"/>
                  </a:lnTo>
                  <a:lnTo>
                    <a:pt x="796" y="482"/>
                  </a:lnTo>
                  <a:lnTo>
                    <a:pt x="775" y="377"/>
                  </a:lnTo>
                  <a:lnTo>
                    <a:pt x="837" y="210"/>
                  </a:lnTo>
                  <a:lnTo>
                    <a:pt x="858" y="63"/>
                  </a:lnTo>
                  <a:lnTo>
                    <a:pt x="87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 name="Google Shape;6004;p93">
              <a:extLst>
                <a:ext uri="{FF2B5EF4-FFF2-40B4-BE49-F238E27FC236}">
                  <a16:creationId xmlns:a16="http://schemas.microsoft.com/office/drawing/2014/main" id="{1AB784F2-E5C0-442B-8E6F-14A36ABB9605}"/>
                </a:ext>
              </a:extLst>
            </p:cNvPr>
            <p:cNvSpPr/>
            <p:nvPr/>
          </p:nvSpPr>
          <p:spPr>
            <a:xfrm>
              <a:off x="3982781" y="2916668"/>
              <a:ext cx="2751" cy="5959"/>
            </a:xfrm>
            <a:custGeom>
              <a:avLst/>
              <a:gdLst/>
              <a:ahLst/>
              <a:cxnLst/>
              <a:rect l="l" t="t" r="r" b="b"/>
              <a:pathLst>
                <a:path w="231" h="524" extrusionOk="0">
                  <a:moveTo>
                    <a:pt x="105" y="0"/>
                  </a:moveTo>
                  <a:lnTo>
                    <a:pt x="84" y="63"/>
                  </a:lnTo>
                  <a:lnTo>
                    <a:pt x="63" y="210"/>
                  </a:lnTo>
                  <a:lnTo>
                    <a:pt x="1" y="377"/>
                  </a:lnTo>
                  <a:lnTo>
                    <a:pt x="22" y="482"/>
                  </a:lnTo>
                  <a:lnTo>
                    <a:pt x="63" y="524"/>
                  </a:lnTo>
                  <a:lnTo>
                    <a:pt x="84" y="524"/>
                  </a:lnTo>
                  <a:lnTo>
                    <a:pt x="126" y="482"/>
                  </a:lnTo>
                  <a:lnTo>
                    <a:pt x="210" y="419"/>
                  </a:lnTo>
                  <a:lnTo>
                    <a:pt x="231" y="314"/>
                  </a:lnTo>
                  <a:lnTo>
                    <a:pt x="210" y="105"/>
                  </a:lnTo>
                  <a:lnTo>
                    <a:pt x="126" y="42"/>
                  </a:lnTo>
                  <a:lnTo>
                    <a:pt x="10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 name="Google Shape;6005;p93">
              <a:extLst>
                <a:ext uri="{FF2B5EF4-FFF2-40B4-BE49-F238E27FC236}">
                  <a16:creationId xmlns:a16="http://schemas.microsoft.com/office/drawing/2014/main" id="{6EA10394-F048-4E4E-84BF-D566BE3D15CD}"/>
                </a:ext>
              </a:extLst>
            </p:cNvPr>
            <p:cNvSpPr/>
            <p:nvPr/>
          </p:nvSpPr>
          <p:spPr>
            <a:xfrm>
              <a:off x="3979792" y="2923093"/>
              <a:ext cx="3751" cy="8336"/>
            </a:xfrm>
            <a:custGeom>
              <a:avLst/>
              <a:gdLst/>
              <a:ahLst/>
              <a:cxnLst/>
              <a:rect l="l" t="t" r="r" b="b"/>
              <a:pathLst>
                <a:path w="315" h="733" extrusionOk="0">
                  <a:moveTo>
                    <a:pt x="22" y="0"/>
                  </a:moveTo>
                  <a:lnTo>
                    <a:pt x="1" y="147"/>
                  </a:lnTo>
                  <a:lnTo>
                    <a:pt x="22" y="231"/>
                  </a:lnTo>
                  <a:lnTo>
                    <a:pt x="22" y="482"/>
                  </a:lnTo>
                  <a:lnTo>
                    <a:pt x="1" y="670"/>
                  </a:lnTo>
                  <a:lnTo>
                    <a:pt x="42" y="733"/>
                  </a:lnTo>
                  <a:lnTo>
                    <a:pt x="147" y="670"/>
                  </a:lnTo>
                  <a:lnTo>
                    <a:pt x="231" y="670"/>
                  </a:lnTo>
                  <a:lnTo>
                    <a:pt x="252" y="649"/>
                  </a:lnTo>
                  <a:lnTo>
                    <a:pt x="273" y="440"/>
                  </a:lnTo>
                  <a:lnTo>
                    <a:pt x="273" y="356"/>
                  </a:lnTo>
                  <a:lnTo>
                    <a:pt x="314" y="210"/>
                  </a:lnTo>
                  <a:lnTo>
                    <a:pt x="314" y="147"/>
                  </a:lnTo>
                  <a:lnTo>
                    <a:pt x="314" y="63"/>
                  </a:lnTo>
                  <a:lnTo>
                    <a:pt x="314" y="42"/>
                  </a:lnTo>
                  <a:lnTo>
                    <a:pt x="231" y="105"/>
                  </a:lnTo>
                  <a:lnTo>
                    <a:pt x="168" y="105"/>
                  </a:lnTo>
                  <a:lnTo>
                    <a:pt x="14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 name="Google Shape;6006;p93">
              <a:extLst>
                <a:ext uri="{FF2B5EF4-FFF2-40B4-BE49-F238E27FC236}">
                  <a16:creationId xmlns:a16="http://schemas.microsoft.com/office/drawing/2014/main" id="{87B3BE05-D8FC-4ED8-9AE5-3AA9ADEE7FCA}"/>
                </a:ext>
              </a:extLst>
            </p:cNvPr>
            <p:cNvSpPr/>
            <p:nvPr/>
          </p:nvSpPr>
          <p:spPr>
            <a:xfrm>
              <a:off x="3979792" y="2907627"/>
              <a:ext cx="8978" cy="10713"/>
            </a:xfrm>
            <a:custGeom>
              <a:avLst/>
              <a:gdLst/>
              <a:ahLst/>
              <a:cxnLst/>
              <a:rect l="l" t="t" r="r" b="b"/>
              <a:pathLst>
                <a:path w="754" h="942" extrusionOk="0">
                  <a:moveTo>
                    <a:pt x="314" y="0"/>
                  </a:moveTo>
                  <a:lnTo>
                    <a:pt x="314" y="21"/>
                  </a:lnTo>
                  <a:lnTo>
                    <a:pt x="231" y="21"/>
                  </a:lnTo>
                  <a:lnTo>
                    <a:pt x="210" y="440"/>
                  </a:lnTo>
                  <a:lnTo>
                    <a:pt x="105" y="586"/>
                  </a:lnTo>
                  <a:lnTo>
                    <a:pt x="1" y="733"/>
                  </a:lnTo>
                  <a:lnTo>
                    <a:pt x="1" y="879"/>
                  </a:lnTo>
                  <a:lnTo>
                    <a:pt x="1" y="900"/>
                  </a:lnTo>
                  <a:lnTo>
                    <a:pt x="42" y="942"/>
                  </a:lnTo>
                  <a:lnTo>
                    <a:pt x="231" y="900"/>
                  </a:lnTo>
                  <a:lnTo>
                    <a:pt x="314" y="795"/>
                  </a:lnTo>
                  <a:lnTo>
                    <a:pt x="377" y="795"/>
                  </a:lnTo>
                  <a:lnTo>
                    <a:pt x="461" y="670"/>
                  </a:lnTo>
                  <a:lnTo>
                    <a:pt x="524" y="523"/>
                  </a:lnTo>
                  <a:lnTo>
                    <a:pt x="628" y="440"/>
                  </a:lnTo>
                  <a:lnTo>
                    <a:pt x="670" y="440"/>
                  </a:lnTo>
                  <a:lnTo>
                    <a:pt x="754" y="419"/>
                  </a:lnTo>
                  <a:lnTo>
                    <a:pt x="691" y="335"/>
                  </a:lnTo>
                  <a:lnTo>
                    <a:pt x="691" y="168"/>
                  </a:lnTo>
                  <a:lnTo>
                    <a:pt x="586" y="126"/>
                  </a:lnTo>
                  <a:lnTo>
                    <a:pt x="54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 name="Google Shape;6007;p93">
              <a:extLst>
                <a:ext uri="{FF2B5EF4-FFF2-40B4-BE49-F238E27FC236}">
                  <a16:creationId xmlns:a16="http://schemas.microsoft.com/office/drawing/2014/main" id="{F4B7FF11-E092-44E9-8699-6808AF851E5D}"/>
                </a:ext>
              </a:extLst>
            </p:cNvPr>
            <p:cNvSpPr/>
            <p:nvPr/>
          </p:nvSpPr>
          <p:spPr>
            <a:xfrm>
              <a:off x="3980292" y="2915952"/>
              <a:ext cx="27661" cy="32616"/>
            </a:xfrm>
            <a:custGeom>
              <a:avLst/>
              <a:gdLst/>
              <a:ahLst/>
              <a:cxnLst/>
              <a:rect l="l" t="t" r="r" b="b"/>
              <a:pathLst>
                <a:path w="2323" h="2868" extrusionOk="0">
                  <a:moveTo>
                    <a:pt x="2051" y="1"/>
                  </a:moveTo>
                  <a:lnTo>
                    <a:pt x="900" y="691"/>
                  </a:lnTo>
                  <a:lnTo>
                    <a:pt x="816" y="670"/>
                  </a:lnTo>
                  <a:lnTo>
                    <a:pt x="796" y="670"/>
                  </a:lnTo>
                  <a:lnTo>
                    <a:pt x="649" y="566"/>
                  </a:lnTo>
                  <a:lnTo>
                    <a:pt x="482" y="482"/>
                  </a:lnTo>
                  <a:lnTo>
                    <a:pt x="419" y="482"/>
                  </a:lnTo>
                  <a:lnTo>
                    <a:pt x="335" y="545"/>
                  </a:lnTo>
                  <a:lnTo>
                    <a:pt x="293" y="587"/>
                  </a:lnTo>
                  <a:lnTo>
                    <a:pt x="272" y="587"/>
                  </a:lnTo>
                  <a:lnTo>
                    <a:pt x="272" y="670"/>
                  </a:lnTo>
                  <a:lnTo>
                    <a:pt x="272" y="691"/>
                  </a:lnTo>
                  <a:lnTo>
                    <a:pt x="272" y="775"/>
                  </a:lnTo>
                  <a:lnTo>
                    <a:pt x="272" y="838"/>
                  </a:lnTo>
                  <a:lnTo>
                    <a:pt x="231" y="984"/>
                  </a:lnTo>
                  <a:lnTo>
                    <a:pt x="231" y="1068"/>
                  </a:lnTo>
                  <a:lnTo>
                    <a:pt x="210" y="1528"/>
                  </a:lnTo>
                  <a:lnTo>
                    <a:pt x="210" y="1612"/>
                  </a:lnTo>
                  <a:lnTo>
                    <a:pt x="189" y="1737"/>
                  </a:lnTo>
                  <a:lnTo>
                    <a:pt x="189" y="1884"/>
                  </a:lnTo>
                  <a:lnTo>
                    <a:pt x="126" y="1905"/>
                  </a:lnTo>
                  <a:lnTo>
                    <a:pt x="168" y="2051"/>
                  </a:lnTo>
                  <a:lnTo>
                    <a:pt x="105" y="2219"/>
                  </a:lnTo>
                  <a:lnTo>
                    <a:pt x="105" y="2344"/>
                  </a:lnTo>
                  <a:lnTo>
                    <a:pt x="63" y="2407"/>
                  </a:lnTo>
                  <a:lnTo>
                    <a:pt x="63" y="2470"/>
                  </a:lnTo>
                  <a:lnTo>
                    <a:pt x="63" y="2553"/>
                  </a:lnTo>
                  <a:lnTo>
                    <a:pt x="0" y="2679"/>
                  </a:lnTo>
                  <a:lnTo>
                    <a:pt x="0" y="2721"/>
                  </a:lnTo>
                  <a:lnTo>
                    <a:pt x="189" y="2721"/>
                  </a:lnTo>
                  <a:lnTo>
                    <a:pt x="754" y="2867"/>
                  </a:lnTo>
                  <a:lnTo>
                    <a:pt x="1172" y="2449"/>
                  </a:lnTo>
                  <a:lnTo>
                    <a:pt x="1633" y="2407"/>
                  </a:lnTo>
                  <a:lnTo>
                    <a:pt x="1653" y="2219"/>
                  </a:lnTo>
                  <a:lnTo>
                    <a:pt x="1884" y="1926"/>
                  </a:lnTo>
                  <a:lnTo>
                    <a:pt x="1235" y="1214"/>
                  </a:lnTo>
                  <a:lnTo>
                    <a:pt x="2093" y="963"/>
                  </a:lnTo>
                  <a:lnTo>
                    <a:pt x="2302" y="754"/>
                  </a:lnTo>
                  <a:lnTo>
                    <a:pt x="2323" y="754"/>
                  </a:lnTo>
                  <a:lnTo>
                    <a:pt x="205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 name="Google Shape;6008;p93">
              <a:extLst>
                <a:ext uri="{FF2B5EF4-FFF2-40B4-BE49-F238E27FC236}">
                  <a16:creationId xmlns:a16="http://schemas.microsoft.com/office/drawing/2014/main" id="{0BD8B89C-8340-4C6D-9DF5-B6AE88B10640}"/>
                </a:ext>
              </a:extLst>
            </p:cNvPr>
            <p:cNvSpPr/>
            <p:nvPr/>
          </p:nvSpPr>
          <p:spPr>
            <a:xfrm>
              <a:off x="3979792" y="2924515"/>
              <a:ext cx="142521" cy="114714"/>
            </a:xfrm>
            <a:custGeom>
              <a:avLst/>
              <a:gdLst/>
              <a:ahLst/>
              <a:cxnLst/>
              <a:rect l="l" t="t" r="r" b="b"/>
              <a:pathLst>
                <a:path w="11969" h="10087" extrusionOk="0">
                  <a:moveTo>
                    <a:pt x="2344" y="1"/>
                  </a:moveTo>
                  <a:lnTo>
                    <a:pt x="2135" y="210"/>
                  </a:lnTo>
                  <a:lnTo>
                    <a:pt x="1277" y="461"/>
                  </a:lnTo>
                  <a:lnTo>
                    <a:pt x="1926" y="1173"/>
                  </a:lnTo>
                  <a:lnTo>
                    <a:pt x="1695" y="1466"/>
                  </a:lnTo>
                  <a:lnTo>
                    <a:pt x="1675" y="1654"/>
                  </a:lnTo>
                  <a:lnTo>
                    <a:pt x="1214" y="1696"/>
                  </a:lnTo>
                  <a:lnTo>
                    <a:pt x="796" y="2114"/>
                  </a:lnTo>
                  <a:lnTo>
                    <a:pt x="231" y="1968"/>
                  </a:lnTo>
                  <a:lnTo>
                    <a:pt x="42" y="1968"/>
                  </a:lnTo>
                  <a:lnTo>
                    <a:pt x="42" y="2177"/>
                  </a:lnTo>
                  <a:lnTo>
                    <a:pt x="42" y="2407"/>
                  </a:lnTo>
                  <a:lnTo>
                    <a:pt x="1" y="2595"/>
                  </a:lnTo>
                  <a:lnTo>
                    <a:pt x="1" y="2637"/>
                  </a:lnTo>
                  <a:lnTo>
                    <a:pt x="63" y="2616"/>
                  </a:lnTo>
                  <a:lnTo>
                    <a:pt x="105" y="2637"/>
                  </a:lnTo>
                  <a:lnTo>
                    <a:pt x="168" y="2595"/>
                  </a:lnTo>
                  <a:lnTo>
                    <a:pt x="314" y="2658"/>
                  </a:lnTo>
                  <a:lnTo>
                    <a:pt x="273" y="2700"/>
                  </a:lnTo>
                  <a:lnTo>
                    <a:pt x="524" y="2972"/>
                  </a:lnTo>
                  <a:lnTo>
                    <a:pt x="545" y="3119"/>
                  </a:lnTo>
                  <a:lnTo>
                    <a:pt x="628" y="3139"/>
                  </a:lnTo>
                  <a:lnTo>
                    <a:pt x="628" y="3244"/>
                  </a:lnTo>
                  <a:lnTo>
                    <a:pt x="754" y="3349"/>
                  </a:lnTo>
                  <a:lnTo>
                    <a:pt x="838" y="3370"/>
                  </a:lnTo>
                  <a:lnTo>
                    <a:pt x="984" y="3663"/>
                  </a:lnTo>
                  <a:lnTo>
                    <a:pt x="984" y="3746"/>
                  </a:lnTo>
                  <a:lnTo>
                    <a:pt x="1047" y="3851"/>
                  </a:lnTo>
                  <a:lnTo>
                    <a:pt x="1110" y="3851"/>
                  </a:lnTo>
                  <a:lnTo>
                    <a:pt x="1151" y="3997"/>
                  </a:lnTo>
                  <a:lnTo>
                    <a:pt x="1193" y="4081"/>
                  </a:lnTo>
                  <a:lnTo>
                    <a:pt x="1319" y="4123"/>
                  </a:lnTo>
                  <a:lnTo>
                    <a:pt x="1423" y="4416"/>
                  </a:lnTo>
                  <a:lnTo>
                    <a:pt x="1528" y="4479"/>
                  </a:lnTo>
                  <a:lnTo>
                    <a:pt x="1570" y="4625"/>
                  </a:lnTo>
                  <a:lnTo>
                    <a:pt x="1528" y="4709"/>
                  </a:lnTo>
                  <a:lnTo>
                    <a:pt x="1528" y="4792"/>
                  </a:lnTo>
                  <a:lnTo>
                    <a:pt x="1633" y="4897"/>
                  </a:lnTo>
                  <a:lnTo>
                    <a:pt x="1633" y="4960"/>
                  </a:lnTo>
                  <a:lnTo>
                    <a:pt x="1716" y="5023"/>
                  </a:lnTo>
                  <a:lnTo>
                    <a:pt x="1821" y="4939"/>
                  </a:lnTo>
                  <a:lnTo>
                    <a:pt x="1926" y="5043"/>
                  </a:lnTo>
                  <a:lnTo>
                    <a:pt x="2114" y="5127"/>
                  </a:lnTo>
                  <a:lnTo>
                    <a:pt x="2260" y="5274"/>
                  </a:lnTo>
                  <a:lnTo>
                    <a:pt x="2323" y="5378"/>
                  </a:lnTo>
                  <a:lnTo>
                    <a:pt x="2344" y="5420"/>
                  </a:lnTo>
                  <a:lnTo>
                    <a:pt x="2365" y="5546"/>
                  </a:lnTo>
                  <a:lnTo>
                    <a:pt x="2428" y="5588"/>
                  </a:lnTo>
                  <a:lnTo>
                    <a:pt x="2470" y="5797"/>
                  </a:lnTo>
                  <a:lnTo>
                    <a:pt x="2574" y="5880"/>
                  </a:lnTo>
                  <a:lnTo>
                    <a:pt x="2637" y="6090"/>
                  </a:lnTo>
                  <a:lnTo>
                    <a:pt x="2658" y="6173"/>
                  </a:lnTo>
                  <a:lnTo>
                    <a:pt x="2616" y="6362"/>
                  </a:lnTo>
                  <a:lnTo>
                    <a:pt x="2574" y="6383"/>
                  </a:lnTo>
                  <a:lnTo>
                    <a:pt x="2616" y="6487"/>
                  </a:lnTo>
                  <a:lnTo>
                    <a:pt x="2658" y="6696"/>
                  </a:lnTo>
                  <a:lnTo>
                    <a:pt x="2679" y="6906"/>
                  </a:lnTo>
                  <a:lnTo>
                    <a:pt x="2783" y="7010"/>
                  </a:lnTo>
                  <a:lnTo>
                    <a:pt x="2825" y="7094"/>
                  </a:lnTo>
                  <a:lnTo>
                    <a:pt x="3097" y="7408"/>
                  </a:lnTo>
                  <a:lnTo>
                    <a:pt x="3202" y="7429"/>
                  </a:lnTo>
                  <a:lnTo>
                    <a:pt x="3307" y="7450"/>
                  </a:lnTo>
                  <a:lnTo>
                    <a:pt x="3390" y="7554"/>
                  </a:lnTo>
                  <a:lnTo>
                    <a:pt x="3474" y="7554"/>
                  </a:lnTo>
                  <a:lnTo>
                    <a:pt x="3620" y="7680"/>
                  </a:lnTo>
                  <a:lnTo>
                    <a:pt x="3620" y="7784"/>
                  </a:lnTo>
                  <a:lnTo>
                    <a:pt x="3788" y="7826"/>
                  </a:lnTo>
                  <a:lnTo>
                    <a:pt x="3767" y="7889"/>
                  </a:lnTo>
                  <a:lnTo>
                    <a:pt x="3830" y="7931"/>
                  </a:lnTo>
                  <a:lnTo>
                    <a:pt x="3976" y="8412"/>
                  </a:lnTo>
                  <a:lnTo>
                    <a:pt x="4102" y="8496"/>
                  </a:lnTo>
                  <a:lnTo>
                    <a:pt x="4102" y="8663"/>
                  </a:lnTo>
                  <a:lnTo>
                    <a:pt x="4541" y="9082"/>
                  </a:lnTo>
                  <a:lnTo>
                    <a:pt x="4604" y="9082"/>
                  </a:lnTo>
                  <a:lnTo>
                    <a:pt x="4646" y="9333"/>
                  </a:lnTo>
                  <a:lnTo>
                    <a:pt x="4834" y="9396"/>
                  </a:lnTo>
                  <a:lnTo>
                    <a:pt x="4939" y="9668"/>
                  </a:lnTo>
                  <a:lnTo>
                    <a:pt x="5043" y="9709"/>
                  </a:lnTo>
                  <a:lnTo>
                    <a:pt x="5127" y="9730"/>
                  </a:lnTo>
                  <a:lnTo>
                    <a:pt x="5169" y="9626"/>
                  </a:lnTo>
                  <a:lnTo>
                    <a:pt x="5336" y="9521"/>
                  </a:lnTo>
                  <a:lnTo>
                    <a:pt x="5232" y="9312"/>
                  </a:lnTo>
                  <a:lnTo>
                    <a:pt x="5294" y="9040"/>
                  </a:lnTo>
                  <a:lnTo>
                    <a:pt x="5462" y="8977"/>
                  </a:lnTo>
                  <a:lnTo>
                    <a:pt x="5650" y="9124"/>
                  </a:lnTo>
                  <a:lnTo>
                    <a:pt x="5985" y="9124"/>
                  </a:lnTo>
                  <a:lnTo>
                    <a:pt x="6487" y="9333"/>
                  </a:lnTo>
                  <a:lnTo>
                    <a:pt x="7010" y="9563"/>
                  </a:lnTo>
                  <a:lnTo>
                    <a:pt x="7031" y="10086"/>
                  </a:lnTo>
                  <a:lnTo>
                    <a:pt x="8077" y="8684"/>
                  </a:lnTo>
                  <a:lnTo>
                    <a:pt x="10253" y="8036"/>
                  </a:lnTo>
                  <a:lnTo>
                    <a:pt x="11885" y="7554"/>
                  </a:lnTo>
                  <a:lnTo>
                    <a:pt x="11969" y="6299"/>
                  </a:lnTo>
                  <a:lnTo>
                    <a:pt x="11843" y="5839"/>
                  </a:lnTo>
                  <a:lnTo>
                    <a:pt x="11655" y="5985"/>
                  </a:lnTo>
                  <a:lnTo>
                    <a:pt x="9960" y="5755"/>
                  </a:lnTo>
                  <a:lnTo>
                    <a:pt x="9835" y="5274"/>
                  </a:lnTo>
                  <a:lnTo>
                    <a:pt x="9688" y="5127"/>
                  </a:lnTo>
                  <a:lnTo>
                    <a:pt x="9688" y="4939"/>
                  </a:lnTo>
                  <a:lnTo>
                    <a:pt x="9688" y="4918"/>
                  </a:lnTo>
                  <a:lnTo>
                    <a:pt x="9667" y="4939"/>
                  </a:lnTo>
                  <a:lnTo>
                    <a:pt x="9625" y="4855"/>
                  </a:lnTo>
                  <a:lnTo>
                    <a:pt x="9625" y="4792"/>
                  </a:lnTo>
                  <a:lnTo>
                    <a:pt x="9667" y="4730"/>
                  </a:lnTo>
                  <a:lnTo>
                    <a:pt x="9563" y="4730"/>
                  </a:lnTo>
                  <a:lnTo>
                    <a:pt x="9563" y="4709"/>
                  </a:lnTo>
                  <a:lnTo>
                    <a:pt x="9458" y="4709"/>
                  </a:lnTo>
                  <a:lnTo>
                    <a:pt x="9270" y="4604"/>
                  </a:lnTo>
                  <a:lnTo>
                    <a:pt x="9249" y="4541"/>
                  </a:lnTo>
                  <a:lnTo>
                    <a:pt x="9228" y="4583"/>
                  </a:lnTo>
                  <a:lnTo>
                    <a:pt x="9123" y="4437"/>
                  </a:lnTo>
                  <a:lnTo>
                    <a:pt x="9102" y="4290"/>
                  </a:lnTo>
                  <a:lnTo>
                    <a:pt x="8809" y="3914"/>
                  </a:lnTo>
                  <a:lnTo>
                    <a:pt x="8726" y="3788"/>
                  </a:lnTo>
                  <a:lnTo>
                    <a:pt x="8809" y="3788"/>
                  </a:lnTo>
                  <a:lnTo>
                    <a:pt x="8809" y="3746"/>
                  </a:lnTo>
                  <a:lnTo>
                    <a:pt x="8705" y="3453"/>
                  </a:lnTo>
                  <a:lnTo>
                    <a:pt x="8705" y="3391"/>
                  </a:lnTo>
                  <a:lnTo>
                    <a:pt x="8621" y="3265"/>
                  </a:lnTo>
                  <a:lnTo>
                    <a:pt x="8579" y="3265"/>
                  </a:lnTo>
                  <a:lnTo>
                    <a:pt x="8391" y="3014"/>
                  </a:lnTo>
                  <a:lnTo>
                    <a:pt x="8307" y="3014"/>
                  </a:lnTo>
                  <a:lnTo>
                    <a:pt x="8224" y="2909"/>
                  </a:lnTo>
                  <a:lnTo>
                    <a:pt x="8224" y="2867"/>
                  </a:lnTo>
                  <a:lnTo>
                    <a:pt x="8286" y="2867"/>
                  </a:lnTo>
                  <a:lnTo>
                    <a:pt x="8307" y="2909"/>
                  </a:lnTo>
                  <a:lnTo>
                    <a:pt x="8286" y="2826"/>
                  </a:lnTo>
                  <a:lnTo>
                    <a:pt x="8182" y="2805"/>
                  </a:lnTo>
                  <a:lnTo>
                    <a:pt x="7973" y="2763"/>
                  </a:lnTo>
                  <a:lnTo>
                    <a:pt x="7868" y="2449"/>
                  </a:lnTo>
                  <a:lnTo>
                    <a:pt x="7805" y="2323"/>
                  </a:lnTo>
                  <a:lnTo>
                    <a:pt x="7742" y="2303"/>
                  </a:lnTo>
                  <a:lnTo>
                    <a:pt x="7742" y="2198"/>
                  </a:lnTo>
                  <a:lnTo>
                    <a:pt x="7701" y="2219"/>
                  </a:lnTo>
                  <a:lnTo>
                    <a:pt x="7659" y="2177"/>
                  </a:lnTo>
                  <a:lnTo>
                    <a:pt x="7282" y="2323"/>
                  </a:lnTo>
                  <a:lnTo>
                    <a:pt x="7261" y="2114"/>
                  </a:lnTo>
                  <a:lnTo>
                    <a:pt x="6738" y="1968"/>
                  </a:lnTo>
                  <a:lnTo>
                    <a:pt x="6654" y="1968"/>
                  </a:lnTo>
                  <a:lnTo>
                    <a:pt x="5566" y="1926"/>
                  </a:lnTo>
                  <a:lnTo>
                    <a:pt x="2867" y="43"/>
                  </a:lnTo>
                  <a:lnTo>
                    <a:pt x="234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1222" name="Google Shape;6009;p93">
              <a:extLst>
                <a:ext uri="{FF2B5EF4-FFF2-40B4-BE49-F238E27FC236}">
                  <a16:creationId xmlns:a16="http://schemas.microsoft.com/office/drawing/2014/main" id="{860F9908-CEAE-457D-BD2D-39542FFB7982}"/>
                </a:ext>
              </a:extLst>
            </p:cNvPr>
            <p:cNvSpPr/>
            <p:nvPr/>
          </p:nvSpPr>
          <p:spPr>
            <a:xfrm>
              <a:off x="4089663" y="2967116"/>
              <a:ext cx="5251" cy="10952"/>
            </a:xfrm>
            <a:custGeom>
              <a:avLst/>
              <a:gdLst/>
              <a:ahLst/>
              <a:cxnLst/>
              <a:rect l="l" t="t" r="r" b="b"/>
              <a:pathLst>
                <a:path w="441" h="963" extrusionOk="0">
                  <a:moveTo>
                    <a:pt x="147" y="0"/>
                  </a:moveTo>
                  <a:lnTo>
                    <a:pt x="147" y="42"/>
                  </a:lnTo>
                  <a:lnTo>
                    <a:pt x="106" y="42"/>
                  </a:lnTo>
                  <a:lnTo>
                    <a:pt x="106" y="105"/>
                  </a:lnTo>
                  <a:lnTo>
                    <a:pt x="43" y="126"/>
                  </a:lnTo>
                  <a:lnTo>
                    <a:pt x="85" y="209"/>
                  </a:lnTo>
                  <a:lnTo>
                    <a:pt x="43" y="209"/>
                  </a:lnTo>
                  <a:lnTo>
                    <a:pt x="85" y="377"/>
                  </a:lnTo>
                  <a:lnTo>
                    <a:pt x="43" y="356"/>
                  </a:lnTo>
                  <a:lnTo>
                    <a:pt x="1" y="356"/>
                  </a:lnTo>
                  <a:lnTo>
                    <a:pt x="1" y="544"/>
                  </a:lnTo>
                  <a:lnTo>
                    <a:pt x="22" y="628"/>
                  </a:lnTo>
                  <a:lnTo>
                    <a:pt x="43" y="670"/>
                  </a:lnTo>
                  <a:lnTo>
                    <a:pt x="43" y="795"/>
                  </a:lnTo>
                  <a:lnTo>
                    <a:pt x="22" y="795"/>
                  </a:lnTo>
                  <a:lnTo>
                    <a:pt x="43" y="858"/>
                  </a:lnTo>
                  <a:lnTo>
                    <a:pt x="231" y="963"/>
                  </a:lnTo>
                  <a:lnTo>
                    <a:pt x="336" y="963"/>
                  </a:lnTo>
                  <a:lnTo>
                    <a:pt x="398" y="942"/>
                  </a:lnTo>
                  <a:lnTo>
                    <a:pt x="440" y="670"/>
                  </a:lnTo>
                  <a:lnTo>
                    <a:pt x="398" y="544"/>
                  </a:lnTo>
                  <a:lnTo>
                    <a:pt x="336" y="544"/>
                  </a:lnTo>
                  <a:lnTo>
                    <a:pt x="315" y="356"/>
                  </a:lnTo>
                  <a:lnTo>
                    <a:pt x="336" y="356"/>
                  </a:lnTo>
                  <a:lnTo>
                    <a:pt x="398" y="168"/>
                  </a:lnTo>
                  <a:lnTo>
                    <a:pt x="357" y="126"/>
                  </a:lnTo>
                  <a:lnTo>
                    <a:pt x="315" y="126"/>
                  </a:lnTo>
                  <a:lnTo>
                    <a:pt x="315" y="63"/>
                  </a:lnTo>
                  <a:lnTo>
                    <a:pt x="21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 name="Google Shape;6010;p93">
              <a:extLst>
                <a:ext uri="{FF2B5EF4-FFF2-40B4-BE49-F238E27FC236}">
                  <a16:creationId xmlns:a16="http://schemas.microsoft.com/office/drawing/2014/main" id="{5F6AFFB0-451C-4E4B-836F-8DBEF111A7B4}"/>
                </a:ext>
              </a:extLst>
            </p:cNvPr>
            <p:cNvSpPr/>
            <p:nvPr/>
          </p:nvSpPr>
          <p:spPr>
            <a:xfrm>
              <a:off x="4095152" y="2967833"/>
              <a:ext cx="32900" cy="24758"/>
            </a:xfrm>
            <a:custGeom>
              <a:avLst/>
              <a:gdLst/>
              <a:ahLst/>
              <a:cxnLst/>
              <a:rect l="l" t="t" r="r" b="b"/>
              <a:pathLst>
                <a:path w="2763" h="2177" extrusionOk="0">
                  <a:moveTo>
                    <a:pt x="2490" y="0"/>
                  </a:moveTo>
                  <a:lnTo>
                    <a:pt x="2490" y="84"/>
                  </a:lnTo>
                  <a:lnTo>
                    <a:pt x="2469" y="146"/>
                  </a:lnTo>
                  <a:lnTo>
                    <a:pt x="2093" y="356"/>
                  </a:lnTo>
                  <a:lnTo>
                    <a:pt x="2093" y="502"/>
                  </a:lnTo>
                  <a:lnTo>
                    <a:pt x="1779" y="795"/>
                  </a:lnTo>
                  <a:lnTo>
                    <a:pt x="1737" y="879"/>
                  </a:lnTo>
                  <a:lnTo>
                    <a:pt x="1779" y="900"/>
                  </a:lnTo>
                  <a:lnTo>
                    <a:pt x="1821" y="983"/>
                  </a:lnTo>
                  <a:lnTo>
                    <a:pt x="1653" y="1130"/>
                  </a:lnTo>
                  <a:lnTo>
                    <a:pt x="1611" y="1046"/>
                  </a:lnTo>
                  <a:lnTo>
                    <a:pt x="1549" y="1088"/>
                  </a:lnTo>
                  <a:lnTo>
                    <a:pt x="1465" y="1088"/>
                  </a:lnTo>
                  <a:lnTo>
                    <a:pt x="1507" y="1193"/>
                  </a:lnTo>
                  <a:lnTo>
                    <a:pt x="1444" y="1193"/>
                  </a:lnTo>
                  <a:lnTo>
                    <a:pt x="1423" y="1234"/>
                  </a:lnTo>
                  <a:lnTo>
                    <a:pt x="1256" y="1255"/>
                  </a:lnTo>
                  <a:lnTo>
                    <a:pt x="1130" y="1297"/>
                  </a:lnTo>
                  <a:lnTo>
                    <a:pt x="1088" y="1214"/>
                  </a:lnTo>
                  <a:lnTo>
                    <a:pt x="837" y="1214"/>
                  </a:lnTo>
                  <a:lnTo>
                    <a:pt x="628" y="1151"/>
                  </a:lnTo>
                  <a:lnTo>
                    <a:pt x="398" y="1339"/>
                  </a:lnTo>
                  <a:lnTo>
                    <a:pt x="314" y="1318"/>
                  </a:lnTo>
                  <a:lnTo>
                    <a:pt x="251" y="1318"/>
                  </a:lnTo>
                  <a:lnTo>
                    <a:pt x="147" y="1360"/>
                  </a:lnTo>
                  <a:lnTo>
                    <a:pt x="105" y="1109"/>
                  </a:lnTo>
                  <a:lnTo>
                    <a:pt x="63" y="1151"/>
                  </a:lnTo>
                  <a:lnTo>
                    <a:pt x="0" y="1130"/>
                  </a:lnTo>
                  <a:lnTo>
                    <a:pt x="0" y="1318"/>
                  </a:lnTo>
                  <a:lnTo>
                    <a:pt x="147" y="1465"/>
                  </a:lnTo>
                  <a:lnTo>
                    <a:pt x="272" y="1946"/>
                  </a:lnTo>
                  <a:lnTo>
                    <a:pt x="1967" y="2176"/>
                  </a:lnTo>
                  <a:lnTo>
                    <a:pt x="2155" y="2030"/>
                  </a:lnTo>
                  <a:lnTo>
                    <a:pt x="2658" y="502"/>
                  </a:lnTo>
                  <a:lnTo>
                    <a:pt x="2762" y="481"/>
                  </a:lnTo>
                  <a:lnTo>
                    <a:pt x="2762" y="314"/>
                  </a:lnTo>
                  <a:lnTo>
                    <a:pt x="2720" y="251"/>
                  </a:lnTo>
                  <a:lnTo>
                    <a:pt x="2678" y="272"/>
                  </a:lnTo>
                  <a:lnTo>
                    <a:pt x="2658" y="251"/>
                  </a:lnTo>
                  <a:lnTo>
                    <a:pt x="2595" y="209"/>
                  </a:lnTo>
                  <a:lnTo>
                    <a:pt x="2574" y="42"/>
                  </a:lnTo>
                  <a:lnTo>
                    <a:pt x="249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 name="Google Shape;6011;p93">
              <a:extLst>
                <a:ext uri="{FF2B5EF4-FFF2-40B4-BE49-F238E27FC236}">
                  <a16:creationId xmlns:a16="http://schemas.microsoft.com/office/drawing/2014/main" id="{4125D163-7FF8-4B02-B9F0-0FA8D0741F59}"/>
                </a:ext>
              </a:extLst>
            </p:cNvPr>
            <p:cNvSpPr/>
            <p:nvPr/>
          </p:nvSpPr>
          <p:spPr>
            <a:xfrm>
              <a:off x="4101380" y="2973303"/>
              <a:ext cx="51583" cy="60684"/>
            </a:xfrm>
            <a:custGeom>
              <a:avLst/>
              <a:gdLst/>
              <a:ahLst/>
              <a:cxnLst/>
              <a:rect l="l" t="t" r="r" b="b"/>
              <a:pathLst>
                <a:path w="4332" h="5336" extrusionOk="0">
                  <a:moveTo>
                    <a:pt x="2239" y="0"/>
                  </a:moveTo>
                  <a:lnTo>
                    <a:pt x="2135" y="21"/>
                  </a:lnTo>
                  <a:lnTo>
                    <a:pt x="1632" y="1549"/>
                  </a:lnTo>
                  <a:lnTo>
                    <a:pt x="1758" y="2009"/>
                  </a:lnTo>
                  <a:lnTo>
                    <a:pt x="1674" y="3264"/>
                  </a:lnTo>
                  <a:lnTo>
                    <a:pt x="42" y="3746"/>
                  </a:lnTo>
                  <a:lnTo>
                    <a:pt x="0" y="4018"/>
                  </a:lnTo>
                  <a:lnTo>
                    <a:pt x="523" y="4708"/>
                  </a:lnTo>
                  <a:lnTo>
                    <a:pt x="461" y="4938"/>
                  </a:lnTo>
                  <a:lnTo>
                    <a:pt x="795" y="5336"/>
                  </a:lnTo>
                  <a:lnTo>
                    <a:pt x="879" y="5315"/>
                  </a:lnTo>
                  <a:lnTo>
                    <a:pt x="900" y="5336"/>
                  </a:lnTo>
                  <a:lnTo>
                    <a:pt x="1005" y="5336"/>
                  </a:lnTo>
                  <a:lnTo>
                    <a:pt x="1088" y="5231"/>
                  </a:lnTo>
                  <a:lnTo>
                    <a:pt x="1214" y="5231"/>
                  </a:lnTo>
                  <a:lnTo>
                    <a:pt x="1423" y="5127"/>
                  </a:lnTo>
                  <a:lnTo>
                    <a:pt x="1528" y="5127"/>
                  </a:lnTo>
                  <a:lnTo>
                    <a:pt x="1632" y="5106"/>
                  </a:lnTo>
                  <a:lnTo>
                    <a:pt x="1716" y="5147"/>
                  </a:lnTo>
                  <a:lnTo>
                    <a:pt x="1779" y="5147"/>
                  </a:lnTo>
                  <a:lnTo>
                    <a:pt x="1925" y="4938"/>
                  </a:lnTo>
                  <a:lnTo>
                    <a:pt x="1925" y="4917"/>
                  </a:lnTo>
                  <a:lnTo>
                    <a:pt x="1946" y="4917"/>
                  </a:lnTo>
                  <a:lnTo>
                    <a:pt x="1946" y="4834"/>
                  </a:lnTo>
                  <a:lnTo>
                    <a:pt x="1883" y="4813"/>
                  </a:lnTo>
                  <a:lnTo>
                    <a:pt x="1925" y="4750"/>
                  </a:lnTo>
                  <a:lnTo>
                    <a:pt x="1883" y="4687"/>
                  </a:lnTo>
                  <a:lnTo>
                    <a:pt x="1967" y="4603"/>
                  </a:lnTo>
                  <a:lnTo>
                    <a:pt x="2030" y="4541"/>
                  </a:lnTo>
                  <a:lnTo>
                    <a:pt x="2239" y="4541"/>
                  </a:lnTo>
                  <a:lnTo>
                    <a:pt x="2365" y="4520"/>
                  </a:lnTo>
                  <a:lnTo>
                    <a:pt x="2448" y="4583"/>
                  </a:lnTo>
                  <a:lnTo>
                    <a:pt x="2553" y="4436"/>
                  </a:lnTo>
                  <a:lnTo>
                    <a:pt x="2595" y="4415"/>
                  </a:lnTo>
                  <a:lnTo>
                    <a:pt x="2595" y="4227"/>
                  </a:lnTo>
                  <a:lnTo>
                    <a:pt x="2804" y="3976"/>
                  </a:lnTo>
                  <a:lnTo>
                    <a:pt x="2930" y="3955"/>
                  </a:lnTo>
                  <a:lnTo>
                    <a:pt x="3013" y="3976"/>
                  </a:lnTo>
                  <a:lnTo>
                    <a:pt x="3076" y="3913"/>
                  </a:lnTo>
                  <a:lnTo>
                    <a:pt x="3348" y="3913"/>
                  </a:lnTo>
                  <a:lnTo>
                    <a:pt x="3390" y="3850"/>
                  </a:lnTo>
                  <a:lnTo>
                    <a:pt x="3327" y="3808"/>
                  </a:lnTo>
                  <a:lnTo>
                    <a:pt x="3285" y="3599"/>
                  </a:lnTo>
                  <a:lnTo>
                    <a:pt x="3306" y="3599"/>
                  </a:lnTo>
                  <a:lnTo>
                    <a:pt x="3244" y="3494"/>
                  </a:lnTo>
                  <a:lnTo>
                    <a:pt x="3223" y="3474"/>
                  </a:lnTo>
                  <a:lnTo>
                    <a:pt x="3244" y="3390"/>
                  </a:lnTo>
                  <a:lnTo>
                    <a:pt x="3244" y="3285"/>
                  </a:lnTo>
                  <a:lnTo>
                    <a:pt x="3348" y="3118"/>
                  </a:lnTo>
                  <a:lnTo>
                    <a:pt x="3432" y="3076"/>
                  </a:lnTo>
                  <a:lnTo>
                    <a:pt x="3390" y="3013"/>
                  </a:lnTo>
                  <a:lnTo>
                    <a:pt x="3411" y="3013"/>
                  </a:lnTo>
                  <a:lnTo>
                    <a:pt x="3495" y="2867"/>
                  </a:lnTo>
                  <a:lnTo>
                    <a:pt x="3536" y="2846"/>
                  </a:lnTo>
                  <a:lnTo>
                    <a:pt x="3599" y="2846"/>
                  </a:lnTo>
                  <a:lnTo>
                    <a:pt x="3557" y="2909"/>
                  </a:lnTo>
                  <a:lnTo>
                    <a:pt x="3536" y="2971"/>
                  </a:lnTo>
                  <a:lnTo>
                    <a:pt x="3620" y="3013"/>
                  </a:lnTo>
                  <a:lnTo>
                    <a:pt x="3662" y="3013"/>
                  </a:lnTo>
                  <a:lnTo>
                    <a:pt x="3746" y="2804"/>
                  </a:lnTo>
                  <a:lnTo>
                    <a:pt x="3808" y="2741"/>
                  </a:lnTo>
                  <a:lnTo>
                    <a:pt x="3871" y="2616"/>
                  </a:lnTo>
                  <a:lnTo>
                    <a:pt x="4018" y="2490"/>
                  </a:lnTo>
                  <a:lnTo>
                    <a:pt x="4227" y="2134"/>
                  </a:lnTo>
                  <a:lnTo>
                    <a:pt x="4248" y="2072"/>
                  </a:lnTo>
                  <a:lnTo>
                    <a:pt x="4248" y="1988"/>
                  </a:lnTo>
                  <a:lnTo>
                    <a:pt x="4290" y="1862"/>
                  </a:lnTo>
                  <a:lnTo>
                    <a:pt x="4332" y="1758"/>
                  </a:lnTo>
                  <a:lnTo>
                    <a:pt x="4269" y="1695"/>
                  </a:lnTo>
                  <a:lnTo>
                    <a:pt x="4164" y="1674"/>
                  </a:lnTo>
                  <a:lnTo>
                    <a:pt x="3955" y="1507"/>
                  </a:lnTo>
                  <a:lnTo>
                    <a:pt x="3913" y="1402"/>
                  </a:lnTo>
                  <a:lnTo>
                    <a:pt x="3808" y="1298"/>
                  </a:lnTo>
                  <a:lnTo>
                    <a:pt x="3767" y="1151"/>
                  </a:lnTo>
                  <a:lnTo>
                    <a:pt x="3599" y="942"/>
                  </a:lnTo>
                  <a:lnTo>
                    <a:pt x="3516" y="942"/>
                  </a:lnTo>
                  <a:lnTo>
                    <a:pt x="3390" y="963"/>
                  </a:lnTo>
                  <a:lnTo>
                    <a:pt x="3118" y="921"/>
                  </a:lnTo>
                  <a:lnTo>
                    <a:pt x="3013" y="942"/>
                  </a:lnTo>
                  <a:lnTo>
                    <a:pt x="2930" y="963"/>
                  </a:lnTo>
                  <a:lnTo>
                    <a:pt x="2804" y="921"/>
                  </a:lnTo>
                  <a:lnTo>
                    <a:pt x="2469" y="649"/>
                  </a:lnTo>
                  <a:lnTo>
                    <a:pt x="2469" y="565"/>
                  </a:lnTo>
                  <a:lnTo>
                    <a:pt x="2260" y="335"/>
                  </a:lnTo>
                  <a:lnTo>
                    <a:pt x="223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 name="Google Shape;6012;p93">
              <a:extLst>
                <a:ext uri="{FF2B5EF4-FFF2-40B4-BE49-F238E27FC236}">
                  <a16:creationId xmlns:a16="http://schemas.microsoft.com/office/drawing/2014/main" id="{E162985A-5489-48F0-B1C3-4A0A06D6A520}"/>
                </a:ext>
              </a:extLst>
            </p:cNvPr>
            <p:cNvSpPr/>
            <p:nvPr/>
          </p:nvSpPr>
          <p:spPr>
            <a:xfrm>
              <a:off x="4124802" y="2964728"/>
              <a:ext cx="2751" cy="5971"/>
            </a:xfrm>
            <a:custGeom>
              <a:avLst/>
              <a:gdLst/>
              <a:ahLst/>
              <a:cxnLst/>
              <a:rect l="l" t="t" r="r" b="b"/>
              <a:pathLst>
                <a:path w="231" h="525" extrusionOk="0">
                  <a:moveTo>
                    <a:pt x="209" y="1"/>
                  </a:moveTo>
                  <a:lnTo>
                    <a:pt x="168" y="22"/>
                  </a:lnTo>
                  <a:lnTo>
                    <a:pt x="105" y="22"/>
                  </a:lnTo>
                  <a:lnTo>
                    <a:pt x="84" y="168"/>
                  </a:lnTo>
                  <a:lnTo>
                    <a:pt x="63" y="210"/>
                  </a:lnTo>
                  <a:lnTo>
                    <a:pt x="21" y="168"/>
                  </a:lnTo>
                  <a:lnTo>
                    <a:pt x="0" y="231"/>
                  </a:lnTo>
                  <a:lnTo>
                    <a:pt x="0" y="273"/>
                  </a:lnTo>
                  <a:lnTo>
                    <a:pt x="84" y="315"/>
                  </a:lnTo>
                  <a:lnTo>
                    <a:pt x="105" y="482"/>
                  </a:lnTo>
                  <a:lnTo>
                    <a:pt x="168" y="524"/>
                  </a:lnTo>
                  <a:lnTo>
                    <a:pt x="168" y="440"/>
                  </a:lnTo>
                  <a:lnTo>
                    <a:pt x="209" y="336"/>
                  </a:lnTo>
                  <a:lnTo>
                    <a:pt x="209" y="168"/>
                  </a:lnTo>
                  <a:lnTo>
                    <a:pt x="188" y="168"/>
                  </a:lnTo>
                  <a:lnTo>
                    <a:pt x="209" y="106"/>
                  </a:lnTo>
                  <a:lnTo>
                    <a:pt x="188" y="64"/>
                  </a:lnTo>
                  <a:lnTo>
                    <a:pt x="209" y="43"/>
                  </a:lnTo>
                  <a:lnTo>
                    <a:pt x="230" y="43"/>
                  </a:lnTo>
                  <a:lnTo>
                    <a:pt x="20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 name="Google Shape;6013;p93">
              <a:extLst>
                <a:ext uri="{FF2B5EF4-FFF2-40B4-BE49-F238E27FC236}">
                  <a16:creationId xmlns:a16="http://schemas.microsoft.com/office/drawing/2014/main" id="{715F35FB-93C4-4D24-8A73-13A4143FC4FF}"/>
                </a:ext>
              </a:extLst>
            </p:cNvPr>
            <p:cNvSpPr/>
            <p:nvPr/>
          </p:nvSpPr>
          <p:spPr>
            <a:xfrm>
              <a:off x="4037591" y="3015893"/>
              <a:ext cx="73267" cy="45456"/>
            </a:xfrm>
            <a:custGeom>
              <a:avLst/>
              <a:gdLst/>
              <a:ahLst/>
              <a:cxnLst/>
              <a:rect l="l" t="t" r="r" b="b"/>
              <a:pathLst>
                <a:path w="6153" h="3997" extrusionOk="0">
                  <a:moveTo>
                    <a:pt x="5399" y="1"/>
                  </a:moveTo>
                  <a:lnTo>
                    <a:pt x="3223" y="649"/>
                  </a:lnTo>
                  <a:lnTo>
                    <a:pt x="2177" y="2051"/>
                  </a:lnTo>
                  <a:lnTo>
                    <a:pt x="2156" y="1528"/>
                  </a:lnTo>
                  <a:lnTo>
                    <a:pt x="1633" y="1298"/>
                  </a:lnTo>
                  <a:lnTo>
                    <a:pt x="1131" y="1089"/>
                  </a:lnTo>
                  <a:lnTo>
                    <a:pt x="796" y="1089"/>
                  </a:lnTo>
                  <a:lnTo>
                    <a:pt x="608" y="942"/>
                  </a:lnTo>
                  <a:lnTo>
                    <a:pt x="440" y="1005"/>
                  </a:lnTo>
                  <a:lnTo>
                    <a:pt x="378" y="1277"/>
                  </a:lnTo>
                  <a:lnTo>
                    <a:pt x="482" y="1486"/>
                  </a:lnTo>
                  <a:lnTo>
                    <a:pt x="315" y="1591"/>
                  </a:lnTo>
                  <a:lnTo>
                    <a:pt x="273" y="1695"/>
                  </a:lnTo>
                  <a:lnTo>
                    <a:pt x="189" y="1674"/>
                  </a:lnTo>
                  <a:lnTo>
                    <a:pt x="85" y="1633"/>
                  </a:lnTo>
                  <a:lnTo>
                    <a:pt x="106" y="1737"/>
                  </a:lnTo>
                  <a:lnTo>
                    <a:pt x="168" y="2030"/>
                  </a:lnTo>
                  <a:lnTo>
                    <a:pt x="168" y="2218"/>
                  </a:lnTo>
                  <a:lnTo>
                    <a:pt x="85" y="2218"/>
                  </a:lnTo>
                  <a:lnTo>
                    <a:pt x="85" y="2260"/>
                  </a:lnTo>
                  <a:lnTo>
                    <a:pt x="1" y="2239"/>
                  </a:lnTo>
                  <a:lnTo>
                    <a:pt x="1" y="2239"/>
                  </a:lnTo>
                  <a:lnTo>
                    <a:pt x="22" y="2344"/>
                  </a:lnTo>
                  <a:lnTo>
                    <a:pt x="106" y="2344"/>
                  </a:lnTo>
                  <a:lnTo>
                    <a:pt x="106" y="2428"/>
                  </a:lnTo>
                  <a:lnTo>
                    <a:pt x="231" y="2616"/>
                  </a:lnTo>
                  <a:lnTo>
                    <a:pt x="315" y="3139"/>
                  </a:lnTo>
                  <a:lnTo>
                    <a:pt x="482" y="3265"/>
                  </a:lnTo>
                  <a:lnTo>
                    <a:pt x="482" y="3453"/>
                  </a:lnTo>
                  <a:lnTo>
                    <a:pt x="419" y="3474"/>
                  </a:lnTo>
                  <a:lnTo>
                    <a:pt x="482" y="3620"/>
                  </a:lnTo>
                  <a:lnTo>
                    <a:pt x="608" y="3767"/>
                  </a:lnTo>
                  <a:lnTo>
                    <a:pt x="608" y="3913"/>
                  </a:lnTo>
                  <a:lnTo>
                    <a:pt x="650" y="3997"/>
                  </a:lnTo>
                  <a:lnTo>
                    <a:pt x="796" y="3997"/>
                  </a:lnTo>
                  <a:lnTo>
                    <a:pt x="817" y="3934"/>
                  </a:lnTo>
                  <a:lnTo>
                    <a:pt x="963" y="3997"/>
                  </a:lnTo>
                  <a:lnTo>
                    <a:pt x="1068" y="3976"/>
                  </a:lnTo>
                  <a:lnTo>
                    <a:pt x="1173" y="3871"/>
                  </a:lnTo>
                  <a:lnTo>
                    <a:pt x="1319" y="3871"/>
                  </a:lnTo>
                  <a:lnTo>
                    <a:pt x="1361" y="3934"/>
                  </a:lnTo>
                  <a:lnTo>
                    <a:pt x="1466" y="3892"/>
                  </a:lnTo>
                  <a:lnTo>
                    <a:pt x="1570" y="3725"/>
                  </a:lnTo>
                  <a:lnTo>
                    <a:pt x="1633" y="3725"/>
                  </a:lnTo>
                  <a:lnTo>
                    <a:pt x="1696" y="3579"/>
                  </a:lnTo>
                  <a:lnTo>
                    <a:pt x="1842" y="3495"/>
                  </a:lnTo>
                  <a:lnTo>
                    <a:pt x="1905" y="3474"/>
                  </a:lnTo>
                  <a:lnTo>
                    <a:pt x="2010" y="3474"/>
                  </a:lnTo>
                  <a:lnTo>
                    <a:pt x="2051" y="3495"/>
                  </a:lnTo>
                  <a:lnTo>
                    <a:pt x="2198" y="3495"/>
                  </a:lnTo>
                  <a:lnTo>
                    <a:pt x="2219" y="3558"/>
                  </a:lnTo>
                  <a:lnTo>
                    <a:pt x="2365" y="3579"/>
                  </a:lnTo>
                  <a:lnTo>
                    <a:pt x="2616" y="3474"/>
                  </a:lnTo>
                  <a:lnTo>
                    <a:pt x="2826" y="3453"/>
                  </a:lnTo>
                  <a:lnTo>
                    <a:pt x="2909" y="3369"/>
                  </a:lnTo>
                  <a:lnTo>
                    <a:pt x="2930" y="3307"/>
                  </a:lnTo>
                  <a:lnTo>
                    <a:pt x="3119" y="3160"/>
                  </a:lnTo>
                  <a:lnTo>
                    <a:pt x="3223" y="3160"/>
                  </a:lnTo>
                  <a:lnTo>
                    <a:pt x="3307" y="3202"/>
                  </a:lnTo>
                  <a:lnTo>
                    <a:pt x="3370" y="3181"/>
                  </a:lnTo>
                  <a:lnTo>
                    <a:pt x="3432" y="3139"/>
                  </a:lnTo>
                  <a:lnTo>
                    <a:pt x="3453" y="3181"/>
                  </a:lnTo>
                  <a:lnTo>
                    <a:pt x="3537" y="3181"/>
                  </a:lnTo>
                  <a:lnTo>
                    <a:pt x="3725" y="3034"/>
                  </a:lnTo>
                  <a:lnTo>
                    <a:pt x="3830" y="2846"/>
                  </a:lnTo>
                  <a:lnTo>
                    <a:pt x="3935" y="2783"/>
                  </a:lnTo>
                  <a:lnTo>
                    <a:pt x="3997" y="2783"/>
                  </a:lnTo>
                  <a:lnTo>
                    <a:pt x="4625" y="2616"/>
                  </a:lnTo>
                  <a:lnTo>
                    <a:pt x="4688" y="2532"/>
                  </a:lnTo>
                  <a:lnTo>
                    <a:pt x="5043" y="2470"/>
                  </a:lnTo>
                  <a:lnTo>
                    <a:pt x="5253" y="2365"/>
                  </a:lnTo>
                  <a:lnTo>
                    <a:pt x="5399" y="2260"/>
                  </a:lnTo>
                  <a:lnTo>
                    <a:pt x="5629" y="2218"/>
                  </a:lnTo>
                  <a:lnTo>
                    <a:pt x="5608" y="2135"/>
                  </a:lnTo>
                  <a:lnTo>
                    <a:pt x="5629" y="2114"/>
                  </a:lnTo>
                  <a:lnTo>
                    <a:pt x="5567" y="2051"/>
                  </a:lnTo>
                  <a:lnTo>
                    <a:pt x="5608" y="1905"/>
                  </a:lnTo>
                  <a:lnTo>
                    <a:pt x="5776" y="1674"/>
                  </a:lnTo>
                  <a:lnTo>
                    <a:pt x="6027" y="1612"/>
                  </a:lnTo>
                  <a:lnTo>
                    <a:pt x="6152" y="1591"/>
                  </a:lnTo>
                  <a:lnTo>
                    <a:pt x="5818" y="1193"/>
                  </a:lnTo>
                  <a:lnTo>
                    <a:pt x="5880" y="963"/>
                  </a:lnTo>
                  <a:lnTo>
                    <a:pt x="5357" y="273"/>
                  </a:lnTo>
                  <a:lnTo>
                    <a:pt x="539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 name="Google Shape;6014;p93">
              <a:extLst>
                <a:ext uri="{FF2B5EF4-FFF2-40B4-BE49-F238E27FC236}">
                  <a16:creationId xmlns:a16="http://schemas.microsoft.com/office/drawing/2014/main" id="{571A08E6-9EBA-490C-89B1-B2F509F834D2}"/>
                </a:ext>
              </a:extLst>
            </p:cNvPr>
            <p:cNvSpPr/>
            <p:nvPr/>
          </p:nvSpPr>
          <p:spPr>
            <a:xfrm>
              <a:off x="3911526" y="2929280"/>
              <a:ext cx="85972" cy="69020"/>
            </a:xfrm>
            <a:custGeom>
              <a:avLst/>
              <a:gdLst/>
              <a:ahLst/>
              <a:cxnLst/>
              <a:rect l="l" t="t" r="r" b="b"/>
              <a:pathLst>
                <a:path w="7220" h="6069" extrusionOk="0">
                  <a:moveTo>
                    <a:pt x="503" y="0"/>
                  </a:moveTo>
                  <a:lnTo>
                    <a:pt x="210" y="21"/>
                  </a:lnTo>
                  <a:lnTo>
                    <a:pt x="147" y="21"/>
                  </a:lnTo>
                  <a:lnTo>
                    <a:pt x="126" y="126"/>
                  </a:lnTo>
                  <a:lnTo>
                    <a:pt x="84" y="356"/>
                  </a:lnTo>
                  <a:lnTo>
                    <a:pt x="126" y="523"/>
                  </a:lnTo>
                  <a:lnTo>
                    <a:pt x="126" y="649"/>
                  </a:lnTo>
                  <a:lnTo>
                    <a:pt x="42" y="858"/>
                  </a:lnTo>
                  <a:lnTo>
                    <a:pt x="1" y="1047"/>
                  </a:lnTo>
                  <a:lnTo>
                    <a:pt x="42" y="1193"/>
                  </a:lnTo>
                  <a:lnTo>
                    <a:pt x="126" y="1486"/>
                  </a:lnTo>
                  <a:lnTo>
                    <a:pt x="314" y="6068"/>
                  </a:lnTo>
                  <a:lnTo>
                    <a:pt x="7219" y="6005"/>
                  </a:lnTo>
                  <a:lnTo>
                    <a:pt x="7219" y="5985"/>
                  </a:lnTo>
                  <a:lnTo>
                    <a:pt x="7115" y="5964"/>
                  </a:lnTo>
                  <a:lnTo>
                    <a:pt x="6989" y="5796"/>
                  </a:lnTo>
                  <a:lnTo>
                    <a:pt x="6947" y="5754"/>
                  </a:lnTo>
                  <a:lnTo>
                    <a:pt x="6822" y="5692"/>
                  </a:lnTo>
                  <a:lnTo>
                    <a:pt x="6738" y="5566"/>
                  </a:lnTo>
                  <a:lnTo>
                    <a:pt x="6675" y="5587"/>
                  </a:lnTo>
                  <a:lnTo>
                    <a:pt x="6571" y="5587"/>
                  </a:lnTo>
                  <a:lnTo>
                    <a:pt x="6403" y="5461"/>
                  </a:lnTo>
                  <a:lnTo>
                    <a:pt x="6299" y="5169"/>
                  </a:lnTo>
                  <a:lnTo>
                    <a:pt x="6319" y="5106"/>
                  </a:lnTo>
                  <a:lnTo>
                    <a:pt x="6319" y="4938"/>
                  </a:lnTo>
                  <a:lnTo>
                    <a:pt x="6278" y="4855"/>
                  </a:lnTo>
                  <a:lnTo>
                    <a:pt x="6299" y="4813"/>
                  </a:lnTo>
                  <a:lnTo>
                    <a:pt x="6319" y="4855"/>
                  </a:lnTo>
                  <a:lnTo>
                    <a:pt x="6508" y="4855"/>
                  </a:lnTo>
                  <a:lnTo>
                    <a:pt x="6424" y="4792"/>
                  </a:lnTo>
                  <a:lnTo>
                    <a:pt x="6382" y="4792"/>
                  </a:lnTo>
                  <a:lnTo>
                    <a:pt x="6299" y="4624"/>
                  </a:lnTo>
                  <a:lnTo>
                    <a:pt x="6257" y="4604"/>
                  </a:lnTo>
                  <a:lnTo>
                    <a:pt x="6257" y="4645"/>
                  </a:lnTo>
                  <a:lnTo>
                    <a:pt x="6173" y="4583"/>
                  </a:lnTo>
                  <a:lnTo>
                    <a:pt x="6110" y="4415"/>
                  </a:lnTo>
                  <a:lnTo>
                    <a:pt x="5901" y="4080"/>
                  </a:lnTo>
                  <a:lnTo>
                    <a:pt x="5796" y="4018"/>
                  </a:lnTo>
                  <a:lnTo>
                    <a:pt x="5775" y="3871"/>
                  </a:lnTo>
                  <a:lnTo>
                    <a:pt x="5420" y="3327"/>
                  </a:lnTo>
                  <a:lnTo>
                    <a:pt x="5420" y="3223"/>
                  </a:lnTo>
                  <a:lnTo>
                    <a:pt x="5357" y="3118"/>
                  </a:lnTo>
                  <a:lnTo>
                    <a:pt x="5336" y="2867"/>
                  </a:lnTo>
                  <a:lnTo>
                    <a:pt x="5273" y="2825"/>
                  </a:lnTo>
                  <a:lnTo>
                    <a:pt x="5273" y="2741"/>
                  </a:lnTo>
                  <a:lnTo>
                    <a:pt x="5064" y="2532"/>
                  </a:lnTo>
                  <a:lnTo>
                    <a:pt x="5064" y="2448"/>
                  </a:lnTo>
                  <a:lnTo>
                    <a:pt x="5106" y="2344"/>
                  </a:lnTo>
                  <a:lnTo>
                    <a:pt x="5043" y="2281"/>
                  </a:lnTo>
                  <a:lnTo>
                    <a:pt x="4708" y="1988"/>
                  </a:lnTo>
                  <a:lnTo>
                    <a:pt x="4687" y="1884"/>
                  </a:lnTo>
                  <a:lnTo>
                    <a:pt x="4478" y="1653"/>
                  </a:lnTo>
                  <a:lnTo>
                    <a:pt x="4478" y="1507"/>
                  </a:lnTo>
                  <a:lnTo>
                    <a:pt x="4332" y="1360"/>
                  </a:lnTo>
                  <a:lnTo>
                    <a:pt x="4374" y="1277"/>
                  </a:lnTo>
                  <a:lnTo>
                    <a:pt x="4374" y="1193"/>
                  </a:lnTo>
                  <a:lnTo>
                    <a:pt x="4395" y="1151"/>
                  </a:lnTo>
                  <a:lnTo>
                    <a:pt x="4395" y="1193"/>
                  </a:lnTo>
                  <a:lnTo>
                    <a:pt x="4478" y="1193"/>
                  </a:lnTo>
                  <a:lnTo>
                    <a:pt x="4499" y="1339"/>
                  </a:lnTo>
                  <a:lnTo>
                    <a:pt x="4541" y="1402"/>
                  </a:lnTo>
                  <a:lnTo>
                    <a:pt x="4583" y="1465"/>
                  </a:lnTo>
                  <a:lnTo>
                    <a:pt x="4792" y="1674"/>
                  </a:lnTo>
                  <a:lnTo>
                    <a:pt x="4792" y="1779"/>
                  </a:lnTo>
                  <a:lnTo>
                    <a:pt x="4834" y="1884"/>
                  </a:lnTo>
                  <a:lnTo>
                    <a:pt x="5001" y="1967"/>
                  </a:lnTo>
                  <a:lnTo>
                    <a:pt x="5022" y="2072"/>
                  </a:lnTo>
                  <a:lnTo>
                    <a:pt x="5315" y="2344"/>
                  </a:lnTo>
                  <a:lnTo>
                    <a:pt x="5462" y="2428"/>
                  </a:lnTo>
                  <a:lnTo>
                    <a:pt x="5462" y="2490"/>
                  </a:lnTo>
                  <a:lnTo>
                    <a:pt x="5483" y="2407"/>
                  </a:lnTo>
                  <a:lnTo>
                    <a:pt x="5566" y="2323"/>
                  </a:lnTo>
                  <a:lnTo>
                    <a:pt x="5629" y="2114"/>
                  </a:lnTo>
                  <a:lnTo>
                    <a:pt x="5566" y="2072"/>
                  </a:lnTo>
                  <a:lnTo>
                    <a:pt x="5650" y="1904"/>
                  </a:lnTo>
                  <a:lnTo>
                    <a:pt x="5650" y="1779"/>
                  </a:lnTo>
                  <a:lnTo>
                    <a:pt x="5734" y="1465"/>
                  </a:lnTo>
                  <a:lnTo>
                    <a:pt x="5755" y="1444"/>
                  </a:lnTo>
                  <a:lnTo>
                    <a:pt x="5671" y="1235"/>
                  </a:lnTo>
                  <a:lnTo>
                    <a:pt x="5734" y="1088"/>
                  </a:lnTo>
                  <a:lnTo>
                    <a:pt x="5587" y="775"/>
                  </a:lnTo>
                  <a:lnTo>
                    <a:pt x="5441" y="544"/>
                  </a:lnTo>
                  <a:lnTo>
                    <a:pt x="5378" y="335"/>
                  </a:lnTo>
                  <a:lnTo>
                    <a:pt x="5273" y="147"/>
                  </a:lnTo>
                  <a:lnTo>
                    <a:pt x="5211" y="126"/>
                  </a:lnTo>
                  <a:lnTo>
                    <a:pt x="5127" y="231"/>
                  </a:lnTo>
                  <a:lnTo>
                    <a:pt x="4959" y="293"/>
                  </a:lnTo>
                  <a:lnTo>
                    <a:pt x="4604" y="231"/>
                  </a:lnTo>
                  <a:lnTo>
                    <a:pt x="4311" y="314"/>
                  </a:lnTo>
                  <a:lnTo>
                    <a:pt x="4102" y="147"/>
                  </a:lnTo>
                  <a:lnTo>
                    <a:pt x="4081" y="251"/>
                  </a:lnTo>
                  <a:lnTo>
                    <a:pt x="4164" y="398"/>
                  </a:lnTo>
                  <a:lnTo>
                    <a:pt x="4164" y="461"/>
                  </a:lnTo>
                  <a:lnTo>
                    <a:pt x="4081" y="335"/>
                  </a:lnTo>
                  <a:lnTo>
                    <a:pt x="3976" y="293"/>
                  </a:lnTo>
                  <a:lnTo>
                    <a:pt x="3955" y="189"/>
                  </a:lnTo>
                  <a:lnTo>
                    <a:pt x="3997" y="147"/>
                  </a:lnTo>
                  <a:lnTo>
                    <a:pt x="3955" y="105"/>
                  </a:lnTo>
                  <a:lnTo>
                    <a:pt x="3850" y="105"/>
                  </a:lnTo>
                  <a:lnTo>
                    <a:pt x="3746" y="84"/>
                  </a:lnTo>
                  <a:lnTo>
                    <a:pt x="3537" y="21"/>
                  </a:lnTo>
                  <a:lnTo>
                    <a:pt x="3495" y="42"/>
                  </a:lnTo>
                  <a:lnTo>
                    <a:pt x="3578" y="84"/>
                  </a:lnTo>
                  <a:lnTo>
                    <a:pt x="3599" y="105"/>
                  </a:lnTo>
                  <a:lnTo>
                    <a:pt x="3495" y="126"/>
                  </a:lnTo>
                  <a:lnTo>
                    <a:pt x="3390" y="105"/>
                  </a:lnTo>
                  <a:lnTo>
                    <a:pt x="3265" y="147"/>
                  </a:lnTo>
                  <a:lnTo>
                    <a:pt x="3223" y="126"/>
                  </a:lnTo>
                  <a:lnTo>
                    <a:pt x="3223" y="105"/>
                  </a:lnTo>
                  <a:lnTo>
                    <a:pt x="3348" y="84"/>
                  </a:lnTo>
                  <a:lnTo>
                    <a:pt x="3432" y="42"/>
                  </a:lnTo>
                  <a:lnTo>
                    <a:pt x="3327" y="42"/>
                  </a:lnTo>
                  <a:lnTo>
                    <a:pt x="3139" y="84"/>
                  </a:lnTo>
                  <a:lnTo>
                    <a:pt x="3076" y="126"/>
                  </a:lnTo>
                  <a:lnTo>
                    <a:pt x="2930" y="210"/>
                  </a:lnTo>
                  <a:lnTo>
                    <a:pt x="2846" y="231"/>
                  </a:lnTo>
                  <a:lnTo>
                    <a:pt x="2700" y="293"/>
                  </a:lnTo>
                  <a:lnTo>
                    <a:pt x="2595" y="419"/>
                  </a:lnTo>
                  <a:lnTo>
                    <a:pt x="2553" y="461"/>
                  </a:lnTo>
                  <a:lnTo>
                    <a:pt x="2386" y="461"/>
                  </a:lnTo>
                  <a:lnTo>
                    <a:pt x="2177" y="335"/>
                  </a:lnTo>
                  <a:lnTo>
                    <a:pt x="2009" y="314"/>
                  </a:lnTo>
                  <a:lnTo>
                    <a:pt x="1821" y="335"/>
                  </a:lnTo>
                  <a:lnTo>
                    <a:pt x="1674" y="231"/>
                  </a:lnTo>
                  <a:lnTo>
                    <a:pt x="1591" y="231"/>
                  </a:lnTo>
                  <a:lnTo>
                    <a:pt x="1507" y="251"/>
                  </a:lnTo>
                  <a:lnTo>
                    <a:pt x="1361" y="147"/>
                  </a:lnTo>
                  <a:lnTo>
                    <a:pt x="1172" y="105"/>
                  </a:lnTo>
                  <a:lnTo>
                    <a:pt x="733" y="84"/>
                  </a:lnTo>
                  <a:lnTo>
                    <a:pt x="50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 name="Google Shape;6015;p93">
              <a:extLst>
                <a:ext uri="{FF2B5EF4-FFF2-40B4-BE49-F238E27FC236}">
                  <a16:creationId xmlns:a16="http://schemas.microsoft.com/office/drawing/2014/main" id="{3DE61170-6152-48FA-AD63-53726DF33DC7}"/>
                </a:ext>
              </a:extLst>
            </p:cNvPr>
            <p:cNvSpPr/>
            <p:nvPr/>
          </p:nvSpPr>
          <p:spPr>
            <a:xfrm>
              <a:off x="3896332" y="2997572"/>
              <a:ext cx="113621" cy="124461"/>
            </a:xfrm>
            <a:custGeom>
              <a:avLst/>
              <a:gdLst/>
              <a:ahLst/>
              <a:cxnLst/>
              <a:rect l="l" t="t" r="r" b="b"/>
              <a:pathLst>
                <a:path w="9542" h="10944" extrusionOk="0">
                  <a:moveTo>
                    <a:pt x="8495" y="0"/>
                  </a:moveTo>
                  <a:lnTo>
                    <a:pt x="1590" y="63"/>
                  </a:lnTo>
                  <a:lnTo>
                    <a:pt x="1632" y="1193"/>
                  </a:lnTo>
                  <a:lnTo>
                    <a:pt x="1088" y="1235"/>
                  </a:lnTo>
                  <a:lnTo>
                    <a:pt x="1088" y="1444"/>
                  </a:lnTo>
                  <a:lnTo>
                    <a:pt x="1151" y="3725"/>
                  </a:lnTo>
                  <a:lnTo>
                    <a:pt x="1046" y="3746"/>
                  </a:lnTo>
                  <a:lnTo>
                    <a:pt x="942" y="3829"/>
                  </a:lnTo>
                  <a:lnTo>
                    <a:pt x="837" y="3767"/>
                  </a:lnTo>
                  <a:lnTo>
                    <a:pt x="691" y="3767"/>
                  </a:lnTo>
                  <a:lnTo>
                    <a:pt x="586" y="3850"/>
                  </a:lnTo>
                  <a:lnTo>
                    <a:pt x="586" y="3976"/>
                  </a:lnTo>
                  <a:lnTo>
                    <a:pt x="649" y="4060"/>
                  </a:lnTo>
                  <a:lnTo>
                    <a:pt x="586" y="4185"/>
                  </a:lnTo>
                  <a:lnTo>
                    <a:pt x="377" y="4457"/>
                  </a:lnTo>
                  <a:lnTo>
                    <a:pt x="335" y="4457"/>
                  </a:lnTo>
                  <a:lnTo>
                    <a:pt x="230" y="4541"/>
                  </a:lnTo>
                  <a:lnTo>
                    <a:pt x="251" y="4645"/>
                  </a:lnTo>
                  <a:lnTo>
                    <a:pt x="314" y="4687"/>
                  </a:lnTo>
                  <a:lnTo>
                    <a:pt x="251" y="4813"/>
                  </a:lnTo>
                  <a:lnTo>
                    <a:pt x="126" y="4897"/>
                  </a:lnTo>
                  <a:lnTo>
                    <a:pt x="105" y="4980"/>
                  </a:lnTo>
                  <a:lnTo>
                    <a:pt x="209" y="5022"/>
                  </a:lnTo>
                  <a:lnTo>
                    <a:pt x="230" y="5127"/>
                  </a:lnTo>
                  <a:lnTo>
                    <a:pt x="168" y="5231"/>
                  </a:lnTo>
                  <a:lnTo>
                    <a:pt x="0" y="5420"/>
                  </a:lnTo>
                  <a:lnTo>
                    <a:pt x="0" y="5545"/>
                  </a:lnTo>
                  <a:lnTo>
                    <a:pt x="63" y="5629"/>
                  </a:lnTo>
                  <a:lnTo>
                    <a:pt x="209" y="5524"/>
                  </a:lnTo>
                  <a:lnTo>
                    <a:pt x="251" y="5545"/>
                  </a:lnTo>
                  <a:lnTo>
                    <a:pt x="251" y="5629"/>
                  </a:lnTo>
                  <a:lnTo>
                    <a:pt x="209" y="5692"/>
                  </a:lnTo>
                  <a:lnTo>
                    <a:pt x="272" y="5734"/>
                  </a:lnTo>
                  <a:lnTo>
                    <a:pt x="230" y="5817"/>
                  </a:lnTo>
                  <a:lnTo>
                    <a:pt x="272" y="5922"/>
                  </a:lnTo>
                  <a:lnTo>
                    <a:pt x="272" y="6047"/>
                  </a:lnTo>
                  <a:lnTo>
                    <a:pt x="314" y="6152"/>
                  </a:lnTo>
                  <a:lnTo>
                    <a:pt x="544" y="6236"/>
                  </a:lnTo>
                  <a:lnTo>
                    <a:pt x="586" y="6319"/>
                  </a:lnTo>
                  <a:lnTo>
                    <a:pt x="544" y="6382"/>
                  </a:lnTo>
                  <a:lnTo>
                    <a:pt x="544" y="6466"/>
                  </a:lnTo>
                  <a:lnTo>
                    <a:pt x="523" y="6487"/>
                  </a:lnTo>
                  <a:lnTo>
                    <a:pt x="586" y="6570"/>
                  </a:lnTo>
                  <a:lnTo>
                    <a:pt x="586" y="6654"/>
                  </a:lnTo>
                  <a:lnTo>
                    <a:pt x="544" y="6675"/>
                  </a:lnTo>
                  <a:lnTo>
                    <a:pt x="670" y="6780"/>
                  </a:lnTo>
                  <a:lnTo>
                    <a:pt x="691" y="6863"/>
                  </a:lnTo>
                  <a:lnTo>
                    <a:pt x="858" y="7052"/>
                  </a:lnTo>
                  <a:lnTo>
                    <a:pt x="963" y="7282"/>
                  </a:lnTo>
                  <a:lnTo>
                    <a:pt x="984" y="7366"/>
                  </a:lnTo>
                  <a:lnTo>
                    <a:pt x="963" y="7491"/>
                  </a:lnTo>
                  <a:lnTo>
                    <a:pt x="942" y="7533"/>
                  </a:lnTo>
                  <a:lnTo>
                    <a:pt x="879" y="7638"/>
                  </a:lnTo>
                  <a:lnTo>
                    <a:pt x="879" y="7826"/>
                  </a:lnTo>
                  <a:lnTo>
                    <a:pt x="984" y="7910"/>
                  </a:lnTo>
                  <a:lnTo>
                    <a:pt x="1109" y="7910"/>
                  </a:lnTo>
                  <a:lnTo>
                    <a:pt x="1172" y="7847"/>
                  </a:lnTo>
                  <a:lnTo>
                    <a:pt x="1318" y="7847"/>
                  </a:lnTo>
                  <a:lnTo>
                    <a:pt x="1402" y="7889"/>
                  </a:lnTo>
                  <a:lnTo>
                    <a:pt x="1360" y="7951"/>
                  </a:lnTo>
                  <a:lnTo>
                    <a:pt x="1381" y="8098"/>
                  </a:lnTo>
                  <a:lnTo>
                    <a:pt x="1465" y="8140"/>
                  </a:lnTo>
                  <a:lnTo>
                    <a:pt x="1590" y="8223"/>
                  </a:lnTo>
                  <a:lnTo>
                    <a:pt x="1695" y="8223"/>
                  </a:lnTo>
                  <a:lnTo>
                    <a:pt x="1779" y="8265"/>
                  </a:lnTo>
                  <a:lnTo>
                    <a:pt x="1821" y="8349"/>
                  </a:lnTo>
                  <a:lnTo>
                    <a:pt x="1925" y="8412"/>
                  </a:lnTo>
                  <a:lnTo>
                    <a:pt x="2030" y="8412"/>
                  </a:lnTo>
                  <a:lnTo>
                    <a:pt x="2093" y="8475"/>
                  </a:lnTo>
                  <a:lnTo>
                    <a:pt x="2051" y="8558"/>
                  </a:lnTo>
                  <a:lnTo>
                    <a:pt x="1988" y="8621"/>
                  </a:lnTo>
                  <a:lnTo>
                    <a:pt x="1946" y="8663"/>
                  </a:lnTo>
                  <a:lnTo>
                    <a:pt x="1904" y="8726"/>
                  </a:lnTo>
                  <a:lnTo>
                    <a:pt x="2030" y="8830"/>
                  </a:lnTo>
                  <a:lnTo>
                    <a:pt x="2134" y="8851"/>
                  </a:lnTo>
                  <a:lnTo>
                    <a:pt x="2155" y="8830"/>
                  </a:lnTo>
                  <a:lnTo>
                    <a:pt x="2260" y="8872"/>
                  </a:lnTo>
                  <a:lnTo>
                    <a:pt x="2323" y="8851"/>
                  </a:lnTo>
                  <a:lnTo>
                    <a:pt x="2511" y="8977"/>
                  </a:lnTo>
                  <a:lnTo>
                    <a:pt x="2532" y="9039"/>
                  </a:lnTo>
                  <a:lnTo>
                    <a:pt x="2553" y="9207"/>
                  </a:lnTo>
                  <a:lnTo>
                    <a:pt x="2616" y="9270"/>
                  </a:lnTo>
                  <a:lnTo>
                    <a:pt x="2720" y="9291"/>
                  </a:lnTo>
                  <a:lnTo>
                    <a:pt x="2762" y="9353"/>
                  </a:lnTo>
                  <a:lnTo>
                    <a:pt x="2741" y="9458"/>
                  </a:lnTo>
                  <a:lnTo>
                    <a:pt x="2783" y="9521"/>
                  </a:lnTo>
                  <a:lnTo>
                    <a:pt x="2992" y="9563"/>
                  </a:lnTo>
                  <a:lnTo>
                    <a:pt x="3076" y="9625"/>
                  </a:lnTo>
                  <a:lnTo>
                    <a:pt x="3076" y="9688"/>
                  </a:lnTo>
                  <a:lnTo>
                    <a:pt x="3076" y="9876"/>
                  </a:lnTo>
                  <a:lnTo>
                    <a:pt x="3160" y="9918"/>
                  </a:lnTo>
                  <a:lnTo>
                    <a:pt x="3264" y="9981"/>
                  </a:lnTo>
                  <a:lnTo>
                    <a:pt x="3306" y="10044"/>
                  </a:lnTo>
                  <a:lnTo>
                    <a:pt x="3306" y="10086"/>
                  </a:lnTo>
                  <a:lnTo>
                    <a:pt x="3348" y="10190"/>
                  </a:lnTo>
                  <a:lnTo>
                    <a:pt x="3390" y="10232"/>
                  </a:lnTo>
                  <a:lnTo>
                    <a:pt x="3474" y="10253"/>
                  </a:lnTo>
                  <a:lnTo>
                    <a:pt x="3515" y="10337"/>
                  </a:lnTo>
                  <a:lnTo>
                    <a:pt x="3662" y="10420"/>
                  </a:lnTo>
                  <a:lnTo>
                    <a:pt x="3766" y="10462"/>
                  </a:lnTo>
                  <a:lnTo>
                    <a:pt x="3829" y="10441"/>
                  </a:lnTo>
                  <a:lnTo>
                    <a:pt x="3871" y="10399"/>
                  </a:lnTo>
                  <a:lnTo>
                    <a:pt x="3934" y="10337"/>
                  </a:lnTo>
                  <a:lnTo>
                    <a:pt x="4143" y="10337"/>
                  </a:lnTo>
                  <a:lnTo>
                    <a:pt x="4185" y="10399"/>
                  </a:lnTo>
                  <a:lnTo>
                    <a:pt x="4227" y="10399"/>
                  </a:lnTo>
                  <a:lnTo>
                    <a:pt x="4331" y="10337"/>
                  </a:lnTo>
                  <a:lnTo>
                    <a:pt x="4394" y="10295"/>
                  </a:lnTo>
                  <a:lnTo>
                    <a:pt x="4436" y="10211"/>
                  </a:lnTo>
                  <a:lnTo>
                    <a:pt x="4562" y="10211"/>
                  </a:lnTo>
                  <a:lnTo>
                    <a:pt x="4624" y="10232"/>
                  </a:lnTo>
                  <a:lnTo>
                    <a:pt x="4708" y="10399"/>
                  </a:lnTo>
                  <a:lnTo>
                    <a:pt x="4750" y="10462"/>
                  </a:lnTo>
                  <a:lnTo>
                    <a:pt x="4813" y="10525"/>
                  </a:lnTo>
                  <a:lnTo>
                    <a:pt x="4938" y="10567"/>
                  </a:lnTo>
                  <a:lnTo>
                    <a:pt x="5022" y="10630"/>
                  </a:lnTo>
                  <a:lnTo>
                    <a:pt x="5043" y="10734"/>
                  </a:lnTo>
                  <a:lnTo>
                    <a:pt x="5085" y="10755"/>
                  </a:lnTo>
                  <a:lnTo>
                    <a:pt x="5126" y="10839"/>
                  </a:lnTo>
                  <a:lnTo>
                    <a:pt x="5126" y="10923"/>
                  </a:lnTo>
                  <a:lnTo>
                    <a:pt x="5294" y="10923"/>
                  </a:lnTo>
                  <a:lnTo>
                    <a:pt x="5336" y="10944"/>
                  </a:lnTo>
                  <a:lnTo>
                    <a:pt x="5357" y="10923"/>
                  </a:lnTo>
                  <a:lnTo>
                    <a:pt x="5336" y="10860"/>
                  </a:lnTo>
                  <a:lnTo>
                    <a:pt x="5336" y="10776"/>
                  </a:lnTo>
                  <a:lnTo>
                    <a:pt x="5398" y="10713"/>
                  </a:lnTo>
                  <a:lnTo>
                    <a:pt x="5503" y="10755"/>
                  </a:lnTo>
                  <a:lnTo>
                    <a:pt x="5671" y="10818"/>
                  </a:lnTo>
                  <a:lnTo>
                    <a:pt x="5754" y="10776"/>
                  </a:lnTo>
                  <a:lnTo>
                    <a:pt x="5859" y="10818"/>
                  </a:lnTo>
                  <a:lnTo>
                    <a:pt x="5859" y="10923"/>
                  </a:lnTo>
                  <a:lnTo>
                    <a:pt x="6005" y="10944"/>
                  </a:lnTo>
                  <a:lnTo>
                    <a:pt x="6068" y="10944"/>
                  </a:lnTo>
                  <a:lnTo>
                    <a:pt x="6068" y="10860"/>
                  </a:lnTo>
                  <a:lnTo>
                    <a:pt x="6131" y="10776"/>
                  </a:lnTo>
                  <a:lnTo>
                    <a:pt x="6215" y="10818"/>
                  </a:lnTo>
                  <a:lnTo>
                    <a:pt x="6235" y="10776"/>
                  </a:lnTo>
                  <a:lnTo>
                    <a:pt x="6340" y="10776"/>
                  </a:lnTo>
                  <a:lnTo>
                    <a:pt x="6487" y="10734"/>
                  </a:lnTo>
                  <a:lnTo>
                    <a:pt x="6696" y="10713"/>
                  </a:lnTo>
                  <a:lnTo>
                    <a:pt x="6821" y="10755"/>
                  </a:lnTo>
                  <a:lnTo>
                    <a:pt x="6947" y="10713"/>
                  </a:lnTo>
                  <a:lnTo>
                    <a:pt x="7010" y="10609"/>
                  </a:lnTo>
                  <a:lnTo>
                    <a:pt x="7135" y="10525"/>
                  </a:lnTo>
                  <a:lnTo>
                    <a:pt x="7219" y="10420"/>
                  </a:lnTo>
                  <a:lnTo>
                    <a:pt x="7261" y="10399"/>
                  </a:lnTo>
                  <a:lnTo>
                    <a:pt x="7323" y="10337"/>
                  </a:lnTo>
                  <a:lnTo>
                    <a:pt x="7428" y="10232"/>
                  </a:lnTo>
                  <a:lnTo>
                    <a:pt x="7470" y="10232"/>
                  </a:lnTo>
                  <a:lnTo>
                    <a:pt x="7595" y="10023"/>
                  </a:lnTo>
                  <a:lnTo>
                    <a:pt x="7805" y="9814"/>
                  </a:lnTo>
                  <a:lnTo>
                    <a:pt x="7763" y="9604"/>
                  </a:lnTo>
                  <a:lnTo>
                    <a:pt x="7700" y="9563"/>
                  </a:lnTo>
                  <a:lnTo>
                    <a:pt x="7679" y="9353"/>
                  </a:lnTo>
                  <a:lnTo>
                    <a:pt x="7595" y="9249"/>
                  </a:lnTo>
                  <a:lnTo>
                    <a:pt x="7554" y="9144"/>
                  </a:lnTo>
                  <a:lnTo>
                    <a:pt x="7470" y="9060"/>
                  </a:lnTo>
                  <a:lnTo>
                    <a:pt x="7365" y="9060"/>
                  </a:lnTo>
                  <a:lnTo>
                    <a:pt x="7323" y="8998"/>
                  </a:lnTo>
                  <a:lnTo>
                    <a:pt x="7323" y="8956"/>
                  </a:lnTo>
                  <a:lnTo>
                    <a:pt x="7219" y="8893"/>
                  </a:lnTo>
                  <a:lnTo>
                    <a:pt x="7114" y="8726"/>
                  </a:lnTo>
                  <a:lnTo>
                    <a:pt x="7072" y="8684"/>
                  </a:lnTo>
                  <a:lnTo>
                    <a:pt x="7051" y="8621"/>
                  </a:lnTo>
                  <a:lnTo>
                    <a:pt x="6947" y="8516"/>
                  </a:lnTo>
                  <a:lnTo>
                    <a:pt x="6905" y="8433"/>
                  </a:lnTo>
                  <a:lnTo>
                    <a:pt x="6633" y="8433"/>
                  </a:lnTo>
                  <a:lnTo>
                    <a:pt x="6549" y="8412"/>
                  </a:lnTo>
                  <a:lnTo>
                    <a:pt x="6507" y="8328"/>
                  </a:lnTo>
                  <a:lnTo>
                    <a:pt x="6591" y="8203"/>
                  </a:lnTo>
                  <a:lnTo>
                    <a:pt x="6654" y="8161"/>
                  </a:lnTo>
                  <a:lnTo>
                    <a:pt x="6654" y="8035"/>
                  </a:lnTo>
                  <a:lnTo>
                    <a:pt x="6800" y="8056"/>
                  </a:lnTo>
                  <a:lnTo>
                    <a:pt x="6905" y="8035"/>
                  </a:lnTo>
                  <a:lnTo>
                    <a:pt x="6947" y="8098"/>
                  </a:lnTo>
                  <a:lnTo>
                    <a:pt x="7031" y="8098"/>
                  </a:lnTo>
                  <a:lnTo>
                    <a:pt x="7051" y="8035"/>
                  </a:lnTo>
                  <a:lnTo>
                    <a:pt x="7135" y="7951"/>
                  </a:lnTo>
                  <a:lnTo>
                    <a:pt x="7156" y="7700"/>
                  </a:lnTo>
                  <a:lnTo>
                    <a:pt x="7135" y="7470"/>
                  </a:lnTo>
                  <a:lnTo>
                    <a:pt x="7177" y="7303"/>
                  </a:lnTo>
                  <a:lnTo>
                    <a:pt x="7282" y="7177"/>
                  </a:lnTo>
                  <a:lnTo>
                    <a:pt x="7282" y="7052"/>
                  </a:lnTo>
                  <a:lnTo>
                    <a:pt x="7240" y="6968"/>
                  </a:lnTo>
                  <a:lnTo>
                    <a:pt x="7282" y="6863"/>
                  </a:lnTo>
                  <a:lnTo>
                    <a:pt x="7386" y="6696"/>
                  </a:lnTo>
                  <a:lnTo>
                    <a:pt x="7428" y="6633"/>
                  </a:lnTo>
                  <a:lnTo>
                    <a:pt x="7470" y="6633"/>
                  </a:lnTo>
                  <a:lnTo>
                    <a:pt x="7533" y="6654"/>
                  </a:lnTo>
                  <a:lnTo>
                    <a:pt x="7658" y="6215"/>
                  </a:lnTo>
                  <a:lnTo>
                    <a:pt x="7700" y="6026"/>
                  </a:lnTo>
                  <a:lnTo>
                    <a:pt x="7888" y="5922"/>
                  </a:lnTo>
                  <a:lnTo>
                    <a:pt x="7888" y="5817"/>
                  </a:lnTo>
                  <a:lnTo>
                    <a:pt x="8014" y="5608"/>
                  </a:lnTo>
                  <a:lnTo>
                    <a:pt x="8056" y="5503"/>
                  </a:lnTo>
                  <a:lnTo>
                    <a:pt x="8160" y="5482"/>
                  </a:lnTo>
                  <a:lnTo>
                    <a:pt x="8202" y="5482"/>
                  </a:lnTo>
                  <a:lnTo>
                    <a:pt x="8265" y="5294"/>
                  </a:lnTo>
                  <a:lnTo>
                    <a:pt x="8412" y="5022"/>
                  </a:lnTo>
                  <a:lnTo>
                    <a:pt x="8412" y="4813"/>
                  </a:lnTo>
                  <a:lnTo>
                    <a:pt x="8495" y="4666"/>
                  </a:lnTo>
                  <a:lnTo>
                    <a:pt x="8516" y="4604"/>
                  </a:lnTo>
                  <a:lnTo>
                    <a:pt x="8495" y="4604"/>
                  </a:lnTo>
                  <a:lnTo>
                    <a:pt x="8474" y="4478"/>
                  </a:lnTo>
                  <a:lnTo>
                    <a:pt x="8391" y="4248"/>
                  </a:lnTo>
                  <a:lnTo>
                    <a:pt x="8412" y="4122"/>
                  </a:lnTo>
                  <a:lnTo>
                    <a:pt x="8474" y="4039"/>
                  </a:lnTo>
                  <a:lnTo>
                    <a:pt x="8474" y="3934"/>
                  </a:lnTo>
                  <a:lnTo>
                    <a:pt x="8579" y="3809"/>
                  </a:lnTo>
                  <a:lnTo>
                    <a:pt x="8621" y="3516"/>
                  </a:lnTo>
                  <a:lnTo>
                    <a:pt x="8684" y="3327"/>
                  </a:lnTo>
                  <a:lnTo>
                    <a:pt x="8725" y="3285"/>
                  </a:lnTo>
                  <a:lnTo>
                    <a:pt x="8684" y="3223"/>
                  </a:lnTo>
                  <a:lnTo>
                    <a:pt x="8621" y="3202"/>
                  </a:lnTo>
                  <a:lnTo>
                    <a:pt x="8704" y="3076"/>
                  </a:lnTo>
                  <a:lnTo>
                    <a:pt x="8704" y="2930"/>
                  </a:lnTo>
                  <a:lnTo>
                    <a:pt x="8746" y="2909"/>
                  </a:lnTo>
                  <a:lnTo>
                    <a:pt x="8914" y="2909"/>
                  </a:lnTo>
                  <a:lnTo>
                    <a:pt x="8914" y="2825"/>
                  </a:lnTo>
                  <a:lnTo>
                    <a:pt x="8914" y="2783"/>
                  </a:lnTo>
                  <a:lnTo>
                    <a:pt x="8914" y="2721"/>
                  </a:lnTo>
                  <a:lnTo>
                    <a:pt x="9018" y="2700"/>
                  </a:lnTo>
                  <a:lnTo>
                    <a:pt x="9102" y="2658"/>
                  </a:lnTo>
                  <a:lnTo>
                    <a:pt x="9228" y="2658"/>
                  </a:lnTo>
                  <a:lnTo>
                    <a:pt x="9248" y="2574"/>
                  </a:lnTo>
                  <a:lnTo>
                    <a:pt x="9353" y="2553"/>
                  </a:lnTo>
                  <a:lnTo>
                    <a:pt x="9458" y="2490"/>
                  </a:lnTo>
                  <a:lnTo>
                    <a:pt x="9541" y="2386"/>
                  </a:lnTo>
                  <a:lnTo>
                    <a:pt x="9479" y="2386"/>
                  </a:lnTo>
                  <a:lnTo>
                    <a:pt x="9479" y="2302"/>
                  </a:lnTo>
                  <a:lnTo>
                    <a:pt x="9353" y="2239"/>
                  </a:lnTo>
                  <a:lnTo>
                    <a:pt x="9248" y="2239"/>
                  </a:lnTo>
                  <a:lnTo>
                    <a:pt x="9248" y="2135"/>
                  </a:lnTo>
                  <a:lnTo>
                    <a:pt x="8997" y="1946"/>
                  </a:lnTo>
                  <a:lnTo>
                    <a:pt x="8914" y="1946"/>
                  </a:lnTo>
                  <a:lnTo>
                    <a:pt x="8809" y="1737"/>
                  </a:lnTo>
                  <a:lnTo>
                    <a:pt x="8725" y="1507"/>
                  </a:lnTo>
                  <a:lnTo>
                    <a:pt x="8746" y="1256"/>
                  </a:lnTo>
                  <a:lnTo>
                    <a:pt x="8725" y="1047"/>
                  </a:lnTo>
                  <a:lnTo>
                    <a:pt x="8579" y="628"/>
                  </a:lnTo>
                  <a:lnTo>
                    <a:pt x="8579" y="524"/>
                  </a:lnTo>
                  <a:lnTo>
                    <a:pt x="8600" y="503"/>
                  </a:lnTo>
                  <a:lnTo>
                    <a:pt x="8621" y="565"/>
                  </a:lnTo>
                  <a:lnTo>
                    <a:pt x="8642" y="607"/>
                  </a:lnTo>
                  <a:lnTo>
                    <a:pt x="8684" y="607"/>
                  </a:lnTo>
                  <a:lnTo>
                    <a:pt x="8684" y="565"/>
                  </a:lnTo>
                  <a:lnTo>
                    <a:pt x="8579" y="419"/>
                  </a:lnTo>
                  <a:lnTo>
                    <a:pt x="8516" y="252"/>
                  </a:lnTo>
                  <a:lnTo>
                    <a:pt x="8495" y="210"/>
                  </a:lnTo>
                  <a:lnTo>
                    <a:pt x="8495" y="189"/>
                  </a:lnTo>
                  <a:lnTo>
                    <a:pt x="8495" y="168"/>
                  </a:lnTo>
                  <a:lnTo>
                    <a:pt x="8495" y="147"/>
                  </a:lnTo>
                  <a:lnTo>
                    <a:pt x="8474" y="84"/>
                  </a:lnTo>
                  <a:lnTo>
                    <a:pt x="8495" y="42"/>
                  </a:lnTo>
                  <a:lnTo>
                    <a:pt x="849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 name="Google Shape;6016;p93">
              <a:extLst>
                <a:ext uri="{FF2B5EF4-FFF2-40B4-BE49-F238E27FC236}">
                  <a16:creationId xmlns:a16="http://schemas.microsoft.com/office/drawing/2014/main" id="{21B3AB9A-3DFD-4B11-BF94-D042632EABA0}"/>
                </a:ext>
              </a:extLst>
            </p:cNvPr>
            <p:cNvSpPr/>
            <p:nvPr/>
          </p:nvSpPr>
          <p:spPr>
            <a:xfrm>
              <a:off x="3973815" y="3045871"/>
              <a:ext cx="104655" cy="75923"/>
            </a:xfrm>
            <a:custGeom>
              <a:avLst/>
              <a:gdLst/>
              <a:ahLst/>
              <a:cxnLst/>
              <a:rect l="l" t="t" r="r" b="b"/>
              <a:pathLst>
                <a:path w="8789" h="6676" extrusionOk="0">
                  <a:moveTo>
                    <a:pt x="2511" y="1"/>
                  </a:moveTo>
                  <a:lnTo>
                    <a:pt x="2344" y="336"/>
                  </a:lnTo>
                  <a:lnTo>
                    <a:pt x="2239" y="336"/>
                  </a:lnTo>
                  <a:lnTo>
                    <a:pt x="2218" y="419"/>
                  </a:lnTo>
                  <a:lnTo>
                    <a:pt x="2093" y="398"/>
                  </a:lnTo>
                  <a:lnTo>
                    <a:pt x="2009" y="357"/>
                  </a:lnTo>
                  <a:lnTo>
                    <a:pt x="1988" y="419"/>
                  </a:lnTo>
                  <a:lnTo>
                    <a:pt x="1905" y="566"/>
                  </a:lnTo>
                  <a:lnTo>
                    <a:pt x="1905" y="775"/>
                  </a:lnTo>
                  <a:lnTo>
                    <a:pt x="1758" y="1047"/>
                  </a:lnTo>
                  <a:lnTo>
                    <a:pt x="1695" y="1235"/>
                  </a:lnTo>
                  <a:lnTo>
                    <a:pt x="1653" y="1235"/>
                  </a:lnTo>
                  <a:lnTo>
                    <a:pt x="1549" y="1256"/>
                  </a:lnTo>
                  <a:lnTo>
                    <a:pt x="1507" y="1361"/>
                  </a:lnTo>
                  <a:lnTo>
                    <a:pt x="1381" y="1570"/>
                  </a:lnTo>
                  <a:lnTo>
                    <a:pt x="1381" y="1675"/>
                  </a:lnTo>
                  <a:lnTo>
                    <a:pt x="1193" y="1779"/>
                  </a:lnTo>
                  <a:lnTo>
                    <a:pt x="1151" y="1968"/>
                  </a:lnTo>
                  <a:lnTo>
                    <a:pt x="1026" y="2407"/>
                  </a:lnTo>
                  <a:lnTo>
                    <a:pt x="963" y="2386"/>
                  </a:lnTo>
                  <a:lnTo>
                    <a:pt x="921" y="2386"/>
                  </a:lnTo>
                  <a:lnTo>
                    <a:pt x="879" y="2449"/>
                  </a:lnTo>
                  <a:lnTo>
                    <a:pt x="775" y="2616"/>
                  </a:lnTo>
                  <a:lnTo>
                    <a:pt x="733" y="2721"/>
                  </a:lnTo>
                  <a:lnTo>
                    <a:pt x="775" y="2805"/>
                  </a:lnTo>
                  <a:lnTo>
                    <a:pt x="775" y="2930"/>
                  </a:lnTo>
                  <a:lnTo>
                    <a:pt x="670" y="3056"/>
                  </a:lnTo>
                  <a:lnTo>
                    <a:pt x="628" y="3223"/>
                  </a:lnTo>
                  <a:lnTo>
                    <a:pt x="649" y="3453"/>
                  </a:lnTo>
                  <a:lnTo>
                    <a:pt x="628" y="3704"/>
                  </a:lnTo>
                  <a:lnTo>
                    <a:pt x="544" y="3788"/>
                  </a:lnTo>
                  <a:lnTo>
                    <a:pt x="524" y="3851"/>
                  </a:lnTo>
                  <a:lnTo>
                    <a:pt x="440" y="3851"/>
                  </a:lnTo>
                  <a:lnTo>
                    <a:pt x="398" y="3788"/>
                  </a:lnTo>
                  <a:lnTo>
                    <a:pt x="293" y="3809"/>
                  </a:lnTo>
                  <a:lnTo>
                    <a:pt x="147" y="3788"/>
                  </a:lnTo>
                  <a:lnTo>
                    <a:pt x="147" y="3914"/>
                  </a:lnTo>
                  <a:lnTo>
                    <a:pt x="84" y="3956"/>
                  </a:lnTo>
                  <a:lnTo>
                    <a:pt x="0" y="4081"/>
                  </a:lnTo>
                  <a:lnTo>
                    <a:pt x="42" y="4165"/>
                  </a:lnTo>
                  <a:lnTo>
                    <a:pt x="126" y="4186"/>
                  </a:lnTo>
                  <a:lnTo>
                    <a:pt x="398" y="4186"/>
                  </a:lnTo>
                  <a:lnTo>
                    <a:pt x="440" y="4269"/>
                  </a:lnTo>
                  <a:lnTo>
                    <a:pt x="544" y="4374"/>
                  </a:lnTo>
                  <a:lnTo>
                    <a:pt x="565" y="4437"/>
                  </a:lnTo>
                  <a:lnTo>
                    <a:pt x="607" y="4479"/>
                  </a:lnTo>
                  <a:lnTo>
                    <a:pt x="712" y="4646"/>
                  </a:lnTo>
                  <a:lnTo>
                    <a:pt x="816" y="4709"/>
                  </a:lnTo>
                  <a:lnTo>
                    <a:pt x="816" y="4751"/>
                  </a:lnTo>
                  <a:lnTo>
                    <a:pt x="858" y="4813"/>
                  </a:lnTo>
                  <a:lnTo>
                    <a:pt x="963" y="4813"/>
                  </a:lnTo>
                  <a:lnTo>
                    <a:pt x="1047" y="4897"/>
                  </a:lnTo>
                  <a:lnTo>
                    <a:pt x="1088" y="5002"/>
                  </a:lnTo>
                  <a:lnTo>
                    <a:pt x="1172" y="5106"/>
                  </a:lnTo>
                  <a:lnTo>
                    <a:pt x="1193" y="5316"/>
                  </a:lnTo>
                  <a:lnTo>
                    <a:pt x="1256" y="5357"/>
                  </a:lnTo>
                  <a:lnTo>
                    <a:pt x="1298" y="5567"/>
                  </a:lnTo>
                  <a:lnTo>
                    <a:pt x="1340" y="5525"/>
                  </a:lnTo>
                  <a:lnTo>
                    <a:pt x="1402" y="5629"/>
                  </a:lnTo>
                  <a:lnTo>
                    <a:pt x="1507" y="5588"/>
                  </a:lnTo>
                  <a:lnTo>
                    <a:pt x="1612" y="5629"/>
                  </a:lnTo>
                  <a:lnTo>
                    <a:pt x="1612" y="5964"/>
                  </a:lnTo>
                  <a:lnTo>
                    <a:pt x="1695" y="6069"/>
                  </a:lnTo>
                  <a:lnTo>
                    <a:pt x="1821" y="6090"/>
                  </a:lnTo>
                  <a:lnTo>
                    <a:pt x="1967" y="6048"/>
                  </a:lnTo>
                  <a:lnTo>
                    <a:pt x="2093" y="6090"/>
                  </a:lnTo>
                  <a:lnTo>
                    <a:pt x="2386" y="6069"/>
                  </a:lnTo>
                  <a:lnTo>
                    <a:pt x="2490" y="6152"/>
                  </a:lnTo>
                  <a:lnTo>
                    <a:pt x="2721" y="6383"/>
                  </a:lnTo>
                  <a:lnTo>
                    <a:pt x="2867" y="6466"/>
                  </a:lnTo>
                  <a:lnTo>
                    <a:pt x="2951" y="6571"/>
                  </a:lnTo>
                  <a:lnTo>
                    <a:pt x="3055" y="6613"/>
                  </a:lnTo>
                  <a:lnTo>
                    <a:pt x="3244" y="6613"/>
                  </a:lnTo>
                  <a:lnTo>
                    <a:pt x="3369" y="6676"/>
                  </a:lnTo>
                  <a:lnTo>
                    <a:pt x="3537" y="6634"/>
                  </a:lnTo>
                  <a:lnTo>
                    <a:pt x="3641" y="6676"/>
                  </a:lnTo>
                  <a:lnTo>
                    <a:pt x="3850" y="6676"/>
                  </a:lnTo>
                  <a:lnTo>
                    <a:pt x="3997" y="6424"/>
                  </a:lnTo>
                  <a:lnTo>
                    <a:pt x="4060" y="6362"/>
                  </a:lnTo>
                  <a:lnTo>
                    <a:pt x="4164" y="6299"/>
                  </a:lnTo>
                  <a:lnTo>
                    <a:pt x="4269" y="6299"/>
                  </a:lnTo>
                  <a:lnTo>
                    <a:pt x="4311" y="6278"/>
                  </a:lnTo>
                  <a:lnTo>
                    <a:pt x="4583" y="6257"/>
                  </a:lnTo>
                  <a:lnTo>
                    <a:pt x="4645" y="6278"/>
                  </a:lnTo>
                  <a:lnTo>
                    <a:pt x="4729" y="6404"/>
                  </a:lnTo>
                  <a:lnTo>
                    <a:pt x="4834" y="6466"/>
                  </a:lnTo>
                  <a:lnTo>
                    <a:pt x="5043" y="6424"/>
                  </a:lnTo>
                  <a:lnTo>
                    <a:pt x="5210" y="6424"/>
                  </a:lnTo>
                  <a:lnTo>
                    <a:pt x="5252" y="6320"/>
                  </a:lnTo>
                  <a:lnTo>
                    <a:pt x="5441" y="6257"/>
                  </a:lnTo>
                  <a:lnTo>
                    <a:pt x="5629" y="6215"/>
                  </a:lnTo>
                  <a:lnTo>
                    <a:pt x="5775" y="6152"/>
                  </a:lnTo>
                  <a:lnTo>
                    <a:pt x="5880" y="6069"/>
                  </a:lnTo>
                  <a:lnTo>
                    <a:pt x="5943" y="5964"/>
                  </a:lnTo>
                  <a:lnTo>
                    <a:pt x="6068" y="5880"/>
                  </a:lnTo>
                  <a:lnTo>
                    <a:pt x="6173" y="5880"/>
                  </a:lnTo>
                  <a:lnTo>
                    <a:pt x="6278" y="5797"/>
                  </a:lnTo>
                  <a:lnTo>
                    <a:pt x="7010" y="5797"/>
                  </a:lnTo>
                  <a:lnTo>
                    <a:pt x="8788" y="4018"/>
                  </a:lnTo>
                  <a:lnTo>
                    <a:pt x="8056" y="4018"/>
                  </a:lnTo>
                  <a:lnTo>
                    <a:pt x="6361" y="3495"/>
                  </a:lnTo>
                  <a:lnTo>
                    <a:pt x="6215" y="3370"/>
                  </a:lnTo>
                  <a:lnTo>
                    <a:pt x="6006" y="3349"/>
                  </a:lnTo>
                  <a:lnTo>
                    <a:pt x="5943" y="3160"/>
                  </a:lnTo>
                  <a:lnTo>
                    <a:pt x="5964" y="3014"/>
                  </a:lnTo>
                  <a:lnTo>
                    <a:pt x="5796" y="2930"/>
                  </a:lnTo>
                  <a:lnTo>
                    <a:pt x="5692" y="2616"/>
                  </a:lnTo>
                  <a:lnTo>
                    <a:pt x="5650" y="2386"/>
                  </a:lnTo>
                  <a:lnTo>
                    <a:pt x="5692" y="2323"/>
                  </a:lnTo>
                  <a:lnTo>
                    <a:pt x="5587" y="2282"/>
                  </a:lnTo>
                  <a:lnTo>
                    <a:pt x="5441" y="2303"/>
                  </a:lnTo>
                  <a:lnTo>
                    <a:pt x="5315" y="2386"/>
                  </a:lnTo>
                  <a:lnTo>
                    <a:pt x="5106" y="2386"/>
                  </a:lnTo>
                  <a:lnTo>
                    <a:pt x="5022" y="2323"/>
                  </a:lnTo>
                  <a:lnTo>
                    <a:pt x="5127" y="2198"/>
                  </a:lnTo>
                  <a:lnTo>
                    <a:pt x="5127" y="2093"/>
                  </a:lnTo>
                  <a:lnTo>
                    <a:pt x="5169" y="1989"/>
                  </a:lnTo>
                  <a:lnTo>
                    <a:pt x="5169" y="1821"/>
                  </a:lnTo>
                  <a:lnTo>
                    <a:pt x="5210" y="1717"/>
                  </a:lnTo>
                  <a:lnTo>
                    <a:pt x="5252" y="1591"/>
                  </a:lnTo>
                  <a:lnTo>
                    <a:pt x="5357" y="1570"/>
                  </a:lnTo>
                  <a:lnTo>
                    <a:pt x="5210" y="1361"/>
                  </a:lnTo>
                  <a:lnTo>
                    <a:pt x="5127" y="1361"/>
                  </a:lnTo>
                  <a:lnTo>
                    <a:pt x="5106" y="1277"/>
                  </a:lnTo>
                  <a:lnTo>
                    <a:pt x="5064" y="1173"/>
                  </a:lnTo>
                  <a:lnTo>
                    <a:pt x="4959" y="1026"/>
                  </a:lnTo>
                  <a:lnTo>
                    <a:pt x="4855" y="984"/>
                  </a:lnTo>
                  <a:lnTo>
                    <a:pt x="4687" y="838"/>
                  </a:lnTo>
                  <a:lnTo>
                    <a:pt x="4541" y="733"/>
                  </a:lnTo>
                  <a:lnTo>
                    <a:pt x="4520" y="671"/>
                  </a:lnTo>
                  <a:lnTo>
                    <a:pt x="4415" y="671"/>
                  </a:lnTo>
                  <a:lnTo>
                    <a:pt x="4394" y="629"/>
                  </a:lnTo>
                  <a:lnTo>
                    <a:pt x="4227" y="629"/>
                  </a:lnTo>
                  <a:lnTo>
                    <a:pt x="4185" y="524"/>
                  </a:lnTo>
                  <a:lnTo>
                    <a:pt x="3976" y="336"/>
                  </a:lnTo>
                  <a:lnTo>
                    <a:pt x="3871" y="315"/>
                  </a:lnTo>
                  <a:lnTo>
                    <a:pt x="3788" y="231"/>
                  </a:lnTo>
                  <a:lnTo>
                    <a:pt x="3662" y="210"/>
                  </a:lnTo>
                  <a:lnTo>
                    <a:pt x="3578" y="231"/>
                  </a:lnTo>
                  <a:lnTo>
                    <a:pt x="3557" y="252"/>
                  </a:lnTo>
                  <a:lnTo>
                    <a:pt x="3369" y="106"/>
                  </a:lnTo>
                  <a:lnTo>
                    <a:pt x="3265" y="106"/>
                  </a:lnTo>
                  <a:lnTo>
                    <a:pt x="3223" y="147"/>
                  </a:lnTo>
                  <a:lnTo>
                    <a:pt x="3139" y="85"/>
                  </a:lnTo>
                  <a:lnTo>
                    <a:pt x="3034" y="106"/>
                  </a:lnTo>
                  <a:lnTo>
                    <a:pt x="2930" y="189"/>
                  </a:lnTo>
                  <a:lnTo>
                    <a:pt x="2825" y="189"/>
                  </a:lnTo>
                  <a:lnTo>
                    <a:pt x="2595" y="106"/>
                  </a:lnTo>
                  <a:lnTo>
                    <a:pt x="2553" y="43"/>
                  </a:lnTo>
                  <a:lnTo>
                    <a:pt x="251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 name="Google Shape;6017;p93">
              <a:extLst>
                <a:ext uri="{FF2B5EF4-FFF2-40B4-BE49-F238E27FC236}">
                  <a16:creationId xmlns:a16="http://schemas.microsoft.com/office/drawing/2014/main" id="{3431AA45-8AFB-4BD4-B140-4F92909511D2}"/>
                </a:ext>
              </a:extLst>
            </p:cNvPr>
            <p:cNvSpPr/>
            <p:nvPr/>
          </p:nvSpPr>
          <p:spPr>
            <a:xfrm>
              <a:off x="3996236" y="3024695"/>
              <a:ext cx="46106" cy="39042"/>
            </a:xfrm>
            <a:custGeom>
              <a:avLst/>
              <a:gdLst/>
              <a:ahLst/>
              <a:cxnLst/>
              <a:rect l="l" t="t" r="r" b="b"/>
              <a:pathLst>
                <a:path w="3872" h="3433" extrusionOk="0">
                  <a:moveTo>
                    <a:pt x="1151" y="1"/>
                  </a:moveTo>
                  <a:lnTo>
                    <a:pt x="1068" y="105"/>
                  </a:lnTo>
                  <a:lnTo>
                    <a:pt x="963" y="168"/>
                  </a:lnTo>
                  <a:lnTo>
                    <a:pt x="858" y="189"/>
                  </a:lnTo>
                  <a:lnTo>
                    <a:pt x="838" y="273"/>
                  </a:lnTo>
                  <a:lnTo>
                    <a:pt x="712" y="273"/>
                  </a:lnTo>
                  <a:lnTo>
                    <a:pt x="628" y="315"/>
                  </a:lnTo>
                  <a:lnTo>
                    <a:pt x="524" y="336"/>
                  </a:lnTo>
                  <a:lnTo>
                    <a:pt x="524" y="398"/>
                  </a:lnTo>
                  <a:lnTo>
                    <a:pt x="524" y="440"/>
                  </a:lnTo>
                  <a:lnTo>
                    <a:pt x="524" y="524"/>
                  </a:lnTo>
                  <a:lnTo>
                    <a:pt x="356" y="524"/>
                  </a:lnTo>
                  <a:lnTo>
                    <a:pt x="314" y="545"/>
                  </a:lnTo>
                  <a:lnTo>
                    <a:pt x="314" y="691"/>
                  </a:lnTo>
                  <a:lnTo>
                    <a:pt x="231" y="817"/>
                  </a:lnTo>
                  <a:lnTo>
                    <a:pt x="294" y="838"/>
                  </a:lnTo>
                  <a:lnTo>
                    <a:pt x="335" y="900"/>
                  </a:lnTo>
                  <a:lnTo>
                    <a:pt x="294" y="942"/>
                  </a:lnTo>
                  <a:lnTo>
                    <a:pt x="231" y="1131"/>
                  </a:lnTo>
                  <a:lnTo>
                    <a:pt x="189" y="1424"/>
                  </a:lnTo>
                  <a:lnTo>
                    <a:pt x="84" y="1549"/>
                  </a:lnTo>
                  <a:lnTo>
                    <a:pt x="84" y="1654"/>
                  </a:lnTo>
                  <a:lnTo>
                    <a:pt x="22" y="1737"/>
                  </a:lnTo>
                  <a:lnTo>
                    <a:pt x="1" y="1863"/>
                  </a:lnTo>
                  <a:lnTo>
                    <a:pt x="84" y="2093"/>
                  </a:lnTo>
                  <a:lnTo>
                    <a:pt x="105" y="2219"/>
                  </a:lnTo>
                  <a:lnTo>
                    <a:pt x="126" y="2219"/>
                  </a:lnTo>
                  <a:lnTo>
                    <a:pt x="210" y="2260"/>
                  </a:lnTo>
                  <a:lnTo>
                    <a:pt x="335" y="2281"/>
                  </a:lnTo>
                  <a:lnTo>
                    <a:pt x="356" y="2198"/>
                  </a:lnTo>
                  <a:lnTo>
                    <a:pt x="461" y="2198"/>
                  </a:lnTo>
                  <a:lnTo>
                    <a:pt x="628" y="1863"/>
                  </a:lnTo>
                  <a:lnTo>
                    <a:pt x="670" y="1905"/>
                  </a:lnTo>
                  <a:lnTo>
                    <a:pt x="712" y="1968"/>
                  </a:lnTo>
                  <a:lnTo>
                    <a:pt x="942" y="2051"/>
                  </a:lnTo>
                  <a:lnTo>
                    <a:pt x="1047" y="2051"/>
                  </a:lnTo>
                  <a:lnTo>
                    <a:pt x="1151" y="1968"/>
                  </a:lnTo>
                  <a:lnTo>
                    <a:pt x="1256" y="1947"/>
                  </a:lnTo>
                  <a:lnTo>
                    <a:pt x="1340" y="2009"/>
                  </a:lnTo>
                  <a:lnTo>
                    <a:pt x="1382" y="1968"/>
                  </a:lnTo>
                  <a:lnTo>
                    <a:pt x="1486" y="1968"/>
                  </a:lnTo>
                  <a:lnTo>
                    <a:pt x="1674" y="2114"/>
                  </a:lnTo>
                  <a:lnTo>
                    <a:pt x="1695" y="2093"/>
                  </a:lnTo>
                  <a:lnTo>
                    <a:pt x="1779" y="2072"/>
                  </a:lnTo>
                  <a:lnTo>
                    <a:pt x="1905" y="2093"/>
                  </a:lnTo>
                  <a:lnTo>
                    <a:pt x="1988" y="2177"/>
                  </a:lnTo>
                  <a:lnTo>
                    <a:pt x="2093" y="2198"/>
                  </a:lnTo>
                  <a:lnTo>
                    <a:pt x="2302" y="2386"/>
                  </a:lnTo>
                  <a:lnTo>
                    <a:pt x="2344" y="2491"/>
                  </a:lnTo>
                  <a:lnTo>
                    <a:pt x="2511" y="2491"/>
                  </a:lnTo>
                  <a:lnTo>
                    <a:pt x="2532" y="2533"/>
                  </a:lnTo>
                  <a:lnTo>
                    <a:pt x="2637" y="2533"/>
                  </a:lnTo>
                  <a:lnTo>
                    <a:pt x="2658" y="2595"/>
                  </a:lnTo>
                  <a:lnTo>
                    <a:pt x="2804" y="2700"/>
                  </a:lnTo>
                  <a:lnTo>
                    <a:pt x="2972" y="2846"/>
                  </a:lnTo>
                  <a:lnTo>
                    <a:pt x="3076" y="2888"/>
                  </a:lnTo>
                  <a:lnTo>
                    <a:pt x="3181" y="3035"/>
                  </a:lnTo>
                  <a:lnTo>
                    <a:pt x="3223" y="3139"/>
                  </a:lnTo>
                  <a:lnTo>
                    <a:pt x="3244" y="3223"/>
                  </a:lnTo>
                  <a:lnTo>
                    <a:pt x="3327" y="3223"/>
                  </a:lnTo>
                  <a:lnTo>
                    <a:pt x="3474" y="3432"/>
                  </a:lnTo>
                  <a:lnTo>
                    <a:pt x="3599" y="3369"/>
                  </a:lnTo>
                  <a:lnTo>
                    <a:pt x="3662" y="3328"/>
                  </a:lnTo>
                  <a:lnTo>
                    <a:pt x="3746" y="3307"/>
                  </a:lnTo>
                  <a:lnTo>
                    <a:pt x="3871" y="3202"/>
                  </a:lnTo>
                  <a:lnTo>
                    <a:pt x="3809" y="3160"/>
                  </a:lnTo>
                  <a:lnTo>
                    <a:pt x="3809" y="3139"/>
                  </a:lnTo>
                  <a:lnTo>
                    <a:pt x="3767" y="3202"/>
                  </a:lnTo>
                  <a:lnTo>
                    <a:pt x="3683" y="3139"/>
                  </a:lnTo>
                  <a:lnTo>
                    <a:pt x="3641" y="3139"/>
                  </a:lnTo>
                  <a:lnTo>
                    <a:pt x="3579" y="3035"/>
                  </a:lnTo>
                  <a:lnTo>
                    <a:pt x="3599" y="3014"/>
                  </a:lnTo>
                  <a:lnTo>
                    <a:pt x="3537" y="2909"/>
                  </a:lnTo>
                  <a:lnTo>
                    <a:pt x="3453" y="2888"/>
                  </a:lnTo>
                  <a:lnTo>
                    <a:pt x="3348" y="2637"/>
                  </a:lnTo>
                  <a:lnTo>
                    <a:pt x="3327" y="2595"/>
                  </a:lnTo>
                  <a:lnTo>
                    <a:pt x="3327" y="2616"/>
                  </a:lnTo>
                  <a:lnTo>
                    <a:pt x="3265" y="2616"/>
                  </a:lnTo>
                  <a:lnTo>
                    <a:pt x="3181" y="2512"/>
                  </a:lnTo>
                  <a:lnTo>
                    <a:pt x="3055" y="2470"/>
                  </a:lnTo>
                  <a:lnTo>
                    <a:pt x="2972" y="2323"/>
                  </a:lnTo>
                  <a:lnTo>
                    <a:pt x="2804" y="2093"/>
                  </a:lnTo>
                  <a:lnTo>
                    <a:pt x="2742" y="2051"/>
                  </a:lnTo>
                  <a:lnTo>
                    <a:pt x="2595" y="2009"/>
                  </a:lnTo>
                  <a:lnTo>
                    <a:pt x="2532" y="1947"/>
                  </a:lnTo>
                  <a:lnTo>
                    <a:pt x="2428" y="1800"/>
                  </a:lnTo>
                  <a:lnTo>
                    <a:pt x="2344" y="1842"/>
                  </a:lnTo>
                  <a:lnTo>
                    <a:pt x="2218" y="1842"/>
                  </a:lnTo>
                  <a:lnTo>
                    <a:pt x="2177" y="1863"/>
                  </a:lnTo>
                  <a:lnTo>
                    <a:pt x="2114" y="1800"/>
                  </a:lnTo>
                  <a:lnTo>
                    <a:pt x="2009" y="1654"/>
                  </a:lnTo>
                  <a:lnTo>
                    <a:pt x="2072" y="1633"/>
                  </a:lnTo>
                  <a:lnTo>
                    <a:pt x="1967" y="1465"/>
                  </a:lnTo>
                  <a:lnTo>
                    <a:pt x="1905" y="1486"/>
                  </a:lnTo>
                  <a:lnTo>
                    <a:pt x="1905" y="1591"/>
                  </a:lnTo>
                  <a:lnTo>
                    <a:pt x="1926" y="1591"/>
                  </a:lnTo>
                  <a:lnTo>
                    <a:pt x="1926" y="1758"/>
                  </a:lnTo>
                  <a:lnTo>
                    <a:pt x="1821" y="1737"/>
                  </a:lnTo>
                  <a:lnTo>
                    <a:pt x="1800" y="1549"/>
                  </a:lnTo>
                  <a:lnTo>
                    <a:pt x="1758" y="1444"/>
                  </a:lnTo>
                  <a:lnTo>
                    <a:pt x="1674" y="1424"/>
                  </a:lnTo>
                  <a:lnTo>
                    <a:pt x="1674" y="1361"/>
                  </a:lnTo>
                  <a:lnTo>
                    <a:pt x="1654" y="1214"/>
                  </a:lnTo>
                  <a:lnTo>
                    <a:pt x="1591" y="1172"/>
                  </a:lnTo>
                  <a:lnTo>
                    <a:pt x="1507" y="754"/>
                  </a:lnTo>
                  <a:lnTo>
                    <a:pt x="1277" y="126"/>
                  </a:lnTo>
                  <a:lnTo>
                    <a:pt x="115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 name="Google Shape;6018;p93">
              <a:extLst>
                <a:ext uri="{FF2B5EF4-FFF2-40B4-BE49-F238E27FC236}">
                  <a16:creationId xmlns:a16="http://schemas.microsoft.com/office/drawing/2014/main" id="{B1E7144E-9F04-43B1-A5DD-5C0AF57E7C00}"/>
                </a:ext>
              </a:extLst>
            </p:cNvPr>
            <p:cNvSpPr/>
            <p:nvPr/>
          </p:nvSpPr>
          <p:spPr>
            <a:xfrm>
              <a:off x="4033614" y="3061110"/>
              <a:ext cx="10467" cy="11907"/>
            </a:xfrm>
            <a:custGeom>
              <a:avLst/>
              <a:gdLst/>
              <a:ahLst/>
              <a:cxnLst/>
              <a:rect l="l" t="t" r="r" b="b"/>
              <a:pathLst>
                <a:path w="879" h="1047" extrusionOk="0">
                  <a:moveTo>
                    <a:pt x="732" y="0"/>
                  </a:moveTo>
                  <a:lnTo>
                    <a:pt x="607" y="105"/>
                  </a:lnTo>
                  <a:lnTo>
                    <a:pt x="523" y="126"/>
                  </a:lnTo>
                  <a:lnTo>
                    <a:pt x="460" y="167"/>
                  </a:lnTo>
                  <a:lnTo>
                    <a:pt x="230" y="251"/>
                  </a:lnTo>
                  <a:lnTo>
                    <a:pt x="188" y="377"/>
                  </a:lnTo>
                  <a:lnTo>
                    <a:pt x="147" y="481"/>
                  </a:lnTo>
                  <a:lnTo>
                    <a:pt x="147" y="649"/>
                  </a:lnTo>
                  <a:lnTo>
                    <a:pt x="105" y="753"/>
                  </a:lnTo>
                  <a:lnTo>
                    <a:pt x="105" y="858"/>
                  </a:lnTo>
                  <a:lnTo>
                    <a:pt x="0" y="983"/>
                  </a:lnTo>
                  <a:lnTo>
                    <a:pt x="84" y="1046"/>
                  </a:lnTo>
                  <a:lnTo>
                    <a:pt x="293" y="1046"/>
                  </a:lnTo>
                  <a:lnTo>
                    <a:pt x="419" y="963"/>
                  </a:lnTo>
                  <a:lnTo>
                    <a:pt x="565" y="942"/>
                  </a:lnTo>
                  <a:lnTo>
                    <a:pt x="670" y="983"/>
                  </a:lnTo>
                  <a:lnTo>
                    <a:pt x="670" y="963"/>
                  </a:lnTo>
                  <a:lnTo>
                    <a:pt x="837" y="732"/>
                  </a:lnTo>
                  <a:lnTo>
                    <a:pt x="816" y="670"/>
                  </a:lnTo>
                  <a:lnTo>
                    <a:pt x="649" y="670"/>
                  </a:lnTo>
                  <a:lnTo>
                    <a:pt x="565" y="732"/>
                  </a:lnTo>
                  <a:lnTo>
                    <a:pt x="523" y="691"/>
                  </a:lnTo>
                  <a:lnTo>
                    <a:pt x="460" y="628"/>
                  </a:lnTo>
                  <a:lnTo>
                    <a:pt x="565" y="628"/>
                  </a:lnTo>
                  <a:lnTo>
                    <a:pt x="649" y="544"/>
                  </a:lnTo>
                  <a:lnTo>
                    <a:pt x="732" y="544"/>
                  </a:lnTo>
                  <a:lnTo>
                    <a:pt x="837" y="419"/>
                  </a:lnTo>
                  <a:lnTo>
                    <a:pt x="879" y="377"/>
                  </a:lnTo>
                  <a:lnTo>
                    <a:pt x="858" y="230"/>
                  </a:lnTo>
                  <a:lnTo>
                    <a:pt x="879" y="147"/>
                  </a:lnTo>
                  <a:lnTo>
                    <a:pt x="858" y="147"/>
                  </a:lnTo>
                  <a:lnTo>
                    <a:pt x="732" y="21"/>
                  </a:lnTo>
                  <a:lnTo>
                    <a:pt x="73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 name="Google Shape;6019;p93">
              <a:extLst>
                <a:ext uri="{FF2B5EF4-FFF2-40B4-BE49-F238E27FC236}">
                  <a16:creationId xmlns:a16="http://schemas.microsoft.com/office/drawing/2014/main" id="{DB8B4E37-5838-4645-8475-BC7A598F5C84}"/>
                </a:ext>
              </a:extLst>
            </p:cNvPr>
            <p:cNvSpPr/>
            <p:nvPr/>
          </p:nvSpPr>
          <p:spPr>
            <a:xfrm>
              <a:off x="4029125" y="3065864"/>
              <a:ext cx="70516" cy="89240"/>
            </a:xfrm>
            <a:custGeom>
              <a:avLst/>
              <a:gdLst/>
              <a:ahLst/>
              <a:cxnLst/>
              <a:rect l="l" t="t" r="r" b="b"/>
              <a:pathLst>
                <a:path w="5922" h="7847" extrusionOk="0">
                  <a:moveTo>
                    <a:pt x="5587" y="1"/>
                  </a:moveTo>
                  <a:lnTo>
                    <a:pt x="5587" y="21"/>
                  </a:lnTo>
                  <a:lnTo>
                    <a:pt x="5545" y="21"/>
                  </a:lnTo>
                  <a:lnTo>
                    <a:pt x="5482" y="105"/>
                  </a:lnTo>
                  <a:lnTo>
                    <a:pt x="5441" y="210"/>
                  </a:lnTo>
                  <a:lnTo>
                    <a:pt x="5420" y="168"/>
                  </a:lnTo>
                  <a:lnTo>
                    <a:pt x="5315" y="273"/>
                  </a:lnTo>
                  <a:lnTo>
                    <a:pt x="5127" y="314"/>
                  </a:lnTo>
                  <a:lnTo>
                    <a:pt x="5127" y="335"/>
                  </a:lnTo>
                  <a:lnTo>
                    <a:pt x="5085" y="314"/>
                  </a:lnTo>
                  <a:lnTo>
                    <a:pt x="4897" y="335"/>
                  </a:lnTo>
                  <a:lnTo>
                    <a:pt x="4792" y="419"/>
                  </a:lnTo>
                  <a:lnTo>
                    <a:pt x="4499" y="461"/>
                  </a:lnTo>
                  <a:lnTo>
                    <a:pt x="4457" y="461"/>
                  </a:lnTo>
                  <a:lnTo>
                    <a:pt x="4394" y="440"/>
                  </a:lnTo>
                  <a:lnTo>
                    <a:pt x="4227" y="440"/>
                  </a:lnTo>
                  <a:lnTo>
                    <a:pt x="4060" y="524"/>
                  </a:lnTo>
                  <a:lnTo>
                    <a:pt x="3913" y="524"/>
                  </a:lnTo>
                  <a:lnTo>
                    <a:pt x="3830" y="545"/>
                  </a:lnTo>
                  <a:lnTo>
                    <a:pt x="3704" y="482"/>
                  </a:lnTo>
                  <a:lnTo>
                    <a:pt x="3599" y="524"/>
                  </a:lnTo>
                  <a:lnTo>
                    <a:pt x="3244" y="733"/>
                  </a:lnTo>
                  <a:lnTo>
                    <a:pt x="3076" y="754"/>
                  </a:lnTo>
                  <a:lnTo>
                    <a:pt x="2972" y="691"/>
                  </a:lnTo>
                  <a:lnTo>
                    <a:pt x="2909" y="733"/>
                  </a:lnTo>
                  <a:lnTo>
                    <a:pt x="2762" y="733"/>
                  </a:lnTo>
                  <a:lnTo>
                    <a:pt x="2700" y="691"/>
                  </a:lnTo>
                  <a:lnTo>
                    <a:pt x="2658" y="691"/>
                  </a:lnTo>
                  <a:lnTo>
                    <a:pt x="2469" y="858"/>
                  </a:lnTo>
                  <a:lnTo>
                    <a:pt x="2365" y="858"/>
                  </a:lnTo>
                  <a:lnTo>
                    <a:pt x="2239" y="942"/>
                  </a:lnTo>
                  <a:lnTo>
                    <a:pt x="2177" y="1005"/>
                  </a:lnTo>
                  <a:lnTo>
                    <a:pt x="1988" y="1047"/>
                  </a:lnTo>
                  <a:lnTo>
                    <a:pt x="1863" y="984"/>
                  </a:lnTo>
                  <a:lnTo>
                    <a:pt x="1716" y="858"/>
                  </a:lnTo>
                  <a:lnTo>
                    <a:pt x="1653" y="858"/>
                  </a:lnTo>
                  <a:lnTo>
                    <a:pt x="1633" y="754"/>
                  </a:lnTo>
                  <a:lnTo>
                    <a:pt x="1256" y="377"/>
                  </a:lnTo>
                  <a:lnTo>
                    <a:pt x="1235" y="356"/>
                  </a:lnTo>
                  <a:lnTo>
                    <a:pt x="1214" y="314"/>
                  </a:lnTo>
                  <a:lnTo>
                    <a:pt x="1047" y="545"/>
                  </a:lnTo>
                  <a:lnTo>
                    <a:pt x="1005" y="628"/>
                  </a:lnTo>
                  <a:lnTo>
                    <a:pt x="1047" y="858"/>
                  </a:lnTo>
                  <a:lnTo>
                    <a:pt x="1151" y="1172"/>
                  </a:lnTo>
                  <a:lnTo>
                    <a:pt x="1319" y="1256"/>
                  </a:lnTo>
                  <a:lnTo>
                    <a:pt x="1298" y="1402"/>
                  </a:lnTo>
                  <a:lnTo>
                    <a:pt x="1361" y="1591"/>
                  </a:lnTo>
                  <a:lnTo>
                    <a:pt x="1570" y="1612"/>
                  </a:lnTo>
                  <a:lnTo>
                    <a:pt x="1716" y="1737"/>
                  </a:lnTo>
                  <a:lnTo>
                    <a:pt x="3411" y="2260"/>
                  </a:lnTo>
                  <a:lnTo>
                    <a:pt x="4143" y="2260"/>
                  </a:lnTo>
                  <a:lnTo>
                    <a:pt x="2365" y="4039"/>
                  </a:lnTo>
                  <a:lnTo>
                    <a:pt x="1633" y="4039"/>
                  </a:lnTo>
                  <a:lnTo>
                    <a:pt x="1528" y="4122"/>
                  </a:lnTo>
                  <a:lnTo>
                    <a:pt x="1423" y="4122"/>
                  </a:lnTo>
                  <a:lnTo>
                    <a:pt x="1298" y="4206"/>
                  </a:lnTo>
                  <a:lnTo>
                    <a:pt x="1235" y="4311"/>
                  </a:lnTo>
                  <a:lnTo>
                    <a:pt x="1130" y="4394"/>
                  </a:lnTo>
                  <a:lnTo>
                    <a:pt x="984" y="4457"/>
                  </a:lnTo>
                  <a:lnTo>
                    <a:pt x="796" y="4499"/>
                  </a:lnTo>
                  <a:lnTo>
                    <a:pt x="607" y="4562"/>
                  </a:lnTo>
                  <a:lnTo>
                    <a:pt x="565" y="4666"/>
                  </a:lnTo>
                  <a:lnTo>
                    <a:pt x="0" y="5169"/>
                  </a:lnTo>
                  <a:lnTo>
                    <a:pt x="0" y="7449"/>
                  </a:lnTo>
                  <a:lnTo>
                    <a:pt x="419" y="7847"/>
                  </a:lnTo>
                  <a:lnTo>
                    <a:pt x="419" y="7805"/>
                  </a:lnTo>
                  <a:lnTo>
                    <a:pt x="900" y="7261"/>
                  </a:lnTo>
                  <a:lnTo>
                    <a:pt x="942" y="7156"/>
                  </a:lnTo>
                  <a:lnTo>
                    <a:pt x="1089" y="7031"/>
                  </a:lnTo>
                  <a:lnTo>
                    <a:pt x="1193" y="7010"/>
                  </a:lnTo>
                  <a:lnTo>
                    <a:pt x="1235" y="6926"/>
                  </a:lnTo>
                  <a:lnTo>
                    <a:pt x="1298" y="6905"/>
                  </a:lnTo>
                  <a:lnTo>
                    <a:pt x="1633" y="6529"/>
                  </a:lnTo>
                  <a:lnTo>
                    <a:pt x="1716" y="6508"/>
                  </a:lnTo>
                  <a:lnTo>
                    <a:pt x="2093" y="6089"/>
                  </a:lnTo>
                  <a:lnTo>
                    <a:pt x="2302" y="5922"/>
                  </a:lnTo>
                  <a:lnTo>
                    <a:pt x="2469" y="5817"/>
                  </a:lnTo>
                  <a:lnTo>
                    <a:pt x="2658" y="5796"/>
                  </a:lnTo>
                  <a:lnTo>
                    <a:pt x="2930" y="5566"/>
                  </a:lnTo>
                  <a:lnTo>
                    <a:pt x="3558" y="4980"/>
                  </a:lnTo>
                  <a:lnTo>
                    <a:pt x="3871" y="4625"/>
                  </a:lnTo>
                  <a:lnTo>
                    <a:pt x="4060" y="4436"/>
                  </a:lnTo>
                  <a:lnTo>
                    <a:pt x="4081" y="4311"/>
                  </a:lnTo>
                  <a:lnTo>
                    <a:pt x="4478" y="3788"/>
                  </a:lnTo>
                  <a:lnTo>
                    <a:pt x="4478" y="3683"/>
                  </a:lnTo>
                  <a:lnTo>
                    <a:pt x="4687" y="3390"/>
                  </a:lnTo>
                  <a:lnTo>
                    <a:pt x="4708" y="3202"/>
                  </a:lnTo>
                  <a:lnTo>
                    <a:pt x="5022" y="2574"/>
                  </a:lnTo>
                  <a:lnTo>
                    <a:pt x="5106" y="2532"/>
                  </a:lnTo>
                  <a:lnTo>
                    <a:pt x="5064" y="2449"/>
                  </a:lnTo>
                  <a:lnTo>
                    <a:pt x="5064" y="2365"/>
                  </a:lnTo>
                  <a:lnTo>
                    <a:pt x="5190" y="2239"/>
                  </a:lnTo>
                  <a:lnTo>
                    <a:pt x="5231" y="2239"/>
                  </a:lnTo>
                  <a:lnTo>
                    <a:pt x="5315" y="2135"/>
                  </a:lnTo>
                  <a:lnTo>
                    <a:pt x="5441" y="1842"/>
                  </a:lnTo>
                  <a:lnTo>
                    <a:pt x="5650" y="1591"/>
                  </a:lnTo>
                  <a:lnTo>
                    <a:pt x="5650" y="1423"/>
                  </a:lnTo>
                  <a:lnTo>
                    <a:pt x="5692" y="1381"/>
                  </a:lnTo>
                  <a:lnTo>
                    <a:pt x="5713" y="1214"/>
                  </a:lnTo>
                  <a:lnTo>
                    <a:pt x="5650" y="1151"/>
                  </a:lnTo>
                  <a:lnTo>
                    <a:pt x="5734" y="1005"/>
                  </a:lnTo>
                  <a:lnTo>
                    <a:pt x="5796" y="984"/>
                  </a:lnTo>
                  <a:lnTo>
                    <a:pt x="5859" y="984"/>
                  </a:lnTo>
                  <a:lnTo>
                    <a:pt x="5901" y="1005"/>
                  </a:lnTo>
                  <a:lnTo>
                    <a:pt x="5922" y="1005"/>
                  </a:lnTo>
                  <a:lnTo>
                    <a:pt x="5901" y="942"/>
                  </a:lnTo>
                  <a:lnTo>
                    <a:pt x="5838" y="942"/>
                  </a:lnTo>
                  <a:lnTo>
                    <a:pt x="5859" y="963"/>
                  </a:lnTo>
                  <a:lnTo>
                    <a:pt x="5796" y="963"/>
                  </a:lnTo>
                  <a:lnTo>
                    <a:pt x="5817" y="879"/>
                  </a:lnTo>
                  <a:lnTo>
                    <a:pt x="5817" y="775"/>
                  </a:lnTo>
                  <a:lnTo>
                    <a:pt x="5754" y="691"/>
                  </a:lnTo>
                  <a:lnTo>
                    <a:pt x="5817" y="586"/>
                  </a:lnTo>
                  <a:lnTo>
                    <a:pt x="5859" y="545"/>
                  </a:lnTo>
                  <a:lnTo>
                    <a:pt x="5859" y="482"/>
                  </a:lnTo>
                  <a:lnTo>
                    <a:pt x="5796" y="482"/>
                  </a:lnTo>
                  <a:lnTo>
                    <a:pt x="5754" y="440"/>
                  </a:lnTo>
                  <a:lnTo>
                    <a:pt x="5796" y="377"/>
                  </a:lnTo>
                  <a:lnTo>
                    <a:pt x="5796" y="314"/>
                  </a:lnTo>
                  <a:lnTo>
                    <a:pt x="5838" y="210"/>
                  </a:lnTo>
                  <a:lnTo>
                    <a:pt x="5901" y="126"/>
                  </a:lnTo>
                  <a:lnTo>
                    <a:pt x="5859" y="105"/>
                  </a:lnTo>
                  <a:lnTo>
                    <a:pt x="5796" y="105"/>
                  </a:lnTo>
                  <a:lnTo>
                    <a:pt x="5650" y="42"/>
                  </a:lnTo>
                  <a:lnTo>
                    <a:pt x="558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 name="Google Shape;6020;p93">
              <a:extLst>
                <a:ext uri="{FF2B5EF4-FFF2-40B4-BE49-F238E27FC236}">
                  <a16:creationId xmlns:a16="http://schemas.microsoft.com/office/drawing/2014/main" id="{19FB766F-ECFD-427B-9FCE-1F5EC6FBF465}"/>
                </a:ext>
              </a:extLst>
            </p:cNvPr>
            <p:cNvSpPr/>
            <p:nvPr/>
          </p:nvSpPr>
          <p:spPr>
            <a:xfrm>
              <a:off x="3978054" y="3108693"/>
              <a:ext cx="57811" cy="66882"/>
            </a:xfrm>
            <a:custGeom>
              <a:avLst/>
              <a:gdLst/>
              <a:ahLst/>
              <a:cxnLst/>
              <a:rect l="l" t="t" r="r" b="b"/>
              <a:pathLst>
                <a:path w="4855" h="5881" extrusionOk="0">
                  <a:moveTo>
                    <a:pt x="984" y="1"/>
                  </a:moveTo>
                  <a:lnTo>
                    <a:pt x="942" y="43"/>
                  </a:lnTo>
                  <a:lnTo>
                    <a:pt x="732" y="252"/>
                  </a:lnTo>
                  <a:lnTo>
                    <a:pt x="607" y="461"/>
                  </a:lnTo>
                  <a:lnTo>
                    <a:pt x="565" y="461"/>
                  </a:lnTo>
                  <a:lnTo>
                    <a:pt x="460" y="566"/>
                  </a:lnTo>
                  <a:lnTo>
                    <a:pt x="398" y="628"/>
                  </a:lnTo>
                  <a:lnTo>
                    <a:pt x="356" y="649"/>
                  </a:lnTo>
                  <a:lnTo>
                    <a:pt x="272" y="754"/>
                  </a:lnTo>
                  <a:lnTo>
                    <a:pt x="293" y="733"/>
                  </a:lnTo>
                  <a:lnTo>
                    <a:pt x="356" y="796"/>
                  </a:lnTo>
                  <a:lnTo>
                    <a:pt x="377" y="963"/>
                  </a:lnTo>
                  <a:lnTo>
                    <a:pt x="419" y="984"/>
                  </a:lnTo>
                  <a:lnTo>
                    <a:pt x="419" y="1089"/>
                  </a:lnTo>
                  <a:lnTo>
                    <a:pt x="502" y="1089"/>
                  </a:lnTo>
                  <a:lnTo>
                    <a:pt x="523" y="1214"/>
                  </a:lnTo>
                  <a:lnTo>
                    <a:pt x="523" y="1361"/>
                  </a:lnTo>
                  <a:lnTo>
                    <a:pt x="670" y="1486"/>
                  </a:lnTo>
                  <a:lnTo>
                    <a:pt x="732" y="1633"/>
                  </a:lnTo>
                  <a:lnTo>
                    <a:pt x="816" y="1696"/>
                  </a:lnTo>
                  <a:lnTo>
                    <a:pt x="900" y="1737"/>
                  </a:lnTo>
                  <a:lnTo>
                    <a:pt x="837" y="1800"/>
                  </a:lnTo>
                  <a:lnTo>
                    <a:pt x="921" y="1884"/>
                  </a:lnTo>
                  <a:lnTo>
                    <a:pt x="942" y="2009"/>
                  </a:lnTo>
                  <a:lnTo>
                    <a:pt x="942" y="2114"/>
                  </a:lnTo>
                  <a:lnTo>
                    <a:pt x="816" y="2261"/>
                  </a:lnTo>
                  <a:lnTo>
                    <a:pt x="816" y="2365"/>
                  </a:lnTo>
                  <a:lnTo>
                    <a:pt x="774" y="2512"/>
                  </a:lnTo>
                  <a:lnTo>
                    <a:pt x="565" y="2512"/>
                  </a:lnTo>
                  <a:lnTo>
                    <a:pt x="565" y="2553"/>
                  </a:lnTo>
                  <a:lnTo>
                    <a:pt x="502" y="2616"/>
                  </a:lnTo>
                  <a:lnTo>
                    <a:pt x="460" y="2721"/>
                  </a:lnTo>
                  <a:lnTo>
                    <a:pt x="377" y="2784"/>
                  </a:lnTo>
                  <a:lnTo>
                    <a:pt x="293" y="2930"/>
                  </a:lnTo>
                  <a:lnTo>
                    <a:pt x="188" y="3056"/>
                  </a:lnTo>
                  <a:lnTo>
                    <a:pt x="168" y="3202"/>
                  </a:lnTo>
                  <a:lnTo>
                    <a:pt x="0" y="3767"/>
                  </a:lnTo>
                  <a:lnTo>
                    <a:pt x="188" y="3767"/>
                  </a:lnTo>
                  <a:lnTo>
                    <a:pt x="2281" y="4981"/>
                  </a:lnTo>
                  <a:lnTo>
                    <a:pt x="2406" y="5169"/>
                  </a:lnTo>
                  <a:lnTo>
                    <a:pt x="2385" y="5253"/>
                  </a:lnTo>
                  <a:lnTo>
                    <a:pt x="2406" y="5294"/>
                  </a:lnTo>
                  <a:lnTo>
                    <a:pt x="2469" y="5378"/>
                  </a:lnTo>
                  <a:lnTo>
                    <a:pt x="3181" y="5880"/>
                  </a:lnTo>
                  <a:lnTo>
                    <a:pt x="3222" y="5880"/>
                  </a:lnTo>
                  <a:lnTo>
                    <a:pt x="3327" y="5818"/>
                  </a:lnTo>
                  <a:lnTo>
                    <a:pt x="3536" y="5546"/>
                  </a:lnTo>
                  <a:lnTo>
                    <a:pt x="3641" y="5357"/>
                  </a:lnTo>
                  <a:lnTo>
                    <a:pt x="3641" y="5232"/>
                  </a:lnTo>
                  <a:lnTo>
                    <a:pt x="3725" y="5085"/>
                  </a:lnTo>
                  <a:lnTo>
                    <a:pt x="3829" y="4939"/>
                  </a:lnTo>
                  <a:lnTo>
                    <a:pt x="3808" y="4918"/>
                  </a:lnTo>
                  <a:lnTo>
                    <a:pt x="3808" y="4855"/>
                  </a:lnTo>
                  <a:lnTo>
                    <a:pt x="3871" y="4750"/>
                  </a:lnTo>
                  <a:lnTo>
                    <a:pt x="3871" y="4730"/>
                  </a:lnTo>
                  <a:lnTo>
                    <a:pt x="3955" y="4709"/>
                  </a:lnTo>
                  <a:lnTo>
                    <a:pt x="4122" y="4709"/>
                  </a:lnTo>
                  <a:lnTo>
                    <a:pt x="4227" y="4541"/>
                  </a:lnTo>
                  <a:lnTo>
                    <a:pt x="4436" y="4458"/>
                  </a:lnTo>
                  <a:lnTo>
                    <a:pt x="4394" y="4416"/>
                  </a:lnTo>
                  <a:lnTo>
                    <a:pt x="4457" y="4332"/>
                  </a:lnTo>
                  <a:lnTo>
                    <a:pt x="4499" y="4332"/>
                  </a:lnTo>
                  <a:lnTo>
                    <a:pt x="4687" y="4102"/>
                  </a:lnTo>
                  <a:lnTo>
                    <a:pt x="4708" y="4081"/>
                  </a:lnTo>
                  <a:lnTo>
                    <a:pt x="4289" y="3683"/>
                  </a:lnTo>
                  <a:lnTo>
                    <a:pt x="4289" y="1403"/>
                  </a:lnTo>
                  <a:lnTo>
                    <a:pt x="4854" y="900"/>
                  </a:lnTo>
                  <a:lnTo>
                    <a:pt x="4687" y="900"/>
                  </a:lnTo>
                  <a:lnTo>
                    <a:pt x="4478" y="942"/>
                  </a:lnTo>
                  <a:lnTo>
                    <a:pt x="4373" y="880"/>
                  </a:lnTo>
                  <a:lnTo>
                    <a:pt x="4289" y="754"/>
                  </a:lnTo>
                  <a:lnTo>
                    <a:pt x="4227" y="733"/>
                  </a:lnTo>
                  <a:lnTo>
                    <a:pt x="3955" y="754"/>
                  </a:lnTo>
                  <a:lnTo>
                    <a:pt x="3913" y="775"/>
                  </a:lnTo>
                  <a:lnTo>
                    <a:pt x="3808" y="775"/>
                  </a:lnTo>
                  <a:lnTo>
                    <a:pt x="3704" y="838"/>
                  </a:lnTo>
                  <a:lnTo>
                    <a:pt x="3641" y="900"/>
                  </a:lnTo>
                  <a:lnTo>
                    <a:pt x="3494" y="1152"/>
                  </a:lnTo>
                  <a:lnTo>
                    <a:pt x="3285" y="1152"/>
                  </a:lnTo>
                  <a:lnTo>
                    <a:pt x="3181" y="1110"/>
                  </a:lnTo>
                  <a:lnTo>
                    <a:pt x="3013" y="1152"/>
                  </a:lnTo>
                  <a:lnTo>
                    <a:pt x="2888" y="1089"/>
                  </a:lnTo>
                  <a:lnTo>
                    <a:pt x="2699" y="1089"/>
                  </a:lnTo>
                  <a:lnTo>
                    <a:pt x="2595" y="1047"/>
                  </a:lnTo>
                  <a:lnTo>
                    <a:pt x="2511" y="942"/>
                  </a:lnTo>
                  <a:lnTo>
                    <a:pt x="2365" y="859"/>
                  </a:lnTo>
                  <a:lnTo>
                    <a:pt x="2134" y="628"/>
                  </a:lnTo>
                  <a:lnTo>
                    <a:pt x="2030" y="545"/>
                  </a:lnTo>
                  <a:lnTo>
                    <a:pt x="1737" y="566"/>
                  </a:lnTo>
                  <a:lnTo>
                    <a:pt x="1611" y="524"/>
                  </a:lnTo>
                  <a:lnTo>
                    <a:pt x="1465" y="566"/>
                  </a:lnTo>
                  <a:lnTo>
                    <a:pt x="1339" y="545"/>
                  </a:lnTo>
                  <a:lnTo>
                    <a:pt x="1256" y="440"/>
                  </a:lnTo>
                  <a:lnTo>
                    <a:pt x="1256" y="105"/>
                  </a:lnTo>
                  <a:lnTo>
                    <a:pt x="1151" y="64"/>
                  </a:lnTo>
                  <a:lnTo>
                    <a:pt x="1046" y="105"/>
                  </a:lnTo>
                  <a:lnTo>
                    <a:pt x="98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1234" name="Google Shape;6021;p93">
              <a:extLst>
                <a:ext uri="{FF2B5EF4-FFF2-40B4-BE49-F238E27FC236}">
                  <a16:creationId xmlns:a16="http://schemas.microsoft.com/office/drawing/2014/main" id="{08F6C422-4DD7-4891-98EA-7B9D635D77EF}"/>
                </a:ext>
              </a:extLst>
            </p:cNvPr>
            <p:cNvSpPr/>
            <p:nvPr/>
          </p:nvSpPr>
          <p:spPr>
            <a:xfrm>
              <a:off x="3963598" y="3151999"/>
              <a:ext cx="5239" cy="11"/>
            </a:xfrm>
            <a:custGeom>
              <a:avLst/>
              <a:gdLst/>
              <a:ahLst/>
              <a:cxnLst/>
              <a:rect l="l" t="t" r="r" b="b"/>
              <a:pathLst>
                <a:path w="440" h="1" extrusionOk="0">
                  <a:moveTo>
                    <a:pt x="1" y="1"/>
                  </a:moveTo>
                  <a:lnTo>
                    <a:pt x="210" y="1"/>
                  </a:lnTo>
                  <a:lnTo>
                    <a:pt x="440" y="1"/>
                  </a:lnTo>
                  <a:lnTo>
                    <a:pt x="2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5" name="Google Shape;6022;p93">
              <a:extLst>
                <a:ext uri="{FF2B5EF4-FFF2-40B4-BE49-F238E27FC236}">
                  <a16:creationId xmlns:a16="http://schemas.microsoft.com/office/drawing/2014/main" id="{E1D3CE9D-DFE5-40AA-85AC-39D80A50D081}"/>
                </a:ext>
              </a:extLst>
            </p:cNvPr>
            <p:cNvSpPr/>
            <p:nvPr/>
          </p:nvSpPr>
          <p:spPr>
            <a:xfrm>
              <a:off x="3949392" y="3117029"/>
              <a:ext cx="39878" cy="37609"/>
            </a:xfrm>
            <a:custGeom>
              <a:avLst/>
              <a:gdLst/>
              <a:ahLst/>
              <a:cxnLst/>
              <a:rect l="l" t="t" r="r" b="b"/>
              <a:pathLst>
                <a:path w="3349" h="3307" extrusionOk="0">
                  <a:moveTo>
                    <a:pt x="2700" y="0"/>
                  </a:moveTo>
                  <a:lnTo>
                    <a:pt x="2679" y="21"/>
                  </a:lnTo>
                  <a:lnTo>
                    <a:pt x="2554" y="105"/>
                  </a:lnTo>
                  <a:lnTo>
                    <a:pt x="2491" y="209"/>
                  </a:lnTo>
                  <a:lnTo>
                    <a:pt x="2365" y="251"/>
                  </a:lnTo>
                  <a:lnTo>
                    <a:pt x="2240" y="209"/>
                  </a:lnTo>
                  <a:lnTo>
                    <a:pt x="2031" y="230"/>
                  </a:lnTo>
                  <a:lnTo>
                    <a:pt x="1884" y="272"/>
                  </a:lnTo>
                  <a:lnTo>
                    <a:pt x="1779" y="272"/>
                  </a:lnTo>
                  <a:lnTo>
                    <a:pt x="1759" y="314"/>
                  </a:lnTo>
                  <a:lnTo>
                    <a:pt x="1675" y="272"/>
                  </a:lnTo>
                  <a:lnTo>
                    <a:pt x="1612" y="356"/>
                  </a:lnTo>
                  <a:lnTo>
                    <a:pt x="1612" y="440"/>
                  </a:lnTo>
                  <a:lnTo>
                    <a:pt x="1549" y="440"/>
                  </a:lnTo>
                  <a:lnTo>
                    <a:pt x="1403" y="419"/>
                  </a:lnTo>
                  <a:lnTo>
                    <a:pt x="1403" y="314"/>
                  </a:lnTo>
                  <a:lnTo>
                    <a:pt x="1298" y="272"/>
                  </a:lnTo>
                  <a:lnTo>
                    <a:pt x="1215" y="314"/>
                  </a:lnTo>
                  <a:lnTo>
                    <a:pt x="1047" y="251"/>
                  </a:lnTo>
                  <a:lnTo>
                    <a:pt x="942" y="209"/>
                  </a:lnTo>
                  <a:lnTo>
                    <a:pt x="880" y="272"/>
                  </a:lnTo>
                  <a:lnTo>
                    <a:pt x="880" y="356"/>
                  </a:lnTo>
                  <a:lnTo>
                    <a:pt x="901" y="419"/>
                  </a:lnTo>
                  <a:lnTo>
                    <a:pt x="880" y="440"/>
                  </a:lnTo>
                  <a:lnTo>
                    <a:pt x="838" y="544"/>
                  </a:lnTo>
                  <a:lnTo>
                    <a:pt x="796" y="628"/>
                  </a:lnTo>
                  <a:lnTo>
                    <a:pt x="796" y="774"/>
                  </a:lnTo>
                  <a:lnTo>
                    <a:pt x="775" y="984"/>
                  </a:lnTo>
                  <a:lnTo>
                    <a:pt x="733" y="1109"/>
                  </a:lnTo>
                  <a:lnTo>
                    <a:pt x="817" y="1172"/>
                  </a:lnTo>
                  <a:lnTo>
                    <a:pt x="880" y="1256"/>
                  </a:lnTo>
                  <a:lnTo>
                    <a:pt x="922" y="1318"/>
                  </a:lnTo>
                  <a:lnTo>
                    <a:pt x="901" y="1402"/>
                  </a:lnTo>
                  <a:lnTo>
                    <a:pt x="608" y="1800"/>
                  </a:lnTo>
                  <a:lnTo>
                    <a:pt x="419" y="2009"/>
                  </a:lnTo>
                  <a:lnTo>
                    <a:pt x="378" y="2092"/>
                  </a:lnTo>
                  <a:lnTo>
                    <a:pt x="147" y="2511"/>
                  </a:lnTo>
                  <a:lnTo>
                    <a:pt x="106" y="2553"/>
                  </a:lnTo>
                  <a:lnTo>
                    <a:pt x="106" y="2720"/>
                  </a:lnTo>
                  <a:lnTo>
                    <a:pt x="85" y="2929"/>
                  </a:lnTo>
                  <a:lnTo>
                    <a:pt x="1" y="3139"/>
                  </a:lnTo>
                  <a:lnTo>
                    <a:pt x="43" y="3264"/>
                  </a:lnTo>
                  <a:lnTo>
                    <a:pt x="1" y="3285"/>
                  </a:lnTo>
                  <a:lnTo>
                    <a:pt x="43" y="3306"/>
                  </a:lnTo>
                  <a:lnTo>
                    <a:pt x="106" y="3285"/>
                  </a:lnTo>
                  <a:lnTo>
                    <a:pt x="210" y="3201"/>
                  </a:lnTo>
                  <a:lnTo>
                    <a:pt x="273" y="3243"/>
                  </a:lnTo>
                  <a:lnTo>
                    <a:pt x="315" y="3285"/>
                  </a:lnTo>
                  <a:lnTo>
                    <a:pt x="398" y="3285"/>
                  </a:lnTo>
                  <a:lnTo>
                    <a:pt x="461" y="3243"/>
                  </a:lnTo>
                  <a:lnTo>
                    <a:pt x="461" y="3160"/>
                  </a:lnTo>
                  <a:lnTo>
                    <a:pt x="566" y="3160"/>
                  </a:lnTo>
                  <a:lnTo>
                    <a:pt x="566" y="3180"/>
                  </a:lnTo>
                  <a:lnTo>
                    <a:pt x="608" y="3139"/>
                  </a:lnTo>
                  <a:lnTo>
                    <a:pt x="670" y="3139"/>
                  </a:lnTo>
                  <a:lnTo>
                    <a:pt x="712" y="3076"/>
                  </a:lnTo>
                  <a:lnTo>
                    <a:pt x="1633" y="3076"/>
                  </a:lnTo>
                  <a:lnTo>
                    <a:pt x="2407" y="3034"/>
                  </a:lnTo>
                  <a:lnTo>
                    <a:pt x="2575" y="2469"/>
                  </a:lnTo>
                  <a:lnTo>
                    <a:pt x="2595" y="2323"/>
                  </a:lnTo>
                  <a:lnTo>
                    <a:pt x="2700" y="2197"/>
                  </a:lnTo>
                  <a:lnTo>
                    <a:pt x="2784" y="2051"/>
                  </a:lnTo>
                  <a:lnTo>
                    <a:pt x="2867" y="1988"/>
                  </a:lnTo>
                  <a:lnTo>
                    <a:pt x="2909" y="1883"/>
                  </a:lnTo>
                  <a:lnTo>
                    <a:pt x="2972" y="1820"/>
                  </a:lnTo>
                  <a:lnTo>
                    <a:pt x="2972" y="1779"/>
                  </a:lnTo>
                  <a:lnTo>
                    <a:pt x="3181" y="1779"/>
                  </a:lnTo>
                  <a:lnTo>
                    <a:pt x="3223" y="1632"/>
                  </a:lnTo>
                  <a:lnTo>
                    <a:pt x="3223" y="1528"/>
                  </a:lnTo>
                  <a:lnTo>
                    <a:pt x="3349" y="1381"/>
                  </a:lnTo>
                  <a:lnTo>
                    <a:pt x="3349" y="1276"/>
                  </a:lnTo>
                  <a:lnTo>
                    <a:pt x="3328" y="1151"/>
                  </a:lnTo>
                  <a:lnTo>
                    <a:pt x="3244" y="1067"/>
                  </a:lnTo>
                  <a:lnTo>
                    <a:pt x="3307" y="1004"/>
                  </a:lnTo>
                  <a:lnTo>
                    <a:pt x="3223" y="963"/>
                  </a:lnTo>
                  <a:lnTo>
                    <a:pt x="3139" y="900"/>
                  </a:lnTo>
                  <a:lnTo>
                    <a:pt x="3077" y="753"/>
                  </a:lnTo>
                  <a:lnTo>
                    <a:pt x="2930" y="628"/>
                  </a:lnTo>
                  <a:lnTo>
                    <a:pt x="2930" y="481"/>
                  </a:lnTo>
                  <a:lnTo>
                    <a:pt x="2909" y="356"/>
                  </a:lnTo>
                  <a:lnTo>
                    <a:pt x="2826" y="356"/>
                  </a:lnTo>
                  <a:lnTo>
                    <a:pt x="2826" y="251"/>
                  </a:lnTo>
                  <a:lnTo>
                    <a:pt x="2784" y="230"/>
                  </a:lnTo>
                  <a:lnTo>
                    <a:pt x="2763" y="63"/>
                  </a:lnTo>
                  <a:lnTo>
                    <a:pt x="270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 name="Google Shape;6023;p93">
              <a:extLst>
                <a:ext uri="{FF2B5EF4-FFF2-40B4-BE49-F238E27FC236}">
                  <a16:creationId xmlns:a16="http://schemas.microsoft.com/office/drawing/2014/main" id="{08E91680-38AA-42C8-B1C3-B763A45042A4}"/>
                </a:ext>
              </a:extLst>
            </p:cNvPr>
            <p:cNvSpPr/>
            <p:nvPr/>
          </p:nvSpPr>
          <p:spPr>
            <a:xfrm>
              <a:off x="3845999" y="3071334"/>
              <a:ext cx="89711" cy="57841"/>
            </a:xfrm>
            <a:custGeom>
              <a:avLst/>
              <a:gdLst/>
              <a:ahLst/>
              <a:cxnLst/>
              <a:rect l="l" t="t" r="r" b="b"/>
              <a:pathLst>
                <a:path w="7534" h="5086" extrusionOk="0">
                  <a:moveTo>
                    <a:pt x="4750" y="1"/>
                  </a:moveTo>
                  <a:lnTo>
                    <a:pt x="4708" y="64"/>
                  </a:lnTo>
                  <a:lnTo>
                    <a:pt x="4583" y="147"/>
                  </a:lnTo>
                  <a:lnTo>
                    <a:pt x="4499" y="84"/>
                  </a:lnTo>
                  <a:lnTo>
                    <a:pt x="4374" y="84"/>
                  </a:lnTo>
                  <a:lnTo>
                    <a:pt x="4269" y="168"/>
                  </a:lnTo>
                  <a:lnTo>
                    <a:pt x="4123" y="252"/>
                  </a:lnTo>
                  <a:lnTo>
                    <a:pt x="4081" y="315"/>
                  </a:lnTo>
                  <a:lnTo>
                    <a:pt x="4123" y="398"/>
                  </a:lnTo>
                  <a:lnTo>
                    <a:pt x="4039" y="419"/>
                  </a:lnTo>
                  <a:lnTo>
                    <a:pt x="3934" y="587"/>
                  </a:lnTo>
                  <a:lnTo>
                    <a:pt x="3872" y="587"/>
                  </a:lnTo>
                  <a:lnTo>
                    <a:pt x="3830" y="566"/>
                  </a:lnTo>
                  <a:lnTo>
                    <a:pt x="3746" y="670"/>
                  </a:lnTo>
                  <a:lnTo>
                    <a:pt x="3746" y="733"/>
                  </a:lnTo>
                  <a:lnTo>
                    <a:pt x="3662" y="796"/>
                  </a:lnTo>
                  <a:lnTo>
                    <a:pt x="3641" y="900"/>
                  </a:lnTo>
                  <a:lnTo>
                    <a:pt x="3662" y="984"/>
                  </a:lnTo>
                  <a:lnTo>
                    <a:pt x="3641" y="1089"/>
                  </a:lnTo>
                  <a:lnTo>
                    <a:pt x="3537" y="1131"/>
                  </a:lnTo>
                  <a:lnTo>
                    <a:pt x="3432" y="1214"/>
                  </a:lnTo>
                  <a:lnTo>
                    <a:pt x="3202" y="1235"/>
                  </a:lnTo>
                  <a:lnTo>
                    <a:pt x="3035" y="1256"/>
                  </a:lnTo>
                  <a:lnTo>
                    <a:pt x="2909" y="1235"/>
                  </a:lnTo>
                  <a:lnTo>
                    <a:pt x="2804" y="1193"/>
                  </a:lnTo>
                  <a:lnTo>
                    <a:pt x="2679" y="1214"/>
                  </a:lnTo>
                  <a:lnTo>
                    <a:pt x="2595" y="1193"/>
                  </a:lnTo>
                  <a:lnTo>
                    <a:pt x="2511" y="1235"/>
                  </a:lnTo>
                  <a:lnTo>
                    <a:pt x="2491" y="1340"/>
                  </a:lnTo>
                  <a:lnTo>
                    <a:pt x="2595" y="1445"/>
                  </a:lnTo>
                  <a:lnTo>
                    <a:pt x="2658" y="1445"/>
                  </a:lnTo>
                  <a:lnTo>
                    <a:pt x="2679" y="1528"/>
                  </a:lnTo>
                  <a:lnTo>
                    <a:pt x="2511" y="1633"/>
                  </a:lnTo>
                  <a:lnTo>
                    <a:pt x="2449" y="1737"/>
                  </a:lnTo>
                  <a:lnTo>
                    <a:pt x="2281" y="1737"/>
                  </a:lnTo>
                  <a:lnTo>
                    <a:pt x="1947" y="1821"/>
                  </a:lnTo>
                  <a:lnTo>
                    <a:pt x="1821" y="1926"/>
                  </a:lnTo>
                  <a:lnTo>
                    <a:pt x="1633" y="1968"/>
                  </a:lnTo>
                  <a:lnTo>
                    <a:pt x="1507" y="2072"/>
                  </a:lnTo>
                  <a:lnTo>
                    <a:pt x="1403" y="2093"/>
                  </a:lnTo>
                  <a:lnTo>
                    <a:pt x="1340" y="2051"/>
                  </a:lnTo>
                  <a:lnTo>
                    <a:pt x="1298" y="1926"/>
                  </a:lnTo>
                  <a:lnTo>
                    <a:pt x="1235" y="1863"/>
                  </a:lnTo>
                  <a:lnTo>
                    <a:pt x="1151" y="1926"/>
                  </a:lnTo>
                  <a:lnTo>
                    <a:pt x="1151" y="2051"/>
                  </a:lnTo>
                  <a:lnTo>
                    <a:pt x="1110" y="2177"/>
                  </a:lnTo>
                  <a:lnTo>
                    <a:pt x="942" y="2177"/>
                  </a:lnTo>
                  <a:lnTo>
                    <a:pt x="838" y="2198"/>
                  </a:lnTo>
                  <a:lnTo>
                    <a:pt x="733" y="2198"/>
                  </a:lnTo>
                  <a:lnTo>
                    <a:pt x="712" y="2072"/>
                  </a:lnTo>
                  <a:lnTo>
                    <a:pt x="670" y="2030"/>
                  </a:lnTo>
                  <a:lnTo>
                    <a:pt x="670" y="2051"/>
                  </a:lnTo>
                  <a:lnTo>
                    <a:pt x="566" y="2198"/>
                  </a:lnTo>
                  <a:lnTo>
                    <a:pt x="461" y="2240"/>
                  </a:lnTo>
                  <a:lnTo>
                    <a:pt x="398" y="2365"/>
                  </a:lnTo>
                  <a:lnTo>
                    <a:pt x="294" y="2553"/>
                  </a:lnTo>
                  <a:lnTo>
                    <a:pt x="252" y="2679"/>
                  </a:lnTo>
                  <a:lnTo>
                    <a:pt x="147" y="2867"/>
                  </a:lnTo>
                  <a:lnTo>
                    <a:pt x="63" y="2867"/>
                  </a:lnTo>
                  <a:lnTo>
                    <a:pt x="1" y="2930"/>
                  </a:lnTo>
                  <a:lnTo>
                    <a:pt x="42" y="3077"/>
                  </a:lnTo>
                  <a:lnTo>
                    <a:pt x="84" y="3223"/>
                  </a:lnTo>
                  <a:lnTo>
                    <a:pt x="63" y="3349"/>
                  </a:lnTo>
                  <a:lnTo>
                    <a:pt x="84" y="3516"/>
                  </a:lnTo>
                  <a:lnTo>
                    <a:pt x="105" y="3641"/>
                  </a:lnTo>
                  <a:lnTo>
                    <a:pt x="105" y="3872"/>
                  </a:lnTo>
                  <a:lnTo>
                    <a:pt x="168" y="3934"/>
                  </a:lnTo>
                  <a:lnTo>
                    <a:pt x="314" y="4018"/>
                  </a:lnTo>
                  <a:lnTo>
                    <a:pt x="419" y="4123"/>
                  </a:lnTo>
                  <a:lnTo>
                    <a:pt x="461" y="4248"/>
                  </a:lnTo>
                  <a:lnTo>
                    <a:pt x="607" y="4458"/>
                  </a:lnTo>
                  <a:lnTo>
                    <a:pt x="691" y="4604"/>
                  </a:lnTo>
                  <a:lnTo>
                    <a:pt x="775" y="4688"/>
                  </a:lnTo>
                  <a:lnTo>
                    <a:pt x="942" y="4813"/>
                  </a:lnTo>
                  <a:lnTo>
                    <a:pt x="942" y="4960"/>
                  </a:lnTo>
                  <a:lnTo>
                    <a:pt x="942" y="5022"/>
                  </a:lnTo>
                  <a:lnTo>
                    <a:pt x="984" y="5085"/>
                  </a:lnTo>
                  <a:lnTo>
                    <a:pt x="1005" y="5085"/>
                  </a:lnTo>
                  <a:lnTo>
                    <a:pt x="1256" y="4667"/>
                  </a:lnTo>
                  <a:lnTo>
                    <a:pt x="1403" y="4499"/>
                  </a:lnTo>
                  <a:lnTo>
                    <a:pt x="1507" y="4478"/>
                  </a:lnTo>
                  <a:lnTo>
                    <a:pt x="1549" y="4437"/>
                  </a:lnTo>
                  <a:lnTo>
                    <a:pt x="1779" y="4332"/>
                  </a:lnTo>
                  <a:lnTo>
                    <a:pt x="1884" y="4353"/>
                  </a:lnTo>
                  <a:lnTo>
                    <a:pt x="1947" y="4290"/>
                  </a:lnTo>
                  <a:lnTo>
                    <a:pt x="2135" y="4290"/>
                  </a:lnTo>
                  <a:lnTo>
                    <a:pt x="2156" y="4353"/>
                  </a:lnTo>
                  <a:lnTo>
                    <a:pt x="2260" y="4395"/>
                  </a:lnTo>
                  <a:lnTo>
                    <a:pt x="2302" y="4374"/>
                  </a:lnTo>
                  <a:lnTo>
                    <a:pt x="2386" y="4353"/>
                  </a:lnTo>
                  <a:lnTo>
                    <a:pt x="2386" y="4269"/>
                  </a:lnTo>
                  <a:lnTo>
                    <a:pt x="2407" y="4185"/>
                  </a:lnTo>
                  <a:lnTo>
                    <a:pt x="2470" y="4144"/>
                  </a:lnTo>
                  <a:lnTo>
                    <a:pt x="2365" y="4018"/>
                  </a:lnTo>
                  <a:lnTo>
                    <a:pt x="2365" y="3955"/>
                  </a:lnTo>
                  <a:lnTo>
                    <a:pt x="2449" y="3955"/>
                  </a:lnTo>
                  <a:lnTo>
                    <a:pt x="2491" y="3913"/>
                  </a:lnTo>
                  <a:lnTo>
                    <a:pt x="2491" y="3851"/>
                  </a:lnTo>
                  <a:lnTo>
                    <a:pt x="2553" y="3767"/>
                  </a:lnTo>
                  <a:lnTo>
                    <a:pt x="2553" y="3704"/>
                  </a:lnTo>
                  <a:lnTo>
                    <a:pt x="2595" y="3662"/>
                  </a:lnTo>
                  <a:lnTo>
                    <a:pt x="2679" y="3662"/>
                  </a:lnTo>
                  <a:lnTo>
                    <a:pt x="2763" y="3558"/>
                  </a:lnTo>
                  <a:lnTo>
                    <a:pt x="2867" y="3600"/>
                  </a:lnTo>
                  <a:lnTo>
                    <a:pt x="2867" y="3537"/>
                  </a:lnTo>
                  <a:lnTo>
                    <a:pt x="2930" y="3537"/>
                  </a:lnTo>
                  <a:lnTo>
                    <a:pt x="3014" y="3600"/>
                  </a:lnTo>
                  <a:lnTo>
                    <a:pt x="3076" y="3621"/>
                  </a:lnTo>
                  <a:lnTo>
                    <a:pt x="3244" y="3746"/>
                  </a:lnTo>
                  <a:lnTo>
                    <a:pt x="3327" y="3767"/>
                  </a:lnTo>
                  <a:lnTo>
                    <a:pt x="3495" y="3913"/>
                  </a:lnTo>
                  <a:lnTo>
                    <a:pt x="3516" y="3955"/>
                  </a:lnTo>
                  <a:lnTo>
                    <a:pt x="3641" y="3934"/>
                  </a:lnTo>
                  <a:lnTo>
                    <a:pt x="3767" y="4018"/>
                  </a:lnTo>
                  <a:lnTo>
                    <a:pt x="3913" y="4018"/>
                  </a:lnTo>
                  <a:lnTo>
                    <a:pt x="3976" y="4039"/>
                  </a:lnTo>
                  <a:lnTo>
                    <a:pt x="4060" y="3976"/>
                  </a:lnTo>
                  <a:lnTo>
                    <a:pt x="4144" y="3976"/>
                  </a:lnTo>
                  <a:lnTo>
                    <a:pt x="4248" y="4039"/>
                  </a:lnTo>
                  <a:lnTo>
                    <a:pt x="4374" y="4060"/>
                  </a:lnTo>
                  <a:lnTo>
                    <a:pt x="4436" y="4081"/>
                  </a:lnTo>
                  <a:lnTo>
                    <a:pt x="4562" y="4060"/>
                  </a:lnTo>
                  <a:lnTo>
                    <a:pt x="4583" y="4018"/>
                  </a:lnTo>
                  <a:lnTo>
                    <a:pt x="4541" y="3955"/>
                  </a:lnTo>
                  <a:lnTo>
                    <a:pt x="4499" y="3913"/>
                  </a:lnTo>
                  <a:lnTo>
                    <a:pt x="4604" y="3809"/>
                  </a:lnTo>
                  <a:lnTo>
                    <a:pt x="4688" y="3704"/>
                  </a:lnTo>
                  <a:lnTo>
                    <a:pt x="4792" y="3704"/>
                  </a:lnTo>
                  <a:lnTo>
                    <a:pt x="4897" y="3725"/>
                  </a:lnTo>
                  <a:lnTo>
                    <a:pt x="4980" y="3809"/>
                  </a:lnTo>
                  <a:lnTo>
                    <a:pt x="5064" y="3767"/>
                  </a:lnTo>
                  <a:lnTo>
                    <a:pt x="5294" y="3746"/>
                  </a:lnTo>
                  <a:lnTo>
                    <a:pt x="5336" y="3704"/>
                  </a:lnTo>
                  <a:lnTo>
                    <a:pt x="5420" y="3641"/>
                  </a:lnTo>
                  <a:lnTo>
                    <a:pt x="5650" y="3537"/>
                  </a:lnTo>
                  <a:lnTo>
                    <a:pt x="5734" y="3558"/>
                  </a:lnTo>
                  <a:lnTo>
                    <a:pt x="5755" y="3600"/>
                  </a:lnTo>
                  <a:lnTo>
                    <a:pt x="5796" y="3600"/>
                  </a:lnTo>
                  <a:lnTo>
                    <a:pt x="5817" y="3662"/>
                  </a:lnTo>
                  <a:lnTo>
                    <a:pt x="5859" y="3662"/>
                  </a:lnTo>
                  <a:lnTo>
                    <a:pt x="5943" y="3621"/>
                  </a:lnTo>
                  <a:lnTo>
                    <a:pt x="6068" y="3621"/>
                  </a:lnTo>
                  <a:lnTo>
                    <a:pt x="6152" y="3600"/>
                  </a:lnTo>
                  <a:lnTo>
                    <a:pt x="6236" y="3600"/>
                  </a:lnTo>
                  <a:lnTo>
                    <a:pt x="6320" y="3495"/>
                  </a:lnTo>
                  <a:lnTo>
                    <a:pt x="6278" y="3453"/>
                  </a:lnTo>
                  <a:lnTo>
                    <a:pt x="6278" y="3411"/>
                  </a:lnTo>
                  <a:lnTo>
                    <a:pt x="6361" y="3411"/>
                  </a:lnTo>
                  <a:lnTo>
                    <a:pt x="6445" y="3453"/>
                  </a:lnTo>
                  <a:lnTo>
                    <a:pt x="6633" y="3453"/>
                  </a:lnTo>
                  <a:lnTo>
                    <a:pt x="6675" y="3495"/>
                  </a:lnTo>
                  <a:lnTo>
                    <a:pt x="6759" y="3516"/>
                  </a:lnTo>
                  <a:lnTo>
                    <a:pt x="6843" y="3558"/>
                  </a:lnTo>
                  <a:lnTo>
                    <a:pt x="7073" y="3558"/>
                  </a:lnTo>
                  <a:lnTo>
                    <a:pt x="7094" y="3600"/>
                  </a:lnTo>
                  <a:lnTo>
                    <a:pt x="7282" y="3516"/>
                  </a:lnTo>
                  <a:lnTo>
                    <a:pt x="7408" y="3516"/>
                  </a:lnTo>
                  <a:lnTo>
                    <a:pt x="7512" y="3558"/>
                  </a:lnTo>
                  <a:lnTo>
                    <a:pt x="7533" y="3600"/>
                  </a:lnTo>
                  <a:lnTo>
                    <a:pt x="7533" y="3558"/>
                  </a:lnTo>
                  <a:lnTo>
                    <a:pt x="7491" y="3495"/>
                  </a:lnTo>
                  <a:lnTo>
                    <a:pt x="7387" y="3432"/>
                  </a:lnTo>
                  <a:lnTo>
                    <a:pt x="7303" y="3390"/>
                  </a:lnTo>
                  <a:lnTo>
                    <a:pt x="7303" y="3202"/>
                  </a:lnTo>
                  <a:lnTo>
                    <a:pt x="7303" y="3139"/>
                  </a:lnTo>
                  <a:lnTo>
                    <a:pt x="7219" y="3077"/>
                  </a:lnTo>
                  <a:lnTo>
                    <a:pt x="7010" y="3035"/>
                  </a:lnTo>
                  <a:lnTo>
                    <a:pt x="6968" y="2972"/>
                  </a:lnTo>
                  <a:lnTo>
                    <a:pt x="6989" y="2867"/>
                  </a:lnTo>
                  <a:lnTo>
                    <a:pt x="6947" y="2805"/>
                  </a:lnTo>
                  <a:lnTo>
                    <a:pt x="6843" y="2784"/>
                  </a:lnTo>
                  <a:lnTo>
                    <a:pt x="6780" y="2721"/>
                  </a:lnTo>
                  <a:lnTo>
                    <a:pt x="6759" y="2553"/>
                  </a:lnTo>
                  <a:lnTo>
                    <a:pt x="6738" y="2491"/>
                  </a:lnTo>
                  <a:lnTo>
                    <a:pt x="6550" y="2365"/>
                  </a:lnTo>
                  <a:lnTo>
                    <a:pt x="6487" y="2386"/>
                  </a:lnTo>
                  <a:lnTo>
                    <a:pt x="6382" y="2344"/>
                  </a:lnTo>
                  <a:lnTo>
                    <a:pt x="6361" y="2365"/>
                  </a:lnTo>
                  <a:lnTo>
                    <a:pt x="6257" y="2344"/>
                  </a:lnTo>
                  <a:lnTo>
                    <a:pt x="6131" y="2240"/>
                  </a:lnTo>
                  <a:lnTo>
                    <a:pt x="6173" y="2177"/>
                  </a:lnTo>
                  <a:lnTo>
                    <a:pt x="6215" y="2135"/>
                  </a:lnTo>
                  <a:lnTo>
                    <a:pt x="6278" y="2072"/>
                  </a:lnTo>
                  <a:lnTo>
                    <a:pt x="6320" y="1989"/>
                  </a:lnTo>
                  <a:lnTo>
                    <a:pt x="6257" y="1926"/>
                  </a:lnTo>
                  <a:lnTo>
                    <a:pt x="6152" y="1926"/>
                  </a:lnTo>
                  <a:lnTo>
                    <a:pt x="6048" y="1863"/>
                  </a:lnTo>
                  <a:lnTo>
                    <a:pt x="6006" y="1779"/>
                  </a:lnTo>
                  <a:lnTo>
                    <a:pt x="5922" y="1737"/>
                  </a:lnTo>
                  <a:lnTo>
                    <a:pt x="5817" y="1737"/>
                  </a:lnTo>
                  <a:lnTo>
                    <a:pt x="5692" y="1654"/>
                  </a:lnTo>
                  <a:lnTo>
                    <a:pt x="5608" y="1612"/>
                  </a:lnTo>
                  <a:lnTo>
                    <a:pt x="5587" y="1465"/>
                  </a:lnTo>
                  <a:lnTo>
                    <a:pt x="5629" y="1403"/>
                  </a:lnTo>
                  <a:lnTo>
                    <a:pt x="5545" y="1361"/>
                  </a:lnTo>
                  <a:lnTo>
                    <a:pt x="5399" y="1361"/>
                  </a:lnTo>
                  <a:lnTo>
                    <a:pt x="5336" y="1424"/>
                  </a:lnTo>
                  <a:lnTo>
                    <a:pt x="5211" y="1424"/>
                  </a:lnTo>
                  <a:lnTo>
                    <a:pt x="5106" y="1340"/>
                  </a:lnTo>
                  <a:lnTo>
                    <a:pt x="5106" y="1152"/>
                  </a:lnTo>
                  <a:lnTo>
                    <a:pt x="5169" y="1047"/>
                  </a:lnTo>
                  <a:lnTo>
                    <a:pt x="5190" y="1005"/>
                  </a:lnTo>
                  <a:lnTo>
                    <a:pt x="5211" y="880"/>
                  </a:lnTo>
                  <a:lnTo>
                    <a:pt x="5190" y="796"/>
                  </a:lnTo>
                  <a:lnTo>
                    <a:pt x="5085" y="566"/>
                  </a:lnTo>
                  <a:lnTo>
                    <a:pt x="4918" y="377"/>
                  </a:lnTo>
                  <a:lnTo>
                    <a:pt x="4897" y="294"/>
                  </a:lnTo>
                  <a:lnTo>
                    <a:pt x="4771" y="189"/>
                  </a:lnTo>
                  <a:lnTo>
                    <a:pt x="4813" y="168"/>
                  </a:lnTo>
                  <a:lnTo>
                    <a:pt x="4813" y="84"/>
                  </a:lnTo>
                  <a:lnTo>
                    <a:pt x="475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 name="Google Shape;6024;p93">
              <a:extLst>
                <a:ext uri="{FF2B5EF4-FFF2-40B4-BE49-F238E27FC236}">
                  <a16:creationId xmlns:a16="http://schemas.microsoft.com/office/drawing/2014/main" id="{0E0434F9-3F12-4CB7-86B8-B0FD251146BC}"/>
                </a:ext>
              </a:extLst>
            </p:cNvPr>
            <p:cNvSpPr/>
            <p:nvPr/>
          </p:nvSpPr>
          <p:spPr>
            <a:xfrm>
              <a:off x="3809372" y="2919523"/>
              <a:ext cx="106405" cy="94483"/>
            </a:xfrm>
            <a:custGeom>
              <a:avLst/>
              <a:gdLst/>
              <a:ahLst/>
              <a:cxnLst/>
              <a:rect l="l" t="t" r="r" b="b"/>
              <a:pathLst>
                <a:path w="8936" h="8308" extrusionOk="0">
                  <a:moveTo>
                    <a:pt x="1068" y="1"/>
                  </a:moveTo>
                  <a:lnTo>
                    <a:pt x="1047" y="42"/>
                  </a:lnTo>
                  <a:lnTo>
                    <a:pt x="1089" y="252"/>
                  </a:lnTo>
                  <a:lnTo>
                    <a:pt x="1152" y="314"/>
                  </a:lnTo>
                  <a:lnTo>
                    <a:pt x="1026" y="482"/>
                  </a:lnTo>
                  <a:lnTo>
                    <a:pt x="670" y="691"/>
                  </a:lnTo>
                  <a:lnTo>
                    <a:pt x="670" y="775"/>
                  </a:lnTo>
                  <a:lnTo>
                    <a:pt x="566" y="900"/>
                  </a:lnTo>
                  <a:lnTo>
                    <a:pt x="440" y="900"/>
                  </a:lnTo>
                  <a:lnTo>
                    <a:pt x="357" y="963"/>
                  </a:lnTo>
                  <a:lnTo>
                    <a:pt x="357" y="1047"/>
                  </a:lnTo>
                  <a:lnTo>
                    <a:pt x="336" y="1109"/>
                  </a:lnTo>
                  <a:lnTo>
                    <a:pt x="398" y="1298"/>
                  </a:lnTo>
                  <a:lnTo>
                    <a:pt x="398" y="1423"/>
                  </a:lnTo>
                  <a:lnTo>
                    <a:pt x="357" y="1465"/>
                  </a:lnTo>
                  <a:lnTo>
                    <a:pt x="357" y="1507"/>
                  </a:lnTo>
                  <a:lnTo>
                    <a:pt x="336" y="1570"/>
                  </a:lnTo>
                  <a:lnTo>
                    <a:pt x="294" y="1674"/>
                  </a:lnTo>
                  <a:lnTo>
                    <a:pt x="189" y="1716"/>
                  </a:lnTo>
                  <a:lnTo>
                    <a:pt x="147" y="1737"/>
                  </a:lnTo>
                  <a:lnTo>
                    <a:pt x="85" y="1737"/>
                  </a:lnTo>
                  <a:lnTo>
                    <a:pt x="22" y="1800"/>
                  </a:lnTo>
                  <a:lnTo>
                    <a:pt x="22" y="2009"/>
                  </a:lnTo>
                  <a:lnTo>
                    <a:pt x="85" y="2030"/>
                  </a:lnTo>
                  <a:lnTo>
                    <a:pt x="147" y="2156"/>
                  </a:lnTo>
                  <a:lnTo>
                    <a:pt x="147" y="2553"/>
                  </a:lnTo>
                  <a:lnTo>
                    <a:pt x="189" y="2762"/>
                  </a:lnTo>
                  <a:lnTo>
                    <a:pt x="189" y="2825"/>
                  </a:lnTo>
                  <a:lnTo>
                    <a:pt x="189" y="3139"/>
                  </a:lnTo>
                  <a:lnTo>
                    <a:pt x="252" y="3286"/>
                  </a:lnTo>
                  <a:lnTo>
                    <a:pt x="210" y="3599"/>
                  </a:lnTo>
                  <a:lnTo>
                    <a:pt x="189" y="3662"/>
                  </a:lnTo>
                  <a:lnTo>
                    <a:pt x="231" y="3788"/>
                  </a:lnTo>
                  <a:lnTo>
                    <a:pt x="252" y="3997"/>
                  </a:lnTo>
                  <a:lnTo>
                    <a:pt x="210" y="4081"/>
                  </a:lnTo>
                  <a:lnTo>
                    <a:pt x="85" y="4185"/>
                  </a:lnTo>
                  <a:lnTo>
                    <a:pt x="43" y="4227"/>
                  </a:lnTo>
                  <a:lnTo>
                    <a:pt x="1" y="4290"/>
                  </a:lnTo>
                  <a:lnTo>
                    <a:pt x="85" y="4353"/>
                  </a:lnTo>
                  <a:lnTo>
                    <a:pt x="210" y="4541"/>
                  </a:lnTo>
                  <a:lnTo>
                    <a:pt x="315" y="4771"/>
                  </a:lnTo>
                  <a:lnTo>
                    <a:pt x="357" y="4813"/>
                  </a:lnTo>
                  <a:lnTo>
                    <a:pt x="398" y="4938"/>
                  </a:lnTo>
                  <a:lnTo>
                    <a:pt x="357" y="5022"/>
                  </a:lnTo>
                  <a:lnTo>
                    <a:pt x="398" y="5169"/>
                  </a:lnTo>
                  <a:lnTo>
                    <a:pt x="440" y="5252"/>
                  </a:lnTo>
                  <a:lnTo>
                    <a:pt x="461" y="5357"/>
                  </a:lnTo>
                  <a:lnTo>
                    <a:pt x="545" y="5441"/>
                  </a:lnTo>
                  <a:lnTo>
                    <a:pt x="984" y="5441"/>
                  </a:lnTo>
                  <a:lnTo>
                    <a:pt x="1089" y="5503"/>
                  </a:lnTo>
                  <a:lnTo>
                    <a:pt x="1173" y="5650"/>
                  </a:lnTo>
                  <a:lnTo>
                    <a:pt x="1277" y="5880"/>
                  </a:lnTo>
                  <a:lnTo>
                    <a:pt x="1340" y="5922"/>
                  </a:lnTo>
                  <a:lnTo>
                    <a:pt x="1403" y="6006"/>
                  </a:lnTo>
                  <a:lnTo>
                    <a:pt x="1486" y="6089"/>
                  </a:lnTo>
                  <a:lnTo>
                    <a:pt x="2491" y="6319"/>
                  </a:lnTo>
                  <a:lnTo>
                    <a:pt x="2595" y="6424"/>
                  </a:lnTo>
                  <a:lnTo>
                    <a:pt x="3118" y="6215"/>
                  </a:lnTo>
                  <a:lnTo>
                    <a:pt x="3746" y="5964"/>
                  </a:lnTo>
                  <a:lnTo>
                    <a:pt x="8391" y="8307"/>
                  </a:lnTo>
                  <a:lnTo>
                    <a:pt x="8391" y="8098"/>
                  </a:lnTo>
                  <a:lnTo>
                    <a:pt x="8935" y="8056"/>
                  </a:lnTo>
                  <a:lnTo>
                    <a:pt x="8705" y="2344"/>
                  </a:lnTo>
                  <a:lnTo>
                    <a:pt x="8621" y="2051"/>
                  </a:lnTo>
                  <a:lnTo>
                    <a:pt x="8580" y="1905"/>
                  </a:lnTo>
                  <a:lnTo>
                    <a:pt x="8621" y="1716"/>
                  </a:lnTo>
                  <a:lnTo>
                    <a:pt x="8705" y="1507"/>
                  </a:lnTo>
                  <a:lnTo>
                    <a:pt x="8705" y="1381"/>
                  </a:lnTo>
                  <a:lnTo>
                    <a:pt x="8663" y="1214"/>
                  </a:lnTo>
                  <a:lnTo>
                    <a:pt x="8705" y="984"/>
                  </a:lnTo>
                  <a:lnTo>
                    <a:pt x="8726" y="879"/>
                  </a:lnTo>
                  <a:lnTo>
                    <a:pt x="8684" y="733"/>
                  </a:lnTo>
                  <a:lnTo>
                    <a:pt x="8600" y="649"/>
                  </a:lnTo>
                  <a:lnTo>
                    <a:pt x="8496" y="628"/>
                  </a:lnTo>
                  <a:lnTo>
                    <a:pt x="8391" y="649"/>
                  </a:lnTo>
                  <a:lnTo>
                    <a:pt x="7994" y="586"/>
                  </a:lnTo>
                  <a:lnTo>
                    <a:pt x="7931" y="524"/>
                  </a:lnTo>
                  <a:lnTo>
                    <a:pt x="7764" y="524"/>
                  </a:lnTo>
                  <a:lnTo>
                    <a:pt x="7575" y="461"/>
                  </a:lnTo>
                  <a:lnTo>
                    <a:pt x="7533" y="377"/>
                  </a:lnTo>
                  <a:lnTo>
                    <a:pt x="7575" y="356"/>
                  </a:lnTo>
                  <a:lnTo>
                    <a:pt x="7554" y="314"/>
                  </a:lnTo>
                  <a:lnTo>
                    <a:pt x="7324" y="168"/>
                  </a:lnTo>
                  <a:lnTo>
                    <a:pt x="7199" y="168"/>
                  </a:lnTo>
                  <a:lnTo>
                    <a:pt x="7010" y="126"/>
                  </a:lnTo>
                  <a:lnTo>
                    <a:pt x="6948" y="105"/>
                  </a:lnTo>
                  <a:lnTo>
                    <a:pt x="6885" y="147"/>
                  </a:lnTo>
                  <a:lnTo>
                    <a:pt x="6780" y="63"/>
                  </a:lnTo>
                  <a:lnTo>
                    <a:pt x="6717" y="63"/>
                  </a:lnTo>
                  <a:lnTo>
                    <a:pt x="6529" y="168"/>
                  </a:lnTo>
                  <a:lnTo>
                    <a:pt x="6257" y="210"/>
                  </a:lnTo>
                  <a:lnTo>
                    <a:pt x="6006" y="314"/>
                  </a:lnTo>
                  <a:lnTo>
                    <a:pt x="5880" y="440"/>
                  </a:lnTo>
                  <a:lnTo>
                    <a:pt x="5839" y="586"/>
                  </a:lnTo>
                  <a:lnTo>
                    <a:pt x="5776" y="670"/>
                  </a:lnTo>
                  <a:lnTo>
                    <a:pt x="5755" y="963"/>
                  </a:lnTo>
                  <a:lnTo>
                    <a:pt x="5859" y="1109"/>
                  </a:lnTo>
                  <a:lnTo>
                    <a:pt x="5943" y="1361"/>
                  </a:lnTo>
                  <a:lnTo>
                    <a:pt x="5880" y="1486"/>
                  </a:lnTo>
                  <a:lnTo>
                    <a:pt x="5734" y="1633"/>
                  </a:lnTo>
                  <a:lnTo>
                    <a:pt x="5692" y="1695"/>
                  </a:lnTo>
                  <a:lnTo>
                    <a:pt x="5525" y="1842"/>
                  </a:lnTo>
                  <a:lnTo>
                    <a:pt x="5378" y="1905"/>
                  </a:lnTo>
                  <a:lnTo>
                    <a:pt x="5148" y="1800"/>
                  </a:lnTo>
                  <a:lnTo>
                    <a:pt x="4918" y="1612"/>
                  </a:lnTo>
                  <a:lnTo>
                    <a:pt x="4730" y="1486"/>
                  </a:lnTo>
                  <a:lnTo>
                    <a:pt x="4479" y="1319"/>
                  </a:lnTo>
                  <a:lnTo>
                    <a:pt x="4060" y="1172"/>
                  </a:lnTo>
                  <a:lnTo>
                    <a:pt x="3872" y="1151"/>
                  </a:lnTo>
                  <a:lnTo>
                    <a:pt x="3788" y="1172"/>
                  </a:lnTo>
                  <a:lnTo>
                    <a:pt x="3579" y="1172"/>
                  </a:lnTo>
                  <a:lnTo>
                    <a:pt x="3390" y="1068"/>
                  </a:lnTo>
                  <a:lnTo>
                    <a:pt x="3223" y="733"/>
                  </a:lnTo>
                  <a:lnTo>
                    <a:pt x="3223" y="545"/>
                  </a:lnTo>
                  <a:lnTo>
                    <a:pt x="3056" y="356"/>
                  </a:lnTo>
                  <a:lnTo>
                    <a:pt x="2700" y="314"/>
                  </a:lnTo>
                  <a:lnTo>
                    <a:pt x="2512" y="168"/>
                  </a:lnTo>
                  <a:lnTo>
                    <a:pt x="2198" y="168"/>
                  </a:lnTo>
                  <a:lnTo>
                    <a:pt x="2010" y="105"/>
                  </a:lnTo>
                  <a:lnTo>
                    <a:pt x="1591" y="168"/>
                  </a:lnTo>
                  <a:lnTo>
                    <a:pt x="1298" y="126"/>
                  </a:lnTo>
                  <a:lnTo>
                    <a:pt x="1194" y="21"/>
                  </a:lnTo>
                  <a:lnTo>
                    <a:pt x="106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 name="Google Shape;6025;p93">
              <a:extLst>
                <a:ext uri="{FF2B5EF4-FFF2-40B4-BE49-F238E27FC236}">
                  <a16:creationId xmlns:a16="http://schemas.microsoft.com/office/drawing/2014/main" id="{1A07ADDF-CA26-40A8-A5A6-3DC67BE4EC4F}"/>
                </a:ext>
              </a:extLst>
            </p:cNvPr>
            <p:cNvSpPr/>
            <p:nvPr/>
          </p:nvSpPr>
          <p:spPr>
            <a:xfrm>
              <a:off x="3795917" y="2888589"/>
              <a:ext cx="27173" cy="50699"/>
            </a:xfrm>
            <a:custGeom>
              <a:avLst/>
              <a:gdLst/>
              <a:ahLst/>
              <a:cxnLst/>
              <a:rect l="l" t="t" r="r" b="b"/>
              <a:pathLst>
                <a:path w="2282" h="4458" extrusionOk="0">
                  <a:moveTo>
                    <a:pt x="1235" y="0"/>
                  </a:moveTo>
                  <a:lnTo>
                    <a:pt x="1110" y="21"/>
                  </a:lnTo>
                  <a:lnTo>
                    <a:pt x="1110" y="105"/>
                  </a:lnTo>
                  <a:lnTo>
                    <a:pt x="1026" y="21"/>
                  </a:lnTo>
                  <a:lnTo>
                    <a:pt x="859" y="42"/>
                  </a:lnTo>
                  <a:lnTo>
                    <a:pt x="650" y="147"/>
                  </a:lnTo>
                  <a:lnTo>
                    <a:pt x="524" y="272"/>
                  </a:lnTo>
                  <a:lnTo>
                    <a:pt x="503" y="356"/>
                  </a:lnTo>
                  <a:lnTo>
                    <a:pt x="524" y="440"/>
                  </a:lnTo>
                  <a:lnTo>
                    <a:pt x="503" y="586"/>
                  </a:lnTo>
                  <a:lnTo>
                    <a:pt x="503" y="775"/>
                  </a:lnTo>
                  <a:lnTo>
                    <a:pt x="399" y="1047"/>
                  </a:lnTo>
                  <a:lnTo>
                    <a:pt x="440" y="1193"/>
                  </a:lnTo>
                  <a:lnTo>
                    <a:pt x="503" y="1298"/>
                  </a:lnTo>
                  <a:lnTo>
                    <a:pt x="524" y="1319"/>
                  </a:lnTo>
                  <a:lnTo>
                    <a:pt x="482" y="1381"/>
                  </a:lnTo>
                  <a:lnTo>
                    <a:pt x="419" y="1465"/>
                  </a:lnTo>
                  <a:lnTo>
                    <a:pt x="503" y="1528"/>
                  </a:lnTo>
                  <a:lnTo>
                    <a:pt x="440" y="1591"/>
                  </a:lnTo>
                  <a:lnTo>
                    <a:pt x="419" y="1800"/>
                  </a:lnTo>
                  <a:lnTo>
                    <a:pt x="336" y="1842"/>
                  </a:lnTo>
                  <a:lnTo>
                    <a:pt x="294" y="1925"/>
                  </a:lnTo>
                  <a:lnTo>
                    <a:pt x="210" y="1946"/>
                  </a:lnTo>
                  <a:lnTo>
                    <a:pt x="85" y="2114"/>
                  </a:lnTo>
                  <a:lnTo>
                    <a:pt x="1" y="2365"/>
                  </a:lnTo>
                  <a:lnTo>
                    <a:pt x="64" y="2407"/>
                  </a:lnTo>
                  <a:lnTo>
                    <a:pt x="106" y="2553"/>
                  </a:lnTo>
                  <a:lnTo>
                    <a:pt x="85" y="2616"/>
                  </a:lnTo>
                  <a:lnTo>
                    <a:pt x="168" y="2741"/>
                  </a:lnTo>
                  <a:lnTo>
                    <a:pt x="210" y="2741"/>
                  </a:lnTo>
                  <a:lnTo>
                    <a:pt x="399" y="2888"/>
                  </a:lnTo>
                  <a:lnTo>
                    <a:pt x="419" y="3034"/>
                  </a:lnTo>
                  <a:lnTo>
                    <a:pt x="545" y="3076"/>
                  </a:lnTo>
                  <a:lnTo>
                    <a:pt x="608" y="3139"/>
                  </a:lnTo>
                  <a:lnTo>
                    <a:pt x="712" y="3160"/>
                  </a:lnTo>
                  <a:lnTo>
                    <a:pt x="838" y="3306"/>
                  </a:lnTo>
                  <a:lnTo>
                    <a:pt x="1215" y="4457"/>
                  </a:lnTo>
                  <a:lnTo>
                    <a:pt x="1277" y="4457"/>
                  </a:lnTo>
                  <a:lnTo>
                    <a:pt x="1319" y="4436"/>
                  </a:lnTo>
                  <a:lnTo>
                    <a:pt x="1424" y="4394"/>
                  </a:lnTo>
                  <a:lnTo>
                    <a:pt x="1466" y="4290"/>
                  </a:lnTo>
                  <a:lnTo>
                    <a:pt x="1487" y="4227"/>
                  </a:lnTo>
                  <a:lnTo>
                    <a:pt x="1487" y="4185"/>
                  </a:lnTo>
                  <a:lnTo>
                    <a:pt x="1528" y="4143"/>
                  </a:lnTo>
                  <a:lnTo>
                    <a:pt x="1528" y="4018"/>
                  </a:lnTo>
                  <a:lnTo>
                    <a:pt x="1466" y="3829"/>
                  </a:lnTo>
                  <a:lnTo>
                    <a:pt x="1487" y="3767"/>
                  </a:lnTo>
                  <a:lnTo>
                    <a:pt x="1487" y="3683"/>
                  </a:lnTo>
                  <a:lnTo>
                    <a:pt x="1570" y="3620"/>
                  </a:lnTo>
                  <a:lnTo>
                    <a:pt x="1696" y="3620"/>
                  </a:lnTo>
                  <a:lnTo>
                    <a:pt x="1800" y="3495"/>
                  </a:lnTo>
                  <a:lnTo>
                    <a:pt x="1800" y="3411"/>
                  </a:lnTo>
                  <a:lnTo>
                    <a:pt x="2156" y="3202"/>
                  </a:lnTo>
                  <a:lnTo>
                    <a:pt x="2282" y="3034"/>
                  </a:lnTo>
                  <a:lnTo>
                    <a:pt x="2219" y="2972"/>
                  </a:lnTo>
                  <a:lnTo>
                    <a:pt x="2177" y="2762"/>
                  </a:lnTo>
                  <a:lnTo>
                    <a:pt x="2198" y="2721"/>
                  </a:lnTo>
                  <a:lnTo>
                    <a:pt x="2156" y="2679"/>
                  </a:lnTo>
                  <a:lnTo>
                    <a:pt x="1968" y="2574"/>
                  </a:lnTo>
                  <a:lnTo>
                    <a:pt x="1947" y="2532"/>
                  </a:lnTo>
                  <a:lnTo>
                    <a:pt x="1947" y="2448"/>
                  </a:lnTo>
                  <a:lnTo>
                    <a:pt x="1863" y="2407"/>
                  </a:lnTo>
                  <a:lnTo>
                    <a:pt x="1842" y="2428"/>
                  </a:lnTo>
                  <a:lnTo>
                    <a:pt x="1842" y="2469"/>
                  </a:lnTo>
                  <a:lnTo>
                    <a:pt x="1779" y="2511"/>
                  </a:lnTo>
                  <a:lnTo>
                    <a:pt x="1696" y="2469"/>
                  </a:lnTo>
                  <a:lnTo>
                    <a:pt x="1675" y="2365"/>
                  </a:lnTo>
                  <a:lnTo>
                    <a:pt x="1591" y="2407"/>
                  </a:lnTo>
                  <a:lnTo>
                    <a:pt x="1424" y="2260"/>
                  </a:lnTo>
                  <a:lnTo>
                    <a:pt x="1340" y="2114"/>
                  </a:lnTo>
                  <a:lnTo>
                    <a:pt x="1382" y="1925"/>
                  </a:lnTo>
                  <a:lnTo>
                    <a:pt x="1675" y="1737"/>
                  </a:lnTo>
                  <a:lnTo>
                    <a:pt x="1842" y="1570"/>
                  </a:lnTo>
                  <a:lnTo>
                    <a:pt x="1884" y="1507"/>
                  </a:lnTo>
                  <a:lnTo>
                    <a:pt x="1842" y="1465"/>
                  </a:lnTo>
                  <a:lnTo>
                    <a:pt x="1884" y="1381"/>
                  </a:lnTo>
                  <a:lnTo>
                    <a:pt x="1863" y="1298"/>
                  </a:lnTo>
                  <a:lnTo>
                    <a:pt x="1842" y="1277"/>
                  </a:lnTo>
                  <a:lnTo>
                    <a:pt x="1842" y="1088"/>
                  </a:lnTo>
                  <a:lnTo>
                    <a:pt x="1654" y="1005"/>
                  </a:lnTo>
                  <a:lnTo>
                    <a:pt x="1528" y="837"/>
                  </a:lnTo>
                  <a:lnTo>
                    <a:pt x="1549" y="670"/>
                  </a:lnTo>
                  <a:lnTo>
                    <a:pt x="1675" y="586"/>
                  </a:lnTo>
                  <a:lnTo>
                    <a:pt x="1696" y="482"/>
                  </a:lnTo>
                  <a:lnTo>
                    <a:pt x="1800" y="314"/>
                  </a:lnTo>
                  <a:lnTo>
                    <a:pt x="1800" y="210"/>
                  </a:lnTo>
                  <a:lnTo>
                    <a:pt x="1759" y="147"/>
                  </a:lnTo>
                  <a:lnTo>
                    <a:pt x="1549" y="335"/>
                  </a:lnTo>
                  <a:lnTo>
                    <a:pt x="1487" y="419"/>
                  </a:lnTo>
                  <a:lnTo>
                    <a:pt x="1424" y="377"/>
                  </a:lnTo>
                  <a:lnTo>
                    <a:pt x="1340" y="168"/>
                  </a:lnTo>
                  <a:lnTo>
                    <a:pt x="1277" y="168"/>
                  </a:lnTo>
                  <a:lnTo>
                    <a:pt x="1277" y="63"/>
                  </a:lnTo>
                  <a:lnTo>
                    <a:pt x="123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9" name="Google Shape;6026;p93">
              <a:extLst>
                <a:ext uri="{FF2B5EF4-FFF2-40B4-BE49-F238E27FC236}">
                  <a16:creationId xmlns:a16="http://schemas.microsoft.com/office/drawing/2014/main" id="{D73C2D76-CC8D-4C2B-8955-D23BEF21308A}"/>
                </a:ext>
              </a:extLst>
            </p:cNvPr>
            <p:cNvSpPr/>
            <p:nvPr/>
          </p:nvSpPr>
          <p:spPr>
            <a:xfrm>
              <a:off x="3689035" y="2890250"/>
              <a:ext cx="138044" cy="127554"/>
            </a:xfrm>
            <a:custGeom>
              <a:avLst/>
              <a:gdLst/>
              <a:ahLst/>
              <a:cxnLst/>
              <a:rect l="l" t="t" r="r" b="b"/>
              <a:pathLst>
                <a:path w="11593" h="11216" extrusionOk="0">
                  <a:moveTo>
                    <a:pt x="8307" y="1"/>
                  </a:moveTo>
                  <a:lnTo>
                    <a:pt x="8161" y="22"/>
                  </a:lnTo>
                  <a:lnTo>
                    <a:pt x="8140" y="106"/>
                  </a:lnTo>
                  <a:lnTo>
                    <a:pt x="8035" y="126"/>
                  </a:lnTo>
                  <a:lnTo>
                    <a:pt x="7994" y="210"/>
                  </a:lnTo>
                  <a:lnTo>
                    <a:pt x="7910" y="189"/>
                  </a:lnTo>
                  <a:lnTo>
                    <a:pt x="7805" y="189"/>
                  </a:lnTo>
                  <a:lnTo>
                    <a:pt x="7701" y="294"/>
                  </a:lnTo>
                  <a:lnTo>
                    <a:pt x="7575" y="294"/>
                  </a:lnTo>
                  <a:lnTo>
                    <a:pt x="7491" y="168"/>
                  </a:lnTo>
                  <a:lnTo>
                    <a:pt x="7324" y="168"/>
                  </a:lnTo>
                  <a:lnTo>
                    <a:pt x="7261" y="126"/>
                  </a:lnTo>
                  <a:lnTo>
                    <a:pt x="7115" y="168"/>
                  </a:lnTo>
                  <a:lnTo>
                    <a:pt x="6989" y="126"/>
                  </a:lnTo>
                  <a:lnTo>
                    <a:pt x="6947" y="168"/>
                  </a:lnTo>
                  <a:lnTo>
                    <a:pt x="6843" y="106"/>
                  </a:lnTo>
                  <a:lnTo>
                    <a:pt x="6759" y="126"/>
                  </a:lnTo>
                  <a:lnTo>
                    <a:pt x="6696" y="273"/>
                  </a:lnTo>
                  <a:lnTo>
                    <a:pt x="6571" y="273"/>
                  </a:lnTo>
                  <a:lnTo>
                    <a:pt x="6466" y="210"/>
                  </a:lnTo>
                  <a:lnTo>
                    <a:pt x="6320" y="336"/>
                  </a:lnTo>
                  <a:lnTo>
                    <a:pt x="6236" y="336"/>
                  </a:lnTo>
                  <a:lnTo>
                    <a:pt x="6110" y="273"/>
                  </a:lnTo>
                  <a:lnTo>
                    <a:pt x="5964" y="315"/>
                  </a:lnTo>
                  <a:lnTo>
                    <a:pt x="5629" y="315"/>
                  </a:lnTo>
                  <a:lnTo>
                    <a:pt x="5336" y="524"/>
                  </a:lnTo>
                  <a:lnTo>
                    <a:pt x="5190" y="545"/>
                  </a:lnTo>
                  <a:lnTo>
                    <a:pt x="5106" y="545"/>
                  </a:lnTo>
                  <a:lnTo>
                    <a:pt x="4981" y="629"/>
                  </a:lnTo>
                  <a:lnTo>
                    <a:pt x="4960" y="712"/>
                  </a:lnTo>
                  <a:lnTo>
                    <a:pt x="4897" y="817"/>
                  </a:lnTo>
                  <a:lnTo>
                    <a:pt x="4813" y="817"/>
                  </a:lnTo>
                  <a:lnTo>
                    <a:pt x="4792" y="796"/>
                  </a:lnTo>
                  <a:lnTo>
                    <a:pt x="4709" y="796"/>
                  </a:lnTo>
                  <a:lnTo>
                    <a:pt x="4646" y="817"/>
                  </a:lnTo>
                  <a:lnTo>
                    <a:pt x="4604" y="859"/>
                  </a:lnTo>
                  <a:lnTo>
                    <a:pt x="4457" y="901"/>
                  </a:lnTo>
                  <a:lnTo>
                    <a:pt x="4332" y="942"/>
                  </a:lnTo>
                  <a:lnTo>
                    <a:pt x="4248" y="1026"/>
                  </a:lnTo>
                  <a:lnTo>
                    <a:pt x="4227" y="1068"/>
                  </a:lnTo>
                  <a:lnTo>
                    <a:pt x="4123" y="1214"/>
                  </a:lnTo>
                  <a:lnTo>
                    <a:pt x="3934" y="1256"/>
                  </a:lnTo>
                  <a:lnTo>
                    <a:pt x="3767" y="1256"/>
                  </a:lnTo>
                  <a:lnTo>
                    <a:pt x="3830" y="1340"/>
                  </a:lnTo>
                  <a:lnTo>
                    <a:pt x="3851" y="1382"/>
                  </a:lnTo>
                  <a:lnTo>
                    <a:pt x="3913" y="1486"/>
                  </a:lnTo>
                  <a:lnTo>
                    <a:pt x="3934" y="1591"/>
                  </a:lnTo>
                  <a:lnTo>
                    <a:pt x="3955" y="1633"/>
                  </a:lnTo>
                  <a:lnTo>
                    <a:pt x="3955" y="1800"/>
                  </a:lnTo>
                  <a:lnTo>
                    <a:pt x="3955" y="2051"/>
                  </a:lnTo>
                  <a:lnTo>
                    <a:pt x="3976" y="2114"/>
                  </a:lnTo>
                  <a:lnTo>
                    <a:pt x="4039" y="2575"/>
                  </a:lnTo>
                  <a:lnTo>
                    <a:pt x="4123" y="2721"/>
                  </a:lnTo>
                  <a:lnTo>
                    <a:pt x="4144" y="2847"/>
                  </a:lnTo>
                  <a:lnTo>
                    <a:pt x="4227" y="2847"/>
                  </a:lnTo>
                  <a:lnTo>
                    <a:pt x="4269" y="2909"/>
                  </a:lnTo>
                  <a:lnTo>
                    <a:pt x="4353" y="2930"/>
                  </a:lnTo>
                  <a:lnTo>
                    <a:pt x="4395" y="2951"/>
                  </a:lnTo>
                  <a:lnTo>
                    <a:pt x="4332" y="3119"/>
                  </a:lnTo>
                  <a:lnTo>
                    <a:pt x="4353" y="3160"/>
                  </a:lnTo>
                  <a:lnTo>
                    <a:pt x="4269" y="3265"/>
                  </a:lnTo>
                  <a:lnTo>
                    <a:pt x="3600" y="3265"/>
                  </a:lnTo>
                  <a:lnTo>
                    <a:pt x="3453" y="3307"/>
                  </a:lnTo>
                  <a:lnTo>
                    <a:pt x="3307" y="3516"/>
                  </a:lnTo>
                  <a:lnTo>
                    <a:pt x="3202" y="3621"/>
                  </a:lnTo>
                  <a:lnTo>
                    <a:pt x="3118" y="3746"/>
                  </a:lnTo>
                  <a:lnTo>
                    <a:pt x="3139" y="3935"/>
                  </a:lnTo>
                  <a:lnTo>
                    <a:pt x="3097" y="4060"/>
                  </a:lnTo>
                  <a:lnTo>
                    <a:pt x="2700" y="4311"/>
                  </a:lnTo>
                  <a:lnTo>
                    <a:pt x="2072" y="4688"/>
                  </a:lnTo>
                  <a:lnTo>
                    <a:pt x="1612" y="4939"/>
                  </a:lnTo>
                  <a:lnTo>
                    <a:pt x="1361" y="5002"/>
                  </a:lnTo>
                  <a:lnTo>
                    <a:pt x="1152" y="5002"/>
                  </a:lnTo>
                  <a:lnTo>
                    <a:pt x="1047" y="5043"/>
                  </a:lnTo>
                  <a:lnTo>
                    <a:pt x="880" y="5043"/>
                  </a:lnTo>
                  <a:lnTo>
                    <a:pt x="587" y="5106"/>
                  </a:lnTo>
                  <a:lnTo>
                    <a:pt x="398" y="5211"/>
                  </a:lnTo>
                  <a:lnTo>
                    <a:pt x="294" y="5357"/>
                  </a:lnTo>
                  <a:lnTo>
                    <a:pt x="43" y="5546"/>
                  </a:lnTo>
                  <a:lnTo>
                    <a:pt x="43" y="6048"/>
                  </a:lnTo>
                  <a:lnTo>
                    <a:pt x="1" y="6194"/>
                  </a:lnTo>
                  <a:lnTo>
                    <a:pt x="2093" y="7617"/>
                  </a:lnTo>
                  <a:lnTo>
                    <a:pt x="5901" y="10128"/>
                  </a:lnTo>
                  <a:lnTo>
                    <a:pt x="5943" y="10379"/>
                  </a:lnTo>
                  <a:lnTo>
                    <a:pt x="6069" y="10484"/>
                  </a:lnTo>
                  <a:lnTo>
                    <a:pt x="6278" y="10484"/>
                  </a:lnTo>
                  <a:lnTo>
                    <a:pt x="6445" y="10546"/>
                  </a:lnTo>
                  <a:lnTo>
                    <a:pt x="6550" y="10672"/>
                  </a:lnTo>
                  <a:lnTo>
                    <a:pt x="6696" y="10735"/>
                  </a:lnTo>
                  <a:lnTo>
                    <a:pt x="6801" y="10797"/>
                  </a:lnTo>
                  <a:lnTo>
                    <a:pt x="6801" y="10902"/>
                  </a:lnTo>
                  <a:lnTo>
                    <a:pt x="6738" y="11090"/>
                  </a:lnTo>
                  <a:lnTo>
                    <a:pt x="6780" y="11174"/>
                  </a:lnTo>
                  <a:lnTo>
                    <a:pt x="6906" y="11216"/>
                  </a:lnTo>
                  <a:lnTo>
                    <a:pt x="7178" y="11195"/>
                  </a:lnTo>
                  <a:lnTo>
                    <a:pt x="7408" y="11111"/>
                  </a:lnTo>
                  <a:lnTo>
                    <a:pt x="8266" y="10902"/>
                  </a:lnTo>
                  <a:lnTo>
                    <a:pt x="8998" y="10253"/>
                  </a:lnTo>
                  <a:lnTo>
                    <a:pt x="11592" y="8663"/>
                  </a:lnTo>
                  <a:lnTo>
                    <a:pt x="11509" y="8580"/>
                  </a:lnTo>
                  <a:lnTo>
                    <a:pt x="11446" y="8496"/>
                  </a:lnTo>
                  <a:lnTo>
                    <a:pt x="11383" y="8454"/>
                  </a:lnTo>
                  <a:lnTo>
                    <a:pt x="11279" y="8224"/>
                  </a:lnTo>
                  <a:lnTo>
                    <a:pt x="11195" y="8077"/>
                  </a:lnTo>
                  <a:lnTo>
                    <a:pt x="11090" y="8015"/>
                  </a:lnTo>
                  <a:lnTo>
                    <a:pt x="10651" y="8015"/>
                  </a:lnTo>
                  <a:lnTo>
                    <a:pt x="10567" y="7931"/>
                  </a:lnTo>
                  <a:lnTo>
                    <a:pt x="10546" y="7826"/>
                  </a:lnTo>
                  <a:lnTo>
                    <a:pt x="10504" y="7743"/>
                  </a:lnTo>
                  <a:lnTo>
                    <a:pt x="10463" y="7596"/>
                  </a:lnTo>
                  <a:lnTo>
                    <a:pt x="10504" y="7512"/>
                  </a:lnTo>
                  <a:lnTo>
                    <a:pt x="10463" y="7387"/>
                  </a:lnTo>
                  <a:lnTo>
                    <a:pt x="10421" y="7345"/>
                  </a:lnTo>
                  <a:lnTo>
                    <a:pt x="10316" y="7115"/>
                  </a:lnTo>
                  <a:lnTo>
                    <a:pt x="10191" y="6927"/>
                  </a:lnTo>
                  <a:lnTo>
                    <a:pt x="10107" y="6864"/>
                  </a:lnTo>
                  <a:lnTo>
                    <a:pt x="10149" y="6801"/>
                  </a:lnTo>
                  <a:lnTo>
                    <a:pt x="10191" y="6759"/>
                  </a:lnTo>
                  <a:lnTo>
                    <a:pt x="10316" y="6655"/>
                  </a:lnTo>
                  <a:lnTo>
                    <a:pt x="10358" y="6571"/>
                  </a:lnTo>
                  <a:lnTo>
                    <a:pt x="10337" y="6362"/>
                  </a:lnTo>
                  <a:lnTo>
                    <a:pt x="10295" y="6236"/>
                  </a:lnTo>
                  <a:lnTo>
                    <a:pt x="10316" y="6173"/>
                  </a:lnTo>
                  <a:lnTo>
                    <a:pt x="10358" y="5860"/>
                  </a:lnTo>
                  <a:lnTo>
                    <a:pt x="10295" y="5713"/>
                  </a:lnTo>
                  <a:lnTo>
                    <a:pt x="10295" y="5399"/>
                  </a:lnTo>
                  <a:lnTo>
                    <a:pt x="10295" y="5336"/>
                  </a:lnTo>
                  <a:lnTo>
                    <a:pt x="10253" y="5127"/>
                  </a:lnTo>
                  <a:lnTo>
                    <a:pt x="10253" y="4730"/>
                  </a:lnTo>
                  <a:lnTo>
                    <a:pt x="10191" y="4604"/>
                  </a:lnTo>
                  <a:lnTo>
                    <a:pt x="10128" y="4583"/>
                  </a:lnTo>
                  <a:lnTo>
                    <a:pt x="10128" y="4374"/>
                  </a:lnTo>
                  <a:lnTo>
                    <a:pt x="10191" y="4311"/>
                  </a:lnTo>
                  <a:lnTo>
                    <a:pt x="9814" y="3160"/>
                  </a:lnTo>
                  <a:lnTo>
                    <a:pt x="9688" y="3014"/>
                  </a:lnTo>
                  <a:lnTo>
                    <a:pt x="9584" y="2993"/>
                  </a:lnTo>
                  <a:lnTo>
                    <a:pt x="9521" y="2930"/>
                  </a:lnTo>
                  <a:lnTo>
                    <a:pt x="9395" y="2888"/>
                  </a:lnTo>
                  <a:lnTo>
                    <a:pt x="9375" y="2742"/>
                  </a:lnTo>
                  <a:lnTo>
                    <a:pt x="9186" y="2595"/>
                  </a:lnTo>
                  <a:lnTo>
                    <a:pt x="9144" y="2595"/>
                  </a:lnTo>
                  <a:lnTo>
                    <a:pt x="9061" y="2470"/>
                  </a:lnTo>
                  <a:lnTo>
                    <a:pt x="9082" y="2407"/>
                  </a:lnTo>
                  <a:lnTo>
                    <a:pt x="9040" y="2261"/>
                  </a:lnTo>
                  <a:lnTo>
                    <a:pt x="8977" y="2219"/>
                  </a:lnTo>
                  <a:lnTo>
                    <a:pt x="9061" y="1968"/>
                  </a:lnTo>
                  <a:lnTo>
                    <a:pt x="9186" y="1800"/>
                  </a:lnTo>
                  <a:lnTo>
                    <a:pt x="9270" y="1779"/>
                  </a:lnTo>
                  <a:lnTo>
                    <a:pt x="9312" y="1696"/>
                  </a:lnTo>
                  <a:lnTo>
                    <a:pt x="9395" y="1654"/>
                  </a:lnTo>
                  <a:lnTo>
                    <a:pt x="9416" y="1445"/>
                  </a:lnTo>
                  <a:lnTo>
                    <a:pt x="9479" y="1382"/>
                  </a:lnTo>
                  <a:lnTo>
                    <a:pt x="9395" y="1319"/>
                  </a:lnTo>
                  <a:lnTo>
                    <a:pt x="9458" y="1235"/>
                  </a:lnTo>
                  <a:lnTo>
                    <a:pt x="9500" y="1173"/>
                  </a:lnTo>
                  <a:lnTo>
                    <a:pt x="9479" y="1152"/>
                  </a:lnTo>
                  <a:lnTo>
                    <a:pt x="9416" y="1047"/>
                  </a:lnTo>
                  <a:lnTo>
                    <a:pt x="9375" y="901"/>
                  </a:lnTo>
                  <a:lnTo>
                    <a:pt x="9479" y="629"/>
                  </a:lnTo>
                  <a:lnTo>
                    <a:pt x="9479" y="440"/>
                  </a:lnTo>
                  <a:lnTo>
                    <a:pt x="9500" y="294"/>
                  </a:lnTo>
                  <a:lnTo>
                    <a:pt x="9479" y="210"/>
                  </a:lnTo>
                  <a:lnTo>
                    <a:pt x="9500" y="126"/>
                  </a:lnTo>
                  <a:lnTo>
                    <a:pt x="9479" y="106"/>
                  </a:lnTo>
                  <a:lnTo>
                    <a:pt x="9291" y="126"/>
                  </a:lnTo>
                  <a:lnTo>
                    <a:pt x="9207" y="106"/>
                  </a:lnTo>
                  <a:lnTo>
                    <a:pt x="8977" y="189"/>
                  </a:lnTo>
                  <a:lnTo>
                    <a:pt x="8851" y="85"/>
                  </a:lnTo>
                  <a:lnTo>
                    <a:pt x="8684" y="22"/>
                  </a:lnTo>
                  <a:lnTo>
                    <a:pt x="8684" y="85"/>
                  </a:lnTo>
                  <a:lnTo>
                    <a:pt x="8579" y="189"/>
                  </a:lnTo>
                  <a:lnTo>
                    <a:pt x="8370" y="168"/>
                  </a:lnTo>
                  <a:lnTo>
                    <a:pt x="8370" y="64"/>
                  </a:lnTo>
                  <a:lnTo>
                    <a:pt x="83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 name="Google Shape;6027;p93">
              <a:extLst>
                <a:ext uri="{FF2B5EF4-FFF2-40B4-BE49-F238E27FC236}">
                  <a16:creationId xmlns:a16="http://schemas.microsoft.com/office/drawing/2014/main" id="{8AC9818D-CBED-4E59-8752-187E727CDCC2}"/>
                </a:ext>
              </a:extLst>
            </p:cNvPr>
            <p:cNvSpPr/>
            <p:nvPr/>
          </p:nvSpPr>
          <p:spPr>
            <a:xfrm>
              <a:off x="3661636" y="2898825"/>
              <a:ext cx="79733" cy="60206"/>
            </a:xfrm>
            <a:custGeom>
              <a:avLst/>
              <a:gdLst/>
              <a:ahLst/>
              <a:cxnLst/>
              <a:rect l="l" t="t" r="r" b="b"/>
              <a:pathLst>
                <a:path w="6696" h="5294" extrusionOk="0">
                  <a:moveTo>
                    <a:pt x="4269" y="0"/>
                  </a:moveTo>
                  <a:lnTo>
                    <a:pt x="4164" y="42"/>
                  </a:lnTo>
                  <a:lnTo>
                    <a:pt x="4122" y="84"/>
                  </a:lnTo>
                  <a:lnTo>
                    <a:pt x="4038" y="84"/>
                  </a:lnTo>
                  <a:lnTo>
                    <a:pt x="3913" y="188"/>
                  </a:lnTo>
                  <a:lnTo>
                    <a:pt x="3871" y="502"/>
                  </a:lnTo>
                  <a:lnTo>
                    <a:pt x="3766" y="691"/>
                  </a:lnTo>
                  <a:lnTo>
                    <a:pt x="3745" y="921"/>
                  </a:lnTo>
                  <a:lnTo>
                    <a:pt x="3662" y="1046"/>
                  </a:lnTo>
                  <a:lnTo>
                    <a:pt x="3411" y="1318"/>
                  </a:lnTo>
                  <a:lnTo>
                    <a:pt x="3327" y="1318"/>
                  </a:lnTo>
                  <a:lnTo>
                    <a:pt x="3222" y="1402"/>
                  </a:lnTo>
                  <a:lnTo>
                    <a:pt x="2992" y="1465"/>
                  </a:lnTo>
                  <a:lnTo>
                    <a:pt x="2825" y="1632"/>
                  </a:lnTo>
                  <a:lnTo>
                    <a:pt x="2783" y="1632"/>
                  </a:lnTo>
                  <a:lnTo>
                    <a:pt x="2553" y="1779"/>
                  </a:lnTo>
                  <a:lnTo>
                    <a:pt x="2406" y="1841"/>
                  </a:lnTo>
                  <a:lnTo>
                    <a:pt x="2344" y="1967"/>
                  </a:lnTo>
                  <a:lnTo>
                    <a:pt x="2072" y="2155"/>
                  </a:lnTo>
                  <a:lnTo>
                    <a:pt x="2155" y="2365"/>
                  </a:lnTo>
                  <a:lnTo>
                    <a:pt x="2155" y="2490"/>
                  </a:lnTo>
                  <a:lnTo>
                    <a:pt x="1925" y="2699"/>
                  </a:lnTo>
                  <a:lnTo>
                    <a:pt x="1758" y="3013"/>
                  </a:lnTo>
                  <a:lnTo>
                    <a:pt x="1758" y="3118"/>
                  </a:lnTo>
                  <a:lnTo>
                    <a:pt x="1862" y="3327"/>
                  </a:lnTo>
                  <a:lnTo>
                    <a:pt x="1779" y="3536"/>
                  </a:lnTo>
                  <a:lnTo>
                    <a:pt x="1841" y="3599"/>
                  </a:lnTo>
                  <a:lnTo>
                    <a:pt x="1883" y="3662"/>
                  </a:lnTo>
                  <a:lnTo>
                    <a:pt x="1862" y="3829"/>
                  </a:lnTo>
                  <a:lnTo>
                    <a:pt x="1507" y="4248"/>
                  </a:lnTo>
                  <a:lnTo>
                    <a:pt x="1444" y="4394"/>
                  </a:lnTo>
                  <a:lnTo>
                    <a:pt x="1297" y="4582"/>
                  </a:lnTo>
                  <a:lnTo>
                    <a:pt x="1109" y="4603"/>
                  </a:lnTo>
                  <a:lnTo>
                    <a:pt x="712" y="4959"/>
                  </a:lnTo>
                  <a:lnTo>
                    <a:pt x="147" y="5064"/>
                  </a:lnTo>
                  <a:lnTo>
                    <a:pt x="0" y="5273"/>
                  </a:lnTo>
                  <a:lnTo>
                    <a:pt x="2344" y="5294"/>
                  </a:lnTo>
                  <a:lnTo>
                    <a:pt x="2344" y="4792"/>
                  </a:lnTo>
                  <a:lnTo>
                    <a:pt x="2595" y="4603"/>
                  </a:lnTo>
                  <a:lnTo>
                    <a:pt x="2699" y="4457"/>
                  </a:lnTo>
                  <a:lnTo>
                    <a:pt x="2888" y="4352"/>
                  </a:lnTo>
                  <a:lnTo>
                    <a:pt x="3181" y="4289"/>
                  </a:lnTo>
                  <a:lnTo>
                    <a:pt x="3348" y="4289"/>
                  </a:lnTo>
                  <a:lnTo>
                    <a:pt x="3453" y="4248"/>
                  </a:lnTo>
                  <a:lnTo>
                    <a:pt x="3662" y="4248"/>
                  </a:lnTo>
                  <a:lnTo>
                    <a:pt x="3913" y="4185"/>
                  </a:lnTo>
                  <a:lnTo>
                    <a:pt x="4373" y="3934"/>
                  </a:lnTo>
                  <a:lnTo>
                    <a:pt x="5001" y="3557"/>
                  </a:lnTo>
                  <a:lnTo>
                    <a:pt x="5398" y="3306"/>
                  </a:lnTo>
                  <a:lnTo>
                    <a:pt x="5440" y="3181"/>
                  </a:lnTo>
                  <a:lnTo>
                    <a:pt x="5419" y="2992"/>
                  </a:lnTo>
                  <a:lnTo>
                    <a:pt x="5503" y="2867"/>
                  </a:lnTo>
                  <a:lnTo>
                    <a:pt x="5608" y="2762"/>
                  </a:lnTo>
                  <a:lnTo>
                    <a:pt x="5754" y="2553"/>
                  </a:lnTo>
                  <a:lnTo>
                    <a:pt x="5901" y="2511"/>
                  </a:lnTo>
                  <a:lnTo>
                    <a:pt x="6570" y="2511"/>
                  </a:lnTo>
                  <a:lnTo>
                    <a:pt x="6654" y="2406"/>
                  </a:lnTo>
                  <a:lnTo>
                    <a:pt x="6633" y="2365"/>
                  </a:lnTo>
                  <a:lnTo>
                    <a:pt x="6696" y="2197"/>
                  </a:lnTo>
                  <a:lnTo>
                    <a:pt x="6654" y="2176"/>
                  </a:lnTo>
                  <a:lnTo>
                    <a:pt x="6570" y="2155"/>
                  </a:lnTo>
                  <a:lnTo>
                    <a:pt x="6528" y="2093"/>
                  </a:lnTo>
                  <a:lnTo>
                    <a:pt x="6445" y="2093"/>
                  </a:lnTo>
                  <a:lnTo>
                    <a:pt x="6424" y="1967"/>
                  </a:lnTo>
                  <a:lnTo>
                    <a:pt x="6340" y="1821"/>
                  </a:lnTo>
                  <a:lnTo>
                    <a:pt x="6277" y="1360"/>
                  </a:lnTo>
                  <a:lnTo>
                    <a:pt x="6256" y="1297"/>
                  </a:lnTo>
                  <a:lnTo>
                    <a:pt x="6256" y="1046"/>
                  </a:lnTo>
                  <a:lnTo>
                    <a:pt x="6256" y="879"/>
                  </a:lnTo>
                  <a:lnTo>
                    <a:pt x="6235" y="837"/>
                  </a:lnTo>
                  <a:lnTo>
                    <a:pt x="6214" y="732"/>
                  </a:lnTo>
                  <a:lnTo>
                    <a:pt x="6152" y="628"/>
                  </a:lnTo>
                  <a:lnTo>
                    <a:pt x="6131" y="586"/>
                  </a:lnTo>
                  <a:lnTo>
                    <a:pt x="6068" y="502"/>
                  </a:lnTo>
                  <a:lnTo>
                    <a:pt x="6005" y="523"/>
                  </a:lnTo>
                  <a:lnTo>
                    <a:pt x="5691" y="502"/>
                  </a:lnTo>
                  <a:lnTo>
                    <a:pt x="5608" y="419"/>
                  </a:lnTo>
                  <a:lnTo>
                    <a:pt x="5587" y="314"/>
                  </a:lnTo>
                  <a:lnTo>
                    <a:pt x="5524" y="293"/>
                  </a:lnTo>
                  <a:lnTo>
                    <a:pt x="5419" y="398"/>
                  </a:lnTo>
                  <a:lnTo>
                    <a:pt x="5231" y="460"/>
                  </a:lnTo>
                  <a:lnTo>
                    <a:pt x="5064" y="398"/>
                  </a:lnTo>
                  <a:lnTo>
                    <a:pt x="4959" y="398"/>
                  </a:lnTo>
                  <a:lnTo>
                    <a:pt x="4854" y="460"/>
                  </a:lnTo>
                  <a:lnTo>
                    <a:pt x="4666" y="481"/>
                  </a:lnTo>
                  <a:lnTo>
                    <a:pt x="4541" y="460"/>
                  </a:lnTo>
                  <a:lnTo>
                    <a:pt x="4373" y="293"/>
                  </a:lnTo>
                  <a:lnTo>
                    <a:pt x="4331" y="251"/>
                  </a:lnTo>
                  <a:lnTo>
                    <a:pt x="4290" y="147"/>
                  </a:lnTo>
                  <a:lnTo>
                    <a:pt x="4290" y="84"/>
                  </a:lnTo>
                  <a:lnTo>
                    <a:pt x="4290" y="42"/>
                  </a:lnTo>
                  <a:lnTo>
                    <a:pt x="426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 name="Google Shape;6028;p93">
              <a:extLst>
                <a:ext uri="{FF2B5EF4-FFF2-40B4-BE49-F238E27FC236}">
                  <a16:creationId xmlns:a16="http://schemas.microsoft.com/office/drawing/2014/main" id="{B2BBD4AE-EBDF-4228-AE2A-1A5990085C0D}"/>
                </a:ext>
              </a:extLst>
            </p:cNvPr>
            <p:cNvSpPr/>
            <p:nvPr/>
          </p:nvSpPr>
          <p:spPr>
            <a:xfrm>
              <a:off x="3632974" y="2958780"/>
              <a:ext cx="56573" cy="43318"/>
            </a:xfrm>
            <a:custGeom>
              <a:avLst/>
              <a:gdLst/>
              <a:ahLst/>
              <a:cxnLst/>
              <a:rect l="l" t="t" r="r" b="b"/>
              <a:pathLst>
                <a:path w="4751" h="3809" extrusionOk="0">
                  <a:moveTo>
                    <a:pt x="2407" y="1"/>
                  </a:moveTo>
                  <a:lnTo>
                    <a:pt x="2177" y="315"/>
                  </a:lnTo>
                  <a:lnTo>
                    <a:pt x="2177" y="524"/>
                  </a:lnTo>
                  <a:lnTo>
                    <a:pt x="2072" y="545"/>
                  </a:lnTo>
                  <a:lnTo>
                    <a:pt x="1675" y="754"/>
                  </a:lnTo>
                  <a:lnTo>
                    <a:pt x="1633" y="859"/>
                  </a:lnTo>
                  <a:lnTo>
                    <a:pt x="1466" y="942"/>
                  </a:lnTo>
                  <a:lnTo>
                    <a:pt x="1528" y="1089"/>
                  </a:lnTo>
                  <a:lnTo>
                    <a:pt x="1194" y="1612"/>
                  </a:lnTo>
                  <a:lnTo>
                    <a:pt x="1152" y="1779"/>
                  </a:lnTo>
                  <a:lnTo>
                    <a:pt x="901" y="2030"/>
                  </a:lnTo>
                  <a:lnTo>
                    <a:pt x="796" y="2093"/>
                  </a:lnTo>
                  <a:lnTo>
                    <a:pt x="671" y="2365"/>
                  </a:lnTo>
                  <a:lnTo>
                    <a:pt x="671" y="2470"/>
                  </a:lnTo>
                  <a:lnTo>
                    <a:pt x="461" y="2763"/>
                  </a:lnTo>
                  <a:lnTo>
                    <a:pt x="419" y="2847"/>
                  </a:lnTo>
                  <a:lnTo>
                    <a:pt x="503" y="2888"/>
                  </a:lnTo>
                  <a:lnTo>
                    <a:pt x="398" y="2930"/>
                  </a:lnTo>
                  <a:lnTo>
                    <a:pt x="210" y="3265"/>
                  </a:lnTo>
                  <a:lnTo>
                    <a:pt x="147" y="3286"/>
                  </a:lnTo>
                  <a:lnTo>
                    <a:pt x="64" y="3370"/>
                  </a:lnTo>
                  <a:lnTo>
                    <a:pt x="85" y="3495"/>
                  </a:lnTo>
                  <a:lnTo>
                    <a:pt x="1" y="3621"/>
                  </a:lnTo>
                  <a:lnTo>
                    <a:pt x="43" y="3809"/>
                  </a:lnTo>
                  <a:lnTo>
                    <a:pt x="2344" y="3809"/>
                  </a:lnTo>
                  <a:lnTo>
                    <a:pt x="2303" y="2742"/>
                  </a:lnTo>
                  <a:lnTo>
                    <a:pt x="2386" y="2575"/>
                  </a:lnTo>
                  <a:lnTo>
                    <a:pt x="2512" y="2512"/>
                  </a:lnTo>
                  <a:lnTo>
                    <a:pt x="2658" y="2470"/>
                  </a:lnTo>
                  <a:lnTo>
                    <a:pt x="2867" y="2470"/>
                  </a:lnTo>
                  <a:lnTo>
                    <a:pt x="2888" y="963"/>
                  </a:lnTo>
                  <a:lnTo>
                    <a:pt x="4709" y="984"/>
                  </a:lnTo>
                  <a:lnTo>
                    <a:pt x="4709" y="168"/>
                  </a:lnTo>
                  <a:lnTo>
                    <a:pt x="4751" y="22"/>
                  </a:lnTo>
                  <a:lnTo>
                    <a:pt x="24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 name="Google Shape;6029;p93">
              <a:extLst>
                <a:ext uri="{FF2B5EF4-FFF2-40B4-BE49-F238E27FC236}">
                  <a16:creationId xmlns:a16="http://schemas.microsoft.com/office/drawing/2014/main" id="{CE5AB296-4578-4003-BE91-3A666DF6BB9D}"/>
                </a:ext>
              </a:extLst>
            </p:cNvPr>
            <p:cNvSpPr/>
            <p:nvPr/>
          </p:nvSpPr>
          <p:spPr>
            <a:xfrm>
              <a:off x="3632736" y="2960691"/>
              <a:ext cx="81233" cy="85430"/>
            </a:xfrm>
            <a:custGeom>
              <a:avLst/>
              <a:gdLst/>
              <a:ahLst/>
              <a:cxnLst/>
              <a:rect l="l" t="t" r="r" b="b"/>
              <a:pathLst>
                <a:path w="6822" h="7512" extrusionOk="0">
                  <a:moveTo>
                    <a:pt x="4729" y="0"/>
                  </a:moveTo>
                  <a:lnTo>
                    <a:pt x="4729" y="816"/>
                  </a:lnTo>
                  <a:lnTo>
                    <a:pt x="2908" y="795"/>
                  </a:lnTo>
                  <a:lnTo>
                    <a:pt x="2887" y="2302"/>
                  </a:lnTo>
                  <a:lnTo>
                    <a:pt x="2678" y="2302"/>
                  </a:lnTo>
                  <a:lnTo>
                    <a:pt x="2532" y="2344"/>
                  </a:lnTo>
                  <a:lnTo>
                    <a:pt x="2406" y="2407"/>
                  </a:lnTo>
                  <a:lnTo>
                    <a:pt x="2323" y="2574"/>
                  </a:lnTo>
                  <a:lnTo>
                    <a:pt x="2364" y="3641"/>
                  </a:lnTo>
                  <a:lnTo>
                    <a:pt x="63" y="3641"/>
                  </a:lnTo>
                  <a:lnTo>
                    <a:pt x="63" y="3662"/>
                  </a:lnTo>
                  <a:lnTo>
                    <a:pt x="0" y="3808"/>
                  </a:lnTo>
                  <a:lnTo>
                    <a:pt x="0" y="4039"/>
                  </a:lnTo>
                  <a:lnTo>
                    <a:pt x="126" y="3871"/>
                  </a:lnTo>
                  <a:lnTo>
                    <a:pt x="188" y="4018"/>
                  </a:lnTo>
                  <a:lnTo>
                    <a:pt x="209" y="4039"/>
                  </a:lnTo>
                  <a:lnTo>
                    <a:pt x="293" y="3976"/>
                  </a:lnTo>
                  <a:lnTo>
                    <a:pt x="439" y="4248"/>
                  </a:lnTo>
                  <a:lnTo>
                    <a:pt x="398" y="4331"/>
                  </a:lnTo>
                  <a:lnTo>
                    <a:pt x="418" y="4436"/>
                  </a:lnTo>
                  <a:lnTo>
                    <a:pt x="398" y="4645"/>
                  </a:lnTo>
                  <a:lnTo>
                    <a:pt x="314" y="4645"/>
                  </a:lnTo>
                  <a:lnTo>
                    <a:pt x="230" y="4687"/>
                  </a:lnTo>
                  <a:lnTo>
                    <a:pt x="418" y="4917"/>
                  </a:lnTo>
                  <a:lnTo>
                    <a:pt x="523" y="5524"/>
                  </a:lnTo>
                  <a:lnTo>
                    <a:pt x="481" y="5943"/>
                  </a:lnTo>
                  <a:lnTo>
                    <a:pt x="335" y="6131"/>
                  </a:lnTo>
                  <a:lnTo>
                    <a:pt x="272" y="6487"/>
                  </a:lnTo>
                  <a:lnTo>
                    <a:pt x="209" y="6738"/>
                  </a:lnTo>
                  <a:lnTo>
                    <a:pt x="314" y="6654"/>
                  </a:lnTo>
                  <a:lnTo>
                    <a:pt x="398" y="6654"/>
                  </a:lnTo>
                  <a:lnTo>
                    <a:pt x="523" y="6549"/>
                  </a:lnTo>
                  <a:lnTo>
                    <a:pt x="837" y="6487"/>
                  </a:lnTo>
                  <a:lnTo>
                    <a:pt x="1130" y="6382"/>
                  </a:lnTo>
                  <a:lnTo>
                    <a:pt x="1235" y="6382"/>
                  </a:lnTo>
                  <a:lnTo>
                    <a:pt x="1486" y="6466"/>
                  </a:lnTo>
                  <a:lnTo>
                    <a:pt x="1653" y="6487"/>
                  </a:lnTo>
                  <a:lnTo>
                    <a:pt x="1779" y="6654"/>
                  </a:lnTo>
                  <a:lnTo>
                    <a:pt x="1779" y="6738"/>
                  </a:lnTo>
                  <a:lnTo>
                    <a:pt x="1862" y="6759"/>
                  </a:lnTo>
                  <a:lnTo>
                    <a:pt x="1946" y="6696"/>
                  </a:lnTo>
                  <a:lnTo>
                    <a:pt x="1988" y="6738"/>
                  </a:lnTo>
                  <a:lnTo>
                    <a:pt x="2071" y="6738"/>
                  </a:lnTo>
                  <a:lnTo>
                    <a:pt x="2113" y="6780"/>
                  </a:lnTo>
                  <a:lnTo>
                    <a:pt x="2155" y="6905"/>
                  </a:lnTo>
                  <a:lnTo>
                    <a:pt x="2281" y="7010"/>
                  </a:lnTo>
                  <a:lnTo>
                    <a:pt x="2281" y="7156"/>
                  </a:lnTo>
                  <a:lnTo>
                    <a:pt x="2406" y="7177"/>
                  </a:lnTo>
                  <a:lnTo>
                    <a:pt x="2427" y="7303"/>
                  </a:lnTo>
                  <a:lnTo>
                    <a:pt x="2532" y="7324"/>
                  </a:lnTo>
                  <a:lnTo>
                    <a:pt x="2699" y="7428"/>
                  </a:lnTo>
                  <a:lnTo>
                    <a:pt x="2720" y="7512"/>
                  </a:lnTo>
                  <a:lnTo>
                    <a:pt x="2846" y="7407"/>
                  </a:lnTo>
                  <a:lnTo>
                    <a:pt x="3034" y="7407"/>
                  </a:lnTo>
                  <a:lnTo>
                    <a:pt x="3097" y="7261"/>
                  </a:lnTo>
                  <a:lnTo>
                    <a:pt x="3097" y="7177"/>
                  </a:lnTo>
                  <a:lnTo>
                    <a:pt x="3097" y="6947"/>
                  </a:lnTo>
                  <a:lnTo>
                    <a:pt x="3264" y="6884"/>
                  </a:lnTo>
                  <a:lnTo>
                    <a:pt x="3411" y="6884"/>
                  </a:lnTo>
                  <a:lnTo>
                    <a:pt x="3431" y="7052"/>
                  </a:lnTo>
                  <a:lnTo>
                    <a:pt x="3515" y="7219"/>
                  </a:lnTo>
                  <a:lnTo>
                    <a:pt x="3578" y="7282"/>
                  </a:lnTo>
                  <a:lnTo>
                    <a:pt x="3724" y="6989"/>
                  </a:lnTo>
                  <a:lnTo>
                    <a:pt x="3996" y="6863"/>
                  </a:lnTo>
                  <a:lnTo>
                    <a:pt x="4143" y="6905"/>
                  </a:lnTo>
                  <a:lnTo>
                    <a:pt x="4164" y="7093"/>
                  </a:lnTo>
                  <a:lnTo>
                    <a:pt x="4206" y="7156"/>
                  </a:lnTo>
                  <a:lnTo>
                    <a:pt x="4310" y="7052"/>
                  </a:lnTo>
                  <a:lnTo>
                    <a:pt x="4394" y="7052"/>
                  </a:lnTo>
                  <a:lnTo>
                    <a:pt x="4457" y="7114"/>
                  </a:lnTo>
                  <a:lnTo>
                    <a:pt x="4520" y="7156"/>
                  </a:lnTo>
                  <a:lnTo>
                    <a:pt x="6570" y="7156"/>
                  </a:lnTo>
                  <a:lnTo>
                    <a:pt x="6758" y="6633"/>
                  </a:lnTo>
                  <a:lnTo>
                    <a:pt x="6570" y="6528"/>
                  </a:lnTo>
                  <a:lnTo>
                    <a:pt x="6131" y="1423"/>
                  </a:lnTo>
                  <a:lnTo>
                    <a:pt x="6821" y="1423"/>
                  </a:lnTo>
                  <a:lnTo>
                    <a:pt x="472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 name="Google Shape;6030;p93">
              <a:extLst>
                <a:ext uri="{FF2B5EF4-FFF2-40B4-BE49-F238E27FC236}">
                  <a16:creationId xmlns:a16="http://schemas.microsoft.com/office/drawing/2014/main" id="{6785E040-F458-47E0-A91D-4B8E19980E34}"/>
                </a:ext>
              </a:extLst>
            </p:cNvPr>
            <p:cNvSpPr/>
            <p:nvPr/>
          </p:nvSpPr>
          <p:spPr>
            <a:xfrm>
              <a:off x="3665125" y="2976874"/>
              <a:ext cx="112121" cy="99236"/>
            </a:xfrm>
            <a:custGeom>
              <a:avLst/>
              <a:gdLst/>
              <a:ahLst/>
              <a:cxnLst/>
              <a:rect l="l" t="t" r="r" b="b"/>
              <a:pathLst>
                <a:path w="9416" h="8726" extrusionOk="0">
                  <a:moveTo>
                    <a:pt x="3411" y="0"/>
                  </a:moveTo>
                  <a:lnTo>
                    <a:pt x="3850" y="5105"/>
                  </a:lnTo>
                  <a:lnTo>
                    <a:pt x="4038" y="5210"/>
                  </a:lnTo>
                  <a:lnTo>
                    <a:pt x="3850" y="5733"/>
                  </a:lnTo>
                  <a:lnTo>
                    <a:pt x="1800" y="5733"/>
                  </a:lnTo>
                  <a:lnTo>
                    <a:pt x="1737" y="5691"/>
                  </a:lnTo>
                  <a:lnTo>
                    <a:pt x="1674" y="5629"/>
                  </a:lnTo>
                  <a:lnTo>
                    <a:pt x="1590" y="5629"/>
                  </a:lnTo>
                  <a:lnTo>
                    <a:pt x="1486" y="5733"/>
                  </a:lnTo>
                  <a:lnTo>
                    <a:pt x="1444" y="5670"/>
                  </a:lnTo>
                  <a:lnTo>
                    <a:pt x="1423" y="5482"/>
                  </a:lnTo>
                  <a:lnTo>
                    <a:pt x="1276" y="5440"/>
                  </a:lnTo>
                  <a:lnTo>
                    <a:pt x="1004" y="5566"/>
                  </a:lnTo>
                  <a:lnTo>
                    <a:pt x="858" y="5859"/>
                  </a:lnTo>
                  <a:lnTo>
                    <a:pt x="795" y="5796"/>
                  </a:lnTo>
                  <a:lnTo>
                    <a:pt x="711" y="5629"/>
                  </a:lnTo>
                  <a:lnTo>
                    <a:pt x="691" y="5461"/>
                  </a:lnTo>
                  <a:lnTo>
                    <a:pt x="544" y="5461"/>
                  </a:lnTo>
                  <a:lnTo>
                    <a:pt x="377" y="5524"/>
                  </a:lnTo>
                  <a:lnTo>
                    <a:pt x="377" y="5754"/>
                  </a:lnTo>
                  <a:lnTo>
                    <a:pt x="377" y="5838"/>
                  </a:lnTo>
                  <a:lnTo>
                    <a:pt x="314" y="5984"/>
                  </a:lnTo>
                  <a:lnTo>
                    <a:pt x="126" y="5984"/>
                  </a:lnTo>
                  <a:lnTo>
                    <a:pt x="0" y="6089"/>
                  </a:lnTo>
                  <a:lnTo>
                    <a:pt x="84" y="6173"/>
                  </a:lnTo>
                  <a:lnTo>
                    <a:pt x="84" y="6277"/>
                  </a:lnTo>
                  <a:lnTo>
                    <a:pt x="105" y="6361"/>
                  </a:lnTo>
                  <a:lnTo>
                    <a:pt x="63" y="6591"/>
                  </a:lnTo>
                  <a:lnTo>
                    <a:pt x="84" y="6675"/>
                  </a:lnTo>
                  <a:lnTo>
                    <a:pt x="209" y="6800"/>
                  </a:lnTo>
                  <a:lnTo>
                    <a:pt x="272" y="6926"/>
                  </a:lnTo>
                  <a:lnTo>
                    <a:pt x="335" y="7010"/>
                  </a:lnTo>
                  <a:lnTo>
                    <a:pt x="398" y="6989"/>
                  </a:lnTo>
                  <a:lnTo>
                    <a:pt x="481" y="7030"/>
                  </a:lnTo>
                  <a:lnTo>
                    <a:pt x="502" y="7114"/>
                  </a:lnTo>
                  <a:lnTo>
                    <a:pt x="586" y="7219"/>
                  </a:lnTo>
                  <a:lnTo>
                    <a:pt x="586" y="7261"/>
                  </a:lnTo>
                  <a:lnTo>
                    <a:pt x="523" y="7344"/>
                  </a:lnTo>
                  <a:lnTo>
                    <a:pt x="544" y="7428"/>
                  </a:lnTo>
                  <a:lnTo>
                    <a:pt x="691" y="7512"/>
                  </a:lnTo>
                  <a:lnTo>
                    <a:pt x="691" y="7616"/>
                  </a:lnTo>
                  <a:lnTo>
                    <a:pt x="649" y="7679"/>
                  </a:lnTo>
                  <a:lnTo>
                    <a:pt x="732" y="7721"/>
                  </a:lnTo>
                  <a:lnTo>
                    <a:pt x="837" y="7658"/>
                  </a:lnTo>
                  <a:lnTo>
                    <a:pt x="921" y="7679"/>
                  </a:lnTo>
                  <a:lnTo>
                    <a:pt x="1046" y="7784"/>
                  </a:lnTo>
                  <a:lnTo>
                    <a:pt x="1214" y="7784"/>
                  </a:lnTo>
                  <a:lnTo>
                    <a:pt x="1318" y="7721"/>
                  </a:lnTo>
                  <a:lnTo>
                    <a:pt x="1381" y="7679"/>
                  </a:lnTo>
                  <a:lnTo>
                    <a:pt x="1486" y="7533"/>
                  </a:lnTo>
                  <a:lnTo>
                    <a:pt x="1632" y="7533"/>
                  </a:lnTo>
                  <a:lnTo>
                    <a:pt x="1779" y="7616"/>
                  </a:lnTo>
                  <a:lnTo>
                    <a:pt x="1800" y="7554"/>
                  </a:lnTo>
                  <a:lnTo>
                    <a:pt x="1904" y="7533"/>
                  </a:lnTo>
                  <a:lnTo>
                    <a:pt x="1946" y="7574"/>
                  </a:lnTo>
                  <a:lnTo>
                    <a:pt x="2072" y="7679"/>
                  </a:lnTo>
                  <a:lnTo>
                    <a:pt x="2113" y="7826"/>
                  </a:lnTo>
                  <a:lnTo>
                    <a:pt x="2092" y="7972"/>
                  </a:lnTo>
                  <a:lnTo>
                    <a:pt x="2155" y="8035"/>
                  </a:lnTo>
                  <a:lnTo>
                    <a:pt x="2281" y="8056"/>
                  </a:lnTo>
                  <a:lnTo>
                    <a:pt x="2281" y="8098"/>
                  </a:lnTo>
                  <a:lnTo>
                    <a:pt x="2176" y="8265"/>
                  </a:lnTo>
                  <a:lnTo>
                    <a:pt x="2113" y="8411"/>
                  </a:lnTo>
                  <a:lnTo>
                    <a:pt x="2113" y="8411"/>
                  </a:lnTo>
                  <a:lnTo>
                    <a:pt x="2218" y="8390"/>
                  </a:lnTo>
                  <a:lnTo>
                    <a:pt x="2281" y="8307"/>
                  </a:lnTo>
                  <a:lnTo>
                    <a:pt x="2364" y="8307"/>
                  </a:lnTo>
                  <a:lnTo>
                    <a:pt x="2364" y="8411"/>
                  </a:lnTo>
                  <a:lnTo>
                    <a:pt x="2385" y="8495"/>
                  </a:lnTo>
                  <a:lnTo>
                    <a:pt x="2385" y="8558"/>
                  </a:lnTo>
                  <a:lnTo>
                    <a:pt x="2532" y="8579"/>
                  </a:lnTo>
                  <a:lnTo>
                    <a:pt x="2595" y="8621"/>
                  </a:lnTo>
                  <a:lnTo>
                    <a:pt x="2595" y="8704"/>
                  </a:lnTo>
                  <a:lnTo>
                    <a:pt x="2783" y="8600"/>
                  </a:lnTo>
                  <a:lnTo>
                    <a:pt x="2846" y="8600"/>
                  </a:lnTo>
                  <a:lnTo>
                    <a:pt x="2992" y="8683"/>
                  </a:lnTo>
                  <a:lnTo>
                    <a:pt x="3222" y="8683"/>
                  </a:lnTo>
                  <a:lnTo>
                    <a:pt x="3264" y="8662"/>
                  </a:lnTo>
                  <a:lnTo>
                    <a:pt x="3264" y="8600"/>
                  </a:lnTo>
                  <a:lnTo>
                    <a:pt x="3452" y="8558"/>
                  </a:lnTo>
                  <a:lnTo>
                    <a:pt x="3620" y="8579"/>
                  </a:lnTo>
                  <a:lnTo>
                    <a:pt x="3578" y="8621"/>
                  </a:lnTo>
                  <a:lnTo>
                    <a:pt x="3620" y="8683"/>
                  </a:lnTo>
                  <a:lnTo>
                    <a:pt x="3787" y="8725"/>
                  </a:lnTo>
                  <a:lnTo>
                    <a:pt x="3892" y="8579"/>
                  </a:lnTo>
                  <a:lnTo>
                    <a:pt x="3976" y="8516"/>
                  </a:lnTo>
                  <a:lnTo>
                    <a:pt x="3997" y="8390"/>
                  </a:lnTo>
                  <a:lnTo>
                    <a:pt x="3976" y="8307"/>
                  </a:lnTo>
                  <a:lnTo>
                    <a:pt x="3976" y="8181"/>
                  </a:lnTo>
                  <a:lnTo>
                    <a:pt x="4080" y="8160"/>
                  </a:lnTo>
                  <a:lnTo>
                    <a:pt x="4059" y="7993"/>
                  </a:lnTo>
                  <a:lnTo>
                    <a:pt x="4038" y="7888"/>
                  </a:lnTo>
                  <a:lnTo>
                    <a:pt x="4143" y="7826"/>
                  </a:lnTo>
                  <a:lnTo>
                    <a:pt x="4269" y="7679"/>
                  </a:lnTo>
                  <a:lnTo>
                    <a:pt x="4457" y="7407"/>
                  </a:lnTo>
                  <a:lnTo>
                    <a:pt x="4561" y="7219"/>
                  </a:lnTo>
                  <a:lnTo>
                    <a:pt x="4582" y="7135"/>
                  </a:lnTo>
                  <a:lnTo>
                    <a:pt x="4708" y="6926"/>
                  </a:lnTo>
                  <a:lnTo>
                    <a:pt x="4792" y="6905"/>
                  </a:lnTo>
                  <a:lnTo>
                    <a:pt x="4813" y="6821"/>
                  </a:lnTo>
                  <a:lnTo>
                    <a:pt x="4980" y="6800"/>
                  </a:lnTo>
                  <a:lnTo>
                    <a:pt x="5043" y="6821"/>
                  </a:lnTo>
                  <a:lnTo>
                    <a:pt x="5336" y="6738"/>
                  </a:lnTo>
                  <a:lnTo>
                    <a:pt x="5398" y="6612"/>
                  </a:lnTo>
                  <a:lnTo>
                    <a:pt x="5712" y="6403"/>
                  </a:lnTo>
                  <a:lnTo>
                    <a:pt x="6152" y="6173"/>
                  </a:lnTo>
                  <a:lnTo>
                    <a:pt x="6277" y="6047"/>
                  </a:lnTo>
                  <a:lnTo>
                    <a:pt x="6465" y="5942"/>
                  </a:lnTo>
                  <a:lnTo>
                    <a:pt x="6758" y="5901"/>
                  </a:lnTo>
                  <a:lnTo>
                    <a:pt x="6884" y="5880"/>
                  </a:lnTo>
                  <a:lnTo>
                    <a:pt x="7072" y="5942"/>
                  </a:lnTo>
                  <a:lnTo>
                    <a:pt x="7177" y="5942"/>
                  </a:lnTo>
                  <a:lnTo>
                    <a:pt x="7198" y="5984"/>
                  </a:lnTo>
                  <a:lnTo>
                    <a:pt x="7219" y="5963"/>
                  </a:lnTo>
                  <a:lnTo>
                    <a:pt x="7344" y="5984"/>
                  </a:lnTo>
                  <a:lnTo>
                    <a:pt x="7742" y="5963"/>
                  </a:lnTo>
                  <a:lnTo>
                    <a:pt x="7867" y="5963"/>
                  </a:lnTo>
                  <a:lnTo>
                    <a:pt x="8035" y="5880"/>
                  </a:lnTo>
                  <a:lnTo>
                    <a:pt x="8390" y="5880"/>
                  </a:lnTo>
                  <a:lnTo>
                    <a:pt x="8558" y="5775"/>
                  </a:lnTo>
                  <a:lnTo>
                    <a:pt x="8746" y="5775"/>
                  </a:lnTo>
                  <a:lnTo>
                    <a:pt x="8893" y="5670"/>
                  </a:lnTo>
                  <a:lnTo>
                    <a:pt x="9186" y="5524"/>
                  </a:lnTo>
                  <a:lnTo>
                    <a:pt x="9227" y="5377"/>
                  </a:lnTo>
                  <a:lnTo>
                    <a:pt x="9269" y="5210"/>
                  </a:lnTo>
                  <a:lnTo>
                    <a:pt x="9332" y="5126"/>
                  </a:lnTo>
                  <a:lnTo>
                    <a:pt x="9395" y="4624"/>
                  </a:lnTo>
                  <a:lnTo>
                    <a:pt x="9416" y="3494"/>
                  </a:lnTo>
                  <a:lnTo>
                    <a:pt x="9186" y="3578"/>
                  </a:lnTo>
                  <a:lnTo>
                    <a:pt x="8914" y="3599"/>
                  </a:lnTo>
                  <a:lnTo>
                    <a:pt x="8788" y="3557"/>
                  </a:lnTo>
                  <a:lnTo>
                    <a:pt x="8746" y="3473"/>
                  </a:lnTo>
                  <a:lnTo>
                    <a:pt x="8809" y="3285"/>
                  </a:lnTo>
                  <a:lnTo>
                    <a:pt x="8809" y="3180"/>
                  </a:lnTo>
                  <a:lnTo>
                    <a:pt x="8704" y="3118"/>
                  </a:lnTo>
                  <a:lnTo>
                    <a:pt x="8558" y="3055"/>
                  </a:lnTo>
                  <a:lnTo>
                    <a:pt x="8453" y="2929"/>
                  </a:lnTo>
                  <a:lnTo>
                    <a:pt x="8286" y="2867"/>
                  </a:lnTo>
                  <a:lnTo>
                    <a:pt x="8077" y="2867"/>
                  </a:lnTo>
                  <a:lnTo>
                    <a:pt x="7951" y="2762"/>
                  </a:lnTo>
                  <a:lnTo>
                    <a:pt x="7909" y="2511"/>
                  </a:lnTo>
                  <a:lnTo>
                    <a:pt x="410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 name="Google Shape;6031;p93">
              <a:extLst>
                <a:ext uri="{FF2B5EF4-FFF2-40B4-BE49-F238E27FC236}">
                  <a16:creationId xmlns:a16="http://schemas.microsoft.com/office/drawing/2014/main" id="{64454B14-A426-414F-B825-A2C648893F72}"/>
                </a:ext>
              </a:extLst>
            </p:cNvPr>
            <p:cNvSpPr/>
            <p:nvPr/>
          </p:nvSpPr>
          <p:spPr>
            <a:xfrm>
              <a:off x="3712457" y="3043733"/>
              <a:ext cx="51833" cy="35948"/>
            </a:xfrm>
            <a:custGeom>
              <a:avLst/>
              <a:gdLst/>
              <a:ahLst/>
              <a:cxnLst/>
              <a:rect l="l" t="t" r="r" b="b"/>
              <a:pathLst>
                <a:path w="4353" h="3161" extrusionOk="0">
                  <a:moveTo>
                    <a:pt x="2909" y="1"/>
                  </a:moveTo>
                  <a:lnTo>
                    <a:pt x="2783" y="22"/>
                  </a:lnTo>
                  <a:lnTo>
                    <a:pt x="2490" y="63"/>
                  </a:lnTo>
                  <a:lnTo>
                    <a:pt x="2302" y="168"/>
                  </a:lnTo>
                  <a:lnTo>
                    <a:pt x="2177" y="294"/>
                  </a:lnTo>
                  <a:lnTo>
                    <a:pt x="1737" y="524"/>
                  </a:lnTo>
                  <a:lnTo>
                    <a:pt x="1423" y="733"/>
                  </a:lnTo>
                  <a:lnTo>
                    <a:pt x="1361" y="859"/>
                  </a:lnTo>
                  <a:lnTo>
                    <a:pt x="1068" y="942"/>
                  </a:lnTo>
                  <a:lnTo>
                    <a:pt x="1005" y="921"/>
                  </a:lnTo>
                  <a:lnTo>
                    <a:pt x="838" y="942"/>
                  </a:lnTo>
                  <a:lnTo>
                    <a:pt x="817" y="1026"/>
                  </a:lnTo>
                  <a:lnTo>
                    <a:pt x="733" y="1047"/>
                  </a:lnTo>
                  <a:lnTo>
                    <a:pt x="607" y="1256"/>
                  </a:lnTo>
                  <a:lnTo>
                    <a:pt x="586" y="1340"/>
                  </a:lnTo>
                  <a:lnTo>
                    <a:pt x="482" y="1528"/>
                  </a:lnTo>
                  <a:lnTo>
                    <a:pt x="294" y="1800"/>
                  </a:lnTo>
                  <a:lnTo>
                    <a:pt x="168" y="1947"/>
                  </a:lnTo>
                  <a:lnTo>
                    <a:pt x="63" y="2009"/>
                  </a:lnTo>
                  <a:lnTo>
                    <a:pt x="84" y="2114"/>
                  </a:lnTo>
                  <a:lnTo>
                    <a:pt x="105" y="2281"/>
                  </a:lnTo>
                  <a:lnTo>
                    <a:pt x="1" y="2302"/>
                  </a:lnTo>
                  <a:lnTo>
                    <a:pt x="1" y="2428"/>
                  </a:lnTo>
                  <a:lnTo>
                    <a:pt x="22" y="2511"/>
                  </a:lnTo>
                  <a:lnTo>
                    <a:pt x="1" y="2637"/>
                  </a:lnTo>
                  <a:lnTo>
                    <a:pt x="22" y="2637"/>
                  </a:lnTo>
                  <a:lnTo>
                    <a:pt x="189" y="2783"/>
                  </a:lnTo>
                  <a:lnTo>
                    <a:pt x="398" y="2888"/>
                  </a:lnTo>
                  <a:lnTo>
                    <a:pt x="503" y="2888"/>
                  </a:lnTo>
                  <a:lnTo>
                    <a:pt x="545" y="2930"/>
                  </a:lnTo>
                  <a:lnTo>
                    <a:pt x="649" y="2930"/>
                  </a:lnTo>
                  <a:lnTo>
                    <a:pt x="754" y="2993"/>
                  </a:lnTo>
                  <a:lnTo>
                    <a:pt x="838" y="3097"/>
                  </a:lnTo>
                  <a:lnTo>
                    <a:pt x="1026" y="3160"/>
                  </a:lnTo>
                  <a:lnTo>
                    <a:pt x="1151" y="3139"/>
                  </a:lnTo>
                  <a:lnTo>
                    <a:pt x="1256" y="3055"/>
                  </a:lnTo>
                  <a:lnTo>
                    <a:pt x="1340" y="3055"/>
                  </a:lnTo>
                  <a:lnTo>
                    <a:pt x="1423" y="3139"/>
                  </a:lnTo>
                  <a:lnTo>
                    <a:pt x="1549" y="3139"/>
                  </a:lnTo>
                  <a:lnTo>
                    <a:pt x="1549" y="2993"/>
                  </a:lnTo>
                  <a:lnTo>
                    <a:pt x="1465" y="2825"/>
                  </a:lnTo>
                  <a:lnTo>
                    <a:pt x="1423" y="2783"/>
                  </a:lnTo>
                  <a:lnTo>
                    <a:pt x="1361" y="2595"/>
                  </a:lnTo>
                  <a:lnTo>
                    <a:pt x="1382" y="2470"/>
                  </a:lnTo>
                  <a:lnTo>
                    <a:pt x="1591" y="2428"/>
                  </a:lnTo>
                  <a:lnTo>
                    <a:pt x="2365" y="2428"/>
                  </a:lnTo>
                  <a:lnTo>
                    <a:pt x="2574" y="2386"/>
                  </a:lnTo>
                  <a:lnTo>
                    <a:pt x="2721" y="2386"/>
                  </a:lnTo>
                  <a:lnTo>
                    <a:pt x="2846" y="2323"/>
                  </a:lnTo>
                  <a:lnTo>
                    <a:pt x="2930" y="2323"/>
                  </a:lnTo>
                  <a:lnTo>
                    <a:pt x="3537" y="2491"/>
                  </a:lnTo>
                  <a:lnTo>
                    <a:pt x="3558" y="2428"/>
                  </a:lnTo>
                  <a:lnTo>
                    <a:pt x="3683" y="2386"/>
                  </a:lnTo>
                  <a:lnTo>
                    <a:pt x="3683" y="2281"/>
                  </a:lnTo>
                  <a:lnTo>
                    <a:pt x="3767" y="2198"/>
                  </a:lnTo>
                  <a:lnTo>
                    <a:pt x="3767" y="2093"/>
                  </a:lnTo>
                  <a:lnTo>
                    <a:pt x="3871" y="2051"/>
                  </a:lnTo>
                  <a:lnTo>
                    <a:pt x="3955" y="2072"/>
                  </a:lnTo>
                  <a:lnTo>
                    <a:pt x="4143" y="1967"/>
                  </a:lnTo>
                  <a:lnTo>
                    <a:pt x="4206" y="1967"/>
                  </a:lnTo>
                  <a:lnTo>
                    <a:pt x="4353" y="1800"/>
                  </a:lnTo>
                  <a:lnTo>
                    <a:pt x="4353" y="1737"/>
                  </a:lnTo>
                  <a:lnTo>
                    <a:pt x="4311" y="1737"/>
                  </a:lnTo>
                  <a:lnTo>
                    <a:pt x="4185" y="1570"/>
                  </a:lnTo>
                  <a:lnTo>
                    <a:pt x="4248" y="1465"/>
                  </a:lnTo>
                  <a:lnTo>
                    <a:pt x="4248" y="1361"/>
                  </a:lnTo>
                  <a:lnTo>
                    <a:pt x="4185" y="1319"/>
                  </a:lnTo>
                  <a:lnTo>
                    <a:pt x="4185" y="1256"/>
                  </a:lnTo>
                  <a:lnTo>
                    <a:pt x="4102" y="1214"/>
                  </a:lnTo>
                  <a:lnTo>
                    <a:pt x="3871" y="1340"/>
                  </a:lnTo>
                  <a:lnTo>
                    <a:pt x="3662" y="1214"/>
                  </a:lnTo>
                  <a:lnTo>
                    <a:pt x="3662" y="963"/>
                  </a:lnTo>
                  <a:lnTo>
                    <a:pt x="3118" y="607"/>
                  </a:lnTo>
                  <a:lnTo>
                    <a:pt x="3118" y="419"/>
                  </a:lnTo>
                  <a:lnTo>
                    <a:pt x="3202" y="314"/>
                  </a:lnTo>
                  <a:lnTo>
                    <a:pt x="3202" y="168"/>
                  </a:lnTo>
                  <a:lnTo>
                    <a:pt x="3223" y="105"/>
                  </a:lnTo>
                  <a:lnTo>
                    <a:pt x="3202" y="63"/>
                  </a:lnTo>
                  <a:lnTo>
                    <a:pt x="3097" y="63"/>
                  </a:lnTo>
                  <a:lnTo>
                    <a:pt x="290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 name="Google Shape;6032;p93">
              <a:extLst>
                <a:ext uri="{FF2B5EF4-FFF2-40B4-BE49-F238E27FC236}">
                  <a16:creationId xmlns:a16="http://schemas.microsoft.com/office/drawing/2014/main" id="{44E593FA-3E04-4322-A90C-726157D2E562}"/>
                </a:ext>
              </a:extLst>
            </p:cNvPr>
            <p:cNvSpPr/>
            <p:nvPr/>
          </p:nvSpPr>
          <p:spPr>
            <a:xfrm>
              <a:off x="3628997" y="3033259"/>
              <a:ext cx="44355" cy="30956"/>
            </a:xfrm>
            <a:custGeom>
              <a:avLst/>
              <a:gdLst/>
              <a:ahLst/>
              <a:cxnLst/>
              <a:rect l="l" t="t" r="r" b="b"/>
              <a:pathLst>
                <a:path w="3725" h="2722" extrusionOk="0">
                  <a:moveTo>
                    <a:pt x="1444" y="1"/>
                  </a:moveTo>
                  <a:lnTo>
                    <a:pt x="1151" y="106"/>
                  </a:lnTo>
                  <a:lnTo>
                    <a:pt x="837" y="168"/>
                  </a:lnTo>
                  <a:lnTo>
                    <a:pt x="712" y="273"/>
                  </a:lnTo>
                  <a:lnTo>
                    <a:pt x="628" y="273"/>
                  </a:lnTo>
                  <a:lnTo>
                    <a:pt x="523" y="357"/>
                  </a:lnTo>
                  <a:lnTo>
                    <a:pt x="502" y="524"/>
                  </a:lnTo>
                  <a:lnTo>
                    <a:pt x="377" y="817"/>
                  </a:lnTo>
                  <a:lnTo>
                    <a:pt x="0" y="1131"/>
                  </a:lnTo>
                  <a:lnTo>
                    <a:pt x="188" y="1298"/>
                  </a:lnTo>
                  <a:lnTo>
                    <a:pt x="314" y="1528"/>
                  </a:lnTo>
                  <a:lnTo>
                    <a:pt x="419" y="1528"/>
                  </a:lnTo>
                  <a:lnTo>
                    <a:pt x="419" y="1654"/>
                  </a:lnTo>
                  <a:lnTo>
                    <a:pt x="398" y="1654"/>
                  </a:lnTo>
                  <a:lnTo>
                    <a:pt x="523" y="1759"/>
                  </a:lnTo>
                  <a:lnTo>
                    <a:pt x="440" y="1821"/>
                  </a:lnTo>
                  <a:lnTo>
                    <a:pt x="481" y="1863"/>
                  </a:lnTo>
                  <a:lnTo>
                    <a:pt x="732" y="1863"/>
                  </a:lnTo>
                  <a:lnTo>
                    <a:pt x="795" y="1842"/>
                  </a:lnTo>
                  <a:lnTo>
                    <a:pt x="900" y="1842"/>
                  </a:lnTo>
                  <a:lnTo>
                    <a:pt x="1109" y="1675"/>
                  </a:lnTo>
                  <a:lnTo>
                    <a:pt x="1256" y="1612"/>
                  </a:lnTo>
                  <a:lnTo>
                    <a:pt x="1360" y="1633"/>
                  </a:lnTo>
                  <a:lnTo>
                    <a:pt x="1486" y="1633"/>
                  </a:lnTo>
                  <a:lnTo>
                    <a:pt x="1674" y="1759"/>
                  </a:lnTo>
                  <a:lnTo>
                    <a:pt x="1779" y="1759"/>
                  </a:lnTo>
                  <a:lnTo>
                    <a:pt x="2051" y="1926"/>
                  </a:lnTo>
                  <a:lnTo>
                    <a:pt x="2093" y="1884"/>
                  </a:lnTo>
                  <a:lnTo>
                    <a:pt x="2155" y="1968"/>
                  </a:lnTo>
                  <a:lnTo>
                    <a:pt x="2093" y="2052"/>
                  </a:lnTo>
                  <a:lnTo>
                    <a:pt x="1967" y="2052"/>
                  </a:lnTo>
                  <a:lnTo>
                    <a:pt x="1779" y="1968"/>
                  </a:lnTo>
                  <a:lnTo>
                    <a:pt x="1632" y="1926"/>
                  </a:lnTo>
                  <a:lnTo>
                    <a:pt x="1528" y="1926"/>
                  </a:lnTo>
                  <a:lnTo>
                    <a:pt x="1381" y="1821"/>
                  </a:lnTo>
                  <a:lnTo>
                    <a:pt x="1318" y="1842"/>
                  </a:lnTo>
                  <a:lnTo>
                    <a:pt x="1235" y="1926"/>
                  </a:lnTo>
                  <a:lnTo>
                    <a:pt x="1214" y="1884"/>
                  </a:lnTo>
                  <a:lnTo>
                    <a:pt x="1130" y="1863"/>
                  </a:lnTo>
                  <a:lnTo>
                    <a:pt x="1005" y="1947"/>
                  </a:lnTo>
                  <a:lnTo>
                    <a:pt x="900" y="1968"/>
                  </a:lnTo>
                  <a:lnTo>
                    <a:pt x="795" y="2093"/>
                  </a:lnTo>
                  <a:lnTo>
                    <a:pt x="419" y="2093"/>
                  </a:lnTo>
                  <a:lnTo>
                    <a:pt x="377" y="2156"/>
                  </a:lnTo>
                  <a:lnTo>
                    <a:pt x="377" y="2282"/>
                  </a:lnTo>
                  <a:lnTo>
                    <a:pt x="314" y="2344"/>
                  </a:lnTo>
                  <a:lnTo>
                    <a:pt x="335" y="2386"/>
                  </a:lnTo>
                  <a:lnTo>
                    <a:pt x="481" y="2303"/>
                  </a:lnTo>
                  <a:lnTo>
                    <a:pt x="691" y="2386"/>
                  </a:lnTo>
                  <a:lnTo>
                    <a:pt x="544" y="2470"/>
                  </a:lnTo>
                  <a:lnTo>
                    <a:pt x="502" y="2449"/>
                  </a:lnTo>
                  <a:lnTo>
                    <a:pt x="398" y="2407"/>
                  </a:lnTo>
                  <a:lnTo>
                    <a:pt x="398" y="2407"/>
                  </a:lnTo>
                  <a:lnTo>
                    <a:pt x="440" y="2470"/>
                  </a:lnTo>
                  <a:lnTo>
                    <a:pt x="419" y="2575"/>
                  </a:lnTo>
                  <a:lnTo>
                    <a:pt x="586" y="2616"/>
                  </a:lnTo>
                  <a:lnTo>
                    <a:pt x="753" y="2512"/>
                  </a:lnTo>
                  <a:lnTo>
                    <a:pt x="1151" y="2554"/>
                  </a:lnTo>
                  <a:lnTo>
                    <a:pt x="1256" y="2407"/>
                  </a:lnTo>
                  <a:lnTo>
                    <a:pt x="1465" y="2344"/>
                  </a:lnTo>
                  <a:lnTo>
                    <a:pt x="1988" y="2344"/>
                  </a:lnTo>
                  <a:lnTo>
                    <a:pt x="2113" y="2386"/>
                  </a:lnTo>
                  <a:lnTo>
                    <a:pt x="2113" y="2365"/>
                  </a:lnTo>
                  <a:lnTo>
                    <a:pt x="2260" y="2344"/>
                  </a:lnTo>
                  <a:lnTo>
                    <a:pt x="2595" y="2365"/>
                  </a:lnTo>
                  <a:lnTo>
                    <a:pt x="2825" y="2470"/>
                  </a:lnTo>
                  <a:lnTo>
                    <a:pt x="2929" y="2554"/>
                  </a:lnTo>
                  <a:lnTo>
                    <a:pt x="3118" y="2554"/>
                  </a:lnTo>
                  <a:lnTo>
                    <a:pt x="3306" y="2616"/>
                  </a:lnTo>
                  <a:lnTo>
                    <a:pt x="3411" y="2554"/>
                  </a:lnTo>
                  <a:lnTo>
                    <a:pt x="3515" y="2575"/>
                  </a:lnTo>
                  <a:lnTo>
                    <a:pt x="3557" y="2616"/>
                  </a:lnTo>
                  <a:lnTo>
                    <a:pt x="3683" y="2616"/>
                  </a:lnTo>
                  <a:lnTo>
                    <a:pt x="3683" y="2721"/>
                  </a:lnTo>
                  <a:lnTo>
                    <a:pt x="3725" y="2658"/>
                  </a:lnTo>
                  <a:lnTo>
                    <a:pt x="3725" y="2554"/>
                  </a:lnTo>
                  <a:lnTo>
                    <a:pt x="3578" y="2470"/>
                  </a:lnTo>
                  <a:lnTo>
                    <a:pt x="3557" y="2386"/>
                  </a:lnTo>
                  <a:lnTo>
                    <a:pt x="3620" y="2303"/>
                  </a:lnTo>
                  <a:lnTo>
                    <a:pt x="3620" y="2261"/>
                  </a:lnTo>
                  <a:lnTo>
                    <a:pt x="3536" y="2156"/>
                  </a:lnTo>
                  <a:lnTo>
                    <a:pt x="3515" y="2072"/>
                  </a:lnTo>
                  <a:lnTo>
                    <a:pt x="3432" y="2031"/>
                  </a:lnTo>
                  <a:lnTo>
                    <a:pt x="3369" y="2052"/>
                  </a:lnTo>
                  <a:lnTo>
                    <a:pt x="3306" y="1968"/>
                  </a:lnTo>
                  <a:lnTo>
                    <a:pt x="3243" y="1842"/>
                  </a:lnTo>
                  <a:lnTo>
                    <a:pt x="3118" y="1717"/>
                  </a:lnTo>
                  <a:lnTo>
                    <a:pt x="3097" y="1633"/>
                  </a:lnTo>
                  <a:lnTo>
                    <a:pt x="3139" y="1403"/>
                  </a:lnTo>
                  <a:lnTo>
                    <a:pt x="3118" y="1319"/>
                  </a:lnTo>
                  <a:lnTo>
                    <a:pt x="3118" y="1215"/>
                  </a:lnTo>
                  <a:lnTo>
                    <a:pt x="3034" y="1131"/>
                  </a:lnTo>
                  <a:lnTo>
                    <a:pt x="3013" y="1047"/>
                  </a:lnTo>
                  <a:lnTo>
                    <a:pt x="2846" y="943"/>
                  </a:lnTo>
                  <a:lnTo>
                    <a:pt x="2741" y="922"/>
                  </a:lnTo>
                  <a:lnTo>
                    <a:pt x="2720" y="796"/>
                  </a:lnTo>
                  <a:lnTo>
                    <a:pt x="2595" y="775"/>
                  </a:lnTo>
                  <a:lnTo>
                    <a:pt x="2595" y="629"/>
                  </a:lnTo>
                  <a:lnTo>
                    <a:pt x="2469" y="524"/>
                  </a:lnTo>
                  <a:lnTo>
                    <a:pt x="2427" y="399"/>
                  </a:lnTo>
                  <a:lnTo>
                    <a:pt x="2385" y="357"/>
                  </a:lnTo>
                  <a:lnTo>
                    <a:pt x="2302" y="357"/>
                  </a:lnTo>
                  <a:lnTo>
                    <a:pt x="2260" y="315"/>
                  </a:lnTo>
                  <a:lnTo>
                    <a:pt x="2176" y="378"/>
                  </a:lnTo>
                  <a:lnTo>
                    <a:pt x="2093" y="357"/>
                  </a:lnTo>
                  <a:lnTo>
                    <a:pt x="2093" y="273"/>
                  </a:lnTo>
                  <a:lnTo>
                    <a:pt x="1967" y="106"/>
                  </a:lnTo>
                  <a:lnTo>
                    <a:pt x="1800" y="85"/>
                  </a:lnTo>
                  <a:lnTo>
                    <a:pt x="154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 name="Google Shape;6033;p93">
              <a:extLst>
                <a:ext uri="{FF2B5EF4-FFF2-40B4-BE49-F238E27FC236}">
                  <a16:creationId xmlns:a16="http://schemas.microsoft.com/office/drawing/2014/main" id="{FC951B84-5112-42BF-8759-08B4DE16B3C1}"/>
                </a:ext>
              </a:extLst>
            </p:cNvPr>
            <p:cNvSpPr/>
            <p:nvPr/>
          </p:nvSpPr>
          <p:spPr>
            <a:xfrm>
              <a:off x="3633975" y="3059916"/>
              <a:ext cx="21195" cy="12146"/>
            </a:xfrm>
            <a:custGeom>
              <a:avLst/>
              <a:gdLst/>
              <a:ahLst/>
              <a:cxnLst/>
              <a:rect l="l" t="t" r="r" b="b"/>
              <a:pathLst>
                <a:path w="1780" h="1068" extrusionOk="0">
                  <a:moveTo>
                    <a:pt x="1047" y="0"/>
                  </a:moveTo>
                  <a:lnTo>
                    <a:pt x="838" y="63"/>
                  </a:lnTo>
                  <a:lnTo>
                    <a:pt x="733" y="210"/>
                  </a:lnTo>
                  <a:lnTo>
                    <a:pt x="335" y="168"/>
                  </a:lnTo>
                  <a:lnTo>
                    <a:pt x="168" y="272"/>
                  </a:lnTo>
                  <a:lnTo>
                    <a:pt x="1" y="231"/>
                  </a:lnTo>
                  <a:lnTo>
                    <a:pt x="1" y="231"/>
                  </a:lnTo>
                  <a:lnTo>
                    <a:pt x="63" y="314"/>
                  </a:lnTo>
                  <a:lnTo>
                    <a:pt x="273" y="335"/>
                  </a:lnTo>
                  <a:lnTo>
                    <a:pt x="335" y="335"/>
                  </a:lnTo>
                  <a:lnTo>
                    <a:pt x="231" y="419"/>
                  </a:lnTo>
                  <a:lnTo>
                    <a:pt x="335" y="524"/>
                  </a:lnTo>
                  <a:lnTo>
                    <a:pt x="440" y="524"/>
                  </a:lnTo>
                  <a:lnTo>
                    <a:pt x="482" y="586"/>
                  </a:lnTo>
                  <a:lnTo>
                    <a:pt x="545" y="586"/>
                  </a:lnTo>
                  <a:lnTo>
                    <a:pt x="691" y="544"/>
                  </a:lnTo>
                  <a:lnTo>
                    <a:pt x="838" y="524"/>
                  </a:lnTo>
                  <a:lnTo>
                    <a:pt x="1005" y="586"/>
                  </a:lnTo>
                  <a:lnTo>
                    <a:pt x="942" y="649"/>
                  </a:lnTo>
                  <a:lnTo>
                    <a:pt x="649" y="649"/>
                  </a:lnTo>
                  <a:lnTo>
                    <a:pt x="691" y="691"/>
                  </a:lnTo>
                  <a:lnTo>
                    <a:pt x="796" y="691"/>
                  </a:lnTo>
                  <a:lnTo>
                    <a:pt x="838" y="754"/>
                  </a:lnTo>
                  <a:lnTo>
                    <a:pt x="817" y="796"/>
                  </a:lnTo>
                  <a:lnTo>
                    <a:pt x="859" y="796"/>
                  </a:lnTo>
                  <a:lnTo>
                    <a:pt x="733" y="963"/>
                  </a:lnTo>
                  <a:lnTo>
                    <a:pt x="963" y="942"/>
                  </a:lnTo>
                  <a:lnTo>
                    <a:pt x="963" y="1047"/>
                  </a:lnTo>
                  <a:lnTo>
                    <a:pt x="1005" y="1068"/>
                  </a:lnTo>
                  <a:lnTo>
                    <a:pt x="1131" y="1047"/>
                  </a:lnTo>
                  <a:lnTo>
                    <a:pt x="1214" y="879"/>
                  </a:lnTo>
                  <a:lnTo>
                    <a:pt x="1319" y="858"/>
                  </a:lnTo>
                  <a:lnTo>
                    <a:pt x="1465" y="775"/>
                  </a:lnTo>
                  <a:lnTo>
                    <a:pt x="1675" y="733"/>
                  </a:lnTo>
                  <a:lnTo>
                    <a:pt x="1758" y="670"/>
                  </a:lnTo>
                  <a:lnTo>
                    <a:pt x="1779" y="565"/>
                  </a:lnTo>
                  <a:lnTo>
                    <a:pt x="1695" y="482"/>
                  </a:lnTo>
                  <a:lnTo>
                    <a:pt x="1695" y="314"/>
                  </a:lnTo>
                  <a:lnTo>
                    <a:pt x="1737" y="210"/>
                  </a:lnTo>
                  <a:lnTo>
                    <a:pt x="1695" y="42"/>
                  </a:lnTo>
                  <a:lnTo>
                    <a:pt x="157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47" name="Google Shape;6034;p93">
              <a:extLst>
                <a:ext uri="{FF2B5EF4-FFF2-40B4-BE49-F238E27FC236}">
                  <a16:creationId xmlns:a16="http://schemas.microsoft.com/office/drawing/2014/main" id="{ADEAAABE-405C-4068-A19C-F7AC35AA68DD}"/>
                </a:ext>
              </a:extLst>
            </p:cNvPr>
            <p:cNvGrpSpPr/>
            <p:nvPr/>
          </p:nvGrpSpPr>
          <p:grpSpPr>
            <a:xfrm>
              <a:off x="3632736" y="3051591"/>
              <a:ext cx="63288" cy="45217"/>
              <a:chOff x="3450375" y="3038225"/>
              <a:chExt cx="132875" cy="99400"/>
            </a:xfrm>
          </p:grpSpPr>
          <p:sp>
            <p:nvSpPr>
              <p:cNvPr id="1283" name="Google Shape;6035;p93">
                <a:extLst>
                  <a:ext uri="{FF2B5EF4-FFF2-40B4-BE49-F238E27FC236}">
                    <a16:creationId xmlns:a16="http://schemas.microsoft.com/office/drawing/2014/main" id="{F6DAE941-456D-4E1D-AA04-CC87AA2D0672}"/>
                  </a:ext>
                </a:extLst>
              </p:cNvPr>
              <p:cNvSpPr/>
              <p:nvPr/>
            </p:nvSpPr>
            <p:spPr>
              <a:xfrm>
                <a:off x="3450375" y="3038225"/>
                <a:ext cx="46050" cy="13625"/>
              </a:xfrm>
              <a:custGeom>
                <a:avLst/>
                <a:gdLst/>
                <a:ahLst/>
                <a:cxnLst/>
                <a:rect l="l" t="t" r="r" b="b"/>
                <a:pathLst>
                  <a:path w="1842" h="545" extrusionOk="0">
                    <a:moveTo>
                      <a:pt x="942" y="0"/>
                    </a:moveTo>
                    <a:lnTo>
                      <a:pt x="795" y="63"/>
                    </a:lnTo>
                    <a:lnTo>
                      <a:pt x="586" y="230"/>
                    </a:lnTo>
                    <a:lnTo>
                      <a:pt x="481" y="230"/>
                    </a:lnTo>
                    <a:lnTo>
                      <a:pt x="418" y="251"/>
                    </a:lnTo>
                    <a:lnTo>
                      <a:pt x="167" y="251"/>
                    </a:lnTo>
                    <a:lnTo>
                      <a:pt x="188" y="335"/>
                    </a:lnTo>
                    <a:lnTo>
                      <a:pt x="314" y="419"/>
                    </a:lnTo>
                    <a:lnTo>
                      <a:pt x="439" y="377"/>
                    </a:lnTo>
                    <a:lnTo>
                      <a:pt x="439" y="377"/>
                    </a:lnTo>
                    <a:lnTo>
                      <a:pt x="377" y="460"/>
                    </a:lnTo>
                    <a:lnTo>
                      <a:pt x="209" y="460"/>
                    </a:lnTo>
                    <a:lnTo>
                      <a:pt x="105" y="314"/>
                    </a:lnTo>
                    <a:lnTo>
                      <a:pt x="0" y="419"/>
                    </a:lnTo>
                    <a:lnTo>
                      <a:pt x="63" y="481"/>
                    </a:lnTo>
                    <a:lnTo>
                      <a:pt x="63" y="544"/>
                    </a:lnTo>
                    <a:lnTo>
                      <a:pt x="105" y="481"/>
                    </a:lnTo>
                    <a:lnTo>
                      <a:pt x="481" y="481"/>
                    </a:lnTo>
                    <a:lnTo>
                      <a:pt x="586" y="356"/>
                    </a:lnTo>
                    <a:lnTo>
                      <a:pt x="691" y="335"/>
                    </a:lnTo>
                    <a:lnTo>
                      <a:pt x="816" y="251"/>
                    </a:lnTo>
                    <a:lnTo>
                      <a:pt x="900" y="272"/>
                    </a:lnTo>
                    <a:lnTo>
                      <a:pt x="921" y="314"/>
                    </a:lnTo>
                    <a:lnTo>
                      <a:pt x="1004" y="230"/>
                    </a:lnTo>
                    <a:lnTo>
                      <a:pt x="1067" y="209"/>
                    </a:lnTo>
                    <a:lnTo>
                      <a:pt x="1214" y="314"/>
                    </a:lnTo>
                    <a:lnTo>
                      <a:pt x="1318" y="314"/>
                    </a:lnTo>
                    <a:lnTo>
                      <a:pt x="1465" y="356"/>
                    </a:lnTo>
                    <a:lnTo>
                      <a:pt x="1653" y="440"/>
                    </a:lnTo>
                    <a:lnTo>
                      <a:pt x="1779" y="440"/>
                    </a:lnTo>
                    <a:lnTo>
                      <a:pt x="1841" y="356"/>
                    </a:lnTo>
                    <a:lnTo>
                      <a:pt x="1779" y="272"/>
                    </a:lnTo>
                    <a:lnTo>
                      <a:pt x="1737" y="314"/>
                    </a:lnTo>
                    <a:lnTo>
                      <a:pt x="1465" y="147"/>
                    </a:lnTo>
                    <a:lnTo>
                      <a:pt x="1360" y="147"/>
                    </a:lnTo>
                    <a:lnTo>
                      <a:pt x="1172" y="21"/>
                    </a:lnTo>
                    <a:lnTo>
                      <a:pt x="1046" y="21"/>
                    </a:lnTo>
                    <a:lnTo>
                      <a:pt x="94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 name="Google Shape;6036;p93">
                <a:extLst>
                  <a:ext uri="{FF2B5EF4-FFF2-40B4-BE49-F238E27FC236}">
                    <a16:creationId xmlns:a16="http://schemas.microsoft.com/office/drawing/2014/main" id="{CE426183-3A2A-459E-924B-CDE9E1861AE1}"/>
                  </a:ext>
                </a:extLst>
              </p:cNvPr>
              <p:cNvSpPr/>
              <p:nvPr/>
            </p:nvSpPr>
            <p:spPr>
              <a:xfrm>
                <a:off x="3481225" y="3056525"/>
                <a:ext cx="102025" cy="81100"/>
              </a:xfrm>
              <a:custGeom>
                <a:avLst/>
                <a:gdLst/>
                <a:ahLst/>
                <a:cxnLst/>
                <a:rect l="l" t="t" r="r" b="b"/>
                <a:pathLst>
                  <a:path w="4081" h="3244" extrusionOk="0">
                    <a:moveTo>
                      <a:pt x="712" y="0"/>
                    </a:moveTo>
                    <a:lnTo>
                      <a:pt x="565" y="21"/>
                    </a:lnTo>
                    <a:lnTo>
                      <a:pt x="565" y="42"/>
                    </a:lnTo>
                    <a:lnTo>
                      <a:pt x="607" y="210"/>
                    </a:lnTo>
                    <a:lnTo>
                      <a:pt x="565" y="314"/>
                    </a:lnTo>
                    <a:lnTo>
                      <a:pt x="565" y="482"/>
                    </a:lnTo>
                    <a:lnTo>
                      <a:pt x="649" y="565"/>
                    </a:lnTo>
                    <a:lnTo>
                      <a:pt x="628" y="670"/>
                    </a:lnTo>
                    <a:lnTo>
                      <a:pt x="545" y="733"/>
                    </a:lnTo>
                    <a:lnTo>
                      <a:pt x="335" y="775"/>
                    </a:lnTo>
                    <a:lnTo>
                      <a:pt x="189" y="858"/>
                    </a:lnTo>
                    <a:lnTo>
                      <a:pt x="84" y="879"/>
                    </a:lnTo>
                    <a:lnTo>
                      <a:pt x="1" y="1046"/>
                    </a:lnTo>
                    <a:lnTo>
                      <a:pt x="21" y="1005"/>
                    </a:lnTo>
                    <a:lnTo>
                      <a:pt x="105" y="1109"/>
                    </a:lnTo>
                    <a:lnTo>
                      <a:pt x="42" y="1319"/>
                    </a:lnTo>
                    <a:lnTo>
                      <a:pt x="189" y="1507"/>
                    </a:lnTo>
                    <a:lnTo>
                      <a:pt x="314" y="1528"/>
                    </a:lnTo>
                    <a:lnTo>
                      <a:pt x="398" y="1570"/>
                    </a:lnTo>
                    <a:lnTo>
                      <a:pt x="440" y="1486"/>
                    </a:lnTo>
                    <a:lnTo>
                      <a:pt x="545" y="1528"/>
                    </a:lnTo>
                    <a:lnTo>
                      <a:pt x="503" y="1570"/>
                    </a:lnTo>
                    <a:lnTo>
                      <a:pt x="503" y="1674"/>
                    </a:lnTo>
                    <a:lnTo>
                      <a:pt x="545" y="1716"/>
                    </a:lnTo>
                    <a:lnTo>
                      <a:pt x="670" y="1716"/>
                    </a:lnTo>
                    <a:lnTo>
                      <a:pt x="733" y="1904"/>
                    </a:lnTo>
                    <a:lnTo>
                      <a:pt x="879" y="1988"/>
                    </a:lnTo>
                    <a:lnTo>
                      <a:pt x="963" y="2051"/>
                    </a:lnTo>
                    <a:lnTo>
                      <a:pt x="1047" y="2030"/>
                    </a:lnTo>
                    <a:lnTo>
                      <a:pt x="1235" y="1946"/>
                    </a:lnTo>
                    <a:lnTo>
                      <a:pt x="1235" y="1884"/>
                    </a:lnTo>
                    <a:lnTo>
                      <a:pt x="1381" y="1716"/>
                    </a:lnTo>
                    <a:lnTo>
                      <a:pt x="1486" y="1632"/>
                    </a:lnTo>
                    <a:lnTo>
                      <a:pt x="1612" y="1570"/>
                    </a:lnTo>
                    <a:lnTo>
                      <a:pt x="2114" y="1570"/>
                    </a:lnTo>
                    <a:lnTo>
                      <a:pt x="2197" y="1716"/>
                    </a:lnTo>
                    <a:lnTo>
                      <a:pt x="2239" y="1821"/>
                    </a:lnTo>
                    <a:lnTo>
                      <a:pt x="2407" y="2093"/>
                    </a:lnTo>
                    <a:lnTo>
                      <a:pt x="2386" y="2156"/>
                    </a:lnTo>
                    <a:lnTo>
                      <a:pt x="2490" y="2260"/>
                    </a:lnTo>
                    <a:lnTo>
                      <a:pt x="2490" y="2365"/>
                    </a:lnTo>
                    <a:lnTo>
                      <a:pt x="2407" y="2407"/>
                    </a:lnTo>
                    <a:lnTo>
                      <a:pt x="2407" y="2511"/>
                    </a:lnTo>
                    <a:lnTo>
                      <a:pt x="2449" y="2532"/>
                    </a:lnTo>
                    <a:lnTo>
                      <a:pt x="2449" y="2574"/>
                    </a:lnTo>
                    <a:lnTo>
                      <a:pt x="2595" y="2532"/>
                    </a:lnTo>
                    <a:lnTo>
                      <a:pt x="2637" y="2532"/>
                    </a:lnTo>
                    <a:lnTo>
                      <a:pt x="2867" y="2449"/>
                    </a:lnTo>
                    <a:lnTo>
                      <a:pt x="3014" y="2511"/>
                    </a:lnTo>
                    <a:lnTo>
                      <a:pt x="3055" y="2637"/>
                    </a:lnTo>
                    <a:lnTo>
                      <a:pt x="3181" y="2721"/>
                    </a:lnTo>
                    <a:lnTo>
                      <a:pt x="3160" y="2930"/>
                    </a:lnTo>
                    <a:lnTo>
                      <a:pt x="3139" y="3055"/>
                    </a:lnTo>
                    <a:lnTo>
                      <a:pt x="3286" y="3202"/>
                    </a:lnTo>
                    <a:lnTo>
                      <a:pt x="3369" y="3202"/>
                    </a:lnTo>
                    <a:lnTo>
                      <a:pt x="3537" y="3076"/>
                    </a:lnTo>
                    <a:lnTo>
                      <a:pt x="3578" y="3076"/>
                    </a:lnTo>
                    <a:lnTo>
                      <a:pt x="3683" y="3181"/>
                    </a:lnTo>
                    <a:lnTo>
                      <a:pt x="3704" y="3244"/>
                    </a:lnTo>
                    <a:lnTo>
                      <a:pt x="3704" y="3202"/>
                    </a:lnTo>
                    <a:lnTo>
                      <a:pt x="3809" y="3181"/>
                    </a:lnTo>
                    <a:lnTo>
                      <a:pt x="3976" y="2846"/>
                    </a:lnTo>
                    <a:lnTo>
                      <a:pt x="3976" y="2721"/>
                    </a:lnTo>
                    <a:lnTo>
                      <a:pt x="3955" y="2658"/>
                    </a:lnTo>
                    <a:lnTo>
                      <a:pt x="3850" y="2553"/>
                    </a:lnTo>
                    <a:lnTo>
                      <a:pt x="3850" y="2469"/>
                    </a:lnTo>
                    <a:lnTo>
                      <a:pt x="3913" y="2428"/>
                    </a:lnTo>
                    <a:lnTo>
                      <a:pt x="3997" y="2449"/>
                    </a:lnTo>
                    <a:lnTo>
                      <a:pt x="4018" y="2365"/>
                    </a:lnTo>
                    <a:lnTo>
                      <a:pt x="3955" y="2239"/>
                    </a:lnTo>
                    <a:lnTo>
                      <a:pt x="3871" y="2218"/>
                    </a:lnTo>
                    <a:lnTo>
                      <a:pt x="3871" y="2009"/>
                    </a:lnTo>
                    <a:lnTo>
                      <a:pt x="3892" y="1925"/>
                    </a:lnTo>
                    <a:lnTo>
                      <a:pt x="3871" y="1674"/>
                    </a:lnTo>
                    <a:lnTo>
                      <a:pt x="3809" y="1612"/>
                    </a:lnTo>
                    <a:lnTo>
                      <a:pt x="3809" y="1507"/>
                    </a:lnTo>
                    <a:lnTo>
                      <a:pt x="4060" y="1423"/>
                    </a:lnTo>
                    <a:lnTo>
                      <a:pt x="4081" y="1402"/>
                    </a:lnTo>
                    <a:lnTo>
                      <a:pt x="4081" y="1319"/>
                    </a:lnTo>
                    <a:lnTo>
                      <a:pt x="4018" y="1277"/>
                    </a:lnTo>
                    <a:lnTo>
                      <a:pt x="3871" y="1256"/>
                    </a:lnTo>
                    <a:lnTo>
                      <a:pt x="3871" y="1193"/>
                    </a:lnTo>
                    <a:lnTo>
                      <a:pt x="3850" y="1109"/>
                    </a:lnTo>
                    <a:lnTo>
                      <a:pt x="3850" y="1005"/>
                    </a:lnTo>
                    <a:lnTo>
                      <a:pt x="3767" y="1005"/>
                    </a:lnTo>
                    <a:lnTo>
                      <a:pt x="3704" y="1088"/>
                    </a:lnTo>
                    <a:lnTo>
                      <a:pt x="3599" y="1109"/>
                    </a:lnTo>
                    <a:lnTo>
                      <a:pt x="3599" y="1109"/>
                    </a:lnTo>
                    <a:lnTo>
                      <a:pt x="3662" y="963"/>
                    </a:lnTo>
                    <a:lnTo>
                      <a:pt x="3767" y="796"/>
                    </a:lnTo>
                    <a:lnTo>
                      <a:pt x="3767" y="754"/>
                    </a:lnTo>
                    <a:lnTo>
                      <a:pt x="3641" y="733"/>
                    </a:lnTo>
                    <a:lnTo>
                      <a:pt x="3578" y="670"/>
                    </a:lnTo>
                    <a:lnTo>
                      <a:pt x="3599" y="524"/>
                    </a:lnTo>
                    <a:lnTo>
                      <a:pt x="3558" y="377"/>
                    </a:lnTo>
                    <a:lnTo>
                      <a:pt x="3432" y="272"/>
                    </a:lnTo>
                    <a:lnTo>
                      <a:pt x="3390" y="231"/>
                    </a:lnTo>
                    <a:lnTo>
                      <a:pt x="3286" y="252"/>
                    </a:lnTo>
                    <a:lnTo>
                      <a:pt x="3265" y="314"/>
                    </a:lnTo>
                    <a:lnTo>
                      <a:pt x="3118" y="231"/>
                    </a:lnTo>
                    <a:lnTo>
                      <a:pt x="2972" y="231"/>
                    </a:lnTo>
                    <a:lnTo>
                      <a:pt x="2867" y="377"/>
                    </a:lnTo>
                    <a:lnTo>
                      <a:pt x="2804" y="419"/>
                    </a:lnTo>
                    <a:lnTo>
                      <a:pt x="2700" y="482"/>
                    </a:lnTo>
                    <a:lnTo>
                      <a:pt x="2532" y="482"/>
                    </a:lnTo>
                    <a:lnTo>
                      <a:pt x="2407" y="377"/>
                    </a:lnTo>
                    <a:lnTo>
                      <a:pt x="2323" y="356"/>
                    </a:lnTo>
                    <a:lnTo>
                      <a:pt x="2218" y="419"/>
                    </a:lnTo>
                    <a:lnTo>
                      <a:pt x="2135" y="377"/>
                    </a:lnTo>
                    <a:lnTo>
                      <a:pt x="2135" y="272"/>
                    </a:lnTo>
                    <a:lnTo>
                      <a:pt x="2009" y="272"/>
                    </a:lnTo>
                    <a:lnTo>
                      <a:pt x="1967" y="231"/>
                    </a:lnTo>
                    <a:lnTo>
                      <a:pt x="1863" y="210"/>
                    </a:lnTo>
                    <a:lnTo>
                      <a:pt x="1758" y="272"/>
                    </a:lnTo>
                    <a:lnTo>
                      <a:pt x="1570" y="210"/>
                    </a:lnTo>
                    <a:lnTo>
                      <a:pt x="1381" y="210"/>
                    </a:lnTo>
                    <a:lnTo>
                      <a:pt x="1277" y="126"/>
                    </a:lnTo>
                    <a:lnTo>
                      <a:pt x="1047" y="21"/>
                    </a:lnTo>
                    <a:lnTo>
                      <a:pt x="71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48" name="Google Shape;6037;p93">
              <a:extLst>
                <a:ext uri="{FF2B5EF4-FFF2-40B4-BE49-F238E27FC236}">
                  <a16:creationId xmlns:a16="http://schemas.microsoft.com/office/drawing/2014/main" id="{61828636-7ADE-48F6-B6BF-7D47D672A1B4}"/>
                </a:ext>
              </a:extLst>
            </p:cNvPr>
            <p:cNvSpPr/>
            <p:nvPr/>
          </p:nvSpPr>
          <p:spPr>
            <a:xfrm>
              <a:off x="3657897" y="3077759"/>
              <a:ext cx="19195" cy="21903"/>
            </a:xfrm>
            <a:custGeom>
              <a:avLst/>
              <a:gdLst/>
              <a:ahLst/>
              <a:cxnLst/>
              <a:rect l="l" t="t" r="r" b="b"/>
              <a:pathLst>
                <a:path w="1612" h="1926" extrusionOk="0">
                  <a:moveTo>
                    <a:pt x="733" y="1"/>
                  </a:moveTo>
                  <a:lnTo>
                    <a:pt x="607" y="63"/>
                  </a:lnTo>
                  <a:lnTo>
                    <a:pt x="502" y="147"/>
                  </a:lnTo>
                  <a:lnTo>
                    <a:pt x="356" y="315"/>
                  </a:lnTo>
                  <a:lnTo>
                    <a:pt x="356" y="377"/>
                  </a:lnTo>
                  <a:lnTo>
                    <a:pt x="168" y="461"/>
                  </a:lnTo>
                  <a:lnTo>
                    <a:pt x="84" y="482"/>
                  </a:lnTo>
                  <a:lnTo>
                    <a:pt x="42" y="587"/>
                  </a:lnTo>
                  <a:lnTo>
                    <a:pt x="0" y="670"/>
                  </a:lnTo>
                  <a:lnTo>
                    <a:pt x="105" y="733"/>
                  </a:lnTo>
                  <a:lnTo>
                    <a:pt x="42" y="880"/>
                  </a:lnTo>
                  <a:lnTo>
                    <a:pt x="63" y="963"/>
                  </a:lnTo>
                  <a:lnTo>
                    <a:pt x="168" y="984"/>
                  </a:lnTo>
                  <a:lnTo>
                    <a:pt x="251" y="1172"/>
                  </a:lnTo>
                  <a:lnTo>
                    <a:pt x="251" y="1298"/>
                  </a:lnTo>
                  <a:lnTo>
                    <a:pt x="377" y="1424"/>
                  </a:lnTo>
                  <a:lnTo>
                    <a:pt x="482" y="1382"/>
                  </a:lnTo>
                  <a:lnTo>
                    <a:pt x="482" y="1403"/>
                  </a:lnTo>
                  <a:lnTo>
                    <a:pt x="419" y="1507"/>
                  </a:lnTo>
                  <a:lnTo>
                    <a:pt x="502" y="1591"/>
                  </a:lnTo>
                  <a:lnTo>
                    <a:pt x="586" y="1675"/>
                  </a:lnTo>
                  <a:lnTo>
                    <a:pt x="565" y="1737"/>
                  </a:lnTo>
                  <a:lnTo>
                    <a:pt x="691" y="1779"/>
                  </a:lnTo>
                  <a:lnTo>
                    <a:pt x="1005" y="1926"/>
                  </a:lnTo>
                  <a:lnTo>
                    <a:pt x="1046" y="1926"/>
                  </a:lnTo>
                  <a:lnTo>
                    <a:pt x="1088" y="1842"/>
                  </a:lnTo>
                  <a:lnTo>
                    <a:pt x="1151" y="1696"/>
                  </a:lnTo>
                  <a:lnTo>
                    <a:pt x="1298" y="1633"/>
                  </a:lnTo>
                  <a:lnTo>
                    <a:pt x="1402" y="1507"/>
                  </a:lnTo>
                  <a:lnTo>
                    <a:pt x="1402" y="1403"/>
                  </a:lnTo>
                  <a:lnTo>
                    <a:pt x="1444" y="1256"/>
                  </a:lnTo>
                  <a:lnTo>
                    <a:pt x="1528" y="1214"/>
                  </a:lnTo>
                  <a:lnTo>
                    <a:pt x="1528" y="1152"/>
                  </a:lnTo>
                  <a:lnTo>
                    <a:pt x="1549" y="1005"/>
                  </a:lnTo>
                  <a:lnTo>
                    <a:pt x="1570" y="1005"/>
                  </a:lnTo>
                  <a:lnTo>
                    <a:pt x="1570" y="963"/>
                  </a:lnTo>
                  <a:lnTo>
                    <a:pt x="1528" y="942"/>
                  </a:lnTo>
                  <a:lnTo>
                    <a:pt x="1528" y="838"/>
                  </a:lnTo>
                  <a:lnTo>
                    <a:pt x="1611" y="796"/>
                  </a:lnTo>
                  <a:lnTo>
                    <a:pt x="1611" y="691"/>
                  </a:lnTo>
                  <a:lnTo>
                    <a:pt x="1507" y="587"/>
                  </a:lnTo>
                  <a:lnTo>
                    <a:pt x="1528" y="524"/>
                  </a:lnTo>
                  <a:lnTo>
                    <a:pt x="1360" y="252"/>
                  </a:lnTo>
                  <a:lnTo>
                    <a:pt x="1318" y="147"/>
                  </a:lnTo>
                  <a:lnTo>
                    <a:pt x="123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 name="Google Shape;6038;p93">
              <a:extLst>
                <a:ext uri="{FF2B5EF4-FFF2-40B4-BE49-F238E27FC236}">
                  <a16:creationId xmlns:a16="http://schemas.microsoft.com/office/drawing/2014/main" id="{A1DEC1C0-310D-4BD3-BA07-5C0FD4C4FB31}"/>
                </a:ext>
              </a:extLst>
            </p:cNvPr>
            <p:cNvSpPr/>
            <p:nvPr/>
          </p:nvSpPr>
          <p:spPr>
            <a:xfrm>
              <a:off x="3670352" y="3087756"/>
              <a:ext cx="27911" cy="28568"/>
            </a:xfrm>
            <a:custGeom>
              <a:avLst/>
              <a:gdLst/>
              <a:ahLst/>
              <a:cxnLst/>
              <a:rect l="l" t="t" r="r" b="b"/>
              <a:pathLst>
                <a:path w="2344" h="2512" extrusionOk="0">
                  <a:moveTo>
                    <a:pt x="942" y="1"/>
                  </a:moveTo>
                  <a:lnTo>
                    <a:pt x="712" y="84"/>
                  </a:lnTo>
                  <a:lnTo>
                    <a:pt x="670" y="84"/>
                  </a:lnTo>
                  <a:lnTo>
                    <a:pt x="524" y="126"/>
                  </a:lnTo>
                  <a:lnTo>
                    <a:pt x="503" y="126"/>
                  </a:lnTo>
                  <a:lnTo>
                    <a:pt x="482" y="273"/>
                  </a:lnTo>
                  <a:lnTo>
                    <a:pt x="482" y="335"/>
                  </a:lnTo>
                  <a:lnTo>
                    <a:pt x="398" y="377"/>
                  </a:lnTo>
                  <a:lnTo>
                    <a:pt x="356" y="524"/>
                  </a:lnTo>
                  <a:lnTo>
                    <a:pt x="356" y="628"/>
                  </a:lnTo>
                  <a:lnTo>
                    <a:pt x="252" y="754"/>
                  </a:lnTo>
                  <a:lnTo>
                    <a:pt x="105" y="817"/>
                  </a:lnTo>
                  <a:lnTo>
                    <a:pt x="42" y="963"/>
                  </a:lnTo>
                  <a:lnTo>
                    <a:pt x="0" y="1047"/>
                  </a:lnTo>
                  <a:lnTo>
                    <a:pt x="168" y="1047"/>
                  </a:lnTo>
                  <a:lnTo>
                    <a:pt x="252" y="1109"/>
                  </a:lnTo>
                  <a:lnTo>
                    <a:pt x="210" y="1172"/>
                  </a:lnTo>
                  <a:lnTo>
                    <a:pt x="293" y="1235"/>
                  </a:lnTo>
                  <a:lnTo>
                    <a:pt x="461" y="1444"/>
                  </a:lnTo>
                  <a:lnTo>
                    <a:pt x="524" y="1444"/>
                  </a:lnTo>
                  <a:lnTo>
                    <a:pt x="775" y="1591"/>
                  </a:lnTo>
                  <a:lnTo>
                    <a:pt x="796" y="1591"/>
                  </a:lnTo>
                  <a:lnTo>
                    <a:pt x="1130" y="1967"/>
                  </a:lnTo>
                  <a:lnTo>
                    <a:pt x="1256" y="1988"/>
                  </a:lnTo>
                  <a:lnTo>
                    <a:pt x="1716" y="2302"/>
                  </a:lnTo>
                  <a:lnTo>
                    <a:pt x="2260" y="2511"/>
                  </a:lnTo>
                  <a:lnTo>
                    <a:pt x="2260" y="2386"/>
                  </a:lnTo>
                  <a:lnTo>
                    <a:pt x="2197" y="2281"/>
                  </a:lnTo>
                  <a:lnTo>
                    <a:pt x="2260" y="2156"/>
                  </a:lnTo>
                  <a:lnTo>
                    <a:pt x="2239" y="2072"/>
                  </a:lnTo>
                  <a:lnTo>
                    <a:pt x="2260" y="1967"/>
                  </a:lnTo>
                  <a:lnTo>
                    <a:pt x="2302" y="1884"/>
                  </a:lnTo>
                  <a:lnTo>
                    <a:pt x="2260" y="1800"/>
                  </a:lnTo>
                  <a:lnTo>
                    <a:pt x="2344" y="1758"/>
                  </a:lnTo>
                  <a:lnTo>
                    <a:pt x="2302" y="1653"/>
                  </a:lnTo>
                  <a:lnTo>
                    <a:pt x="2239" y="1633"/>
                  </a:lnTo>
                  <a:lnTo>
                    <a:pt x="2156" y="1570"/>
                  </a:lnTo>
                  <a:lnTo>
                    <a:pt x="2093" y="1465"/>
                  </a:lnTo>
                  <a:lnTo>
                    <a:pt x="2030" y="1444"/>
                  </a:lnTo>
                  <a:lnTo>
                    <a:pt x="1967" y="1444"/>
                  </a:lnTo>
                  <a:lnTo>
                    <a:pt x="1884" y="1361"/>
                  </a:lnTo>
                  <a:lnTo>
                    <a:pt x="1779" y="1361"/>
                  </a:lnTo>
                  <a:lnTo>
                    <a:pt x="1758" y="1381"/>
                  </a:lnTo>
                  <a:lnTo>
                    <a:pt x="1653" y="1361"/>
                  </a:lnTo>
                  <a:lnTo>
                    <a:pt x="1633" y="1256"/>
                  </a:lnTo>
                  <a:lnTo>
                    <a:pt x="1716" y="1151"/>
                  </a:lnTo>
                  <a:lnTo>
                    <a:pt x="1821" y="942"/>
                  </a:lnTo>
                  <a:lnTo>
                    <a:pt x="1758" y="837"/>
                  </a:lnTo>
                  <a:lnTo>
                    <a:pt x="1779" y="796"/>
                  </a:lnTo>
                  <a:lnTo>
                    <a:pt x="1758" y="733"/>
                  </a:lnTo>
                  <a:lnTo>
                    <a:pt x="1653" y="628"/>
                  </a:lnTo>
                  <a:lnTo>
                    <a:pt x="1612" y="628"/>
                  </a:lnTo>
                  <a:lnTo>
                    <a:pt x="1444" y="754"/>
                  </a:lnTo>
                  <a:lnTo>
                    <a:pt x="1361" y="754"/>
                  </a:lnTo>
                  <a:lnTo>
                    <a:pt x="1214" y="607"/>
                  </a:lnTo>
                  <a:lnTo>
                    <a:pt x="1235" y="482"/>
                  </a:lnTo>
                  <a:lnTo>
                    <a:pt x="1256" y="273"/>
                  </a:lnTo>
                  <a:lnTo>
                    <a:pt x="1130" y="189"/>
                  </a:lnTo>
                  <a:lnTo>
                    <a:pt x="1089" y="63"/>
                  </a:lnTo>
                  <a:lnTo>
                    <a:pt x="94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 name="Google Shape;6039;p93">
              <a:extLst>
                <a:ext uri="{FF2B5EF4-FFF2-40B4-BE49-F238E27FC236}">
                  <a16:creationId xmlns:a16="http://schemas.microsoft.com/office/drawing/2014/main" id="{089973A7-F531-4F25-BCDE-A7679F89CB9A}"/>
                </a:ext>
              </a:extLst>
            </p:cNvPr>
            <p:cNvSpPr/>
            <p:nvPr/>
          </p:nvSpPr>
          <p:spPr>
            <a:xfrm>
              <a:off x="3689785" y="3073722"/>
              <a:ext cx="42617" cy="42840"/>
            </a:xfrm>
            <a:custGeom>
              <a:avLst/>
              <a:gdLst/>
              <a:ahLst/>
              <a:cxnLst/>
              <a:rect l="l" t="t" r="r" b="b"/>
              <a:pathLst>
                <a:path w="3579" h="3767" extrusionOk="0">
                  <a:moveTo>
                    <a:pt x="1905" y="0"/>
                  </a:moveTo>
                  <a:lnTo>
                    <a:pt x="1821" y="63"/>
                  </a:lnTo>
                  <a:lnTo>
                    <a:pt x="1716" y="209"/>
                  </a:lnTo>
                  <a:lnTo>
                    <a:pt x="1549" y="167"/>
                  </a:lnTo>
                  <a:lnTo>
                    <a:pt x="1507" y="105"/>
                  </a:lnTo>
                  <a:lnTo>
                    <a:pt x="1549" y="63"/>
                  </a:lnTo>
                  <a:lnTo>
                    <a:pt x="1381" y="42"/>
                  </a:lnTo>
                  <a:lnTo>
                    <a:pt x="1193" y="84"/>
                  </a:lnTo>
                  <a:lnTo>
                    <a:pt x="1193" y="146"/>
                  </a:lnTo>
                  <a:lnTo>
                    <a:pt x="1151" y="167"/>
                  </a:lnTo>
                  <a:lnTo>
                    <a:pt x="921" y="167"/>
                  </a:lnTo>
                  <a:lnTo>
                    <a:pt x="775" y="84"/>
                  </a:lnTo>
                  <a:lnTo>
                    <a:pt x="712" y="84"/>
                  </a:lnTo>
                  <a:lnTo>
                    <a:pt x="503" y="209"/>
                  </a:lnTo>
                  <a:lnTo>
                    <a:pt x="252" y="293"/>
                  </a:lnTo>
                  <a:lnTo>
                    <a:pt x="252" y="398"/>
                  </a:lnTo>
                  <a:lnTo>
                    <a:pt x="314" y="460"/>
                  </a:lnTo>
                  <a:lnTo>
                    <a:pt x="335" y="711"/>
                  </a:lnTo>
                  <a:lnTo>
                    <a:pt x="314" y="795"/>
                  </a:lnTo>
                  <a:lnTo>
                    <a:pt x="314" y="1004"/>
                  </a:lnTo>
                  <a:lnTo>
                    <a:pt x="398" y="1025"/>
                  </a:lnTo>
                  <a:lnTo>
                    <a:pt x="461" y="1151"/>
                  </a:lnTo>
                  <a:lnTo>
                    <a:pt x="440" y="1235"/>
                  </a:lnTo>
                  <a:lnTo>
                    <a:pt x="356" y="1214"/>
                  </a:lnTo>
                  <a:lnTo>
                    <a:pt x="293" y="1255"/>
                  </a:lnTo>
                  <a:lnTo>
                    <a:pt x="293" y="1339"/>
                  </a:lnTo>
                  <a:lnTo>
                    <a:pt x="398" y="1444"/>
                  </a:lnTo>
                  <a:lnTo>
                    <a:pt x="419" y="1507"/>
                  </a:lnTo>
                  <a:lnTo>
                    <a:pt x="419" y="1632"/>
                  </a:lnTo>
                  <a:lnTo>
                    <a:pt x="252" y="1967"/>
                  </a:lnTo>
                  <a:lnTo>
                    <a:pt x="147" y="1988"/>
                  </a:lnTo>
                  <a:lnTo>
                    <a:pt x="147" y="2030"/>
                  </a:lnTo>
                  <a:lnTo>
                    <a:pt x="126" y="2071"/>
                  </a:lnTo>
                  <a:lnTo>
                    <a:pt x="189" y="2176"/>
                  </a:lnTo>
                  <a:lnTo>
                    <a:pt x="84" y="2385"/>
                  </a:lnTo>
                  <a:lnTo>
                    <a:pt x="1" y="2490"/>
                  </a:lnTo>
                  <a:lnTo>
                    <a:pt x="21" y="2595"/>
                  </a:lnTo>
                  <a:lnTo>
                    <a:pt x="126" y="2615"/>
                  </a:lnTo>
                  <a:lnTo>
                    <a:pt x="147" y="2595"/>
                  </a:lnTo>
                  <a:lnTo>
                    <a:pt x="252" y="2595"/>
                  </a:lnTo>
                  <a:lnTo>
                    <a:pt x="335" y="2678"/>
                  </a:lnTo>
                  <a:lnTo>
                    <a:pt x="398" y="2678"/>
                  </a:lnTo>
                  <a:lnTo>
                    <a:pt x="461" y="2699"/>
                  </a:lnTo>
                  <a:lnTo>
                    <a:pt x="524" y="2804"/>
                  </a:lnTo>
                  <a:lnTo>
                    <a:pt x="607" y="2867"/>
                  </a:lnTo>
                  <a:lnTo>
                    <a:pt x="670" y="2887"/>
                  </a:lnTo>
                  <a:lnTo>
                    <a:pt x="712" y="2992"/>
                  </a:lnTo>
                  <a:lnTo>
                    <a:pt x="628" y="3034"/>
                  </a:lnTo>
                  <a:lnTo>
                    <a:pt x="670" y="3118"/>
                  </a:lnTo>
                  <a:lnTo>
                    <a:pt x="628" y="3201"/>
                  </a:lnTo>
                  <a:lnTo>
                    <a:pt x="607" y="3306"/>
                  </a:lnTo>
                  <a:lnTo>
                    <a:pt x="628" y="3390"/>
                  </a:lnTo>
                  <a:lnTo>
                    <a:pt x="565" y="3515"/>
                  </a:lnTo>
                  <a:lnTo>
                    <a:pt x="628" y="3620"/>
                  </a:lnTo>
                  <a:lnTo>
                    <a:pt x="628" y="3745"/>
                  </a:lnTo>
                  <a:lnTo>
                    <a:pt x="712" y="3766"/>
                  </a:lnTo>
                  <a:lnTo>
                    <a:pt x="879" y="3599"/>
                  </a:lnTo>
                  <a:lnTo>
                    <a:pt x="1026" y="3599"/>
                  </a:lnTo>
                  <a:lnTo>
                    <a:pt x="1068" y="3536"/>
                  </a:lnTo>
                  <a:lnTo>
                    <a:pt x="1465" y="3390"/>
                  </a:lnTo>
                  <a:lnTo>
                    <a:pt x="1465" y="3327"/>
                  </a:lnTo>
                  <a:lnTo>
                    <a:pt x="1674" y="3306"/>
                  </a:lnTo>
                  <a:lnTo>
                    <a:pt x="2449" y="3306"/>
                  </a:lnTo>
                  <a:lnTo>
                    <a:pt x="2742" y="3201"/>
                  </a:lnTo>
                  <a:lnTo>
                    <a:pt x="3014" y="3327"/>
                  </a:lnTo>
                  <a:lnTo>
                    <a:pt x="3034" y="3201"/>
                  </a:lnTo>
                  <a:lnTo>
                    <a:pt x="3139" y="3180"/>
                  </a:lnTo>
                  <a:lnTo>
                    <a:pt x="3223" y="3306"/>
                  </a:lnTo>
                  <a:lnTo>
                    <a:pt x="3244" y="3285"/>
                  </a:lnTo>
                  <a:lnTo>
                    <a:pt x="3348" y="3285"/>
                  </a:lnTo>
                  <a:lnTo>
                    <a:pt x="3453" y="3243"/>
                  </a:lnTo>
                  <a:lnTo>
                    <a:pt x="3453" y="3097"/>
                  </a:lnTo>
                  <a:lnTo>
                    <a:pt x="3390" y="2992"/>
                  </a:lnTo>
                  <a:lnTo>
                    <a:pt x="3265" y="2971"/>
                  </a:lnTo>
                  <a:lnTo>
                    <a:pt x="3244" y="2804"/>
                  </a:lnTo>
                  <a:lnTo>
                    <a:pt x="3160" y="2595"/>
                  </a:lnTo>
                  <a:lnTo>
                    <a:pt x="3076" y="2511"/>
                  </a:lnTo>
                  <a:lnTo>
                    <a:pt x="3118" y="2469"/>
                  </a:lnTo>
                  <a:lnTo>
                    <a:pt x="3139" y="2448"/>
                  </a:lnTo>
                  <a:lnTo>
                    <a:pt x="3139" y="2176"/>
                  </a:lnTo>
                  <a:lnTo>
                    <a:pt x="3181" y="2092"/>
                  </a:lnTo>
                  <a:lnTo>
                    <a:pt x="3223" y="1967"/>
                  </a:lnTo>
                  <a:lnTo>
                    <a:pt x="3244" y="1883"/>
                  </a:lnTo>
                  <a:lnTo>
                    <a:pt x="3244" y="1758"/>
                  </a:lnTo>
                  <a:lnTo>
                    <a:pt x="3432" y="1507"/>
                  </a:lnTo>
                  <a:lnTo>
                    <a:pt x="3537" y="1423"/>
                  </a:lnTo>
                  <a:lnTo>
                    <a:pt x="3537" y="1318"/>
                  </a:lnTo>
                  <a:lnTo>
                    <a:pt x="3578" y="1193"/>
                  </a:lnTo>
                  <a:lnTo>
                    <a:pt x="3537" y="1025"/>
                  </a:lnTo>
                  <a:lnTo>
                    <a:pt x="3453" y="942"/>
                  </a:lnTo>
                  <a:lnTo>
                    <a:pt x="3453" y="879"/>
                  </a:lnTo>
                  <a:lnTo>
                    <a:pt x="3390" y="732"/>
                  </a:lnTo>
                  <a:lnTo>
                    <a:pt x="3453" y="565"/>
                  </a:lnTo>
                  <a:lnTo>
                    <a:pt x="3453" y="502"/>
                  </a:lnTo>
                  <a:lnTo>
                    <a:pt x="3327" y="502"/>
                  </a:lnTo>
                  <a:lnTo>
                    <a:pt x="3244" y="418"/>
                  </a:lnTo>
                  <a:lnTo>
                    <a:pt x="3160" y="418"/>
                  </a:lnTo>
                  <a:lnTo>
                    <a:pt x="3055" y="502"/>
                  </a:lnTo>
                  <a:lnTo>
                    <a:pt x="2930" y="523"/>
                  </a:lnTo>
                  <a:lnTo>
                    <a:pt x="2742" y="460"/>
                  </a:lnTo>
                  <a:lnTo>
                    <a:pt x="2658" y="356"/>
                  </a:lnTo>
                  <a:lnTo>
                    <a:pt x="2553" y="293"/>
                  </a:lnTo>
                  <a:lnTo>
                    <a:pt x="2449" y="293"/>
                  </a:lnTo>
                  <a:lnTo>
                    <a:pt x="2407" y="251"/>
                  </a:lnTo>
                  <a:lnTo>
                    <a:pt x="2302" y="251"/>
                  </a:lnTo>
                  <a:lnTo>
                    <a:pt x="2093" y="146"/>
                  </a:lnTo>
                  <a:lnTo>
                    <a:pt x="192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 name="Google Shape;6040;p93">
              <a:extLst>
                <a:ext uri="{FF2B5EF4-FFF2-40B4-BE49-F238E27FC236}">
                  <a16:creationId xmlns:a16="http://schemas.microsoft.com/office/drawing/2014/main" id="{C7BD579E-8D20-4065-B7C0-1C498D3524AA}"/>
                </a:ext>
              </a:extLst>
            </p:cNvPr>
            <p:cNvSpPr/>
            <p:nvPr/>
          </p:nvSpPr>
          <p:spPr>
            <a:xfrm>
              <a:off x="3726412" y="3070151"/>
              <a:ext cx="29161" cy="43557"/>
            </a:xfrm>
            <a:custGeom>
              <a:avLst/>
              <a:gdLst/>
              <a:ahLst/>
              <a:cxnLst/>
              <a:rect l="l" t="t" r="r" b="b"/>
              <a:pathLst>
                <a:path w="2449" h="3830" extrusionOk="0">
                  <a:moveTo>
                    <a:pt x="1674" y="0"/>
                  </a:moveTo>
                  <a:lnTo>
                    <a:pt x="1549" y="63"/>
                  </a:lnTo>
                  <a:lnTo>
                    <a:pt x="1402" y="63"/>
                  </a:lnTo>
                  <a:lnTo>
                    <a:pt x="1193" y="105"/>
                  </a:lnTo>
                  <a:lnTo>
                    <a:pt x="419" y="105"/>
                  </a:lnTo>
                  <a:lnTo>
                    <a:pt x="210" y="147"/>
                  </a:lnTo>
                  <a:lnTo>
                    <a:pt x="189" y="272"/>
                  </a:lnTo>
                  <a:lnTo>
                    <a:pt x="251" y="460"/>
                  </a:lnTo>
                  <a:lnTo>
                    <a:pt x="293" y="502"/>
                  </a:lnTo>
                  <a:lnTo>
                    <a:pt x="377" y="670"/>
                  </a:lnTo>
                  <a:lnTo>
                    <a:pt x="377" y="816"/>
                  </a:lnTo>
                  <a:lnTo>
                    <a:pt x="377" y="879"/>
                  </a:lnTo>
                  <a:lnTo>
                    <a:pt x="314" y="1046"/>
                  </a:lnTo>
                  <a:lnTo>
                    <a:pt x="377" y="1193"/>
                  </a:lnTo>
                  <a:lnTo>
                    <a:pt x="377" y="1256"/>
                  </a:lnTo>
                  <a:lnTo>
                    <a:pt x="461" y="1339"/>
                  </a:lnTo>
                  <a:lnTo>
                    <a:pt x="502" y="1507"/>
                  </a:lnTo>
                  <a:lnTo>
                    <a:pt x="461" y="1632"/>
                  </a:lnTo>
                  <a:lnTo>
                    <a:pt x="461" y="1737"/>
                  </a:lnTo>
                  <a:lnTo>
                    <a:pt x="356" y="1821"/>
                  </a:lnTo>
                  <a:lnTo>
                    <a:pt x="168" y="2072"/>
                  </a:lnTo>
                  <a:lnTo>
                    <a:pt x="168" y="2197"/>
                  </a:lnTo>
                  <a:lnTo>
                    <a:pt x="147" y="2281"/>
                  </a:lnTo>
                  <a:lnTo>
                    <a:pt x="105" y="2406"/>
                  </a:lnTo>
                  <a:lnTo>
                    <a:pt x="63" y="2490"/>
                  </a:lnTo>
                  <a:lnTo>
                    <a:pt x="63" y="2762"/>
                  </a:lnTo>
                  <a:lnTo>
                    <a:pt x="42" y="2783"/>
                  </a:lnTo>
                  <a:lnTo>
                    <a:pt x="0" y="2825"/>
                  </a:lnTo>
                  <a:lnTo>
                    <a:pt x="84" y="2909"/>
                  </a:lnTo>
                  <a:lnTo>
                    <a:pt x="168" y="3118"/>
                  </a:lnTo>
                  <a:lnTo>
                    <a:pt x="189" y="3285"/>
                  </a:lnTo>
                  <a:lnTo>
                    <a:pt x="314" y="3306"/>
                  </a:lnTo>
                  <a:lnTo>
                    <a:pt x="377" y="3411"/>
                  </a:lnTo>
                  <a:lnTo>
                    <a:pt x="377" y="3557"/>
                  </a:lnTo>
                  <a:lnTo>
                    <a:pt x="272" y="3599"/>
                  </a:lnTo>
                  <a:lnTo>
                    <a:pt x="168" y="3599"/>
                  </a:lnTo>
                  <a:lnTo>
                    <a:pt x="147" y="3620"/>
                  </a:lnTo>
                  <a:lnTo>
                    <a:pt x="168" y="3662"/>
                  </a:lnTo>
                  <a:lnTo>
                    <a:pt x="482" y="3725"/>
                  </a:lnTo>
                  <a:lnTo>
                    <a:pt x="712" y="3829"/>
                  </a:lnTo>
                  <a:lnTo>
                    <a:pt x="1214" y="3599"/>
                  </a:lnTo>
                  <a:lnTo>
                    <a:pt x="1549" y="3557"/>
                  </a:lnTo>
                  <a:lnTo>
                    <a:pt x="1863" y="3306"/>
                  </a:lnTo>
                  <a:lnTo>
                    <a:pt x="2135" y="3181"/>
                  </a:lnTo>
                  <a:lnTo>
                    <a:pt x="2448" y="3118"/>
                  </a:lnTo>
                  <a:lnTo>
                    <a:pt x="2386" y="3034"/>
                  </a:lnTo>
                  <a:lnTo>
                    <a:pt x="2302" y="2971"/>
                  </a:lnTo>
                  <a:lnTo>
                    <a:pt x="2260" y="2929"/>
                  </a:lnTo>
                  <a:lnTo>
                    <a:pt x="2197" y="2804"/>
                  </a:lnTo>
                  <a:lnTo>
                    <a:pt x="2176" y="2657"/>
                  </a:lnTo>
                  <a:lnTo>
                    <a:pt x="2197" y="2490"/>
                  </a:lnTo>
                  <a:lnTo>
                    <a:pt x="2197" y="2448"/>
                  </a:lnTo>
                  <a:lnTo>
                    <a:pt x="2260" y="2302"/>
                  </a:lnTo>
                  <a:lnTo>
                    <a:pt x="2260" y="1967"/>
                  </a:lnTo>
                  <a:lnTo>
                    <a:pt x="2197" y="1883"/>
                  </a:lnTo>
                  <a:lnTo>
                    <a:pt x="2239" y="1674"/>
                  </a:lnTo>
                  <a:lnTo>
                    <a:pt x="2176" y="1611"/>
                  </a:lnTo>
                  <a:lnTo>
                    <a:pt x="2239" y="1528"/>
                  </a:lnTo>
                  <a:lnTo>
                    <a:pt x="2197" y="1423"/>
                  </a:lnTo>
                  <a:lnTo>
                    <a:pt x="2155" y="1360"/>
                  </a:lnTo>
                  <a:lnTo>
                    <a:pt x="2176" y="1297"/>
                  </a:lnTo>
                  <a:lnTo>
                    <a:pt x="2197" y="1214"/>
                  </a:lnTo>
                  <a:lnTo>
                    <a:pt x="2197" y="1004"/>
                  </a:lnTo>
                  <a:lnTo>
                    <a:pt x="2155" y="1004"/>
                  </a:lnTo>
                  <a:lnTo>
                    <a:pt x="2093" y="942"/>
                  </a:lnTo>
                  <a:lnTo>
                    <a:pt x="2093" y="732"/>
                  </a:lnTo>
                  <a:lnTo>
                    <a:pt x="2135" y="586"/>
                  </a:lnTo>
                  <a:lnTo>
                    <a:pt x="1988" y="502"/>
                  </a:lnTo>
                  <a:lnTo>
                    <a:pt x="1946" y="419"/>
                  </a:lnTo>
                  <a:lnTo>
                    <a:pt x="1821" y="293"/>
                  </a:lnTo>
                  <a:lnTo>
                    <a:pt x="1821" y="209"/>
                  </a:lnTo>
                  <a:lnTo>
                    <a:pt x="1758" y="168"/>
                  </a:lnTo>
                  <a:lnTo>
                    <a:pt x="171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 name="Google Shape;6041;p93">
              <a:extLst>
                <a:ext uri="{FF2B5EF4-FFF2-40B4-BE49-F238E27FC236}">
                  <a16:creationId xmlns:a16="http://schemas.microsoft.com/office/drawing/2014/main" id="{ECF3E118-87D0-4F93-B741-27688B75E0DC}"/>
                </a:ext>
              </a:extLst>
            </p:cNvPr>
            <p:cNvSpPr/>
            <p:nvPr/>
          </p:nvSpPr>
          <p:spPr>
            <a:xfrm>
              <a:off x="3746846" y="3070151"/>
              <a:ext cx="13956" cy="35459"/>
            </a:xfrm>
            <a:custGeom>
              <a:avLst/>
              <a:gdLst/>
              <a:ahLst/>
              <a:cxnLst/>
              <a:rect l="l" t="t" r="r" b="b"/>
              <a:pathLst>
                <a:path w="1172" h="3118" extrusionOk="0">
                  <a:moveTo>
                    <a:pt x="0" y="0"/>
                  </a:moveTo>
                  <a:lnTo>
                    <a:pt x="42" y="168"/>
                  </a:lnTo>
                  <a:lnTo>
                    <a:pt x="105" y="209"/>
                  </a:lnTo>
                  <a:lnTo>
                    <a:pt x="105" y="293"/>
                  </a:lnTo>
                  <a:lnTo>
                    <a:pt x="230" y="419"/>
                  </a:lnTo>
                  <a:lnTo>
                    <a:pt x="272" y="502"/>
                  </a:lnTo>
                  <a:lnTo>
                    <a:pt x="419" y="586"/>
                  </a:lnTo>
                  <a:lnTo>
                    <a:pt x="377" y="732"/>
                  </a:lnTo>
                  <a:lnTo>
                    <a:pt x="377" y="942"/>
                  </a:lnTo>
                  <a:lnTo>
                    <a:pt x="439" y="1004"/>
                  </a:lnTo>
                  <a:lnTo>
                    <a:pt x="481" y="1004"/>
                  </a:lnTo>
                  <a:lnTo>
                    <a:pt x="481" y="1214"/>
                  </a:lnTo>
                  <a:lnTo>
                    <a:pt x="460" y="1297"/>
                  </a:lnTo>
                  <a:lnTo>
                    <a:pt x="439" y="1360"/>
                  </a:lnTo>
                  <a:lnTo>
                    <a:pt x="481" y="1423"/>
                  </a:lnTo>
                  <a:lnTo>
                    <a:pt x="523" y="1528"/>
                  </a:lnTo>
                  <a:lnTo>
                    <a:pt x="460" y="1611"/>
                  </a:lnTo>
                  <a:lnTo>
                    <a:pt x="523" y="1674"/>
                  </a:lnTo>
                  <a:lnTo>
                    <a:pt x="481" y="1883"/>
                  </a:lnTo>
                  <a:lnTo>
                    <a:pt x="544" y="1967"/>
                  </a:lnTo>
                  <a:lnTo>
                    <a:pt x="544" y="2302"/>
                  </a:lnTo>
                  <a:lnTo>
                    <a:pt x="481" y="2448"/>
                  </a:lnTo>
                  <a:lnTo>
                    <a:pt x="481" y="2490"/>
                  </a:lnTo>
                  <a:lnTo>
                    <a:pt x="460" y="2657"/>
                  </a:lnTo>
                  <a:lnTo>
                    <a:pt x="481" y="2804"/>
                  </a:lnTo>
                  <a:lnTo>
                    <a:pt x="544" y="2929"/>
                  </a:lnTo>
                  <a:lnTo>
                    <a:pt x="586" y="2971"/>
                  </a:lnTo>
                  <a:lnTo>
                    <a:pt x="670" y="3034"/>
                  </a:lnTo>
                  <a:lnTo>
                    <a:pt x="732" y="3118"/>
                  </a:lnTo>
                  <a:lnTo>
                    <a:pt x="774" y="3118"/>
                  </a:lnTo>
                  <a:lnTo>
                    <a:pt x="1088" y="2929"/>
                  </a:lnTo>
                  <a:lnTo>
                    <a:pt x="1151" y="2929"/>
                  </a:lnTo>
                  <a:lnTo>
                    <a:pt x="1172" y="2825"/>
                  </a:lnTo>
                  <a:lnTo>
                    <a:pt x="1088" y="2699"/>
                  </a:lnTo>
                  <a:lnTo>
                    <a:pt x="1088" y="2553"/>
                  </a:lnTo>
                  <a:lnTo>
                    <a:pt x="1046" y="2385"/>
                  </a:lnTo>
                  <a:lnTo>
                    <a:pt x="1067" y="1716"/>
                  </a:lnTo>
                  <a:lnTo>
                    <a:pt x="1067" y="1611"/>
                  </a:lnTo>
                  <a:lnTo>
                    <a:pt x="1109" y="1528"/>
                  </a:lnTo>
                  <a:lnTo>
                    <a:pt x="1109" y="1402"/>
                  </a:lnTo>
                  <a:lnTo>
                    <a:pt x="1088" y="1297"/>
                  </a:lnTo>
                  <a:lnTo>
                    <a:pt x="1088" y="1130"/>
                  </a:lnTo>
                  <a:lnTo>
                    <a:pt x="1046" y="900"/>
                  </a:lnTo>
                  <a:lnTo>
                    <a:pt x="900" y="586"/>
                  </a:lnTo>
                  <a:lnTo>
                    <a:pt x="858" y="565"/>
                  </a:lnTo>
                  <a:lnTo>
                    <a:pt x="774" y="481"/>
                  </a:lnTo>
                  <a:lnTo>
                    <a:pt x="649" y="398"/>
                  </a:lnTo>
                  <a:lnTo>
                    <a:pt x="628" y="209"/>
                  </a:lnTo>
                  <a:lnTo>
                    <a:pt x="649" y="168"/>
                  </a:lnTo>
                  <a:lnTo>
                    <a:pt x="4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 name="Google Shape;6042;p93">
              <a:extLst>
                <a:ext uri="{FF2B5EF4-FFF2-40B4-BE49-F238E27FC236}">
                  <a16:creationId xmlns:a16="http://schemas.microsoft.com/office/drawing/2014/main" id="{881667B8-6FD5-4379-A3EF-E07FAAE9C292}"/>
                </a:ext>
              </a:extLst>
            </p:cNvPr>
            <p:cNvSpPr/>
            <p:nvPr/>
          </p:nvSpPr>
          <p:spPr>
            <a:xfrm>
              <a:off x="3754312" y="3061110"/>
              <a:ext cx="21445" cy="42840"/>
            </a:xfrm>
            <a:custGeom>
              <a:avLst/>
              <a:gdLst/>
              <a:ahLst/>
              <a:cxnLst/>
              <a:rect l="l" t="t" r="r" b="b"/>
              <a:pathLst>
                <a:path w="1801" h="3767" extrusionOk="0">
                  <a:moveTo>
                    <a:pt x="1047" y="0"/>
                  </a:moveTo>
                  <a:lnTo>
                    <a:pt x="984" y="105"/>
                  </a:lnTo>
                  <a:lnTo>
                    <a:pt x="1005" y="147"/>
                  </a:lnTo>
                  <a:lnTo>
                    <a:pt x="900" y="209"/>
                  </a:lnTo>
                  <a:lnTo>
                    <a:pt x="838" y="209"/>
                  </a:lnTo>
                  <a:lnTo>
                    <a:pt x="838" y="272"/>
                  </a:lnTo>
                  <a:lnTo>
                    <a:pt x="691" y="439"/>
                  </a:lnTo>
                  <a:lnTo>
                    <a:pt x="628" y="439"/>
                  </a:lnTo>
                  <a:lnTo>
                    <a:pt x="440" y="544"/>
                  </a:lnTo>
                  <a:lnTo>
                    <a:pt x="356" y="523"/>
                  </a:lnTo>
                  <a:lnTo>
                    <a:pt x="252" y="565"/>
                  </a:lnTo>
                  <a:lnTo>
                    <a:pt x="252" y="670"/>
                  </a:lnTo>
                  <a:lnTo>
                    <a:pt x="168" y="753"/>
                  </a:lnTo>
                  <a:lnTo>
                    <a:pt x="168" y="858"/>
                  </a:lnTo>
                  <a:lnTo>
                    <a:pt x="43" y="900"/>
                  </a:lnTo>
                  <a:lnTo>
                    <a:pt x="22" y="963"/>
                  </a:lnTo>
                  <a:lnTo>
                    <a:pt x="1" y="1004"/>
                  </a:lnTo>
                  <a:lnTo>
                    <a:pt x="22" y="1193"/>
                  </a:lnTo>
                  <a:lnTo>
                    <a:pt x="147" y="1276"/>
                  </a:lnTo>
                  <a:lnTo>
                    <a:pt x="231" y="1360"/>
                  </a:lnTo>
                  <a:lnTo>
                    <a:pt x="273" y="1381"/>
                  </a:lnTo>
                  <a:lnTo>
                    <a:pt x="419" y="1695"/>
                  </a:lnTo>
                  <a:lnTo>
                    <a:pt x="461" y="1925"/>
                  </a:lnTo>
                  <a:lnTo>
                    <a:pt x="461" y="2092"/>
                  </a:lnTo>
                  <a:lnTo>
                    <a:pt x="482" y="2197"/>
                  </a:lnTo>
                  <a:lnTo>
                    <a:pt x="482" y="2323"/>
                  </a:lnTo>
                  <a:lnTo>
                    <a:pt x="440" y="2406"/>
                  </a:lnTo>
                  <a:lnTo>
                    <a:pt x="440" y="2511"/>
                  </a:lnTo>
                  <a:lnTo>
                    <a:pt x="419" y="3180"/>
                  </a:lnTo>
                  <a:lnTo>
                    <a:pt x="461" y="3348"/>
                  </a:lnTo>
                  <a:lnTo>
                    <a:pt x="461" y="3494"/>
                  </a:lnTo>
                  <a:lnTo>
                    <a:pt x="545" y="3620"/>
                  </a:lnTo>
                  <a:lnTo>
                    <a:pt x="524" y="3724"/>
                  </a:lnTo>
                  <a:lnTo>
                    <a:pt x="733" y="3766"/>
                  </a:lnTo>
                  <a:lnTo>
                    <a:pt x="1110" y="3620"/>
                  </a:lnTo>
                  <a:lnTo>
                    <a:pt x="1152" y="3620"/>
                  </a:lnTo>
                  <a:lnTo>
                    <a:pt x="1110" y="3515"/>
                  </a:lnTo>
                  <a:lnTo>
                    <a:pt x="1152" y="3243"/>
                  </a:lnTo>
                  <a:lnTo>
                    <a:pt x="1110" y="3139"/>
                  </a:lnTo>
                  <a:lnTo>
                    <a:pt x="1152" y="3055"/>
                  </a:lnTo>
                  <a:lnTo>
                    <a:pt x="1110" y="2825"/>
                  </a:lnTo>
                  <a:lnTo>
                    <a:pt x="1110" y="2720"/>
                  </a:lnTo>
                  <a:lnTo>
                    <a:pt x="1110" y="2657"/>
                  </a:lnTo>
                  <a:lnTo>
                    <a:pt x="1089" y="2616"/>
                  </a:lnTo>
                  <a:lnTo>
                    <a:pt x="1110" y="2553"/>
                  </a:lnTo>
                  <a:lnTo>
                    <a:pt x="1089" y="2469"/>
                  </a:lnTo>
                  <a:lnTo>
                    <a:pt x="1089" y="2427"/>
                  </a:lnTo>
                  <a:lnTo>
                    <a:pt x="1089" y="2302"/>
                  </a:lnTo>
                  <a:lnTo>
                    <a:pt x="1110" y="2218"/>
                  </a:lnTo>
                  <a:lnTo>
                    <a:pt x="1110" y="2113"/>
                  </a:lnTo>
                  <a:lnTo>
                    <a:pt x="1152" y="2051"/>
                  </a:lnTo>
                  <a:lnTo>
                    <a:pt x="1256" y="2009"/>
                  </a:lnTo>
                  <a:lnTo>
                    <a:pt x="1298" y="2009"/>
                  </a:lnTo>
                  <a:lnTo>
                    <a:pt x="1361" y="1946"/>
                  </a:lnTo>
                  <a:lnTo>
                    <a:pt x="1403" y="1841"/>
                  </a:lnTo>
                  <a:lnTo>
                    <a:pt x="1486" y="1716"/>
                  </a:lnTo>
                  <a:lnTo>
                    <a:pt x="1528" y="1611"/>
                  </a:lnTo>
                  <a:lnTo>
                    <a:pt x="1612" y="1569"/>
                  </a:lnTo>
                  <a:lnTo>
                    <a:pt x="1696" y="1569"/>
                  </a:lnTo>
                  <a:lnTo>
                    <a:pt x="1716" y="1507"/>
                  </a:lnTo>
                  <a:lnTo>
                    <a:pt x="1591" y="1381"/>
                  </a:lnTo>
                  <a:lnTo>
                    <a:pt x="1591" y="1318"/>
                  </a:lnTo>
                  <a:lnTo>
                    <a:pt x="1633" y="1255"/>
                  </a:lnTo>
                  <a:lnTo>
                    <a:pt x="1779" y="1255"/>
                  </a:lnTo>
                  <a:lnTo>
                    <a:pt x="1800" y="1172"/>
                  </a:lnTo>
                  <a:lnTo>
                    <a:pt x="1737" y="963"/>
                  </a:lnTo>
                  <a:lnTo>
                    <a:pt x="1716" y="837"/>
                  </a:lnTo>
                  <a:lnTo>
                    <a:pt x="1570" y="691"/>
                  </a:lnTo>
                  <a:lnTo>
                    <a:pt x="1528" y="628"/>
                  </a:lnTo>
                  <a:lnTo>
                    <a:pt x="1570" y="481"/>
                  </a:lnTo>
                  <a:lnTo>
                    <a:pt x="1591" y="481"/>
                  </a:lnTo>
                  <a:lnTo>
                    <a:pt x="1465" y="314"/>
                  </a:lnTo>
                  <a:lnTo>
                    <a:pt x="1319" y="272"/>
                  </a:lnTo>
                  <a:lnTo>
                    <a:pt x="1214" y="147"/>
                  </a:lnTo>
                  <a:lnTo>
                    <a:pt x="104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 name="Google Shape;6043;p93">
              <a:extLst>
                <a:ext uri="{FF2B5EF4-FFF2-40B4-BE49-F238E27FC236}">
                  <a16:creationId xmlns:a16="http://schemas.microsoft.com/office/drawing/2014/main" id="{A6FB9F91-F681-437A-A576-DD9500EAA852}"/>
                </a:ext>
              </a:extLst>
            </p:cNvPr>
            <p:cNvSpPr/>
            <p:nvPr/>
          </p:nvSpPr>
          <p:spPr>
            <a:xfrm>
              <a:off x="3838283" y="2987337"/>
              <a:ext cx="71755" cy="108994"/>
            </a:xfrm>
            <a:custGeom>
              <a:avLst/>
              <a:gdLst/>
              <a:ahLst/>
              <a:cxnLst/>
              <a:rect l="l" t="t" r="r" b="b"/>
              <a:pathLst>
                <a:path w="6026" h="9584" extrusionOk="0">
                  <a:moveTo>
                    <a:pt x="1318" y="1"/>
                  </a:moveTo>
                  <a:lnTo>
                    <a:pt x="690" y="252"/>
                  </a:lnTo>
                  <a:lnTo>
                    <a:pt x="732" y="336"/>
                  </a:lnTo>
                  <a:lnTo>
                    <a:pt x="1025" y="1110"/>
                  </a:lnTo>
                  <a:lnTo>
                    <a:pt x="1004" y="1277"/>
                  </a:lnTo>
                  <a:lnTo>
                    <a:pt x="962" y="1361"/>
                  </a:lnTo>
                  <a:lnTo>
                    <a:pt x="1360" y="1821"/>
                  </a:lnTo>
                  <a:lnTo>
                    <a:pt x="1339" y="2030"/>
                  </a:lnTo>
                  <a:lnTo>
                    <a:pt x="1255" y="2114"/>
                  </a:lnTo>
                  <a:lnTo>
                    <a:pt x="1109" y="3202"/>
                  </a:lnTo>
                  <a:lnTo>
                    <a:pt x="1130" y="4039"/>
                  </a:lnTo>
                  <a:lnTo>
                    <a:pt x="167" y="5022"/>
                  </a:lnTo>
                  <a:lnTo>
                    <a:pt x="126" y="5085"/>
                  </a:lnTo>
                  <a:lnTo>
                    <a:pt x="0" y="5085"/>
                  </a:lnTo>
                  <a:lnTo>
                    <a:pt x="0" y="5169"/>
                  </a:lnTo>
                  <a:lnTo>
                    <a:pt x="21" y="5901"/>
                  </a:lnTo>
                  <a:lnTo>
                    <a:pt x="105" y="5922"/>
                  </a:lnTo>
                  <a:lnTo>
                    <a:pt x="272" y="6131"/>
                  </a:lnTo>
                  <a:lnTo>
                    <a:pt x="335" y="6278"/>
                  </a:lnTo>
                  <a:lnTo>
                    <a:pt x="628" y="6424"/>
                  </a:lnTo>
                  <a:lnTo>
                    <a:pt x="753" y="6529"/>
                  </a:lnTo>
                  <a:lnTo>
                    <a:pt x="795" y="6717"/>
                  </a:lnTo>
                  <a:lnTo>
                    <a:pt x="837" y="6759"/>
                  </a:lnTo>
                  <a:lnTo>
                    <a:pt x="858" y="6864"/>
                  </a:lnTo>
                  <a:lnTo>
                    <a:pt x="942" y="7031"/>
                  </a:lnTo>
                  <a:lnTo>
                    <a:pt x="942" y="7115"/>
                  </a:lnTo>
                  <a:lnTo>
                    <a:pt x="921" y="7157"/>
                  </a:lnTo>
                  <a:lnTo>
                    <a:pt x="900" y="7219"/>
                  </a:lnTo>
                  <a:lnTo>
                    <a:pt x="962" y="7282"/>
                  </a:lnTo>
                  <a:lnTo>
                    <a:pt x="921" y="7429"/>
                  </a:lnTo>
                  <a:lnTo>
                    <a:pt x="837" y="7491"/>
                  </a:lnTo>
                  <a:lnTo>
                    <a:pt x="858" y="7596"/>
                  </a:lnTo>
                  <a:lnTo>
                    <a:pt x="962" y="7763"/>
                  </a:lnTo>
                  <a:lnTo>
                    <a:pt x="1046" y="7805"/>
                  </a:lnTo>
                  <a:lnTo>
                    <a:pt x="1067" y="7910"/>
                  </a:lnTo>
                  <a:lnTo>
                    <a:pt x="1234" y="8056"/>
                  </a:lnTo>
                  <a:lnTo>
                    <a:pt x="1276" y="8077"/>
                  </a:lnTo>
                  <a:lnTo>
                    <a:pt x="1234" y="8119"/>
                  </a:lnTo>
                  <a:lnTo>
                    <a:pt x="1151" y="8098"/>
                  </a:lnTo>
                  <a:lnTo>
                    <a:pt x="1067" y="8077"/>
                  </a:lnTo>
                  <a:lnTo>
                    <a:pt x="942" y="8056"/>
                  </a:lnTo>
                  <a:lnTo>
                    <a:pt x="900" y="8077"/>
                  </a:lnTo>
                  <a:lnTo>
                    <a:pt x="795" y="8056"/>
                  </a:lnTo>
                  <a:lnTo>
                    <a:pt x="690" y="8077"/>
                  </a:lnTo>
                  <a:lnTo>
                    <a:pt x="628" y="8056"/>
                  </a:lnTo>
                  <a:lnTo>
                    <a:pt x="439" y="8056"/>
                  </a:lnTo>
                  <a:lnTo>
                    <a:pt x="439" y="8161"/>
                  </a:lnTo>
                  <a:lnTo>
                    <a:pt x="418" y="8203"/>
                  </a:lnTo>
                  <a:lnTo>
                    <a:pt x="418" y="8307"/>
                  </a:lnTo>
                  <a:lnTo>
                    <a:pt x="418" y="8370"/>
                  </a:lnTo>
                  <a:lnTo>
                    <a:pt x="502" y="8412"/>
                  </a:lnTo>
                  <a:lnTo>
                    <a:pt x="502" y="8496"/>
                  </a:lnTo>
                  <a:lnTo>
                    <a:pt x="607" y="8517"/>
                  </a:lnTo>
                  <a:lnTo>
                    <a:pt x="816" y="8705"/>
                  </a:lnTo>
                  <a:lnTo>
                    <a:pt x="1025" y="8914"/>
                  </a:lnTo>
                  <a:lnTo>
                    <a:pt x="1109" y="8998"/>
                  </a:lnTo>
                  <a:lnTo>
                    <a:pt x="1214" y="9144"/>
                  </a:lnTo>
                  <a:lnTo>
                    <a:pt x="1276" y="9312"/>
                  </a:lnTo>
                  <a:lnTo>
                    <a:pt x="1318" y="9416"/>
                  </a:lnTo>
                  <a:lnTo>
                    <a:pt x="1360" y="9458"/>
                  </a:lnTo>
                  <a:lnTo>
                    <a:pt x="1381" y="9584"/>
                  </a:lnTo>
                  <a:lnTo>
                    <a:pt x="1486" y="9584"/>
                  </a:lnTo>
                  <a:lnTo>
                    <a:pt x="1590" y="9563"/>
                  </a:lnTo>
                  <a:lnTo>
                    <a:pt x="1758" y="9563"/>
                  </a:lnTo>
                  <a:lnTo>
                    <a:pt x="1799" y="9437"/>
                  </a:lnTo>
                  <a:lnTo>
                    <a:pt x="1799" y="9312"/>
                  </a:lnTo>
                  <a:lnTo>
                    <a:pt x="1883" y="9249"/>
                  </a:lnTo>
                  <a:lnTo>
                    <a:pt x="1946" y="9312"/>
                  </a:lnTo>
                  <a:lnTo>
                    <a:pt x="1988" y="9437"/>
                  </a:lnTo>
                  <a:lnTo>
                    <a:pt x="2051" y="9479"/>
                  </a:lnTo>
                  <a:lnTo>
                    <a:pt x="2155" y="9458"/>
                  </a:lnTo>
                  <a:lnTo>
                    <a:pt x="2281" y="9354"/>
                  </a:lnTo>
                  <a:lnTo>
                    <a:pt x="2469" y="9312"/>
                  </a:lnTo>
                  <a:lnTo>
                    <a:pt x="2595" y="9207"/>
                  </a:lnTo>
                  <a:lnTo>
                    <a:pt x="2929" y="9123"/>
                  </a:lnTo>
                  <a:lnTo>
                    <a:pt x="3097" y="9123"/>
                  </a:lnTo>
                  <a:lnTo>
                    <a:pt x="3159" y="9019"/>
                  </a:lnTo>
                  <a:lnTo>
                    <a:pt x="3327" y="8914"/>
                  </a:lnTo>
                  <a:lnTo>
                    <a:pt x="3306" y="8831"/>
                  </a:lnTo>
                  <a:lnTo>
                    <a:pt x="3243" y="8831"/>
                  </a:lnTo>
                  <a:lnTo>
                    <a:pt x="3139" y="8726"/>
                  </a:lnTo>
                  <a:lnTo>
                    <a:pt x="3159" y="8621"/>
                  </a:lnTo>
                  <a:lnTo>
                    <a:pt x="3243" y="8579"/>
                  </a:lnTo>
                  <a:lnTo>
                    <a:pt x="3327" y="8600"/>
                  </a:lnTo>
                  <a:lnTo>
                    <a:pt x="3452" y="8579"/>
                  </a:lnTo>
                  <a:lnTo>
                    <a:pt x="3557" y="8621"/>
                  </a:lnTo>
                  <a:lnTo>
                    <a:pt x="3683" y="8642"/>
                  </a:lnTo>
                  <a:lnTo>
                    <a:pt x="3850" y="8621"/>
                  </a:lnTo>
                  <a:lnTo>
                    <a:pt x="4080" y="8600"/>
                  </a:lnTo>
                  <a:lnTo>
                    <a:pt x="4185" y="8517"/>
                  </a:lnTo>
                  <a:lnTo>
                    <a:pt x="4289" y="8475"/>
                  </a:lnTo>
                  <a:lnTo>
                    <a:pt x="4310" y="8370"/>
                  </a:lnTo>
                  <a:lnTo>
                    <a:pt x="4289" y="8286"/>
                  </a:lnTo>
                  <a:lnTo>
                    <a:pt x="4310" y="8182"/>
                  </a:lnTo>
                  <a:lnTo>
                    <a:pt x="4394" y="8119"/>
                  </a:lnTo>
                  <a:lnTo>
                    <a:pt x="4394" y="8056"/>
                  </a:lnTo>
                  <a:lnTo>
                    <a:pt x="4478" y="7952"/>
                  </a:lnTo>
                  <a:lnTo>
                    <a:pt x="4520" y="7973"/>
                  </a:lnTo>
                  <a:lnTo>
                    <a:pt x="4582" y="7973"/>
                  </a:lnTo>
                  <a:lnTo>
                    <a:pt x="4687" y="7805"/>
                  </a:lnTo>
                  <a:lnTo>
                    <a:pt x="4771" y="7784"/>
                  </a:lnTo>
                  <a:lnTo>
                    <a:pt x="4729" y="7701"/>
                  </a:lnTo>
                  <a:lnTo>
                    <a:pt x="4771" y="7638"/>
                  </a:lnTo>
                  <a:lnTo>
                    <a:pt x="4917" y="7554"/>
                  </a:lnTo>
                  <a:lnTo>
                    <a:pt x="5022" y="7470"/>
                  </a:lnTo>
                  <a:lnTo>
                    <a:pt x="5147" y="7470"/>
                  </a:lnTo>
                  <a:lnTo>
                    <a:pt x="5231" y="7533"/>
                  </a:lnTo>
                  <a:lnTo>
                    <a:pt x="5356" y="7450"/>
                  </a:lnTo>
                  <a:lnTo>
                    <a:pt x="5398" y="7387"/>
                  </a:lnTo>
                  <a:lnTo>
                    <a:pt x="5419" y="7366"/>
                  </a:lnTo>
                  <a:lnTo>
                    <a:pt x="5419" y="7282"/>
                  </a:lnTo>
                  <a:lnTo>
                    <a:pt x="5461" y="7219"/>
                  </a:lnTo>
                  <a:lnTo>
                    <a:pt x="5419" y="7136"/>
                  </a:lnTo>
                  <a:lnTo>
                    <a:pt x="5189" y="7052"/>
                  </a:lnTo>
                  <a:lnTo>
                    <a:pt x="5147" y="6947"/>
                  </a:lnTo>
                  <a:lnTo>
                    <a:pt x="5147" y="6822"/>
                  </a:lnTo>
                  <a:lnTo>
                    <a:pt x="5105" y="6717"/>
                  </a:lnTo>
                  <a:lnTo>
                    <a:pt x="5147" y="6634"/>
                  </a:lnTo>
                  <a:lnTo>
                    <a:pt x="5084" y="6592"/>
                  </a:lnTo>
                  <a:lnTo>
                    <a:pt x="5126" y="6529"/>
                  </a:lnTo>
                  <a:lnTo>
                    <a:pt x="5126" y="6445"/>
                  </a:lnTo>
                  <a:lnTo>
                    <a:pt x="5084" y="6424"/>
                  </a:lnTo>
                  <a:lnTo>
                    <a:pt x="4938" y="6529"/>
                  </a:lnTo>
                  <a:lnTo>
                    <a:pt x="4875" y="6445"/>
                  </a:lnTo>
                  <a:lnTo>
                    <a:pt x="4875" y="6320"/>
                  </a:lnTo>
                  <a:lnTo>
                    <a:pt x="5043" y="6131"/>
                  </a:lnTo>
                  <a:lnTo>
                    <a:pt x="5105" y="6027"/>
                  </a:lnTo>
                  <a:lnTo>
                    <a:pt x="5084" y="5922"/>
                  </a:lnTo>
                  <a:lnTo>
                    <a:pt x="4980" y="5880"/>
                  </a:lnTo>
                  <a:lnTo>
                    <a:pt x="5001" y="5797"/>
                  </a:lnTo>
                  <a:lnTo>
                    <a:pt x="5126" y="5713"/>
                  </a:lnTo>
                  <a:lnTo>
                    <a:pt x="5189" y="5587"/>
                  </a:lnTo>
                  <a:lnTo>
                    <a:pt x="5126" y="5545"/>
                  </a:lnTo>
                  <a:lnTo>
                    <a:pt x="5105" y="5441"/>
                  </a:lnTo>
                  <a:lnTo>
                    <a:pt x="5210" y="5357"/>
                  </a:lnTo>
                  <a:lnTo>
                    <a:pt x="5252" y="5357"/>
                  </a:lnTo>
                  <a:lnTo>
                    <a:pt x="5461" y="5085"/>
                  </a:lnTo>
                  <a:lnTo>
                    <a:pt x="5524" y="4960"/>
                  </a:lnTo>
                  <a:lnTo>
                    <a:pt x="5461" y="4876"/>
                  </a:lnTo>
                  <a:lnTo>
                    <a:pt x="5461" y="4750"/>
                  </a:lnTo>
                  <a:lnTo>
                    <a:pt x="5566" y="4667"/>
                  </a:lnTo>
                  <a:lnTo>
                    <a:pt x="5712" y="4667"/>
                  </a:lnTo>
                  <a:lnTo>
                    <a:pt x="5817" y="4729"/>
                  </a:lnTo>
                  <a:lnTo>
                    <a:pt x="5921" y="4646"/>
                  </a:lnTo>
                  <a:lnTo>
                    <a:pt x="6026" y="4625"/>
                  </a:lnTo>
                  <a:lnTo>
                    <a:pt x="5963" y="2344"/>
                  </a:lnTo>
                  <a:lnTo>
                    <a:pt x="131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 name="Google Shape;6044;p93">
              <a:extLst>
                <a:ext uri="{FF2B5EF4-FFF2-40B4-BE49-F238E27FC236}">
                  <a16:creationId xmlns:a16="http://schemas.microsoft.com/office/drawing/2014/main" id="{6C84C07C-8A33-4C49-803F-ED2CCBBFD29D}"/>
                </a:ext>
              </a:extLst>
            </p:cNvPr>
            <p:cNvSpPr/>
            <p:nvPr/>
          </p:nvSpPr>
          <p:spPr>
            <a:xfrm>
              <a:off x="3829555" y="3057778"/>
              <a:ext cx="2251" cy="1194"/>
            </a:xfrm>
            <a:custGeom>
              <a:avLst/>
              <a:gdLst/>
              <a:ahLst/>
              <a:cxnLst/>
              <a:rect l="l" t="t" r="r" b="b"/>
              <a:pathLst>
                <a:path w="189" h="105" extrusionOk="0">
                  <a:moveTo>
                    <a:pt x="189" y="0"/>
                  </a:moveTo>
                  <a:lnTo>
                    <a:pt x="1" y="42"/>
                  </a:lnTo>
                  <a:lnTo>
                    <a:pt x="63" y="105"/>
                  </a:lnTo>
                  <a:lnTo>
                    <a:pt x="168" y="84"/>
                  </a:lnTo>
                  <a:lnTo>
                    <a:pt x="1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 name="Google Shape;6045;p93">
              <a:extLst>
                <a:ext uri="{FF2B5EF4-FFF2-40B4-BE49-F238E27FC236}">
                  <a16:creationId xmlns:a16="http://schemas.microsoft.com/office/drawing/2014/main" id="{70FD0FD0-5254-41E4-B0FC-9F7AE728210D}"/>
                </a:ext>
              </a:extLst>
            </p:cNvPr>
            <p:cNvSpPr/>
            <p:nvPr/>
          </p:nvSpPr>
          <p:spPr>
            <a:xfrm>
              <a:off x="3749584" y="2988770"/>
              <a:ext cx="104905" cy="77822"/>
            </a:xfrm>
            <a:custGeom>
              <a:avLst/>
              <a:gdLst/>
              <a:ahLst/>
              <a:cxnLst/>
              <a:rect l="l" t="t" r="r" b="b"/>
              <a:pathLst>
                <a:path w="8810" h="6843" extrusionOk="0">
                  <a:moveTo>
                    <a:pt x="6507" y="0"/>
                  </a:moveTo>
                  <a:lnTo>
                    <a:pt x="3913" y="1590"/>
                  </a:lnTo>
                  <a:lnTo>
                    <a:pt x="3181" y="2239"/>
                  </a:lnTo>
                  <a:lnTo>
                    <a:pt x="2323" y="2448"/>
                  </a:lnTo>
                  <a:lnTo>
                    <a:pt x="2302" y="3578"/>
                  </a:lnTo>
                  <a:lnTo>
                    <a:pt x="2239" y="4080"/>
                  </a:lnTo>
                  <a:lnTo>
                    <a:pt x="2176" y="4164"/>
                  </a:lnTo>
                  <a:lnTo>
                    <a:pt x="2134" y="4331"/>
                  </a:lnTo>
                  <a:lnTo>
                    <a:pt x="2093" y="4478"/>
                  </a:lnTo>
                  <a:lnTo>
                    <a:pt x="1800" y="4624"/>
                  </a:lnTo>
                  <a:lnTo>
                    <a:pt x="1653" y="4729"/>
                  </a:lnTo>
                  <a:lnTo>
                    <a:pt x="1465" y="4729"/>
                  </a:lnTo>
                  <a:lnTo>
                    <a:pt x="1297" y="4834"/>
                  </a:lnTo>
                  <a:lnTo>
                    <a:pt x="942" y="4834"/>
                  </a:lnTo>
                  <a:lnTo>
                    <a:pt x="774" y="4917"/>
                  </a:lnTo>
                  <a:lnTo>
                    <a:pt x="649" y="4917"/>
                  </a:lnTo>
                  <a:lnTo>
                    <a:pt x="251" y="4938"/>
                  </a:lnTo>
                  <a:lnTo>
                    <a:pt x="126" y="4917"/>
                  </a:lnTo>
                  <a:lnTo>
                    <a:pt x="84" y="5001"/>
                  </a:lnTo>
                  <a:lnTo>
                    <a:pt x="84" y="5147"/>
                  </a:lnTo>
                  <a:lnTo>
                    <a:pt x="0" y="5252"/>
                  </a:lnTo>
                  <a:lnTo>
                    <a:pt x="0" y="5440"/>
                  </a:lnTo>
                  <a:lnTo>
                    <a:pt x="544" y="5796"/>
                  </a:lnTo>
                  <a:lnTo>
                    <a:pt x="544" y="6047"/>
                  </a:lnTo>
                  <a:lnTo>
                    <a:pt x="753" y="6173"/>
                  </a:lnTo>
                  <a:lnTo>
                    <a:pt x="984" y="6047"/>
                  </a:lnTo>
                  <a:lnTo>
                    <a:pt x="1067" y="6089"/>
                  </a:lnTo>
                  <a:lnTo>
                    <a:pt x="1067" y="6152"/>
                  </a:lnTo>
                  <a:lnTo>
                    <a:pt x="1130" y="6194"/>
                  </a:lnTo>
                  <a:lnTo>
                    <a:pt x="1130" y="6298"/>
                  </a:lnTo>
                  <a:lnTo>
                    <a:pt x="1067" y="6403"/>
                  </a:lnTo>
                  <a:lnTo>
                    <a:pt x="1193" y="6570"/>
                  </a:lnTo>
                  <a:lnTo>
                    <a:pt x="1297" y="6570"/>
                  </a:lnTo>
                  <a:lnTo>
                    <a:pt x="1402" y="6508"/>
                  </a:lnTo>
                  <a:lnTo>
                    <a:pt x="1381" y="6466"/>
                  </a:lnTo>
                  <a:lnTo>
                    <a:pt x="1444" y="6361"/>
                  </a:lnTo>
                  <a:lnTo>
                    <a:pt x="1611" y="6508"/>
                  </a:lnTo>
                  <a:lnTo>
                    <a:pt x="1716" y="6633"/>
                  </a:lnTo>
                  <a:lnTo>
                    <a:pt x="1862" y="6675"/>
                  </a:lnTo>
                  <a:lnTo>
                    <a:pt x="1988" y="6842"/>
                  </a:lnTo>
                  <a:lnTo>
                    <a:pt x="2072" y="6780"/>
                  </a:lnTo>
                  <a:lnTo>
                    <a:pt x="2072" y="6717"/>
                  </a:lnTo>
                  <a:lnTo>
                    <a:pt x="2009" y="6696"/>
                  </a:lnTo>
                  <a:lnTo>
                    <a:pt x="1925" y="6528"/>
                  </a:lnTo>
                  <a:lnTo>
                    <a:pt x="1967" y="6487"/>
                  </a:lnTo>
                  <a:lnTo>
                    <a:pt x="1967" y="6403"/>
                  </a:lnTo>
                  <a:lnTo>
                    <a:pt x="2072" y="6298"/>
                  </a:lnTo>
                  <a:lnTo>
                    <a:pt x="2176" y="6298"/>
                  </a:lnTo>
                  <a:lnTo>
                    <a:pt x="2176" y="6215"/>
                  </a:lnTo>
                  <a:lnTo>
                    <a:pt x="2113" y="6173"/>
                  </a:lnTo>
                  <a:lnTo>
                    <a:pt x="2093" y="6068"/>
                  </a:lnTo>
                  <a:lnTo>
                    <a:pt x="2113" y="6005"/>
                  </a:lnTo>
                  <a:lnTo>
                    <a:pt x="2134" y="5984"/>
                  </a:lnTo>
                  <a:lnTo>
                    <a:pt x="2113" y="5943"/>
                  </a:lnTo>
                  <a:lnTo>
                    <a:pt x="2113" y="5880"/>
                  </a:lnTo>
                  <a:lnTo>
                    <a:pt x="2239" y="5775"/>
                  </a:lnTo>
                  <a:lnTo>
                    <a:pt x="2323" y="5754"/>
                  </a:lnTo>
                  <a:lnTo>
                    <a:pt x="2385" y="5733"/>
                  </a:lnTo>
                  <a:lnTo>
                    <a:pt x="2490" y="5692"/>
                  </a:lnTo>
                  <a:lnTo>
                    <a:pt x="2804" y="5692"/>
                  </a:lnTo>
                  <a:lnTo>
                    <a:pt x="2846" y="5650"/>
                  </a:lnTo>
                  <a:lnTo>
                    <a:pt x="2930" y="5650"/>
                  </a:lnTo>
                  <a:lnTo>
                    <a:pt x="3013" y="5671"/>
                  </a:lnTo>
                  <a:lnTo>
                    <a:pt x="3160" y="5692"/>
                  </a:lnTo>
                  <a:lnTo>
                    <a:pt x="3243" y="5733"/>
                  </a:lnTo>
                  <a:lnTo>
                    <a:pt x="3327" y="5754"/>
                  </a:lnTo>
                  <a:lnTo>
                    <a:pt x="3494" y="5796"/>
                  </a:lnTo>
                  <a:lnTo>
                    <a:pt x="3557" y="5880"/>
                  </a:lnTo>
                  <a:lnTo>
                    <a:pt x="3683" y="6068"/>
                  </a:lnTo>
                  <a:lnTo>
                    <a:pt x="3787" y="6152"/>
                  </a:lnTo>
                  <a:lnTo>
                    <a:pt x="3850" y="6110"/>
                  </a:lnTo>
                  <a:lnTo>
                    <a:pt x="3913" y="6047"/>
                  </a:lnTo>
                  <a:lnTo>
                    <a:pt x="3997" y="6005"/>
                  </a:lnTo>
                  <a:lnTo>
                    <a:pt x="4080" y="5984"/>
                  </a:lnTo>
                  <a:lnTo>
                    <a:pt x="4227" y="5964"/>
                  </a:lnTo>
                  <a:lnTo>
                    <a:pt x="4269" y="5943"/>
                  </a:lnTo>
                  <a:lnTo>
                    <a:pt x="4373" y="5943"/>
                  </a:lnTo>
                  <a:lnTo>
                    <a:pt x="4478" y="6005"/>
                  </a:lnTo>
                  <a:lnTo>
                    <a:pt x="4478" y="6068"/>
                  </a:lnTo>
                  <a:lnTo>
                    <a:pt x="4582" y="6089"/>
                  </a:lnTo>
                  <a:lnTo>
                    <a:pt x="4750" y="6194"/>
                  </a:lnTo>
                  <a:lnTo>
                    <a:pt x="4896" y="6215"/>
                  </a:lnTo>
                  <a:lnTo>
                    <a:pt x="5126" y="6298"/>
                  </a:lnTo>
                  <a:lnTo>
                    <a:pt x="5231" y="6319"/>
                  </a:lnTo>
                  <a:lnTo>
                    <a:pt x="5357" y="6256"/>
                  </a:lnTo>
                  <a:lnTo>
                    <a:pt x="5524" y="6047"/>
                  </a:lnTo>
                  <a:lnTo>
                    <a:pt x="5629" y="5984"/>
                  </a:lnTo>
                  <a:lnTo>
                    <a:pt x="5943" y="6005"/>
                  </a:lnTo>
                  <a:lnTo>
                    <a:pt x="6068" y="5964"/>
                  </a:lnTo>
                  <a:lnTo>
                    <a:pt x="6319" y="5984"/>
                  </a:lnTo>
                  <a:lnTo>
                    <a:pt x="6507" y="6068"/>
                  </a:lnTo>
                  <a:lnTo>
                    <a:pt x="6675" y="6089"/>
                  </a:lnTo>
                  <a:lnTo>
                    <a:pt x="6717" y="6110"/>
                  </a:lnTo>
                  <a:lnTo>
                    <a:pt x="6905" y="6068"/>
                  </a:lnTo>
                  <a:lnTo>
                    <a:pt x="6926" y="6047"/>
                  </a:lnTo>
                  <a:lnTo>
                    <a:pt x="7031" y="5984"/>
                  </a:lnTo>
                  <a:lnTo>
                    <a:pt x="7093" y="5943"/>
                  </a:lnTo>
                  <a:lnTo>
                    <a:pt x="7156" y="5901"/>
                  </a:lnTo>
                  <a:lnTo>
                    <a:pt x="7240" y="5943"/>
                  </a:lnTo>
                  <a:lnTo>
                    <a:pt x="7303" y="5901"/>
                  </a:lnTo>
                  <a:lnTo>
                    <a:pt x="7323" y="5838"/>
                  </a:lnTo>
                  <a:lnTo>
                    <a:pt x="7365" y="5733"/>
                  </a:lnTo>
                  <a:lnTo>
                    <a:pt x="7470" y="5775"/>
                  </a:lnTo>
                  <a:lnTo>
                    <a:pt x="7470" y="5775"/>
                  </a:lnTo>
                  <a:lnTo>
                    <a:pt x="7449" y="5043"/>
                  </a:lnTo>
                  <a:lnTo>
                    <a:pt x="7449" y="4959"/>
                  </a:lnTo>
                  <a:lnTo>
                    <a:pt x="7575" y="4959"/>
                  </a:lnTo>
                  <a:lnTo>
                    <a:pt x="7616" y="4896"/>
                  </a:lnTo>
                  <a:lnTo>
                    <a:pt x="8579" y="3913"/>
                  </a:lnTo>
                  <a:lnTo>
                    <a:pt x="8558" y="3076"/>
                  </a:lnTo>
                  <a:lnTo>
                    <a:pt x="8704" y="1988"/>
                  </a:lnTo>
                  <a:lnTo>
                    <a:pt x="8788" y="1904"/>
                  </a:lnTo>
                  <a:lnTo>
                    <a:pt x="8809" y="1695"/>
                  </a:lnTo>
                  <a:lnTo>
                    <a:pt x="8411" y="1235"/>
                  </a:lnTo>
                  <a:lnTo>
                    <a:pt x="8453" y="1151"/>
                  </a:lnTo>
                  <a:lnTo>
                    <a:pt x="8474" y="984"/>
                  </a:lnTo>
                  <a:lnTo>
                    <a:pt x="8181" y="210"/>
                  </a:lnTo>
                  <a:lnTo>
                    <a:pt x="8139" y="126"/>
                  </a:lnTo>
                  <a:lnTo>
                    <a:pt x="7616" y="335"/>
                  </a:lnTo>
                  <a:lnTo>
                    <a:pt x="7512" y="230"/>
                  </a:lnTo>
                  <a:lnTo>
                    <a:pt x="650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257" name="Google Shape;6046;p93">
              <a:extLst>
                <a:ext uri="{FF2B5EF4-FFF2-40B4-BE49-F238E27FC236}">
                  <a16:creationId xmlns:a16="http://schemas.microsoft.com/office/drawing/2014/main" id="{980C61BD-F9D0-4E8E-B4E8-F5E5B956B04A}"/>
                </a:ext>
              </a:extLst>
            </p:cNvPr>
            <p:cNvSpPr/>
            <p:nvPr/>
          </p:nvSpPr>
          <p:spPr>
            <a:xfrm>
              <a:off x="3767267" y="3053013"/>
              <a:ext cx="78744" cy="64493"/>
            </a:xfrm>
            <a:custGeom>
              <a:avLst/>
              <a:gdLst/>
              <a:ahLst/>
              <a:cxnLst/>
              <a:rect l="l" t="t" r="r" b="b"/>
              <a:pathLst>
                <a:path w="6613" h="5671" extrusionOk="0">
                  <a:moveTo>
                    <a:pt x="1361" y="1"/>
                  </a:moveTo>
                  <a:lnTo>
                    <a:pt x="1319" y="43"/>
                  </a:lnTo>
                  <a:lnTo>
                    <a:pt x="1005" y="43"/>
                  </a:lnTo>
                  <a:lnTo>
                    <a:pt x="900" y="84"/>
                  </a:lnTo>
                  <a:lnTo>
                    <a:pt x="838" y="105"/>
                  </a:lnTo>
                  <a:lnTo>
                    <a:pt x="754" y="126"/>
                  </a:lnTo>
                  <a:lnTo>
                    <a:pt x="628" y="231"/>
                  </a:lnTo>
                  <a:lnTo>
                    <a:pt x="628" y="294"/>
                  </a:lnTo>
                  <a:lnTo>
                    <a:pt x="649" y="335"/>
                  </a:lnTo>
                  <a:lnTo>
                    <a:pt x="628" y="356"/>
                  </a:lnTo>
                  <a:lnTo>
                    <a:pt x="608" y="419"/>
                  </a:lnTo>
                  <a:lnTo>
                    <a:pt x="628" y="524"/>
                  </a:lnTo>
                  <a:lnTo>
                    <a:pt x="691" y="566"/>
                  </a:lnTo>
                  <a:lnTo>
                    <a:pt x="691" y="649"/>
                  </a:lnTo>
                  <a:lnTo>
                    <a:pt x="587" y="649"/>
                  </a:lnTo>
                  <a:lnTo>
                    <a:pt x="482" y="754"/>
                  </a:lnTo>
                  <a:lnTo>
                    <a:pt x="482" y="838"/>
                  </a:lnTo>
                  <a:lnTo>
                    <a:pt x="440" y="879"/>
                  </a:lnTo>
                  <a:lnTo>
                    <a:pt x="524" y="1047"/>
                  </a:lnTo>
                  <a:lnTo>
                    <a:pt x="587" y="1068"/>
                  </a:lnTo>
                  <a:lnTo>
                    <a:pt x="587" y="1131"/>
                  </a:lnTo>
                  <a:lnTo>
                    <a:pt x="503" y="1193"/>
                  </a:lnTo>
                  <a:lnTo>
                    <a:pt x="482" y="1193"/>
                  </a:lnTo>
                  <a:lnTo>
                    <a:pt x="440" y="1340"/>
                  </a:lnTo>
                  <a:lnTo>
                    <a:pt x="482" y="1403"/>
                  </a:lnTo>
                  <a:lnTo>
                    <a:pt x="628" y="1549"/>
                  </a:lnTo>
                  <a:lnTo>
                    <a:pt x="649" y="1675"/>
                  </a:lnTo>
                  <a:lnTo>
                    <a:pt x="712" y="1884"/>
                  </a:lnTo>
                  <a:lnTo>
                    <a:pt x="691" y="1967"/>
                  </a:lnTo>
                  <a:lnTo>
                    <a:pt x="545" y="1967"/>
                  </a:lnTo>
                  <a:lnTo>
                    <a:pt x="503" y="2030"/>
                  </a:lnTo>
                  <a:lnTo>
                    <a:pt x="503" y="2093"/>
                  </a:lnTo>
                  <a:lnTo>
                    <a:pt x="628" y="2219"/>
                  </a:lnTo>
                  <a:lnTo>
                    <a:pt x="608" y="2281"/>
                  </a:lnTo>
                  <a:lnTo>
                    <a:pt x="524" y="2281"/>
                  </a:lnTo>
                  <a:lnTo>
                    <a:pt x="440" y="2323"/>
                  </a:lnTo>
                  <a:lnTo>
                    <a:pt x="398" y="2428"/>
                  </a:lnTo>
                  <a:lnTo>
                    <a:pt x="315" y="2553"/>
                  </a:lnTo>
                  <a:lnTo>
                    <a:pt x="273" y="2658"/>
                  </a:lnTo>
                  <a:lnTo>
                    <a:pt x="210" y="2721"/>
                  </a:lnTo>
                  <a:lnTo>
                    <a:pt x="168" y="2721"/>
                  </a:lnTo>
                  <a:lnTo>
                    <a:pt x="64" y="2763"/>
                  </a:lnTo>
                  <a:lnTo>
                    <a:pt x="22" y="2825"/>
                  </a:lnTo>
                  <a:lnTo>
                    <a:pt x="22" y="2930"/>
                  </a:lnTo>
                  <a:lnTo>
                    <a:pt x="1" y="3014"/>
                  </a:lnTo>
                  <a:lnTo>
                    <a:pt x="1" y="3139"/>
                  </a:lnTo>
                  <a:lnTo>
                    <a:pt x="1" y="3181"/>
                  </a:lnTo>
                  <a:lnTo>
                    <a:pt x="22" y="3265"/>
                  </a:lnTo>
                  <a:lnTo>
                    <a:pt x="1" y="3328"/>
                  </a:lnTo>
                  <a:lnTo>
                    <a:pt x="22" y="3369"/>
                  </a:lnTo>
                  <a:lnTo>
                    <a:pt x="22" y="3432"/>
                  </a:lnTo>
                  <a:lnTo>
                    <a:pt x="22" y="3537"/>
                  </a:lnTo>
                  <a:lnTo>
                    <a:pt x="64" y="3767"/>
                  </a:lnTo>
                  <a:lnTo>
                    <a:pt x="22" y="3851"/>
                  </a:lnTo>
                  <a:lnTo>
                    <a:pt x="64" y="3955"/>
                  </a:lnTo>
                  <a:lnTo>
                    <a:pt x="22" y="4227"/>
                  </a:lnTo>
                  <a:lnTo>
                    <a:pt x="64" y="4332"/>
                  </a:lnTo>
                  <a:lnTo>
                    <a:pt x="294" y="4395"/>
                  </a:lnTo>
                  <a:lnTo>
                    <a:pt x="482" y="4311"/>
                  </a:lnTo>
                  <a:lnTo>
                    <a:pt x="900" y="4541"/>
                  </a:lnTo>
                  <a:lnTo>
                    <a:pt x="1131" y="4750"/>
                  </a:lnTo>
                  <a:lnTo>
                    <a:pt x="1256" y="5043"/>
                  </a:lnTo>
                  <a:lnTo>
                    <a:pt x="1256" y="5232"/>
                  </a:lnTo>
                  <a:lnTo>
                    <a:pt x="1340" y="5273"/>
                  </a:lnTo>
                  <a:lnTo>
                    <a:pt x="1424" y="5462"/>
                  </a:lnTo>
                  <a:lnTo>
                    <a:pt x="1549" y="5587"/>
                  </a:lnTo>
                  <a:lnTo>
                    <a:pt x="1758" y="5671"/>
                  </a:lnTo>
                  <a:lnTo>
                    <a:pt x="2323" y="5629"/>
                  </a:lnTo>
                  <a:lnTo>
                    <a:pt x="2428" y="5566"/>
                  </a:lnTo>
                  <a:lnTo>
                    <a:pt x="2512" y="5587"/>
                  </a:lnTo>
                  <a:lnTo>
                    <a:pt x="2784" y="5483"/>
                  </a:lnTo>
                  <a:lnTo>
                    <a:pt x="2888" y="5545"/>
                  </a:lnTo>
                  <a:lnTo>
                    <a:pt x="3014" y="5524"/>
                  </a:lnTo>
                  <a:lnTo>
                    <a:pt x="3056" y="5357"/>
                  </a:lnTo>
                  <a:lnTo>
                    <a:pt x="3160" y="5462"/>
                  </a:lnTo>
                  <a:lnTo>
                    <a:pt x="3223" y="5441"/>
                  </a:lnTo>
                  <a:lnTo>
                    <a:pt x="3223" y="5357"/>
                  </a:lnTo>
                  <a:lnTo>
                    <a:pt x="3369" y="5211"/>
                  </a:lnTo>
                  <a:lnTo>
                    <a:pt x="3432" y="5043"/>
                  </a:lnTo>
                  <a:lnTo>
                    <a:pt x="3432" y="4918"/>
                  </a:lnTo>
                  <a:lnTo>
                    <a:pt x="3411" y="4792"/>
                  </a:lnTo>
                  <a:lnTo>
                    <a:pt x="3474" y="4729"/>
                  </a:lnTo>
                  <a:lnTo>
                    <a:pt x="3474" y="4646"/>
                  </a:lnTo>
                  <a:lnTo>
                    <a:pt x="3558" y="4583"/>
                  </a:lnTo>
                  <a:lnTo>
                    <a:pt x="3662" y="4499"/>
                  </a:lnTo>
                  <a:lnTo>
                    <a:pt x="3725" y="4436"/>
                  </a:lnTo>
                  <a:lnTo>
                    <a:pt x="3893" y="4311"/>
                  </a:lnTo>
                  <a:lnTo>
                    <a:pt x="3872" y="4206"/>
                  </a:lnTo>
                  <a:lnTo>
                    <a:pt x="3893" y="4123"/>
                  </a:lnTo>
                  <a:lnTo>
                    <a:pt x="4039" y="4123"/>
                  </a:lnTo>
                  <a:lnTo>
                    <a:pt x="4081" y="4060"/>
                  </a:lnTo>
                  <a:lnTo>
                    <a:pt x="4102" y="4081"/>
                  </a:lnTo>
                  <a:lnTo>
                    <a:pt x="4269" y="4123"/>
                  </a:lnTo>
                  <a:lnTo>
                    <a:pt x="4353" y="4123"/>
                  </a:lnTo>
                  <a:lnTo>
                    <a:pt x="4458" y="4185"/>
                  </a:lnTo>
                  <a:lnTo>
                    <a:pt x="4499" y="4311"/>
                  </a:lnTo>
                  <a:lnTo>
                    <a:pt x="4604" y="4374"/>
                  </a:lnTo>
                  <a:lnTo>
                    <a:pt x="4688" y="4395"/>
                  </a:lnTo>
                  <a:lnTo>
                    <a:pt x="4792" y="4332"/>
                  </a:lnTo>
                  <a:lnTo>
                    <a:pt x="4876" y="4206"/>
                  </a:lnTo>
                  <a:lnTo>
                    <a:pt x="4876" y="4164"/>
                  </a:lnTo>
                  <a:lnTo>
                    <a:pt x="4918" y="4081"/>
                  </a:lnTo>
                  <a:lnTo>
                    <a:pt x="5002" y="4060"/>
                  </a:lnTo>
                  <a:lnTo>
                    <a:pt x="5085" y="3955"/>
                  </a:lnTo>
                  <a:lnTo>
                    <a:pt x="5085" y="3872"/>
                  </a:lnTo>
                  <a:lnTo>
                    <a:pt x="5106" y="3746"/>
                  </a:lnTo>
                  <a:lnTo>
                    <a:pt x="5294" y="3558"/>
                  </a:lnTo>
                  <a:lnTo>
                    <a:pt x="5315" y="3453"/>
                  </a:lnTo>
                  <a:lnTo>
                    <a:pt x="5294" y="3369"/>
                  </a:lnTo>
                  <a:lnTo>
                    <a:pt x="5336" y="3286"/>
                  </a:lnTo>
                  <a:lnTo>
                    <a:pt x="5504" y="3139"/>
                  </a:lnTo>
                  <a:lnTo>
                    <a:pt x="5608" y="3056"/>
                  </a:lnTo>
                  <a:lnTo>
                    <a:pt x="5629" y="2930"/>
                  </a:lnTo>
                  <a:lnTo>
                    <a:pt x="5650" y="2846"/>
                  </a:lnTo>
                  <a:lnTo>
                    <a:pt x="5629" y="2658"/>
                  </a:lnTo>
                  <a:lnTo>
                    <a:pt x="5734" y="2595"/>
                  </a:lnTo>
                  <a:lnTo>
                    <a:pt x="5880" y="2553"/>
                  </a:lnTo>
                  <a:lnTo>
                    <a:pt x="5964" y="2428"/>
                  </a:lnTo>
                  <a:lnTo>
                    <a:pt x="5985" y="2302"/>
                  </a:lnTo>
                  <a:lnTo>
                    <a:pt x="5985" y="2135"/>
                  </a:lnTo>
                  <a:lnTo>
                    <a:pt x="5985" y="2030"/>
                  </a:lnTo>
                  <a:lnTo>
                    <a:pt x="6048" y="1926"/>
                  </a:lnTo>
                  <a:lnTo>
                    <a:pt x="6152" y="1758"/>
                  </a:lnTo>
                  <a:lnTo>
                    <a:pt x="6194" y="1695"/>
                  </a:lnTo>
                  <a:lnTo>
                    <a:pt x="6236" y="1654"/>
                  </a:lnTo>
                  <a:lnTo>
                    <a:pt x="6341" y="1570"/>
                  </a:lnTo>
                  <a:lnTo>
                    <a:pt x="6382" y="1570"/>
                  </a:lnTo>
                  <a:lnTo>
                    <a:pt x="6466" y="1465"/>
                  </a:lnTo>
                  <a:lnTo>
                    <a:pt x="6592" y="1403"/>
                  </a:lnTo>
                  <a:lnTo>
                    <a:pt x="6613" y="1340"/>
                  </a:lnTo>
                  <a:lnTo>
                    <a:pt x="6571" y="1193"/>
                  </a:lnTo>
                  <a:lnTo>
                    <a:pt x="6571" y="1131"/>
                  </a:lnTo>
                  <a:lnTo>
                    <a:pt x="6550" y="1047"/>
                  </a:lnTo>
                  <a:lnTo>
                    <a:pt x="6445" y="984"/>
                  </a:lnTo>
                  <a:lnTo>
                    <a:pt x="6382" y="921"/>
                  </a:lnTo>
                  <a:lnTo>
                    <a:pt x="6382" y="733"/>
                  </a:lnTo>
                  <a:lnTo>
                    <a:pt x="6362" y="628"/>
                  </a:lnTo>
                  <a:lnTo>
                    <a:pt x="6299" y="503"/>
                  </a:lnTo>
                  <a:lnTo>
                    <a:pt x="6236" y="356"/>
                  </a:lnTo>
                  <a:lnTo>
                    <a:pt x="6069" y="147"/>
                  </a:lnTo>
                  <a:lnTo>
                    <a:pt x="5985" y="126"/>
                  </a:lnTo>
                  <a:lnTo>
                    <a:pt x="5880" y="84"/>
                  </a:lnTo>
                  <a:lnTo>
                    <a:pt x="5838" y="189"/>
                  </a:lnTo>
                  <a:lnTo>
                    <a:pt x="5818" y="252"/>
                  </a:lnTo>
                  <a:lnTo>
                    <a:pt x="5755" y="294"/>
                  </a:lnTo>
                  <a:lnTo>
                    <a:pt x="5671" y="252"/>
                  </a:lnTo>
                  <a:lnTo>
                    <a:pt x="5608" y="294"/>
                  </a:lnTo>
                  <a:lnTo>
                    <a:pt x="5546" y="335"/>
                  </a:lnTo>
                  <a:lnTo>
                    <a:pt x="5441" y="398"/>
                  </a:lnTo>
                  <a:lnTo>
                    <a:pt x="5399" y="503"/>
                  </a:lnTo>
                  <a:lnTo>
                    <a:pt x="5294" y="524"/>
                  </a:lnTo>
                  <a:lnTo>
                    <a:pt x="5232" y="461"/>
                  </a:lnTo>
                  <a:lnTo>
                    <a:pt x="5190" y="440"/>
                  </a:lnTo>
                  <a:lnTo>
                    <a:pt x="5022" y="419"/>
                  </a:lnTo>
                  <a:lnTo>
                    <a:pt x="4834" y="335"/>
                  </a:lnTo>
                  <a:lnTo>
                    <a:pt x="4583" y="315"/>
                  </a:lnTo>
                  <a:lnTo>
                    <a:pt x="4458" y="356"/>
                  </a:lnTo>
                  <a:lnTo>
                    <a:pt x="4144" y="335"/>
                  </a:lnTo>
                  <a:lnTo>
                    <a:pt x="4039" y="398"/>
                  </a:lnTo>
                  <a:lnTo>
                    <a:pt x="3872" y="607"/>
                  </a:lnTo>
                  <a:lnTo>
                    <a:pt x="3746" y="670"/>
                  </a:lnTo>
                  <a:lnTo>
                    <a:pt x="3641" y="649"/>
                  </a:lnTo>
                  <a:lnTo>
                    <a:pt x="3411" y="566"/>
                  </a:lnTo>
                  <a:lnTo>
                    <a:pt x="3265" y="545"/>
                  </a:lnTo>
                  <a:lnTo>
                    <a:pt x="3097" y="440"/>
                  </a:lnTo>
                  <a:lnTo>
                    <a:pt x="2993" y="419"/>
                  </a:lnTo>
                  <a:lnTo>
                    <a:pt x="2993" y="356"/>
                  </a:lnTo>
                  <a:lnTo>
                    <a:pt x="2888" y="294"/>
                  </a:lnTo>
                  <a:lnTo>
                    <a:pt x="2784" y="294"/>
                  </a:lnTo>
                  <a:lnTo>
                    <a:pt x="2742" y="315"/>
                  </a:lnTo>
                  <a:lnTo>
                    <a:pt x="2595" y="335"/>
                  </a:lnTo>
                  <a:lnTo>
                    <a:pt x="2512" y="356"/>
                  </a:lnTo>
                  <a:lnTo>
                    <a:pt x="2428" y="398"/>
                  </a:lnTo>
                  <a:lnTo>
                    <a:pt x="2365" y="461"/>
                  </a:lnTo>
                  <a:lnTo>
                    <a:pt x="2302" y="503"/>
                  </a:lnTo>
                  <a:lnTo>
                    <a:pt x="2198" y="419"/>
                  </a:lnTo>
                  <a:lnTo>
                    <a:pt x="2072" y="231"/>
                  </a:lnTo>
                  <a:lnTo>
                    <a:pt x="2009" y="147"/>
                  </a:lnTo>
                  <a:lnTo>
                    <a:pt x="1842" y="105"/>
                  </a:lnTo>
                  <a:lnTo>
                    <a:pt x="1758" y="84"/>
                  </a:lnTo>
                  <a:lnTo>
                    <a:pt x="1675" y="43"/>
                  </a:lnTo>
                  <a:lnTo>
                    <a:pt x="1528" y="22"/>
                  </a:lnTo>
                  <a:lnTo>
                    <a:pt x="144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 name="Google Shape;6047;p93">
              <a:extLst>
                <a:ext uri="{FF2B5EF4-FFF2-40B4-BE49-F238E27FC236}">
                  <a16:creationId xmlns:a16="http://schemas.microsoft.com/office/drawing/2014/main" id="{9B436503-5557-4F94-8037-66F32517EF78}"/>
                </a:ext>
              </a:extLst>
            </p:cNvPr>
            <p:cNvSpPr/>
            <p:nvPr/>
          </p:nvSpPr>
          <p:spPr>
            <a:xfrm>
              <a:off x="3805645" y="3058722"/>
              <a:ext cx="52322" cy="74968"/>
            </a:xfrm>
            <a:custGeom>
              <a:avLst/>
              <a:gdLst/>
              <a:ahLst/>
              <a:cxnLst/>
              <a:rect l="l" t="t" r="r" b="b"/>
              <a:pathLst>
                <a:path w="4394" h="6592" extrusionOk="0">
                  <a:moveTo>
                    <a:pt x="3076" y="1"/>
                  </a:moveTo>
                  <a:lnTo>
                    <a:pt x="3139" y="126"/>
                  </a:lnTo>
                  <a:lnTo>
                    <a:pt x="3159" y="231"/>
                  </a:lnTo>
                  <a:lnTo>
                    <a:pt x="3159" y="419"/>
                  </a:lnTo>
                  <a:lnTo>
                    <a:pt x="3222" y="482"/>
                  </a:lnTo>
                  <a:lnTo>
                    <a:pt x="3327" y="545"/>
                  </a:lnTo>
                  <a:lnTo>
                    <a:pt x="3348" y="629"/>
                  </a:lnTo>
                  <a:lnTo>
                    <a:pt x="3348" y="691"/>
                  </a:lnTo>
                  <a:lnTo>
                    <a:pt x="3390" y="838"/>
                  </a:lnTo>
                  <a:lnTo>
                    <a:pt x="3369" y="901"/>
                  </a:lnTo>
                  <a:lnTo>
                    <a:pt x="3243" y="963"/>
                  </a:lnTo>
                  <a:lnTo>
                    <a:pt x="3159" y="1068"/>
                  </a:lnTo>
                  <a:lnTo>
                    <a:pt x="3118" y="1068"/>
                  </a:lnTo>
                  <a:lnTo>
                    <a:pt x="3013" y="1152"/>
                  </a:lnTo>
                  <a:lnTo>
                    <a:pt x="2971" y="1193"/>
                  </a:lnTo>
                  <a:lnTo>
                    <a:pt x="2929" y="1256"/>
                  </a:lnTo>
                  <a:lnTo>
                    <a:pt x="2825" y="1424"/>
                  </a:lnTo>
                  <a:lnTo>
                    <a:pt x="2762" y="1528"/>
                  </a:lnTo>
                  <a:lnTo>
                    <a:pt x="2762" y="1633"/>
                  </a:lnTo>
                  <a:lnTo>
                    <a:pt x="2762" y="1800"/>
                  </a:lnTo>
                  <a:lnTo>
                    <a:pt x="2741" y="1926"/>
                  </a:lnTo>
                  <a:lnTo>
                    <a:pt x="2657" y="2051"/>
                  </a:lnTo>
                  <a:lnTo>
                    <a:pt x="2511" y="2093"/>
                  </a:lnTo>
                  <a:lnTo>
                    <a:pt x="2406" y="2156"/>
                  </a:lnTo>
                  <a:lnTo>
                    <a:pt x="2427" y="2344"/>
                  </a:lnTo>
                  <a:lnTo>
                    <a:pt x="2406" y="2428"/>
                  </a:lnTo>
                  <a:lnTo>
                    <a:pt x="2385" y="2554"/>
                  </a:lnTo>
                  <a:lnTo>
                    <a:pt x="2281" y="2637"/>
                  </a:lnTo>
                  <a:lnTo>
                    <a:pt x="2113" y="2784"/>
                  </a:lnTo>
                  <a:lnTo>
                    <a:pt x="2071" y="2867"/>
                  </a:lnTo>
                  <a:lnTo>
                    <a:pt x="2092" y="2951"/>
                  </a:lnTo>
                  <a:lnTo>
                    <a:pt x="2071" y="3056"/>
                  </a:lnTo>
                  <a:lnTo>
                    <a:pt x="1883" y="3244"/>
                  </a:lnTo>
                  <a:lnTo>
                    <a:pt x="1862" y="3370"/>
                  </a:lnTo>
                  <a:lnTo>
                    <a:pt x="1862" y="3453"/>
                  </a:lnTo>
                  <a:lnTo>
                    <a:pt x="1779" y="3558"/>
                  </a:lnTo>
                  <a:lnTo>
                    <a:pt x="1695" y="3579"/>
                  </a:lnTo>
                  <a:lnTo>
                    <a:pt x="1653" y="3662"/>
                  </a:lnTo>
                  <a:lnTo>
                    <a:pt x="1653" y="3704"/>
                  </a:lnTo>
                  <a:lnTo>
                    <a:pt x="1569" y="3830"/>
                  </a:lnTo>
                  <a:lnTo>
                    <a:pt x="1465" y="3893"/>
                  </a:lnTo>
                  <a:lnTo>
                    <a:pt x="1381" y="3872"/>
                  </a:lnTo>
                  <a:lnTo>
                    <a:pt x="1276" y="3809"/>
                  </a:lnTo>
                  <a:lnTo>
                    <a:pt x="1235" y="3683"/>
                  </a:lnTo>
                  <a:lnTo>
                    <a:pt x="1130" y="3621"/>
                  </a:lnTo>
                  <a:lnTo>
                    <a:pt x="1046" y="3621"/>
                  </a:lnTo>
                  <a:lnTo>
                    <a:pt x="879" y="3579"/>
                  </a:lnTo>
                  <a:lnTo>
                    <a:pt x="858" y="3558"/>
                  </a:lnTo>
                  <a:lnTo>
                    <a:pt x="816" y="3621"/>
                  </a:lnTo>
                  <a:lnTo>
                    <a:pt x="670" y="3621"/>
                  </a:lnTo>
                  <a:lnTo>
                    <a:pt x="649" y="3704"/>
                  </a:lnTo>
                  <a:lnTo>
                    <a:pt x="670" y="3809"/>
                  </a:lnTo>
                  <a:lnTo>
                    <a:pt x="502" y="3934"/>
                  </a:lnTo>
                  <a:lnTo>
                    <a:pt x="439" y="3997"/>
                  </a:lnTo>
                  <a:lnTo>
                    <a:pt x="335" y="4081"/>
                  </a:lnTo>
                  <a:lnTo>
                    <a:pt x="251" y="4144"/>
                  </a:lnTo>
                  <a:lnTo>
                    <a:pt x="251" y="4227"/>
                  </a:lnTo>
                  <a:lnTo>
                    <a:pt x="188" y="4290"/>
                  </a:lnTo>
                  <a:lnTo>
                    <a:pt x="209" y="4416"/>
                  </a:lnTo>
                  <a:lnTo>
                    <a:pt x="209" y="4541"/>
                  </a:lnTo>
                  <a:lnTo>
                    <a:pt x="146" y="4709"/>
                  </a:lnTo>
                  <a:lnTo>
                    <a:pt x="0" y="4855"/>
                  </a:lnTo>
                  <a:lnTo>
                    <a:pt x="0" y="4939"/>
                  </a:lnTo>
                  <a:lnTo>
                    <a:pt x="84" y="4960"/>
                  </a:lnTo>
                  <a:lnTo>
                    <a:pt x="188" y="4918"/>
                  </a:lnTo>
                  <a:lnTo>
                    <a:pt x="230" y="5274"/>
                  </a:lnTo>
                  <a:lnTo>
                    <a:pt x="335" y="5274"/>
                  </a:lnTo>
                  <a:lnTo>
                    <a:pt x="398" y="5357"/>
                  </a:lnTo>
                  <a:lnTo>
                    <a:pt x="565" y="5274"/>
                  </a:lnTo>
                  <a:lnTo>
                    <a:pt x="649" y="5399"/>
                  </a:lnTo>
                  <a:lnTo>
                    <a:pt x="628" y="5483"/>
                  </a:lnTo>
                  <a:lnTo>
                    <a:pt x="628" y="5650"/>
                  </a:lnTo>
                  <a:lnTo>
                    <a:pt x="732" y="5797"/>
                  </a:lnTo>
                  <a:lnTo>
                    <a:pt x="732" y="6006"/>
                  </a:lnTo>
                  <a:lnTo>
                    <a:pt x="649" y="6215"/>
                  </a:lnTo>
                  <a:lnTo>
                    <a:pt x="753" y="6299"/>
                  </a:lnTo>
                  <a:lnTo>
                    <a:pt x="649" y="6403"/>
                  </a:lnTo>
                  <a:lnTo>
                    <a:pt x="649" y="6403"/>
                  </a:lnTo>
                  <a:lnTo>
                    <a:pt x="732" y="6383"/>
                  </a:lnTo>
                  <a:lnTo>
                    <a:pt x="816" y="6383"/>
                  </a:lnTo>
                  <a:lnTo>
                    <a:pt x="837" y="6403"/>
                  </a:lnTo>
                  <a:lnTo>
                    <a:pt x="1507" y="6403"/>
                  </a:lnTo>
                  <a:lnTo>
                    <a:pt x="1548" y="6383"/>
                  </a:lnTo>
                  <a:lnTo>
                    <a:pt x="1590" y="6341"/>
                  </a:lnTo>
                  <a:lnTo>
                    <a:pt x="1653" y="6383"/>
                  </a:lnTo>
                  <a:lnTo>
                    <a:pt x="1695" y="6320"/>
                  </a:lnTo>
                  <a:lnTo>
                    <a:pt x="1862" y="6341"/>
                  </a:lnTo>
                  <a:lnTo>
                    <a:pt x="1904" y="6320"/>
                  </a:lnTo>
                  <a:lnTo>
                    <a:pt x="2092" y="6320"/>
                  </a:lnTo>
                  <a:lnTo>
                    <a:pt x="2134" y="6341"/>
                  </a:lnTo>
                  <a:lnTo>
                    <a:pt x="2239" y="6320"/>
                  </a:lnTo>
                  <a:lnTo>
                    <a:pt x="2323" y="6320"/>
                  </a:lnTo>
                  <a:lnTo>
                    <a:pt x="2323" y="6341"/>
                  </a:lnTo>
                  <a:lnTo>
                    <a:pt x="2490" y="6383"/>
                  </a:lnTo>
                  <a:lnTo>
                    <a:pt x="2511" y="6341"/>
                  </a:lnTo>
                  <a:lnTo>
                    <a:pt x="2553" y="6341"/>
                  </a:lnTo>
                  <a:lnTo>
                    <a:pt x="2595" y="6403"/>
                  </a:lnTo>
                  <a:lnTo>
                    <a:pt x="3327" y="6403"/>
                  </a:lnTo>
                  <a:lnTo>
                    <a:pt x="3390" y="6424"/>
                  </a:lnTo>
                  <a:lnTo>
                    <a:pt x="3431" y="6403"/>
                  </a:lnTo>
                  <a:lnTo>
                    <a:pt x="3452" y="6403"/>
                  </a:lnTo>
                  <a:lnTo>
                    <a:pt x="3536" y="6487"/>
                  </a:lnTo>
                  <a:lnTo>
                    <a:pt x="3578" y="6445"/>
                  </a:lnTo>
                  <a:lnTo>
                    <a:pt x="3662" y="6487"/>
                  </a:lnTo>
                  <a:lnTo>
                    <a:pt x="3683" y="6529"/>
                  </a:lnTo>
                  <a:lnTo>
                    <a:pt x="3745" y="6508"/>
                  </a:lnTo>
                  <a:lnTo>
                    <a:pt x="3766" y="6487"/>
                  </a:lnTo>
                  <a:lnTo>
                    <a:pt x="3808" y="6487"/>
                  </a:lnTo>
                  <a:lnTo>
                    <a:pt x="3892" y="6550"/>
                  </a:lnTo>
                  <a:lnTo>
                    <a:pt x="3955" y="6529"/>
                  </a:lnTo>
                  <a:lnTo>
                    <a:pt x="4059" y="6529"/>
                  </a:lnTo>
                  <a:lnTo>
                    <a:pt x="4101" y="6550"/>
                  </a:lnTo>
                  <a:lnTo>
                    <a:pt x="4206" y="6550"/>
                  </a:lnTo>
                  <a:lnTo>
                    <a:pt x="4206" y="6592"/>
                  </a:lnTo>
                  <a:lnTo>
                    <a:pt x="4289" y="6592"/>
                  </a:lnTo>
                  <a:lnTo>
                    <a:pt x="4310" y="6529"/>
                  </a:lnTo>
                  <a:lnTo>
                    <a:pt x="4268" y="6424"/>
                  </a:lnTo>
                  <a:lnTo>
                    <a:pt x="4268" y="6403"/>
                  </a:lnTo>
                  <a:lnTo>
                    <a:pt x="4331" y="6299"/>
                  </a:lnTo>
                  <a:lnTo>
                    <a:pt x="4373" y="6215"/>
                  </a:lnTo>
                  <a:lnTo>
                    <a:pt x="4394" y="6194"/>
                  </a:lnTo>
                  <a:lnTo>
                    <a:pt x="4373" y="6194"/>
                  </a:lnTo>
                  <a:lnTo>
                    <a:pt x="4331" y="6131"/>
                  </a:lnTo>
                  <a:lnTo>
                    <a:pt x="4331" y="6069"/>
                  </a:lnTo>
                  <a:lnTo>
                    <a:pt x="4331" y="5922"/>
                  </a:lnTo>
                  <a:lnTo>
                    <a:pt x="4164" y="5797"/>
                  </a:lnTo>
                  <a:lnTo>
                    <a:pt x="4080" y="5713"/>
                  </a:lnTo>
                  <a:lnTo>
                    <a:pt x="3996" y="5567"/>
                  </a:lnTo>
                  <a:lnTo>
                    <a:pt x="3850" y="5357"/>
                  </a:lnTo>
                  <a:lnTo>
                    <a:pt x="3808" y="5232"/>
                  </a:lnTo>
                  <a:lnTo>
                    <a:pt x="3703" y="5127"/>
                  </a:lnTo>
                  <a:lnTo>
                    <a:pt x="3557" y="5043"/>
                  </a:lnTo>
                  <a:lnTo>
                    <a:pt x="3494" y="4981"/>
                  </a:lnTo>
                  <a:lnTo>
                    <a:pt x="3494" y="4750"/>
                  </a:lnTo>
                  <a:lnTo>
                    <a:pt x="3473" y="4625"/>
                  </a:lnTo>
                  <a:lnTo>
                    <a:pt x="3452" y="4458"/>
                  </a:lnTo>
                  <a:lnTo>
                    <a:pt x="3473" y="4332"/>
                  </a:lnTo>
                  <a:lnTo>
                    <a:pt x="3431" y="4186"/>
                  </a:lnTo>
                  <a:lnTo>
                    <a:pt x="3390" y="4039"/>
                  </a:lnTo>
                  <a:lnTo>
                    <a:pt x="3452" y="3976"/>
                  </a:lnTo>
                  <a:lnTo>
                    <a:pt x="3536" y="3976"/>
                  </a:lnTo>
                  <a:lnTo>
                    <a:pt x="3641" y="3788"/>
                  </a:lnTo>
                  <a:lnTo>
                    <a:pt x="3683" y="3662"/>
                  </a:lnTo>
                  <a:lnTo>
                    <a:pt x="3787" y="3474"/>
                  </a:lnTo>
                  <a:lnTo>
                    <a:pt x="3850" y="3349"/>
                  </a:lnTo>
                  <a:lnTo>
                    <a:pt x="3955" y="3307"/>
                  </a:lnTo>
                  <a:lnTo>
                    <a:pt x="4059" y="3160"/>
                  </a:lnTo>
                  <a:lnTo>
                    <a:pt x="4059" y="3139"/>
                  </a:lnTo>
                  <a:lnTo>
                    <a:pt x="4017" y="3035"/>
                  </a:lnTo>
                  <a:lnTo>
                    <a:pt x="3955" y="2867"/>
                  </a:lnTo>
                  <a:lnTo>
                    <a:pt x="3850" y="2721"/>
                  </a:lnTo>
                  <a:lnTo>
                    <a:pt x="3766" y="2637"/>
                  </a:lnTo>
                  <a:lnTo>
                    <a:pt x="3557" y="2428"/>
                  </a:lnTo>
                  <a:lnTo>
                    <a:pt x="3348" y="2240"/>
                  </a:lnTo>
                  <a:lnTo>
                    <a:pt x="3243" y="2219"/>
                  </a:lnTo>
                  <a:lnTo>
                    <a:pt x="3243" y="2135"/>
                  </a:lnTo>
                  <a:lnTo>
                    <a:pt x="3159" y="2093"/>
                  </a:lnTo>
                  <a:lnTo>
                    <a:pt x="3159" y="2030"/>
                  </a:lnTo>
                  <a:lnTo>
                    <a:pt x="3159" y="1926"/>
                  </a:lnTo>
                  <a:lnTo>
                    <a:pt x="3180" y="1884"/>
                  </a:lnTo>
                  <a:lnTo>
                    <a:pt x="3180" y="1779"/>
                  </a:lnTo>
                  <a:lnTo>
                    <a:pt x="3369" y="1779"/>
                  </a:lnTo>
                  <a:lnTo>
                    <a:pt x="3431" y="1800"/>
                  </a:lnTo>
                  <a:lnTo>
                    <a:pt x="3536" y="1779"/>
                  </a:lnTo>
                  <a:lnTo>
                    <a:pt x="3641" y="1800"/>
                  </a:lnTo>
                  <a:lnTo>
                    <a:pt x="3683" y="1779"/>
                  </a:lnTo>
                  <a:lnTo>
                    <a:pt x="3808" y="1800"/>
                  </a:lnTo>
                  <a:lnTo>
                    <a:pt x="3892" y="1821"/>
                  </a:lnTo>
                  <a:lnTo>
                    <a:pt x="3975" y="1842"/>
                  </a:lnTo>
                  <a:lnTo>
                    <a:pt x="4017" y="1800"/>
                  </a:lnTo>
                  <a:lnTo>
                    <a:pt x="3975" y="1779"/>
                  </a:lnTo>
                  <a:lnTo>
                    <a:pt x="3808" y="1633"/>
                  </a:lnTo>
                  <a:lnTo>
                    <a:pt x="3787" y="1528"/>
                  </a:lnTo>
                  <a:lnTo>
                    <a:pt x="3703" y="1486"/>
                  </a:lnTo>
                  <a:lnTo>
                    <a:pt x="3599" y="1319"/>
                  </a:lnTo>
                  <a:lnTo>
                    <a:pt x="3578" y="1214"/>
                  </a:lnTo>
                  <a:lnTo>
                    <a:pt x="3662" y="1152"/>
                  </a:lnTo>
                  <a:lnTo>
                    <a:pt x="3703" y="1005"/>
                  </a:lnTo>
                  <a:lnTo>
                    <a:pt x="3641" y="942"/>
                  </a:lnTo>
                  <a:lnTo>
                    <a:pt x="3662" y="880"/>
                  </a:lnTo>
                  <a:lnTo>
                    <a:pt x="3683" y="838"/>
                  </a:lnTo>
                  <a:lnTo>
                    <a:pt x="3683" y="754"/>
                  </a:lnTo>
                  <a:lnTo>
                    <a:pt x="3599" y="587"/>
                  </a:lnTo>
                  <a:lnTo>
                    <a:pt x="3578" y="482"/>
                  </a:lnTo>
                  <a:lnTo>
                    <a:pt x="3536" y="440"/>
                  </a:lnTo>
                  <a:lnTo>
                    <a:pt x="3494" y="252"/>
                  </a:lnTo>
                  <a:lnTo>
                    <a:pt x="3369" y="147"/>
                  </a:lnTo>
                  <a:lnTo>
                    <a:pt x="307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 name="Google Shape;6048;p93">
              <a:extLst>
                <a:ext uri="{FF2B5EF4-FFF2-40B4-BE49-F238E27FC236}">
                  <a16:creationId xmlns:a16="http://schemas.microsoft.com/office/drawing/2014/main" id="{3DC54204-E97C-4EB5-9966-8E35FFE6E1CC}"/>
                </a:ext>
              </a:extLst>
            </p:cNvPr>
            <p:cNvSpPr/>
            <p:nvPr/>
          </p:nvSpPr>
          <p:spPr>
            <a:xfrm>
              <a:off x="3805883" y="3130585"/>
              <a:ext cx="39378" cy="40702"/>
            </a:xfrm>
            <a:custGeom>
              <a:avLst/>
              <a:gdLst/>
              <a:ahLst/>
              <a:cxnLst/>
              <a:rect l="l" t="t" r="r" b="b"/>
              <a:pathLst>
                <a:path w="3307" h="3579" extrusionOk="0">
                  <a:moveTo>
                    <a:pt x="1675" y="1"/>
                  </a:moveTo>
                  <a:lnTo>
                    <a:pt x="1633" y="64"/>
                  </a:lnTo>
                  <a:lnTo>
                    <a:pt x="1570" y="22"/>
                  </a:lnTo>
                  <a:lnTo>
                    <a:pt x="1528" y="64"/>
                  </a:lnTo>
                  <a:lnTo>
                    <a:pt x="1487" y="84"/>
                  </a:lnTo>
                  <a:lnTo>
                    <a:pt x="1487" y="754"/>
                  </a:lnTo>
                  <a:lnTo>
                    <a:pt x="712" y="754"/>
                  </a:lnTo>
                  <a:lnTo>
                    <a:pt x="691" y="733"/>
                  </a:lnTo>
                  <a:lnTo>
                    <a:pt x="608" y="754"/>
                  </a:lnTo>
                  <a:lnTo>
                    <a:pt x="524" y="817"/>
                  </a:lnTo>
                  <a:lnTo>
                    <a:pt x="482" y="796"/>
                  </a:lnTo>
                  <a:lnTo>
                    <a:pt x="482" y="921"/>
                  </a:lnTo>
                  <a:lnTo>
                    <a:pt x="336" y="942"/>
                  </a:lnTo>
                  <a:lnTo>
                    <a:pt x="440" y="1131"/>
                  </a:lnTo>
                  <a:lnTo>
                    <a:pt x="629" y="1172"/>
                  </a:lnTo>
                  <a:lnTo>
                    <a:pt x="378" y="1235"/>
                  </a:lnTo>
                  <a:lnTo>
                    <a:pt x="315" y="1152"/>
                  </a:lnTo>
                  <a:lnTo>
                    <a:pt x="294" y="1340"/>
                  </a:lnTo>
                  <a:lnTo>
                    <a:pt x="273" y="1654"/>
                  </a:lnTo>
                  <a:lnTo>
                    <a:pt x="168" y="1737"/>
                  </a:lnTo>
                  <a:lnTo>
                    <a:pt x="22" y="1675"/>
                  </a:lnTo>
                  <a:lnTo>
                    <a:pt x="1" y="1758"/>
                  </a:lnTo>
                  <a:lnTo>
                    <a:pt x="126" y="1988"/>
                  </a:lnTo>
                  <a:lnTo>
                    <a:pt x="210" y="2051"/>
                  </a:lnTo>
                  <a:lnTo>
                    <a:pt x="210" y="2156"/>
                  </a:lnTo>
                  <a:lnTo>
                    <a:pt x="315" y="2281"/>
                  </a:lnTo>
                  <a:lnTo>
                    <a:pt x="315" y="2470"/>
                  </a:lnTo>
                  <a:lnTo>
                    <a:pt x="398" y="2533"/>
                  </a:lnTo>
                  <a:lnTo>
                    <a:pt x="440" y="2679"/>
                  </a:lnTo>
                  <a:lnTo>
                    <a:pt x="608" y="2805"/>
                  </a:lnTo>
                  <a:lnTo>
                    <a:pt x="545" y="2825"/>
                  </a:lnTo>
                  <a:lnTo>
                    <a:pt x="712" y="2993"/>
                  </a:lnTo>
                  <a:lnTo>
                    <a:pt x="963" y="3202"/>
                  </a:lnTo>
                  <a:lnTo>
                    <a:pt x="1026" y="3328"/>
                  </a:lnTo>
                  <a:lnTo>
                    <a:pt x="1235" y="3432"/>
                  </a:lnTo>
                  <a:lnTo>
                    <a:pt x="1256" y="3537"/>
                  </a:lnTo>
                  <a:lnTo>
                    <a:pt x="1361" y="3558"/>
                  </a:lnTo>
                  <a:lnTo>
                    <a:pt x="1382" y="3579"/>
                  </a:lnTo>
                  <a:lnTo>
                    <a:pt x="1466" y="3474"/>
                  </a:lnTo>
                  <a:lnTo>
                    <a:pt x="1466" y="3411"/>
                  </a:lnTo>
                  <a:lnTo>
                    <a:pt x="1528" y="3369"/>
                  </a:lnTo>
                  <a:lnTo>
                    <a:pt x="1633" y="3369"/>
                  </a:lnTo>
                  <a:lnTo>
                    <a:pt x="1675" y="3307"/>
                  </a:lnTo>
                  <a:lnTo>
                    <a:pt x="1696" y="3307"/>
                  </a:lnTo>
                  <a:lnTo>
                    <a:pt x="1884" y="3432"/>
                  </a:lnTo>
                  <a:lnTo>
                    <a:pt x="1884" y="3328"/>
                  </a:lnTo>
                  <a:lnTo>
                    <a:pt x="1863" y="3035"/>
                  </a:lnTo>
                  <a:lnTo>
                    <a:pt x="1779" y="2951"/>
                  </a:lnTo>
                  <a:lnTo>
                    <a:pt x="1696" y="2930"/>
                  </a:lnTo>
                  <a:lnTo>
                    <a:pt x="1633" y="2951"/>
                  </a:lnTo>
                  <a:lnTo>
                    <a:pt x="1549" y="2993"/>
                  </a:lnTo>
                  <a:lnTo>
                    <a:pt x="1549" y="2846"/>
                  </a:lnTo>
                  <a:lnTo>
                    <a:pt x="1528" y="2784"/>
                  </a:lnTo>
                  <a:lnTo>
                    <a:pt x="1570" y="2721"/>
                  </a:lnTo>
                  <a:lnTo>
                    <a:pt x="1675" y="2721"/>
                  </a:lnTo>
                  <a:lnTo>
                    <a:pt x="1800" y="2784"/>
                  </a:lnTo>
                  <a:lnTo>
                    <a:pt x="1863" y="2721"/>
                  </a:lnTo>
                  <a:lnTo>
                    <a:pt x="1884" y="2679"/>
                  </a:lnTo>
                  <a:lnTo>
                    <a:pt x="1968" y="2679"/>
                  </a:lnTo>
                  <a:lnTo>
                    <a:pt x="2177" y="2637"/>
                  </a:lnTo>
                  <a:lnTo>
                    <a:pt x="2198" y="2574"/>
                  </a:lnTo>
                  <a:lnTo>
                    <a:pt x="2177" y="2407"/>
                  </a:lnTo>
                  <a:lnTo>
                    <a:pt x="2219" y="2365"/>
                  </a:lnTo>
                  <a:lnTo>
                    <a:pt x="2365" y="2365"/>
                  </a:lnTo>
                  <a:lnTo>
                    <a:pt x="2428" y="2595"/>
                  </a:lnTo>
                  <a:lnTo>
                    <a:pt x="2512" y="2700"/>
                  </a:lnTo>
                  <a:lnTo>
                    <a:pt x="2637" y="2637"/>
                  </a:lnTo>
                  <a:lnTo>
                    <a:pt x="2721" y="2679"/>
                  </a:lnTo>
                  <a:lnTo>
                    <a:pt x="2805" y="2616"/>
                  </a:lnTo>
                  <a:lnTo>
                    <a:pt x="2909" y="2616"/>
                  </a:lnTo>
                  <a:lnTo>
                    <a:pt x="3035" y="2679"/>
                  </a:lnTo>
                  <a:lnTo>
                    <a:pt x="3056" y="2742"/>
                  </a:lnTo>
                  <a:lnTo>
                    <a:pt x="3119" y="2742"/>
                  </a:lnTo>
                  <a:lnTo>
                    <a:pt x="3119" y="2637"/>
                  </a:lnTo>
                  <a:lnTo>
                    <a:pt x="3098" y="2533"/>
                  </a:lnTo>
                  <a:lnTo>
                    <a:pt x="3244" y="2114"/>
                  </a:lnTo>
                  <a:lnTo>
                    <a:pt x="3307" y="1884"/>
                  </a:lnTo>
                  <a:lnTo>
                    <a:pt x="3307" y="1779"/>
                  </a:lnTo>
                  <a:lnTo>
                    <a:pt x="3244" y="1696"/>
                  </a:lnTo>
                  <a:lnTo>
                    <a:pt x="3223" y="1654"/>
                  </a:lnTo>
                  <a:lnTo>
                    <a:pt x="3139" y="1570"/>
                  </a:lnTo>
                  <a:lnTo>
                    <a:pt x="3119" y="1528"/>
                  </a:lnTo>
                  <a:lnTo>
                    <a:pt x="3035" y="1486"/>
                  </a:lnTo>
                  <a:lnTo>
                    <a:pt x="3014" y="1444"/>
                  </a:lnTo>
                  <a:lnTo>
                    <a:pt x="2993" y="1382"/>
                  </a:lnTo>
                  <a:lnTo>
                    <a:pt x="2993" y="1340"/>
                  </a:lnTo>
                  <a:lnTo>
                    <a:pt x="3035" y="1319"/>
                  </a:lnTo>
                  <a:lnTo>
                    <a:pt x="3056" y="1277"/>
                  </a:lnTo>
                  <a:lnTo>
                    <a:pt x="3119" y="1277"/>
                  </a:lnTo>
                  <a:lnTo>
                    <a:pt x="3098" y="1214"/>
                  </a:lnTo>
                  <a:lnTo>
                    <a:pt x="3056" y="1172"/>
                  </a:lnTo>
                  <a:lnTo>
                    <a:pt x="3056" y="1110"/>
                  </a:lnTo>
                  <a:lnTo>
                    <a:pt x="3202" y="1026"/>
                  </a:lnTo>
                  <a:lnTo>
                    <a:pt x="3307" y="1005"/>
                  </a:lnTo>
                  <a:lnTo>
                    <a:pt x="3307" y="900"/>
                  </a:lnTo>
                  <a:lnTo>
                    <a:pt x="3265" y="838"/>
                  </a:lnTo>
                  <a:lnTo>
                    <a:pt x="3307" y="754"/>
                  </a:lnTo>
                  <a:lnTo>
                    <a:pt x="3307" y="587"/>
                  </a:lnTo>
                  <a:lnTo>
                    <a:pt x="3244" y="545"/>
                  </a:lnTo>
                  <a:lnTo>
                    <a:pt x="3056" y="524"/>
                  </a:lnTo>
                  <a:lnTo>
                    <a:pt x="2930" y="587"/>
                  </a:lnTo>
                  <a:lnTo>
                    <a:pt x="2805" y="628"/>
                  </a:lnTo>
                  <a:lnTo>
                    <a:pt x="2721" y="608"/>
                  </a:lnTo>
                  <a:lnTo>
                    <a:pt x="2616" y="649"/>
                  </a:lnTo>
                  <a:lnTo>
                    <a:pt x="2575" y="608"/>
                  </a:lnTo>
                  <a:lnTo>
                    <a:pt x="2595" y="545"/>
                  </a:lnTo>
                  <a:lnTo>
                    <a:pt x="2575" y="440"/>
                  </a:lnTo>
                  <a:lnTo>
                    <a:pt x="2575" y="315"/>
                  </a:lnTo>
                  <a:lnTo>
                    <a:pt x="2533" y="189"/>
                  </a:lnTo>
                  <a:lnTo>
                    <a:pt x="2575" y="84"/>
                  </a:lnTo>
                  <a:lnTo>
                    <a:pt x="2533" y="22"/>
                  </a:lnTo>
                  <a:lnTo>
                    <a:pt x="2491" y="22"/>
                  </a:lnTo>
                  <a:lnTo>
                    <a:pt x="2470" y="64"/>
                  </a:lnTo>
                  <a:lnTo>
                    <a:pt x="2303" y="22"/>
                  </a:lnTo>
                  <a:lnTo>
                    <a:pt x="2303" y="1"/>
                  </a:lnTo>
                  <a:lnTo>
                    <a:pt x="2219" y="1"/>
                  </a:lnTo>
                  <a:lnTo>
                    <a:pt x="2114" y="22"/>
                  </a:lnTo>
                  <a:lnTo>
                    <a:pt x="2072" y="1"/>
                  </a:lnTo>
                  <a:lnTo>
                    <a:pt x="1884" y="1"/>
                  </a:lnTo>
                  <a:lnTo>
                    <a:pt x="1842" y="22"/>
                  </a:lnTo>
                  <a:lnTo>
                    <a:pt x="167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 name="Google Shape;6049;p93">
              <a:extLst>
                <a:ext uri="{FF2B5EF4-FFF2-40B4-BE49-F238E27FC236}">
                  <a16:creationId xmlns:a16="http://schemas.microsoft.com/office/drawing/2014/main" id="{02335D4F-0A16-4E08-8E70-A7479FD4BD7E}"/>
                </a:ext>
              </a:extLst>
            </p:cNvPr>
            <p:cNvSpPr/>
            <p:nvPr/>
          </p:nvSpPr>
          <p:spPr>
            <a:xfrm>
              <a:off x="3809622" y="3131301"/>
              <a:ext cx="13967" cy="8575"/>
            </a:xfrm>
            <a:custGeom>
              <a:avLst/>
              <a:gdLst/>
              <a:ahLst/>
              <a:cxnLst/>
              <a:rect l="l" t="t" r="r" b="b"/>
              <a:pathLst>
                <a:path w="1173" h="754" extrusionOk="0">
                  <a:moveTo>
                    <a:pt x="398" y="1"/>
                  </a:moveTo>
                  <a:lnTo>
                    <a:pt x="315" y="21"/>
                  </a:lnTo>
                  <a:lnTo>
                    <a:pt x="294" y="42"/>
                  </a:lnTo>
                  <a:lnTo>
                    <a:pt x="336" y="147"/>
                  </a:lnTo>
                  <a:lnTo>
                    <a:pt x="168" y="335"/>
                  </a:lnTo>
                  <a:lnTo>
                    <a:pt x="1" y="628"/>
                  </a:lnTo>
                  <a:lnTo>
                    <a:pt x="168" y="691"/>
                  </a:lnTo>
                  <a:lnTo>
                    <a:pt x="168" y="733"/>
                  </a:lnTo>
                  <a:lnTo>
                    <a:pt x="210" y="754"/>
                  </a:lnTo>
                  <a:lnTo>
                    <a:pt x="294" y="691"/>
                  </a:lnTo>
                  <a:lnTo>
                    <a:pt x="377" y="670"/>
                  </a:lnTo>
                  <a:lnTo>
                    <a:pt x="398" y="691"/>
                  </a:lnTo>
                  <a:lnTo>
                    <a:pt x="1173" y="691"/>
                  </a:lnTo>
                  <a:lnTo>
                    <a:pt x="1173" y="21"/>
                  </a:lnTo>
                  <a:lnTo>
                    <a:pt x="503" y="21"/>
                  </a:lnTo>
                  <a:lnTo>
                    <a:pt x="48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 name="Google Shape;6050;p93">
              <a:extLst>
                <a:ext uri="{FF2B5EF4-FFF2-40B4-BE49-F238E27FC236}">
                  <a16:creationId xmlns:a16="http://schemas.microsoft.com/office/drawing/2014/main" id="{D0931975-1090-4455-8E84-465C97E5FF5E}"/>
                </a:ext>
              </a:extLst>
            </p:cNvPr>
            <p:cNvSpPr/>
            <p:nvPr/>
          </p:nvSpPr>
          <p:spPr>
            <a:xfrm>
              <a:off x="3822327" y="3120122"/>
              <a:ext cx="52834" cy="59023"/>
            </a:xfrm>
            <a:custGeom>
              <a:avLst/>
              <a:gdLst/>
              <a:ahLst/>
              <a:cxnLst/>
              <a:rect l="l" t="t" r="r" b="b"/>
              <a:pathLst>
                <a:path w="4437" h="5190" extrusionOk="0">
                  <a:moveTo>
                    <a:pt x="3935" y="0"/>
                  </a:moveTo>
                  <a:lnTo>
                    <a:pt x="3872" y="63"/>
                  </a:lnTo>
                  <a:lnTo>
                    <a:pt x="3767" y="42"/>
                  </a:lnTo>
                  <a:lnTo>
                    <a:pt x="3537" y="147"/>
                  </a:lnTo>
                  <a:lnTo>
                    <a:pt x="3495" y="188"/>
                  </a:lnTo>
                  <a:lnTo>
                    <a:pt x="3391" y="209"/>
                  </a:lnTo>
                  <a:lnTo>
                    <a:pt x="3244" y="377"/>
                  </a:lnTo>
                  <a:lnTo>
                    <a:pt x="2972" y="816"/>
                  </a:lnTo>
                  <a:lnTo>
                    <a:pt x="2930" y="900"/>
                  </a:lnTo>
                  <a:lnTo>
                    <a:pt x="2867" y="1004"/>
                  </a:lnTo>
                  <a:lnTo>
                    <a:pt x="2867" y="1025"/>
                  </a:lnTo>
                  <a:lnTo>
                    <a:pt x="2909" y="1130"/>
                  </a:lnTo>
                  <a:lnTo>
                    <a:pt x="2888" y="1193"/>
                  </a:lnTo>
                  <a:lnTo>
                    <a:pt x="2805" y="1193"/>
                  </a:lnTo>
                  <a:lnTo>
                    <a:pt x="2805" y="1151"/>
                  </a:lnTo>
                  <a:lnTo>
                    <a:pt x="2700" y="1151"/>
                  </a:lnTo>
                  <a:lnTo>
                    <a:pt x="2658" y="1130"/>
                  </a:lnTo>
                  <a:lnTo>
                    <a:pt x="2554" y="1130"/>
                  </a:lnTo>
                  <a:lnTo>
                    <a:pt x="2491" y="1151"/>
                  </a:lnTo>
                  <a:lnTo>
                    <a:pt x="2407" y="1088"/>
                  </a:lnTo>
                  <a:lnTo>
                    <a:pt x="2365" y="1088"/>
                  </a:lnTo>
                  <a:lnTo>
                    <a:pt x="2344" y="1109"/>
                  </a:lnTo>
                  <a:lnTo>
                    <a:pt x="2282" y="1130"/>
                  </a:lnTo>
                  <a:lnTo>
                    <a:pt x="2261" y="1088"/>
                  </a:lnTo>
                  <a:lnTo>
                    <a:pt x="2177" y="1046"/>
                  </a:lnTo>
                  <a:lnTo>
                    <a:pt x="2135" y="1088"/>
                  </a:lnTo>
                  <a:lnTo>
                    <a:pt x="2051" y="1004"/>
                  </a:lnTo>
                  <a:lnTo>
                    <a:pt x="2030" y="1004"/>
                  </a:lnTo>
                  <a:lnTo>
                    <a:pt x="1989" y="1025"/>
                  </a:lnTo>
                  <a:lnTo>
                    <a:pt x="1926" y="1004"/>
                  </a:lnTo>
                  <a:lnTo>
                    <a:pt x="1194" y="1004"/>
                  </a:lnTo>
                  <a:lnTo>
                    <a:pt x="1152" y="1109"/>
                  </a:lnTo>
                  <a:lnTo>
                    <a:pt x="1194" y="1235"/>
                  </a:lnTo>
                  <a:lnTo>
                    <a:pt x="1194" y="1360"/>
                  </a:lnTo>
                  <a:lnTo>
                    <a:pt x="1214" y="1465"/>
                  </a:lnTo>
                  <a:lnTo>
                    <a:pt x="1194" y="1528"/>
                  </a:lnTo>
                  <a:lnTo>
                    <a:pt x="1235" y="1569"/>
                  </a:lnTo>
                  <a:lnTo>
                    <a:pt x="1340" y="1528"/>
                  </a:lnTo>
                  <a:lnTo>
                    <a:pt x="1424" y="1548"/>
                  </a:lnTo>
                  <a:lnTo>
                    <a:pt x="1549" y="1507"/>
                  </a:lnTo>
                  <a:lnTo>
                    <a:pt x="1675" y="1444"/>
                  </a:lnTo>
                  <a:lnTo>
                    <a:pt x="1863" y="1465"/>
                  </a:lnTo>
                  <a:lnTo>
                    <a:pt x="1926" y="1507"/>
                  </a:lnTo>
                  <a:lnTo>
                    <a:pt x="1926" y="1674"/>
                  </a:lnTo>
                  <a:lnTo>
                    <a:pt x="1884" y="1758"/>
                  </a:lnTo>
                  <a:lnTo>
                    <a:pt x="1926" y="1820"/>
                  </a:lnTo>
                  <a:lnTo>
                    <a:pt x="1926" y="1925"/>
                  </a:lnTo>
                  <a:lnTo>
                    <a:pt x="1821" y="1946"/>
                  </a:lnTo>
                  <a:lnTo>
                    <a:pt x="1675" y="2030"/>
                  </a:lnTo>
                  <a:lnTo>
                    <a:pt x="1675" y="2092"/>
                  </a:lnTo>
                  <a:lnTo>
                    <a:pt x="1717" y="2134"/>
                  </a:lnTo>
                  <a:lnTo>
                    <a:pt x="1738" y="2197"/>
                  </a:lnTo>
                  <a:lnTo>
                    <a:pt x="1675" y="2197"/>
                  </a:lnTo>
                  <a:lnTo>
                    <a:pt x="1654" y="2239"/>
                  </a:lnTo>
                  <a:lnTo>
                    <a:pt x="1612" y="2260"/>
                  </a:lnTo>
                  <a:lnTo>
                    <a:pt x="1612" y="2302"/>
                  </a:lnTo>
                  <a:lnTo>
                    <a:pt x="1633" y="2364"/>
                  </a:lnTo>
                  <a:lnTo>
                    <a:pt x="1654" y="2406"/>
                  </a:lnTo>
                  <a:lnTo>
                    <a:pt x="1738" y="2448"/>
                  </a:lnTo>
                  <a:lnTo>
                    <a:pt x="1758" y="2490"/>
                  </a:lnTo>
                  <a:lnTo>
                    <a:pt x="1842" y="2574"/>
                  </a:lnTo>
                  <a:lnTo>
                    <a:pt x="1863" y="2616"/>
                  </a:lnTo>
                  <a:lnTo>
                    <a:pt x="1926" y="2699"/>
                  </a:lnTo>
                  <a:lnTo>
                    <a:pt x="1926" y="2804"/>
                  </a:lnTo>
                  <a:lnTo>
                    <a:pt x="1863" y="3034"/>
                  </a:lnTo>
                  <a:lnTo>
                    <a:pt x="1717" y="3453"/>
                  </a:lnTo>
                  <a:lnTo>
                    <a:pt x="1738" y="3557"/>
                  </a:lnTo>
                  <a:lnTo>
                    <a:pt x="1738" y="3662"/>
                  </a:lnTo>
                  <a:lnTo>
                    <a:pt x="1675" y="3662"/>
                  </a:lnTo>
                  <a:lnTo>
                    <a:pt x="1654" y="3599"/>
                  </a:lnTo>
                  <a:lnTo>
                    <a:pt x="1528" y="3536"/>
                  </a:lnTo>
                  <a:lnTo>
                    <a:pt x="1424" y="3536"/>
                  </a:lnTo>
                  <a:lnTo>
                    <a:pt x="1340" y="3599"/>
                  </a:lnTo>
                  <a:lnTo>
                    <a:pt x="1256" y="3557"/>
                  </a:lnTo>
                  <a:lnTo>
                    <a:pt x="1131" y="3620"/>
                  </a:lnTo>
                  <a:lnTo>
                    <a:pt x="1047" y="3515"/>
                  </a:lnTo>
                  <a:lnTo>
                    <a:pt x="984" y="3285"/>
                  </a:lnTo>
                  <a:lnTo>
                    <a:pt x="838" y="3285"/>
                  </a:lnTo>
                  <a:lnTo>
                    <a:pt x="796" y="3327"/>
                  </a:lnTo>
                  <a:lnTo>
                    <a:pt x="817" y="3494"/>
                  </a:lnTo>
                  <a:lnTo>
                    <a:pt x="796" y="3557"/>
                  </a:lnTo>
                  <a:lnTo>
                    <a:pt x="587" y="3599"/>
                  </a:lnTo>
                  <a:lnTo>
                    <a:pt x="503" y="3599"/>
                  </a:lnTo>
                  <a:lnTo>
                    <a:pt x="482" y="3641"/>
                  </a:lnTo>
                  <a:lnTo>
                    <a:pt x="419" y="3704"/>
                  </a:lnTo>
                  <a:lnTo>
                    <a:pt x="294" y="3641"/>
                  </a:lnTo>
                  <a:lnTo>
                    <a:pt x="189" y="3641"/>
                  </a:lnTo>
                  <a:lnTo>
                    <a:pt x="147" y="3704"/>
                  </a:lnTo>
                  <a:lnTo>
                    <a:pt x="168" y="3766"/>
                  </a:lnTo>
                  <a:lnTo>
                    <a:pt x="168" y="3913"/>
                  </a:lnTo>
                  <a:lnTo>
                    <a:pt x="252" y="3871"/>
                  </a:lnTo>
                  <a:lnTo>
                    <a:pt x="315" y="3850"/>
                  </a:lnTo>
                  <a:lnTo>
                    <a:pt x="398" y="3871"/>
                  </a:lnTo>
                  <a:lnTo>
                    <a:pt x="482" y="3955"/>
                  </a:lnTo>
                  <a:lnTo>
                    <a:pt x="503" y="4248"/>
                  </a:lnTo>
                  <a:lnTo>
                    <a:pt x="503" y="4352"/>
                  </a:lnTo>
                  <a:lnTo>
                    <a:pt x="315" y="4227"/>
                  </a:lnTo>
                  <a:lnTo>
                    <a:pt x="294" y="4227"/>
                  </a:lnTo>
                  <a:lnTo>
                    <a:pt x="252" y="4289"/>
                  </a:lnTo>
                  <a:lnTo>
                    <a:pt x="147" y="4289"/>
                  </a:lnTo>
                  <a:lnTo>
                    <a:pt x="85" y="4331"/>
                  </a:lnTo>
                  <a:lnTo>
                    <a:pt x="85" y="4394"/>
                  </a:lnTo>
                  <a:lnTo>
                    <a:pt x="1" y="4499"/>
                  </a:lnTo>
                  <a:lnTo>
                    <a:pt x="106" y="4603"/>
                  </a:lnTo>
                  <a:lnTo>
                    <a:pt x="168" y="4687"/>
                  </a:lnTo>
                  <a:lnTo>
                    <a:pt x="315" y="4792"/>
                  </a:lnTo>
                  <a:lnTo>
                    <a:pt x="315" y="4896"/>
                  </a:lnTo>
                  <a:lnTo>
                    <a:pt x="419" y="5001"/>
                  </a:lnTo>
                  <a:lnTo>
                    <a:pt x="419" y="5126"/>
                  </a:lnTo>
                  <a:lnTo>
                    <a:pt x="482" y="5189"/>
                  </a:lnTo>
                  <a:lnTo>
                    <a:pt x="524" y="5168"/>
                  </a:lnTo>
                  <a:lnTo>
                    <a:pt x="608" y="5022"/>
                  </a:lnTo>
                  <a:lnTo>
                    <a:pt x="629" y="5022"/>
                  </a:lnTo>
                  <a:lnTo>
                    <a:pt x="712" y="4980"/>
                  </a:lnTo>
                  <a:lnTo>
                    <a:pt x="775" y="4875"/>
                  </a:lnTo>
                  <a:lnTo>
                    <a:pt x="838" y="4854"/>
                  </a:lnTo>
                  <a:lnTo>
                    <a:pt x="942" y="4771"/>
                  </a:lnTo>
                  <a:lnTo>
                    <a:pt x="1005" y="4771"/>
                  </a:lnTo>
                  <a:lnTo>
                    <a:pt x="1047" y="4813"/>
                  </a:lnTo>
                  <a:lnTo>
                    <a:pt x="1110" y="4896"/>
                  </a:lnTo>
                  <a:lnTo>
                    <a:pt x="1110" y="5001"/>
                  </a:lnTo>
                  <a:lnTo>
                    <a:pt x="1131" y="4980"/>
                  </a:lnTo>
                  <a:lnTo>
                    <a:pt x="1194" y="5001"/>
                  </a:lnTo>
                  <a:lnTo>
                    <a:pt x="1298" y="4959"/>
                  </a:lnTo>
                  <a:lnTo>
                    <a:pt x="1319" y="5001"/>
                  </a:lnTo>
                  <a:lnTo>
                    <a:pt x="1319" y="5064"/>
                  </a:lnTo>
                  <a:lnTo>
                    <a:pt x="1424" y="5064"/>
                  </a:lnTo>
                  <a:lnTo>
                    <a:pt x="1507" y="4980"/>
                  </a:lnTo>
                  <a:lnTo>
                    <a:pt x="1507" y="4875"/>
                  </a:lnTo>
                  <a:lnTo>
                    <a:pt x="1570" y="4854"/>
                  </a:lnTo>
                  <a:lnTo>
                    <a:pt x="1654" y="4875"/>
                  </a:lnTo>
                  <a:lnTo>
                    <a:pt x="1758" y="4771"/>
                  </a:lnTo>
                  <a:lnTo>
                    <a:pt x="1947" y="4708"/>
                  </a:lnTo>
                  <a:lnTo>
                    <a:pt x="1947" y="4771"/>
                  </a:lnTo>
                  <a:lnTo>
                    <a:pt x="1863" y="4896"/>
                  </a:lnTo>
                  <a:lnTo>
                    <a:pt x="1884" y="4917"/>
                  </a:lnTo>
                  <a:lnTo>
                    <a:pt x="1947" y="5022"/>
                  </a:lnTo>
                  <a:lnTo>
                    <a:pt x="2072" y="5105"/>
                  </a:lnTo>
                  <a:lnTo>
                    <a:pt x="2198" y="5022"/>
                  </a:lnTo>
                  <a:lnTo>
                    <a:pt x="2282" y="4917"/>
                  </a:lnTo>
                  <a:lnTo>
                    <a:pt x="2512" y="4687"/>
                  </a:lnTo>
                  <a:lnTo>
                    <a:pt x="2574" y="4603"/>
                  </a:lnTo>
                  <a:lnTo>
                    <a:pt x="2658" y="4541"/>
                  </a:lnTo>
                  <a:lnTo>
                    <a:pt x="2763" y="4499"/>
                  </a:lnTo>
                  <a:lnTo>
                    <a:pt x="2867" y="4352"/>
                  </a:lnTo>
                  <a:lnTo>
                    <a:pt x="2867" y="4248"/>
                  </a:lnTo>
                  <a:lnTo>
                    <a:pt x="2888" y="4080"/>
                  </a:lnTo>
                  <a:lnTo>
                    <a:pt x="2909" y="3766"/>
                  </a:lnTo>
                  <a:lnTo>
                    <a:pt x="2888" y="3745"/>
                  </a:lnTo>
                  <a:lnTo>
                    <a:pt x="2867" y="3557"/>
                  </a:lnTo>
                  <a:lnTo>
                    <a:pt x="2909" y="3453"/>
                  </a:lnTo>
                  <a:lnTo>
                    <a:pt x="3098" y="3285"/>
                  </a:lnTo>
                  <a:lnTo>
                    <a:pt x="3098" y="3139"/>
                  </a:lnTo>
                  <a:lnTo>
                    <a:pt x="3202" y="3013"/>
                  </a:lnTo>
                  <a:lnTo>
                    <a:pt x="3328" y="2908"/>
                  </a:lnTo>
                  <a:lnTo>
                    <a:pt x="3411" y="2929"/>
                  </a:lnTo>
                  <a:lnTo>
                    <a:pt x="3516" y="2867"/>
                  </a:lnTo>
                  <a:lnTo>
                    <a:pt x="3621" y="2825"/>
                  </a:lnTo>
                  <a:lnTo>
                    <a:pt x="3809" y="2511"/>
                  </a:lnTo>
                  <a:lnTo>
                    <a:pt x="3809" y="2344"/>
                  </a:lnTo>
                  <a:lnTo>
                    <a:pt x="3851" y="2155"/>
                  </a:lnTo>
                  <a:lnTo>
                    <a:pt x="3935" y="2092"/>
                  </a:lnTo>
                  <a:lnTo>
                    <a:pt x="3955" y="1946"/>
                  </a:lnTo>
                  <a:lnTo>
                    <a:pt x="3935" y="1925"/>
                  </a:lnTo>
                  <a:lnTo>
                    <a:pt x="3955" y="1737"/>
                  </a:lnTo>
                  <a:lnTo>
                    <a:pt x="3955" y="1653"/>
                  </a:lnTo>
                  <a:lnTo>
                    <a:pt x="3955" y="1507"/>
                  </a:lnTo>
                  <a:lnTo>
                    <a:pt x="4060" y="1402"/>
                  </a:lnTo>
                  <a:lnTo>
                    <a:pt x="4060" y="1256"/>
                  </a:lnTo>
                  <a:lnTo>
                    <a:pt x="4081" y="1130"/>
                  </a:lnTo>
                  <a:lnTo>
                    <a:pt x="4039" y="921"/>
                  </a:lnTo>
                  <a:lnTo>
                    <a:pt x="4290" y="607"/>
                  </a:lnTo>
                  <a:lnTo>
                    <a:pt x="4332" y="502"/>
                  </a:lnTo>
                  <a:lnTo>
                    <a:pt x="4437" y="460"/>
                  </a:lnTo>
                  <a:lnTo>
                    <a:pt x="4437" y="209"/>
                  </a:lnTo>
                  <a:lnTo>
                    <a:pt x="4374" y="105"/>
                  </a:lnTo>
                  <a:lnTo>
                    <a:pt x="4374" y="63"/>
                  </a:lnTo>
                  <a:lnTo>
                    <a:pt x="4290" y="84"/>
                  </a:lnTo>
                  <a:lnTo>
                    <a:pt x="4248" y="105"/>
                  </a:lnTo>
                  <a:lnTo>
                    <a:pt x="4144" y="63"/>
                  </a:lnTo>
                  <a:lnTo>
                    <a:pt x="412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 name="Google Shape;6051;p93">
              <a:extLst>
                <a:ext uri="{FF2B5EF4-FFF2-40B4-BE49-F238E27FC236}">
                  <a16:creationId xmlns:a16="http://schemas.microsoft.com/office/drawing/2014/main" id="{A2366F3B-BC0D-4730-B9CE-5B43302DEBEB}"/>
                </a:ext>
              </a:extLst>
            </p:cNvPr>
            <p:cNvSpPr/>
            <p:nvPr/>
          </p:nvSpPr>
          <p:spPr>
            <a:xfrm>
              <a:off x="3828067" y="3174369"/>
              <a:ext cx="7478" cy="9769"/>
            </a:xfrm>
            <a:custGeom>
              <a:avLst/>
              <a:gdLst/>
              <a:ahLst/>
              <a:cxnLst/>
              <a:rect l="l" t="t" r="r" b="b"/>
              <a:pathLst>
                <a:path w="628" h="859" extrusionOk="0">
                  <a:moveTo>
                    <a:pt x="460" y="1"/>
                  </a:moveTo>
                  <a:lnTo>
                    <a:pt x="356" y="84"/>
                  </a:lnTo>
                  <a:lnTo>
                    <a:pt x="293" y="105"/>
                  </a:lnTo>
                  <a:lnTo>
                    <a:pt x="230" y="210"/>
                  </a:lnTo>
                  <a:lnTo>
                    <a:pt x="147" y="252"/>
                  </a:lnTo>
                  <a:lnTo>
                    <a:pt x="126" y="252"/>
                  </a:lnTo>
                  <a:lnTo>
                    <a:pt x="42" y="398"/>
                  </a:lnTo>
                  <a:lnTo>
                    <a:pt x="0" y="419"/>
                  </a:lnTo>
                  <a:lnTo>
                    <a:pt x="84" y="503"/>
                  </a:lnTo>
                  <a:lnTo>
                    <a:pt x="105" y="670"/>
                  </a:lnTo>
                  <a:lnTo>
                    <a:pt x="42" y="775"/>
                  </a:lnTo>
                  <a:lnTo>
                    <a:pt x="84" y="859"/>
                  </a:lnTo>
                  <a:lnTo>
                    <a:pt x="188" y="775"/>
                  </a:lnTo>
                  <a:lnTo>
                    <a:pt x="293" y="775"/>
                  </a:lnTo>
                  <a:lnTo>
                    <a:pt x="356" y="712"/>
                  </a:lnTo>
                  <a:lnTo>
                    <a:pt x="335" y="503"/>
                  </a:lnTo>
                  <a:lnTo>
                    <a:pt x="398" y="440"/>
                  </a:lnTo>
                  <a:lnTo>
                    <a:pt x="523" y="335"/>
                  </a:lnTo>
                  <a:lnTo>
                    <a:pt x="628" y="231"/>
                  </a:lnTo>
                  <a:lnTo>
                    <a:pt x="628" y="126"/>
                  </a:lnTo>
                  <a:lnTo>
                    <a:pt x="565" y="43"/>
                  </a:lnTo>
                  <a:lnTo>
                    <a:pt x="52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 name="Google Shape;6052;p93">
              <a:extLst>
                <a:ext uri="{FF2B5EF4-FFF2-40B4-BE49-F238E27FC236}">
                  <a16:creationId xmlns:a16="http://schemas.microsoft.com/office/drawing/2014/main" id="{DA5C1F1B-766A-4143-835B-E4603A4B64DE}"/>
                </a:ext>
              </a:extLst>
            </p:cNvPr>
            <p:cNvSpPr/>
            <p:nvPr/>
          </p:nvSpPr>
          <p:spPr>
            <a:xfrm>
              <a:off x="3947654" y="3151533"/>
              <a:ext cx="76994" cy="74956"/>
            </a:xfrm>
            <a:custGeom>
              <a:avLst/>
              <a:gdLst/>
              <a:ahLst/>
              <a:cxnLst/>
              <a:rect l="l" t="t" r="r" b="b"/>
              <a:pathLst>
                <a:path w="6466" h="6591" extrusionOk="0">
                  <a:moveTo>
                    <a:pt x="2553" y="0"/>
                  </a:moveTo>
                  <a:lnTo>
                    <a:pt x="1779" y="42"/>
                  </a:lnTo>
                  <a:lnTo>
                    <a:pt x="858" y="42"/>
                  </a:lnTo>
                  <a:lnTo>
                    <a:pt x="816" y="105"/>
                  </a:lnTo>
                  <a:lnTo>
                    <a:pt x="754" y="105"/>
                  </a:lnTo>
                  <a:lnTo>
                    <a:pt x="712" y="146"/>
                  </a:lnTo>
                  <a:lnTo>
                    <a:pt x="775" y="230"/>
                  </a:lnTo>
                  <a:lnTo>
                    <a:pt x="858" y="314"/>
                  </a:lnTo>
                  <a:lnTo>
                    <a:pt x="858" y="356"/>
                  </a:lnTo>
                  <a:lnTo>
                    <a:pt x="921" y="439"/>
                  </a:lnTo>
                  <a:lnTo>
                    <a:pt x="963" y="628"/>
                  </a:lnTo>
                  <a:lnTo>
                    <a:pt x="984" y="732"/>
                  </a:lnTo>
                  <a:lnTo>
                    <a:pt x="942" y="795"/>
                  </a:lnTo>
                  <a:lnTo>
                    <a:pt x="942" y="879"/>
                  </a:lnTo>
                  <a:lnTo>
                    <a:pt x="879" y="942"/>
                  </a:lnTo>
                  <a:lnTo>
                    <a:pt x="816" y="963"/>
                  </a:lnTo>
                  <a:lnTo>
                    <a:pt x="754" y="963"/>
                  </a:lnTo>
                  <a:lnTo>
                    <a:pt x="733" y="942"/>
                  </a:lnTo>
                  <a:lnTo>
                    <a:pt x="733" y="983"/>
                  </a:lnTo>
                  <a:lnTo>
                    <a:pt x="754" y="1046"/>
                  </a:lnTo>
                  <a:lnTo>
                    <a:pt x="754" y="1109"/>
                  </a:lnTo>
                  <a:lnTo>
                    <a:pt x="858" y="1151"/>
                  </a:lnTo>
                  <a:lnTo>
                    <a:pt x="858" y="1214"/>
                  </a:lnTo>
                  <a:lnTo>
                    <a:pt x="942" y="1214"/>
                  </a:lnTo>
                  <a:lnTo>
                    <a:pt x="963" y="1402"/>
                  </a:lnTo>
                  <a:lnTo>
                    <a:pt x="963" y="1486"/>
                  </a:lnTo>
                  <a:lnTo>
                    <a:pt x="858" y="1590"/>
                  </a:lnTo>
                  <a:lnTo>
                    <a:pt x="775" y="1674"/>
                  </a:lnTo>
                  <a:lnTo>
                    <a:pt x="733" y="1716"/>
                  </a:lnTo>
                  <a:lnTo>
                    <a:pt x="565" y="1883"/>
                  </a:lnTo>
                  <a:lnTo>
                    <a:pt x="461" y="2030"/>
                  </a:lnTo>
                  <a:lnTo>
                    <a:pt x="293" y="2092"/>
                  </a:lnTo>
                  <a:lnTo>
                    <a:pt x="0" y="2092"/>
                  </a:lnTo>
                  <a:lnTo>
                    <a:pt x="84" y="2553"/>
                  </a:lnTo>
                  <a:lnTo>
                    <a:pt x="210" y="3243"/>
                  </a:lnTo>
                  <a:lnTo>
                    <a:pt x="628" y="3808"/>
                  </a:lnTo>
                  <a:lnTo>
                    <a:pt x="754" y="4248"/>
                  </a:lnTo>
                  <a:lnTo>
                    <a:pt x="942" y="4352"/>
                  </a:lnTo>
                  <a:lnTo>
                    <a:pt x="1026" y="4352"/>
                  </a:lnTo>
                  <a:lnTo>
                    <a:pt x="1130" y="4394"/>
                  </a:lnTo>
                  <a:lnTo>
                    <a:pt x="1172" y="4394"/>
                  </a:lnTo>
                  <a:lnTo>
                    <a:pt x="1256" y="4436"/>
                  </a:lnTo>
                  <a:lnTo>
                    <a:pt x="1256" y="4499"/>
                  </a:lnTo>
                  <a:lnTo>
                    <a:pt x="1340" y="4561"/>
                  </a:lnTo>
                  <a:lnTo>
                    <a:pt x="1444" y="4561"/>
                  </a:lnTo>
                  <a:lnTo>
                    <a:pt x="1695" y="4645"/>
                  </a:lnTo>
                  <a:lnTo>
                    <a:pt x="1779" y="4645"/>
                  </a:lnTo>
                  <a:lnTo>
                    <a:pt x="1821" y="4708"/>
                  </a:lnTo>
                  <a:lnTo>
                    <a:pt x="1884" y="4729"/>
                  </a:lnTo>
                  <a:lnTo>
                    <a:pt x="1925" y="4812"/>
                  </a:lnTo>
                  <a:lnTo>
                    <a:pt x="2030" y="4917"/>
                  </a:lnTo>
                  <a:lnTo>
                    <a:pt x="2093" y="4917"/>
                  </a:lnTo>
                  <a:lnTo>
                    <a:pt x="2093" y="4938"/>
                  </a:lnTo>
                  <a:lnTo>
                    <a:pt x="2114" y="4917"/>
                  </a:lnTo>
                  <a:lnTo>
                    <a:pt x="2177" y="4917"/>
                  </a:lnTo>
                  <a:lnTo>
                    <a:pt x="2197" y="4980"/>
                  </a:lnTo>
                  <a:lnTo>
                    <a:pt x="2281" y="4980"/>
                  </a:lnTo>
                  <a:lnTo>
                    <a:pt x="2302" y="5022"/>
                  </a:lnTo>
                  <a:lnTo>
                    <a:pt x="2323" y="4980"/>
                  </a:lnTo>
                  <a:lnTo>
                    <a:pt x="2407" y="5022"/>
                  </a:lnTo>
                  <a:lnTo>
                    <a:pt x="2428" y="5043"/>
                  </a:lnTo>
                  <a:lnTo>
                    <a:pt x="2490" y="5043"/>
                  </a:lnTo>
                  <a:lnTo>
                    <a:pt x="2511" y="5084"/>
                  </a:lnTo>
                  <a:lnTo>
                    <a:pt x="2553" y="5126"/>
                  </a:lnTo>
                  <a:lnTo>
                    <a:pt x="2637" y="5189"/>
                  </a:lnTo>
                  <a:lnTo>
                    <a:pt x="2825" y="5398"/>
                  </a:lnTo>
                  <a:lnTo>
                    <a:pt x="2846" y="5608"/>
                  </a:lnTo>
                  <a:lnTo>
                    <a:pt x="2846" y="6591"/>
                  </a:lnTo>
                  <a:lnTo>
                    <a:pt x="2951" y="6193"/>
                  </a:lnTo>
                  <a:lnTo>
                    <a:pt x="3495" y="6173"/>
                  </a:lnTo>
                  <a:lnTo>
                    <a:pt x="3599" y="6131"/>
                  </a:lnTo>
                  <a:lnTo>
                    <a:pt x="3641" y="6110"/>
                  </a:lnTo>
                  <a:lnTo>
                    <a:pt x="3704" y="6089"/>
                  </a:lnTo>
                  <a:lnTo>
                    <a:pt x="3704" y="6131"/>
                  </a:lnTo>
                  <a:lnTo>
                    <a:pt x="3788" y="6173"/>
                  </a:lnTo>
                  <a:lnTo>
                    <a:pt x="3871" y="6214"/>
                  </a:lnTo>
                  <a:lnTo>
                    <a:pt x="3955" y="6214"/>
                  </a:lnTo>
                  <a:lnTo>
                    <a:pt x="3997" y="6298"/>
                  </a:lnTo>
                  <a:lnTo>
                    <a:pt x="3976" y="6319"/>
                  </a:lnTo>
                  <a:lnTo>
                    <a:pt x="4164" y="6298"/>
                  </a:lnTo>
                  <a:lnTo>
                    <a:pt x="4269" y="6193"/>
                  </a:lnTo>
                  <a:lnTo>
                    <a:pt x="4332" y="6193"/>
                  </a:lnTo>
                  <a:lnTo>
                    <a:pt x="4394" y="6131"/>
                  </a:lnTo>
                  <a:lnTo>
                    <a:pt x="4436" y="6173"/>
                  </a:lnTo>
                  <a:lnTo>
                    <a:pt x="4436" y="6214"/>
                  </a:lnTo>
                  <a:lnTo>
                    <a:pt x="4520" y="6214"/>
                  </a:lnTo>
                  <a:lnTo>
                    <a:pt x="4604" y="6277"/>
                  </a:lnTo>
                  <a:lnTo>
                    <a:pt x="4729" y="6214"/>
                  </a:lnTo>
                  <a:lnTo>
                    <a:pt x="4897" y="6193"/>
                  </a:lnTo>
                  <a:lnTo>
                    <a:pt x="4918" y="6110"/>
                  </a:lnTo>
                  <a:lnTo>
                    <a:pt x="4897" y="6068"/>
                  </a:lnTo>
                  <a:lnTo>
                    <a:pt x="4938" y="6005"/>
                  </a:lnTo>
                  <a:lnTo>
                    <a:pt x="5043" y="6026"/>
                  </a:lnTo>
                  <a:lnTo>
                    <a:pt x="5127" y="6026"/>
                  </a:lnTo>
                  <a:lnTo>
                    <a:pt x="5210" y="6089"/>
                  </a:lnTo>
                  <a:lnTo>
                    <a:pt x="5315" y="6068"/>
                  </a:lnTo>
                  <a:lnTo>
                    <a:pt x="5357" y="6026"/>
                  </a:lnTo>
                  <a:lnTo>
                    <a:pt x="5566" y="5963"/>
                  </a:lnTo>
                  <a:lnTo>
                    <a:pt x="5650" y="5984"/>
                  </a:lnTo>
                  <a:lnTo>
                    <a:pt x="5754" y="5963"/>
                  </a:lnTo>
                  <a:lnTo>
                    <a:pt x="5775" y="5900"/>
                  </a:lnTo>
                  <a:lnTo>
                    <a:pt x="5901" y="5900"/>
                  </a:lnTo>
                  <a:lnTo>
                    <a:pt x="5985" y="5817"/>
                  </a:lnTo>
                  <a:lnTo>
                    <a:pt x="6110" y="5796"/>
                  </a:lnTo>
                  <a:lnTo>
                    <a:pt x="6194" y="5712"/>
                  </a:lnTo>
                  <a:lnTo>
                    <a:pt x="6278" y="5649"/>
                  </a:lnTo>
                  <a:lnTo>
                    <a:pt x="6382" y="5670"/>
                  </a:lnTo>
                  <a:lnTo>
                    <a:pt x="6424" y="5608"/>
                  </a:lnTo>
                  <a:lnTo>
                    <a:pt x="6466" y="5587"/>
                  </a:lnTo>
                  <a:lnTo>
                    <a:pt x="6424" y="5587"/>
                  </a:lnTo>
                  <a:lnTo>
                    <a:pt x="6424" y="5545"/>
                  </a:lnTo>
                  <a:lnTo>
                    <a:pt x="6298" y="5440"/>
                  </a:lnTo>
                  <a:lnTo>
                    <a:pt x="6173" y="5398"/>
                  </a:lnTo>
                  <a:lnTo>
                    <a:pt x="5964" y="5189"/>
                  </a:lnTo>
                  <a:lnTo>
                    <a:pt x="5985" y="5126"/>
                  </a:lnTo>
                  <a:lnTo>
                    <a:pt x="5901" y="4938"/>
                  </a:lnTo>
                  <a:lnTo>
                    <a:pt x="5859" y="4875"/>
                  </a:lnTo>
                  <a:lnTo>
                    <a:pt x="5901" y="4771"/>
                  </a:lnTo>
                  <a:lnTo>
                    <a:pt x="5859" y="4729"/>
                  </a:lnTo>
                  <a:lnTo>
                    <a:pt x="5838" y="4624"/>
                  </a:lnTo>
                  <a:lnTo>
                    <a:pt x="5796" y="4540"/>
                  </a:lnTo>
                  <a:lnTo>
                    <a:pt x="5838" y="4540"/>
                  </a:lnTo>
                  <a:lnTo>
                    <a:pt x="5775" y="4394"/>
                  </a:lnTo>
                  <a:lnTo>
                    <a:pt x="5754" y="4248"/>
                  </a:lnTo>
                  <a:lnTo>
                    <a:pt x="5838" y="4206"/>
                  </a:lnTo>
                  <a:lnTo>
                    <a:pt x="5838" y="4038"/>
                  </a:lnTo>
                  <a:lnTo>
                    <a:pt x="5754" y="3976"/>
                  </a:lnTo>
                  <a:lnTo>
                    <a:pt x="5754" y="3766"/>
                  </a:lnTo>
                  <a:lnTo>
                    <a:pt x="5775" y="3620"/>
                  </a:lnTo>
                  <a:lnTo>
                    <a:pt x="5859" y="3578"/>
                  </a:lnTo>
                  <a:lnTo>
                    <a:pt x="5880" y="3599"/>
                  </a:lnTo>
                  <a:lnTo>
                    <a:pt x="5943" y="3515"/>
                  </a:lnTo>
                  <a:lnTo>
                    <a:pt x="5859" y="3306"/>
                  </a:lnTo>
                  <a:lnTo>
                    <a:pt x="5775" y="3306"/>
                  </a:lnTo>
                  <a:lnTo>
                    <a:pt x="5650" y="3180"/>
                  </a:lnTo>
                  <a:lnTo>
                    <a:pt x="5482" y="3055"/>
                  </a:lnTo>
                  <a:lnTo>
                    <a:pt x="5482" y="2929"/>
                  </a:lnTo>
                  <a:lnTo>
                    <a:pt x="5566" y="2657"/>
                  </a:lnTo>
                  <a:lnTo>
                    <a:pt x="5692" y="2302"/>
                  </a:lnTo>
                  <a:lnTo>
                    <a:pt x="5754" y="2239"/>
                  </a:lnTo>
                  <a:lnTo>
                    <a:pt x="5734" y="2134"/>
                  </a:lnTo>
                  <a:lnTo>
                    <a:pt x="5692" y="2113"/>
                  </a:lnTo>
                  <a:lnTo>
                    <a:pt x="5734" y="2113"/>
                  </a:lnTo>
                  <a:lnTo>
                    <a:pt x="5022" y="1611"/>
                  </a:lnTo>
                  <a:lnTo>
                    <a:pt x="4959" y="1527"/>
                  </a:lnTo>
                  <a:lnTo>
                    <a:pt x="4938" y="1486"/>
                  </a:lnTo>
                  <a:lnTo>
                    <a:pt x="4959" y="1402"/>
                  </a:lnTo>
                  <a:lnTo>
                    <a:pt x="4834" y="1214"/>
                  </a:lnTo>
                  <a:lnTo>
                    <a:pt x="274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 name="Google Shape;6053;p93">
              <a:extLst>
                <a:ext uri="{FF2B5EF4-FFF2-40B4-BE49-F238E27FC236}">
                  <a16:creationId xmlns:a16="http://schemas.microsoft.com/office/drawing/2014/main" id="{4DC62A7D-43C0-426C-B65B-D4666BFB8D8B}"/>
                </a:ext>
              </a:extLst>
            </p:cNvPr>
            <p:cNvSpPr/>
            <p:nvPr/>
          </p:nvSpPr>
          <p:spPr>
            <a:xfrm>
              <a:off x="3945415" y="3152954"/>
              <a:ext cx="13956" cy="10963"/>
            </a:xfrm>
            <a:custGeom>
              <a:avLst/>
              <a:gdLst/>
              <a:ahLst/>
              <a:cxnLst/>
              <a:rect l="l" t="t" r="r" b="b"/>
              <a:pathLst>
                <a:path w="1172" h="964" extrusionOk="0">
                  <a:moveTo>
                    <a:pt x="795" y="1"/>
                  </a:moveTo>
                  <a:lnTo>
                    <a:pt x="795" y="84"/>
                  </a:lnTo>
                  <a:lnTo>
                    <a:pt x="732" y="126"/>
                  </a:lnTo>
                  <a:lnTo>
                    <a:pt x="649" y="126"/>
                  </a:lnTo>
                  <a:lnTo>
                    <a:pt x="607" y="84"/>
                  </a:lnTo>
                  <a:lnTo>
                    <a:pt x="544" y="42"/>
                  </a:lnTo>
                  <a:lnTo>
                    <a:pt x="440" y="126"/>
                  </a:lnTo>
                  <a:lnTo>
                    <a:pt x="377" y="147"/>
                  </a:lnTo>
                  <a:lnTo>
                    <a:pt x="335" y="126"/>
                  </a:lnTo>
                  <a:lnTo>
                    <a:pt x="209" y="231"/>
                  </a:lnTo>
                  <a:lnTo>
                    <a:pt x="105" y="356"/>
                  </a:lnTo>
                  <a:lnTo>
                    <a:pt x="0" y="733"/>
                  </a:lnTo>
                  <a:lnTo>
                    <a:pt x="0" y="817"/>
                  </a:lnTo>
                  <a:lnTo>
                    <a:pt x="209" y="817"/>
                  </a:lnTo>
                  <a:lnTo>
                    <a:pt x="272" y="921"/>
                  </a:lnTo>
                  <a:lnTo>
                    <a:pt x="335" y="963"/>
                  </a:lnTo>
                  <a:lnTo>
                    <a:pt x="398" y="921"/>
                  </a:lnTo>
                  <a:lnTo>
                    <a:pt x="419" y="921"/>
                  </a:lnTo>
                  <a:lnTo>
                    <a:pt x="481" y="963"/>
                  </a:lnTo>
                  <a:lnTo>
                    <a:pt x="607" y="921"/>
                  </a:lnTo>
                  <a:lnTo>
                    <a:pt x="607" y="858"/>
                  </a:lnTo>
                  <a:lnTo>
                    <a:pt x="691" y="670"/>
                  </a:lnTo>
                  <a:lnTo>
                    <a:pt x="649" y="566"/>
                  </a:lnTo>
                  <a:lnTo>
                    <a:pt x="712" y="566"/>
                  </a:lnTo>
                  <a:lnTo>
                    <a:pt x="753" y="628"/>
                  </a:lnTo>
                  <a:lnTo>
                    <a:pt x="816" y="628"/>
                  </a:lnTo>
                  <a:lnTo>
                    <a:pt x="858" y="733"/>
                  </a:lnTo>
                  <a:lnTo>
                    <a:pt x="921" y="754"/>
                  </a:lnTo>
                  <a:lnTo>
                    <a:pt x="921" y="817"/>
                  </a:lnTo>
                  <a:lnTo>
                    <a:pt x="942" y="838"/>
                  </a:lnTo>
                  <a:lnTo>
                    <a:pt x="1004" y="838"/>
                  </a:lnTo>
                  <a:lnTo>
                    <a:pt x="1067" y="817"/>
                  </a:lnTo>
                  <a:lnTo>
                    <a:pt x="1130" y="754"/>
                  </a:lnTo>
                  <a:lnTo>
                    <a:pt x="1130" y="670"/>
                  </a:lnTo>
                  <a:lnTo>
                    <a:pt x="1172" y="607"/>
                  </a:lnTo>
                  <a:lnTo>
                    <a:pt x="1151" y="503"/>
                  </a:lnTo>
                  <a:lnTo>
                    <a:pt x="1109" y="314"/>
                  </a:lnTo>
                  <a:lnTo>
                    <a:pt x="1046" y="231"/>
                  </a:lnTo>
                  <a:lnTo>
                    <a:pt x="1046" y="189"/>
                  </a:lnTo>
                  <a:lnTo>
                    <a:pt x="963" y="105"/>
                  </a:lnTo>
                  <a:lnTo>
                    <a:pt x="900" y="21"/>
                  </a:lnTo>
                  <a:lnTo>
                    <a:pt x="90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5" name="Google Shape;6054;p93">
              <a:extLst>
                <a:ext uri="{FF2B5EF4-FFF2-40B4-BE49-F238E27FC236}">
                  <a16:creationId xmlns:a16="http://schemas.microsoft.com/office/drawing/2014/main" id="{9B83B623-F1F2-4827-9ABD-62015AD3CCBE}"/>
                </a:ext>
              </a:extLst>
            </p:cNvPr>
            <p:cNvSpPr/>
            <p:nvPr/>
          </p:nvSpPr>
          <p:spPr>
            <a:xfrm>
              <a:off x="3945415" y="3159380"/>
              <a:ext cx="13706" cy="15956"/>
            </a:xfrm>
            <a:custGeom>
              <a:avLst/>
              <a:gdLst/>
              <a:ahLst/>
              <a:cxnLst/>
              <a:rect l="l" t="t" r="r" b="b"/>
              <a:pathLst>
                <a:path w="1151" h="1403" extrusionOk="0">
                  <a:moveTo>
                    <a:pt x="649" y="1"/>
                  </a:moveTo>
                  <a:lnTo>
                    <a:pt x="691" y="105"/>
                  </a:lnTo>
                  <a:lnTo>
                    <a:pt x="607" y="293"/>
                  </a:lnTo>
                  <a:lnTo>
                    <a:pt x="607" y="356"/>
                  </a:lnTo>
                  <a:lnTo>
                    <a:pt x="481" y="398"/>
                  </a:lnTo>
                  <a:lnTo>
                    <a:pt x="419" y="356"/>
                  </a:lnTo>
                  <a:lnTo>
                    <a:pt x="398" y="356"/>
                  </a:lnTo>
                  <a:lnTo>
                    <a:pt x="335" y="398"/>
                  </a:lnTo>
                  <a:lnTo>
                    <a:pt x="272" y="356"/>
                  </a:lnTo>
                  <a:lnTo>
                    <a:pt x="209" y="252"/>
                  </a:lnTo>
                  <a:lnTo>
                    <a:pt x="0" y="252"/>
                  </a:lnTo>
                  <a:lnTo>
                    <a:pt x="0" y="314"/>
                  </a:lnTo>
                  <a:lnTo>
                    <a:pt x="63" y="419"/>
                  </a:lnTo>
                  <a:lnTo>
                    <a:pt x="84" y="565"/>
                  </a:lnTo>
                  <a:lnTo>
                    <a:pt x="84" y="712"/>
                  </a:lnTo>
                  <a:lnTo>
                    <a:pt x="188" y="1402"/>
                  </a:lnTo>
                  <a:lnTo>
                    <a:pt x="481" y="1402"/>
                  </a:lnTo>
                  <a:lnTo>
                    <a:pt x="649" y="1340"/>
                  </a:lnTo>
                  <a:lnTo>
                    <a:pt x="753" y="1193"/>
                  </a:lnTo>
                  <a:lnTo>
                    <a:pt x="921" y="1026"/>
                  </a:lnTo>
                  <a:lnTo>
                    <a:pt x="963" y="984"/>
                  </a:lnTo>
                  <a:lnTo>
                    <a:pt x="1046" y="900"/>
                  </a:lnTo>
                  <a:lnTo>
                    <a:pt x="1151" y="796"/>
                  </a:lnTo>
                  <a:lnTo>
                    <a:pt x="1151" y="712"/>
                  </a:lnTo>
                  <a:lnTo>
                    <a:pt x="1130" y="524"/>
                  </a:lnTo>
                  <a:lnTo>
                    <a:pt x="1046" y="524"/>
                  </a:lnTo>
                  <a:lnTo>
                    <a:pt x="1046" y="461"/>
                  </a:lnTo>
                  <a:lnTo>
                    <a:pt x="942" y="419"/>
                  </a:lnTo>
                  <a:lnTo>
                    <a:pt x="942" y="356"/>
                  </a:lnTo>
                  <a:lnTo>
                    <a:pt x="921" y="293"/>
                  </a:lnTo>
                  <a:lnTo>
                    <a:pt x="921" y="252"/>
                  </a:lnTo>
                  <a:lnTo>
                    <a:pt x="921" y="189"/>
                  </a:lnTo>
                  <a:lnTo>
                    <a:pt x="858" y="168"/>
                  </a:lnTo>
                  <a:lnTo>
                    <a:pt x="816" y="63"/>
                  </a:lnTo>
                  <a:lnTo>
                    <a:pt x="753" y="63"/>
                  </a:lnTo>
                  <a:lnTo>
                    <a:pt x="71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 name="Google Shape;6055;p93">
              <a:extLst>
                <a:ext uri="{FF2B5EF4-FFF2-40B4-BE49-F238E27FC236}">
                  <a16:creationId xmlns:a16="http://schemas.microsoft.com/office/drawing/2014/main" id="{A85A8B0B-AE2D-41DC-84B0-7F3D0EE03F31}"/>
                </a:ext>
              </a:extLst>
            </p:cNvPr>
            <p:cNvSpPr/>
            <p:nvPr/>
          </p:nvSpPr>
          <p:spPr>
            <a:xfrm>
              <a:off x="3829055" y="3110126"/>
              <a:ext cx="131316" cy="124222"/>
            </a:xfrm>
            <a:custGeom>
              <a:avLst/>
              <a:gdLst/>
              <a:ahLst/>
              <a:cxnLst/>
              <a:rect l="l" t="t" r="r" b="b"/>
              <a:pathLst>
                <a:path w="11028" h="10923" extrusionOk="0">
                  <a:moveTo>
                    <a:pt x="7701" y="0"/>
                  </a:moveTo>
                  <a:lnTo>
                    <a:pt x="7701" y="42"/>
                  </a:lnTo>
                  <a:lnTo>
                    <a:pt x="7743" y="84"/>
                  </a:lnTo>
                  <a:lnTo>
                    <a:pt x="7659" y="189"/>
                  </a:lnTo>
                  <a:lnTo>
                    <a:pt x="7575" y="189"/>
                  </a:lnTo>
                  <a:lnTo>
                    <a:pt x="7491" y="210"/>
                  </a:lnTo>
                  <a:lnTo>
                    <a:pt x="7366" y="210"/>
                  </a:lnTo>
                  <a:lnTo>
                    <a:pt x="7282" y="251"/>
                  </a:lnTo>
                  <a:lnTo>
                    <a:pt x="7240" y="251"/>
                  </a:lnTo>
                  <a:lnTo>
                    <a:pt x="7219" y="189"/>
                  </a:lnTo>
                  <a:lnTo>
                    <a:pt x="7178" y="189"/>
                  </a:lnTo>
                  <a:lnTo>
                    <a:pt x="7157" y="147"/>
                  </a:lnTo>
                  <a:lnTo>
                    <a:pt x="7073" y="126"/>
                  </a:lnTo>
                  <a:lnTo>
                    <a:pt x="6843" y="230"/>
                  </a:lnTo>
                  <a:lnTo>
                    <a:pt x="6759" y="293"/>
                  </a:lnTo>
                  <a:lnTo>
                    <a:pt x="6717" y="335"/>
                  </a:lnTo>
                  <a:lnTo>
                    <a:pt x="6487" y="356"/>
                  </a:lnTo>
                  <a:lnTo>
                    <a:pt x="6403" y="398"/>
                  </a:lnTo>
                  <a:lnTo>
                    <a:pt x="6320" y="314"/>
                  </a:lnTo>
                  <a:lnTo>
                    <a:pt x="6215" y="293"/>
                  </a:lnTo>
                  <a:lnTo>
                    <a:pt x="6111" y="293"/>
                  </a:lnTo>
                  <a:lnTo>
                    <a:pt x="6027" y="398"/>
                  </a:lnTo>
                  <a:lnTo>
                    <a:pt x="5922" y="502"/>
                  </a:lnTo>
                  <a:lnTo>
                    <a:pt x="5964" y="544"/>
                  </a:lnTo>
                  <a:lnTo>
                    <a:pt x="6006" y="607"/>
                  </a:lnTo>
                  <a:lnTo>
                    <a:pt x="5985" y="649"/>
                  </a:lnTo>
                  <a:lnTo>
                    <a:pt x="5859" y="670"/>
                  </a:lnTo>
                  <a:lnTo>
                    <a:pt x="5797" y="649"/>
                  </a:lnTo>
                  <a:lnTo>
                    <a:pt x="5671" y="628"/>
                  </a:lnTo>
                  <a:lnTo>
                    <a:pt x="5567" y="565"/>
                  </a:lnTo>
                  <a:lnTo>
                    <a:pt x="5483" y="565"/>
                  </a:lnTo>
                  <a:lnTo>
                    <a:pt x="5399" y="628"/>
                  </a:lnTo>
                  <a:lnTo>
                    <a:pt x="5336" y="607"/>
                  </a:lnTo>
                  <a:lnTo>
                    <a:pt x="5190" y="607"/>
                  </a:lnTo>
                  <a:lnTo>
                    <a:pt x="5064" y="523"/>
                  </a:lnTo>
                  <a:lnTo>
                    <a:pt x="4939" y="544"/>
                  </a:lnTo>
                  <a:lnTo>
                    <a:pt x="4918" y="502"/>
                  </a:lnTo>
                  <a:lnTo>
                    <a:pt x="4750" y="356"/>
                  </a:lnTo>
                  <a:lnTo>
                    <a:pt x="4667" y="335"/>
                  </a:lnTo>
                  <a:lnTo>
                    <a:pt x="4499" y="210"/>
                  </a:lnTo>
                  <a:lnTo>
                    <a:pt x="4437" y="189"/>
                  </a:lnTo>
                  <a:lnTo>
                    <a:pt x="4353" y="126"/>
                  </a:lnTo>
                  <a:lnTo>
                    <a:pt x="4290" y="126"/>
                  </a:lnTo>
                  <a:lnTo>
                    <a:pt x="4290" y="189"/>
                  </a:lnTo>
                  <a:lnTo>
                    <a:pt x="4186" y="147"/>
                  </a:lnTo>
                  <a:lnTo>
                    <a:pt x="4102" y="251"/>
                  </a:lnTo>
                  <a:lnTo>
                    <a:pt x="4018" y="251"/>
                  </a:lnTo>
                  <a:lnTo>
                    <a:pt x="3976" y="293"/>
                  </a:lnTo>
                  <a:lnTo>
                    <a:pt x="3976" y="356"/>
                  </a:lnTo>
                  <a:lnTo>
                    <a:pt x="3914" y="440"/>
                  </a:lnTo>
                  <a:lnTo>
                    <a:pt x="3914" y="502"/>
                  </a:lnTo>
                  <a:lnTo>
                    <a:pt x="3872" y="544"/>
                  </a:lnTo>
                  <a:lnTo>
                    <a:pt x="3788" y="544"/>
                  </a:lnTo>
                  <a:lnTo>
                    <a:pt x="3788" y="607"/>
                  </a:lnTo>
                  <a:lnTo>
                    <a:pt x="3893" y="733"/>
                  </a:lnTo>
                  <a:lnTo>
                    <a:pt x="3830" y="774"/>
                  </a:lnTo>
                  <a:lnTo>
                    <a:pt x="3809" y="858"/>
                  </a:lnTo>
                  <a:lnTo>
                    <a:pt x="3809" y="984"/>
                  </a:lnTo>
                  <a:lnTo>
                    <a:pt x="3872" y="1088"/>
                  </a:lnTo>
                  <a:lnTo>
                    <a:pt x="3872" y="1339"/>
                  </a:lnTo>
                  <a:lnTo>
                    <a:pt x="3767" y="1381"/>
                  </a:lnTo>
                  <a:lnTo>
                    <a:pt x="3725" y="1486"/>
                  </a:lnTo>
                  <a:lnTo>
                    <a:pt x="3474" y="1800"/>
                  </a:lnTo>
                  <a:lnTo>
                    <a:pt x="3516" y="2009"/>
                  </a:lnTo>
                  <a:lnTo>
                    <a:pt x="3495" y="2135"/>
                  </a:lnTo>
                  <a:lnTo>
                    <a:pt x="3495" y="2281"/>
                  </a:lnTo>
                  <a:lnTo>
                    <a:pt x="3390" y="2386"/>
                  </a:lnTo>
                  <a:lnTo>
                    <a:pt x="3390" y="2532"/>
                  </a:lnTo>
                  <a:lnTo>
                    <a:pt x="3390" y="2616"/>
                  </a:lnTo>
                  <a:lnTo>
                    <a:pt x="3370" y="2804"/>
                  </a:lnTo>
                  <a:lnTo>
                    <a:pt x="3390" y="2825"/>
                  </a:lnTo>
                  <a:lnTo>
                    <a:pt x="3370" y="2971"/>
                  </a:lnTo>
                  <a:lnTo>
                    <a:pt x="3286" y="3034"/>
                  </a:lnTo>
                  <a:lnTo>
                    <a:pt x="3244" y="3223"/>
                  </a:lnTo>
                  <a:lnTo>
                    <a:pt x="3244" y="3390"/>
                  </a:lnTo>
                  <a:lnTo>
                    <a:pt x="3056" y="3704"/>
                  </a:lnTo>
                  <a:lnTo>
                    <a:pt x="2951" y="3746"/>
                  </a:lnTo>
                  <a:lnTo>
                    <a:pt x="2846" y="3808"/>
                  </a:lnTo>
                  <a:lnTo>
                    <a:pt x="2763" y="3787"/>
                  </a:lnTo>
                  <a:lnTo>
                    <a:pt x="2637" y="3892"/>
                  </a:lnTo>
                  <a:lnTo>
                    <a:pt x="2533" y="4018"/>
                  </a:lnTo>
                  <a:lnTo>
                    <a:pt x="2533" y="4164"/>
                  </a:lnTo>
                  <a:lnTo>
                    <a:pt x="2344" y="4332"/>
                  </a:lnTo>
                  <a:lnTo>
                    <a:pt x="2302" y="4436"/>
                  </a:lnTo>
                  <a:lnTo>
                    <a:pt x="2323" y="4624"/>
                  </a:lnTo>
                  <a:lnTo>
                    <a:pt x="2344" y="4645"/>
                  </a:lnTo>
                  <a:lnTo>
                    <a:pt x="2323" y="4959"/>
                  </a:lnTo>
                  <a:lnTo>
                    <a:pt x="2302" y="5127"/>
                  </a:lnTo>
                  <a:lnTo>
                    <a:pt x="2302" y="5231"/>
                  </a:lnTo>
                  <a:lnTo>
                    <a:pt x="2198" y="5378"/>
                  </a:lnTo>
                  <a:lnTo>
                    <a:pt x="2093" y="5420"/>
                  </a:lnTo>
                  <a:lnTo>
                    <a:pt x="2009" y="5482"/>
                  </a:lnTo>
                  <a:lnTo>
                    <a:pt x="1947" y="5566"/>
                  </a:lnTo>
                  <a:lnTo>
                    <a:pt x="1717" y="5796"/>
                  </a:lnTo>
                  <a:lnTo>
                    <a:pt x="1633" y="5901"/>
                  </a:lnTo>
                  <a:lnTo>
                    <a:pt x="1507" y="5984"/>
                  </a:lnTo>
                  <a:lnTo>
                    <a:pt x="1382" y="5901"/>
                  </a:lnTo>
                  <a:lnTo>
                    <a:pt x="1319" y="5796"/>
                  </a:lnTo>
                  <a:lnTo>
                    <a:pt x="1298" y="5775"/>
                  </a:lnTo>
                  <a:lnTo>
                    <a:pt x="1382" y="5650"/>
                  </a:lnTo>
                  <a:lnTo>
                    <a:pt x="1382" y="5587"/>
                  </a:lnTo>
                  <a:lnTo>
                    <a:pt x="1193" y="5650"/>
                  </a:lnTo>
                  <a:lnTo>
                    <a:pt x="1089" y="5754"/>
                  </a:lnTo>
                  <a:lnTo>
                    <a:pt x="1005" y="5733"/>
                  </a:lnTo>
                  <a:lnTo>
                    <a:pt x="942" y="5754"/>
                  </a:lnTo>
                  <a:lnTo>
                    <a:pt x="942" y="5859"/>
                  </a:lnTo>
                  <a:lnTo>
                    <a:pt x="859" y="5943"/>
                  </a:lnTo>
                  <a:lnTo>
                    <a:pt x="754" y="5943"/>
                  </a:lnTo>
                  <a:lnTo>
                    <a:pt x="754" y="5880"/>
                  </a:lnTo>
                  <a:lnTo>
                    <a:pt x="733" y="5838"/>
                  </a:lnTo>
                  <a:lnTo>
                    <a:pt x="629" y="5880"/>
                  </a:lnTo>
                  <a:lnTo>
                    <a:pt x="566" y="5859"/>
                  </a:lnTo>
                  <a:lnTo>
                    <a:pt x="440" y="5984"/>
                  </a:lnTo>
                  <a:lnTo>
                    <a:pt x="315" y="6089"/>
                  </a:lnTo>
                  <a:lnTo>
                    <a:pt x="252" y="6152"/>
                  </a:lnTo>
                  <a:lnTo>
                    <a:pt x="273" y="6361"/>
                  </a:lnTo>
                  <a:lnTo>
                    <a:pt x="210" y="6424"/>
                  </a:lnTo>
                  <a:lnTo>
                    <a:pt x="105" y="6424"/>
                  </a:lnTo>
                  <a:lnTo>
                    <a:pt x="1" y="6508"/>
                  </a:lnTo>
                  <a:lnTo>
                    <a:pt x="22" y="6570"/>
                  </a:lnTo>
                  <a:lnTo>
                    <a:pt x="210" y="6591"/>
                  </a:lnTo>
                  <a:lnTo>
                    <a:pt x="252" y="6633"/>
                  </a:lnTo>
                  <a:lnTo>
                    <a:pt x="273" y="6633"/>
                  </a:lnTo>
                  <a:lnTo>
                    <a:pt x="273" y="6612"/>
                  </a:lnTo>
                  <a:lnTo>
                    <a:pt x="315" y="6591"/>
                  </a:lnTo>
                  <a:lnTo>
                    <a:pt x="377" y="6591"/>
                  </a:lnTo>
                  <a:lnTo>
                    <a:pt x="482" y="6570"/>
                  </a:lnTo>
                  <a:lnTo>
                    <a:pt x="566" y="6528"/>
                  </a:lnTo>
                  <a:lnTo>
                    <a:pt x="1256" y="6528"/>
                  </a:lnTo>
                  <a:lnTo>
                    <a:pt x="1424" y="6570"/>
                  </a:lnTo>
                  <a:lnTo>
                    <a:pt x="1633" y="6528"/>
                  </a:lnTo>
                  <a:lnTo>
                    <a:pt x="2637" y="6528"/>
                  </a:lnTo>
                  <a:lnTo>
                    <a:pt x="2637" y="6612"/>
                  </a:lnTo>
                  <a:lnTo>
                    <a:pt x="2637" y="6633"/>
                  </a:lnTo>
                  <a:lnTo>
                    <a:pt x="2637" y="6717"/>
                  </a:lnTo>
                  <a:lnTo>
                    <a:pt x="2679" y="6780"/>
                  </a:lnTo>
                  <a:lnTo>
                    <a:pt x="2721" y="6842"/>
                  </a:lnTo>
                  <a:lnTo>
                    <a:pt x="2679" y="6905"/>
                  </a:lnTo>
                  <a:lnTo>
                    <a:pt x="2679" y="6989"/>
                  </a:lnTo>
                  <a:lnTo>
                    <a:pt x="2742" y="7093"/>
                  </a:lnTo>
                  <a:lnTo>
                    <a:pt x="2763" y="7219"/>
                  </a:lnTo>
                  <a:lnTo>
                    <a:pt x="2784" y="7261"/>
                  </a:lnTo>
                  <a:lnTo>
                    <a:pt x="2784" y="7345"/>
                  </a:lnTo>
                  <a:lnTo>
                    <a:pt x="2846" y="7365"/>
                  </a:lnTo>
                  <a:lnTo>
                    <a:pt x="2888" y="7449"/>
                  </a:lnTo>
                  <a:lnTo>
                    <a:pt x="2972" y="7554"/>
                  </a:lnTo>
                  <a:lnTo>
                    <a:pt x="2993" y="7763"/>
                  </a:lnTo>
                  <a:lnTo>
                    <a:pt x="3056" y="7784"/>
                  </a:lnTo>
                  <a:lnTo>
                    <a:pt x="3202" y="7784"/>
                  </a:lnTo>
                  <a:lnTo>
                    <a:pt x="3307" y="7763"/>
                  </a:lnTo>
                  <a:lnTo>
                    <a:pt x="3390" y="7784"/>
                  </a:lnTo>
                  <a:lnTo>
                    <a:pt x="3579" y="7826"/>
                  </a:lnTo>
                  <a:lnTo>
                    <a:pt x="3662" y="7763"/>
                  </a:lnTo>
                  <a:lnTo>
                    <a:pt x="4102" y="7742"/>
                  </a:lnTo>
                  <a:lnTo>
                    <a:pt x="4102" y="7575"/>
                  </a:lnTo>
                  <a:lnTo>
                    <a:pt x="4081" y="7470"/>
                  </a:lnTo>
                  <a:lnTo>
                    <a:pt x="4123" y="7449"/>
                  </a:lnTo>
                  <a:lnTo>
                    <a:pt x="4186" y="7345"/>
                  </a:lnTo>
                  <a:lnTo>
                    <a:pt x="4186" y="7198"/>
                  </a:lnTo>
                  <a:lnTo>
                    <a:pt x="4750" y="7156"/>
                  </a:lnTo>
                  <a:lnTo>
                    <a:pt x="4750" y="7114"/>
                  </a:lnTo>
                  <a:lnTo>
                    <a:pt x="4939" y="7135"/>
                  </a:lnTo>
                  <a:lnTo>
                    <a:pt x="4918" y="7219"/>
                  </a:lnTo>
                  <a:lnTo>
                    <a:pt x="4876" y="7261"/>
                  </a:lnTo>
                  <a:lnTo>
                    <a:pt x="4918" y="7324"/>
                  </a:lnTo>
                  <a:lnTo>
                    <a:pt x="5567" y="7365"/>
                  </a:lnTo>
                  <a:lnTo>
                    <a:pt x="5587" y="7449"/>
                  </a:lnTo>
                  <a:lnTo>
                    <a:pt x="5587" y="7533"/>
                  </a:lnTo>
                  <a:lnTo>
                    <a:pt x="5587" y="7617"/>
                  </a:lnTo>
                  <a:lnTo>
                    <a:pt x="5546" y="7721"/>
                  </a:lnTo>
                  <a:lnTo>
                    <a:pt x="5504" y="7826"/>
                  </a:lnTo>
                  <a:lnTo>
                    <a:pt x="5567" y="7889"/>
                  </a:lnTo>
                  <a:lnTo>
                    <a:pt x="5567" y="7972"/>
                  </a:lnTo>
                  <a:lnTo>
                    <a:pt x="5546" y="8035"/>
                  </a:lnTo>
                  <a:lnTo>
                    <a:pt x="5546" y="8056"/>
                  </a:lnTo>
                  <a:lnTo>
                    <a:pt x="5567" y="8140"/>
                  </a:lnTo>
                  <a:lnTo>
                    <a:pt x="5567" y="8349"/>
                  </a:lnTo>
                  <a:lnTo>
                    <a:pt x="5504" y="8453"/>
                  </a:lnTo>
                  <a:lnTo>
                    <a:pt x="5567" y="8495"/>
                  </a:lnTo>
                  <a:lnTo>
                    <a:pt x="5567" y="8579"/>
                  </a:lnTo>
                  <a:lnTo>
                    <a:pt x="5608" y="8621"/>
                  </a:lnTo>
                  <a:lnTo>
                    <a:pt x="5608" y="8705"/>
                  </a:lnTo>
                  <a:lnTo>
                    <a:pt x="5650" y="8725"/>
                  </a:lnTo>
                  <a:lnTo>
                    <a:pt x="5671" y="8788"/>
                  </a:lnTo>
                  <a:lnTo>
                    <a:pt x="5713" y="8809"/>
                  </a:lnTo>
                  <a:lnTo>
                    <a:pt x="5755" y="8872"/>
                  </a:lnTo>
                  <a:lnTo>
                    <a:pt x="5713" y="8935"/>
                  </a:lnTo>
                  <a:lnTo>
                    <a:pt x="5713" y="9018"/>
                  </a:lnTo>
                  <a:lnTo>
                    <a:pt x="5797" y="9081"/>
                  </a:lnTo>
                  <a:lnTo>
                    <a:pt x="5797" y="9144"/>
                  </a:lnTo>
                  <a:lnTo>
                    <a:pt x="5776" y="9186"/>
                  </a:lnTo>
                  <a:lnTo>
                    <a:pt x="5776" y="9311"/>
                  </a:lnTo>
                  <a:lnTo>
                    <a:pt x="5859" y="9353"/>
                  </a:lnTo>
                  <a:lnTo>
                    <a:pt x="5818" y="9437"/>
                  </a:lnTo>
                  <a:lnTo>
                    <a:pt x="5818" y="9458"/>
                  </a:lnTo>
                  <a:lnTo>
                    <a:pt x="5776" y="9500"/>
                  </a:lnTo>
                  <a:lnTo>
                    <a:pt x="5776" y="9625"/>
                  </a:lnTo>
                  <a:lnTo>
                    <a:pt x="5797" y="9646"/>
                  </a:lnTo>
                  <a:lnTo>
                    <a:pt x="5859" y="9646"/>
                  </a:lnTo>
                  <a:lnTo>
                    <a:pt x="5901" y="9625"/>
                  </a:lnTo>
                  <a:lnTo>
                    <a:pt x="5964" y="9604"/>
                  </a:lnTo>
                  <a:lnTo>
                    <a:pt x="5985" y="9562"/>
                  </a:lnTo>
                  <a:lnTo>
                    <a:pt x="6027" y="9562"/>
                  </a:lnTo>
                  <a:lnTo>
                    <a:pt x="6111" y="9625"/>
                  </a:lnTo>
                  <a:lnTo>
                    <a:pt x="6173" y="9646"/>
                  </a:lnTo>
                  <a:lnTo>
                    <a:pt x="6320" y="9646"/>
                  </a:lnTo>
                  <a:lnTo>
                    <a:pt x="6383" y="9667"/>
                  </a:lnTo>
                  <a:lnTo>
                    <a:pt x="6424" y="9646"/>
                  </a:lnTo>
                  <a:lnTo>
                    <a:pt x="6508" y="9625"/>
                  </a:lnTo>
                  <a:lnTo>
                    <a:pt x="6592" y="9562"/>
                  </a:lnTo>
                  <a:lnTo>
                    <a:pt x="6696" y="9541"/>
                  </a:lnTo>
                  <a:lnTo>
                    <a:pt x="6801" y="9541"/>
                  </a:lnTo>
                  <a:lnTo>
                    <a:pt x="6843" y="9604"/>
                  </a:lnTo>
                  <a:lnTo>
                    <a:pt x="6906" y="9562"/>
                  </a:lnTo>
                  <a:lnTo>
                    <a:pt x="7010" y="9625"/>
                  </a:lnTo>
                  <a:lnTo>
                    <a:pt x="7031" y="9646"/>
                  </a:lnTo>
                  <a:lnTo>
                    <a:pt x="7031" y="9751"/>
                  </a:lnTo>
                  <a:lnTo>
                    <a:pt x="7052" y="9772"/>
                  </a:lnTo>
                  <a:lnTo>
                    <a:pt x="7073" y="9814"/>
                  </a:lnTo>
                  <a:lnTo>
                    <a:pt x="7157" y="9751"/>
                  </a:lnTo>
                  <a:lnTo>
                    <a:pt x="7240" y="9709"/>
                  </a:lnTo>
                  <a:lnTo>
                    <a:pt x="7324" y="9709"/>
                  </a:lnTo>
                  <a:lnTo>
                    <a:pt x="7345" y="9667"/>
                  </a:lnTo>
                  <a:lnTo>
                    <a:pt x="7491" y="9625"/>
                  </a:lnTo>
                  <a:lnTo>
                    <a:pt x="7554" y="9625"/>
                  </a:lnTo>
                  <a:lnTo>
                    <a:pt x="7554" y="9751"/>
                  </a:lnTo>
                  <a:lnTo>
                    <a:pt x="7575" y="9814"/>
                  </a:lnTo>
                  <a:lnTo>
                    <a:pt x="7575" y="9876"/>
                  </a:lnTo>
                  <a:lnTo>
                    <a:pt x="7575" y="9939"/>
                  </a:lnTo>
                  <a:lnTo>
                    <a:pt x="7638" y="9939"/>
                  </a:lnTo>
                  <a:lnTo>
                    <a:pt x="7743" y="9981"/>
                  </a:lnTo>
                  <a:lnTo>
                    <a:pt x="7784" y="9981"/>
                  </a:lnTo>
                  <a:lnTo>
                    <a:pt x="7910" y="10065"/>
                  </a:lnTo>
                  <a:lnTo>
                    <a:pt x="8056" y="10086"/>
                  </a:lnTo>
                  <a:lnTo>
                    <a:pt x="8182" y="10127"/>
                  </a:lnTo>
                  <a:lnTo>
                    <a:pt x="8182" y="10148"/>
                  </a:lnTo>
                  <a:lnTo>
                    <a:pt x="8287" y="10148"/>
                  </a:lnTo>
                  <a:lnTo>
                    <a:pt x="8433" y="10086"/>
                  </a:lnTo>
                  <a:lnTo>
                    <a:pt x="8475" y="10044"/>
                  </a:lnTo>
                  <a:lnTo>
                    <a:pt x="8517" y="9876"/>
                  </a:lnTo>
                  <a:lnTo>
                    <a:pt x="8600" y="9876"/>
                  </a:lnTo>
                  <a:lnTo>
                    <a:pt x="8642" y="9855"/>
                  </a:lnTo>
                  <a:lnTo>
                    <a:pt x="8684" y="9855"/>
                  </a:lnTo>
                  <a:lnTo>
                    <a:pt x="8684" y="10023"/>
                  </a:lnTo>
                  <a:lnTo>
                    <a:pt x="8789" y="10127"/>
                  </a:lnTo>
                  <a:lnTo>
                    <a:pt x="8789" y="10190"/>
                  </a:lnTo>
                  <a:lnTo>
                    <a:pt x="8935" y="10274"/>
                  </a:lnTo>
                  <a:lnTo>
                    <a:pt x="9144" y="10337"/>
                  </a:lnTo>
                  <a:lnTo>
                    <a:pt x="9270" y="10441"/>
                  </a:lnTo>
                  <a:lnTo>
                    <a:pt x="9375" y="10588"/>
                  </a:lnTo>
                  <a:lnTo>
                    <a:pt x="9479" y="10671"/>
                  </a:lnTo>
                  <a:lnTo>
                    <a:pt x="9584" y="10797"/>
                  </a:lnTo>
                  <a:lnTo>
                    <a:pt x="9730" y="10922"/>
                  </a:lnTo>
                  <a:lnTo>
                    <a:pt x="9793" y="10922"/>
                  </a:lnTo>
                  <a:lnTo>
                    <a:pt x="9898" y="10902"/>
                  </a:lnTo>
                  <a:lnTo>
                    <a:pt x="9981" y="10860"/>
                  </a:lnTo>
                  <a:lnTo>
                    <a:pt x="10002" y="10881"/>
                  </a:lnTo>
                  <a:lnTo>
                    <a:pt x="10044" y="10902"/>
                  </a:lnTo>
                  <a:lnTo>
                    <a:pt x="10107" y="10922"/>
                  </a:lnTo>
                  <a:lnTo>
                    <a:pt x="10170" y="10881"/>
                  </a:lnTo>
                  <a:lnTo>
                    <a:pt x="10107" y="10253"/>
                  </a:lnTo>
                  <a:lnTo>
                    <a:pt x="10065" y="10232"/>
                  </a:lnTo>
                  <a:lnTo>
                    <a:pt x="9940" y="10253"/>
                  </a:lnTo>
                  <a:lnTo>
                    <a:pt x="9940" y="10337"/>
                  </a:lnTo>
                  <a:lnTo>
                    <a:pt x="9981" y="10378"/>
                  </a:lnTo>
                  <a:lnTo>
                    <a:pt x="9688" y="10378"/>
                  </a:lnTo>
                  <a:lnTo>
                    <a:pt x="9647" y="10295"/>
                  </a:lnTo>
                  <a:lnTo>
                    <a:pt x="9626" y="10232"/>
                  </a:lnTo>
                  <a:lnTo>
                    <a:pt x="9458" y="10065"/>
                  </a:lnTo>
                  <a:lnTo>
                    <a:pt x="9375" y="9981"/>
                  </a:lnTo>
                  <a:lnTo>
                    <a:pt x="9375" y="9855"/>
                  </a:lnTo>
                  <a:lnTo>
                    <a:pt x="9375" y="9521"/>
                  </a:lnTo>
                  <a:lnTo>
                    <a:pt x="9375" y="9437"/>
                  </a:lnTo>
                  <a:lnTo>
                    <a:pt x="9479" y="9332"/>
                  </a:lnTo>
                  <a:lnTo>
                    <a:pt x="9542" y="9290"/>
                  </a:lnTo>
                  <a:lnTo>
                    <a:pt x="9521" y="9249"/>
                  </a:lnTo>
                  <a:lnTo>
                    <a:pt x="9563" y="9228"/>
                  </a:lnTo>
                  <a:lnTo>
                    <a:pt x="9563" y="9102"/>
                  </a:lnTo>
                  <a:lnTo>
                    <a:pt x="9563" y="9018"/>
                  </a:lnTo>
                  <a:lnTo>
                    <a:pt x="9563" y="8935"/>
                  </a:lnTo>
                  <a:lnTo>
                    <a:pt x="9563" y="8872"/>
                  </a:lnTo>
                  <a:lnTo>
                    <a:pt x="9584" y="8809"/>
                  </a:lnTo>
                  <a:lnTo>
                    <a:pt x="9626" y="8767"/>
                  </a:lnTo>
                  <a:lnTo>
                    <a:pt x="9542" y="8725"/>
                  </a:lnTo>
                  <a:lnTo>
                    <a:pt x="9479" y="8663"/>
                  </a:lnTo>
                  <a:lnTo>
                    <a:pt x="9458" y="8558"/>
                  </a:lnTo>
                  <a:lnTo>
                    <a:pt x="9688" y="8077"/>
                  </a:lnTo>
                  <a:lnTo>
                    <a:pt x="10630" y="7868"/>
                  </a:lnTo>
                  <a:lnTo>
                    <a:pt x="10714" y="7889"/>
                  </a:lnTo>
                  <a:lnTo>
                    <a:pt x="10588" y="7449"/>
                  </a:lnTo>
                  <a:lnTo>
                    <a:pt x="10170" y="6884"/>
                  </a:lnTo>
                  <a:lnTo>
                    <a:pt x="10044" y="6194"/>
                  </a:lnTo>
                  <a:lnTo>
                    <a:pt x="9960" y="5733"/>
                  </a:lnTo>
                  <a:lnTo>
                    <a:pt x="9856" y="5043"/>
                  </a:lnTo>
                  <a:lnTo>
                    <a:pt x="9856" y="4896"/>
                  </a:lnTo>
                  <a:lnTo>
                    <a:pt x="9835" y="4750"/>
                  </a:lnTo>
                  <a:lnTo>
                    <a:pt x="9772" y="4645"/>
                  </a:lnTo>
                  <a:lnTo>
                    <a:pt x="9772" y="4583"/>
                  </a:lnTo>
                  <a:lnTo>
                    <a:pt x="9772" y="4499"/>
                  </a:lnTo>
                  <a:lnTo>
                    <a:pt x="9877" y="4122"/>
                  </a:lnTo>
                  <a:lnTo>
                    <a:pt x="9981" y="3997"/>
                  </a:lnTo>
                  <a:lnTo>
                    <a:pt x="10107" y="3892"/>
                  </a:lnTo>
                  <a:lnTo>
                    <a:pt x="10149" y="3871"/>
                  </a:lnTo>
                  <a:lnTo>
                    <a:pt x="10107" y="3746"/>
                  </a:lnTo>
                  <a:lnTo>
                    <a:pt x="10191" y="3536"/>
                  </a:lnTo>
                  <a:lnTo>
                    <a:pt x="10212" y="3327"/>
                  </a:lnTo>
                  <a:lnTo>
                    <a:pt x="10212" y="3160"/>
                  </a:lnTo>
                  <a:lnTo>
                    <a:pt x="10253" y="3118"/>
                  </a:lnTo>
                  <a:lnTo>
                    <a:pt x="10484" y="2699"/>
                  </a:lnTo>
                  <a:lnTo>
                    <a:pt x="10525" y="2616"/>
                  </a:lnTo>
                  <a:lnTo>
                    <a:pt x="10714" y="2407"/>
                  </a:lnTo>
                  <a:lnTo>
                    <a:pt x="11007" y="2009"/>
                  </a:lnTo>
                  <a:lnTo>
                    <a:pt x="11028" y="1925"/>
                  </a:lnTo>
                  <a:lnTo>
                    <a:pt x="10986" y="1863"/>
                  </a:lnTo>
                  <a:lnTo>
                    <a:pt x="10923" y="1779"/>
                  </a:lnTo>
                  <a:lnTo>
                    <a:pt x="10839" y="1716"/>
                  </a:lnTo>
                  <a:lnTo>
                    <a:pt x="10881" y="1591"/>
                  </a:lnTo>
                  <a:lnTo>
                    <a:pt x="10902" y="1381"/>
                  </a:lnTo>
                  <a:lnTo>
                    <a:pt x="10902" y="1235"/>
                  </a:lnTo>
                  <a:lnTo>
                    <a:pt x="10944" y="1151"/>
                  </a:lnTo>
                  <a:lnTo>
                    <a:pt x="10986" y="1047"/>
                  </a:lnTo>
                  <a:lnTo>
                    <a:pt x="10944" y="1026"/>
                  </a:lnTo>
                  <a:lnTo>
                    <a:pt x="10776" y="1026"/>
                  </a:lnTo>
                  <a:lnTo>
                    <a:pt x="10776" y="942"/>
                  </a:lnTo>
                  <a:lnTo>
                    <a:pt x="10735" y="858"/>
                  </a:lnTo>
                  <a:lnTo>
                    <a:pt x="10693" y="837"/>
                  </a:lnTo>
                  <a:lnTo>
                    <a:pt x="10672" y="733"/>
                  </a:lnTo>
                  <a:lnTo>
                    <a:pt x="10588" y="670"/>
                  </a:lnTo>
                  <a:lnTo>
                    <a:pt x="10463" y="628"/>
                  </a:lnTo>
                  <a:lnTo>
                    <a:pt x="10400" y="565"/>
                  </a:lnTo>
                  <a:lnTo>
                    <a:pt x="10358" y="502"/>
                  </a:lnTo>
                  <a:lnTo>
                    <a:pt x="10274" y="335"/>
                  </a:lnTo>
                  <a:lnTo>
                    <a:pt x="10212" y="314"/>
                  </a:lnTo>
                  <a:lnTo>
                    <a:pt x="10086" y="314"/>
                  </a:lnTo>
                  <a:lnTo>
                    <a:pt x="10044" y="398"/>
                  </a:lnTo>
                  <a:lnTo>
                    <a:pt x="9981" y="440"/>
                  </a:lnTo>
                  <a:lnTo>
                    <a:pt x="9877" y="502"/>
                  </a:lnTo>
                  <a:lnTo>
                    <a:pt x="9835" y="502"/>
                  </a:lnTo>
                  <a:lnTo>
                    <a:pt x="9793" y="440"/>
                  </a:lnTo>
                  <a:lnTo>
                    <a:pt x="9584" y="440"/>
                  </a:lnTo>
                  <a:lnTo>
                    <a:pt x="9521" y="502"/>
                  </a:lnTo>
                  <a:lnTo>
                    <a:pt x="9479" y="544"/>
                  </a:lnTo>
                  <a:lnTo>
                    <a:pt x="9416" y="565"/>
                  </a:lnTo>
                  <a:lnTo>
                    <a:pt x="9312" y="523"/>
                  </a:lnTo>
                  <a:lnTo>
                    <a:pt x="9165" y="440"/>
                  </a:lnTo>
                  <a:lnTo>
                    <a:pt x="9124" y="356"/>
                  </a:lnTo>
                  <a:lnTo>
                    <a:pt x="9040" y="335"/>
                  </a:lnTo>
                  <a:lnTo>
                    <a:pt x="8998" y="293"/>
                  </a:lnTo>
                  <a:lnTo>
                    <a:pt x="8956" y="189"/>
                  </a:lnTo>
                  <a:lnTo>
                    <a:pt x="8935" y="147"/>
                  </a:lnTo>
                  <a:lnTo>
                    <a:pt x="8831" y="105"/>
                  </a:lnTo>
                  <a:lnTo>
                    <a:pt x="8705" y="105"/>
                  </a:lnTo>
                  <a:lnTo>
                    <a:pt x="8517" y="189"/>
                  </a:lnTo>
                  <a:lnTo>
                    <a:pt x="8496" y="147"/>
                  </a:lnTo>
                  <a:lnTo>
                    <a:pt x="8266" y="147"/>
                  </a:lnTo>
                  <a:lnTo>
                    <a:pt x="8182" y="105"/>
                  </a:lnTo>
                  <a:lnTo>
                    <a:pt x="8098" y="84"/>
                  </a:lnTo>
                  <a:lnTo>
                    <a:pt x="8056" y="42"/>
                  </a:lnTo>
                  <a:lnTo>
                    <a:pt x="7868" y="42"/>
                  </a:lnTo>
                  <a:lnTo>
                    <a:pt x="778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267" name="Google Shape;6056;p93">
              <a:extLst>
                <a:ext uri="{FF2B5EF4-FFF2-40B4-BE49-F238E27FC236}">
                  <a16:creationId xmlns:a16="http://schemas.microsoft.com/office/drawing/2014/main" id="{3047F745-0B5F-476A-AF7F-7EA3B8DA567C}"/>
                </a:ext>
              </a:extLst>
            </p:cNvPr>
            <p:cNvSpPr/>
            <p:nvPr/>
          </p:nvSpPr>
          <p:spPr>
            <a:xfrm>
              <a:off x="3970326" y="3207451"/>
              <a:ext cx="21934" cy="52837"/>
            </a:xfrm>
            <a:custGeom>
              <a:avLst/>
              <a:gdLst/>
              <a:ahLst/>
              <a:cxnLst/>
              <a:rect l="l" t="t" r="r" b="b"/>
              <a:pathLst>
                <a:path w="1842" h="4646" extrusionOk="0">
                  <a:moveTo>
                    <a:pt x="210" y="0"/>
                  </a:moveTo>
                  <a:lnTo>
                    <a:pt x="189" y="21"/>
                  </a:lnTo>
                  <a:lnTo>
                    <a:pt x="210" y="105"/>
                  </a:lnTo>
                  <a:lnTo>
                    <a:pt x="231" y="126"/>
                  </a:lnTo>
                  <a:lnTo>
                    <a:pt x="273" y="209"/>
                  </a:lnTo>
                  <a:lnTo>
                    <a:pt x="377" y="251"/>
                  </a:lnTo>
                  <a:lnTo>
                    <a:pt x="419" y="272"/>
                  </a:lnTo>
                  <a:lnTo>
                    <a:pt x="419" y="314"/>
                  </a:lnTo>
                  <a:lnTo>
                    <a:pt x="377" y="460"/>
                  </a:lnTo>
                  <a:lnTo>
                    <a:pt x="377" y="523"/>
                  </a:lnTo>
                  <a:lnTo>
                    <a:pt x="482" y="586"/>
                  </a:lnTo>
                  <a:lnTo>
                    <a:pt x="503" y="670"/>
                  </a:lnTo>
                  <a:lnTo>
                    <a:pt x="503" y="795"/>
                  </a:lnTo>
                  <a:lnTo>
                    <a:pt x="482" y="837"/>
                  </a:lnTo>
                  <a:lnTo>
                    <a:pt x="482" y="879"/>
                  </a:lnTo>
                  <a:lnTo>
                    <a:pt x="335" y="1004"/>
                  </a:lnTo>
                  <a:lnTo>
                    <a:pt x="335" y="1088"/>
                  </a:lnTo>
                  <a:lnTo>
                    <a:pt x="377" y="1193"/>
                  </a:lnTo>
                  <a:lnTo>
                    <a:pt x="377" y="1276"/>
                  </a:lnTo>
                  <a:lnTo>
                    <a:pt x="398" y="1360"/>
                  </a:lnTo>
                  <a:lnTo>
                    <a:pt x="335" y="1423"/>
                  </a:lnTo>
                  <a:lnTo>
                    <a:pt x="398" y="1507"/>
                  </a:lnTo>
                  <a:lnTo>
                    <a:pt x="398" y="1590"/>
                  </a:lnTo>
                  <a:lnTo>
                    <a:pt x="335" y="1611"/>
                  </a:lnTo>
                  <a:lnTo>
                    <a:pt x="377" y="1695"/>
                  </a:lnTo>
                  <a:lnTo>
                    <a:pt x="398" y="1737"/>
                  </a:lnTo>
                  <a:lnTo>
                    <a:pt x="440" y="1779"/>
                  </a:lnTo>
                  <a:lnTo>
                    <a:pt x="440" y="1820"/>
                  </a:lnTo>
                  <a:lnTo>
                    <a:pt x="398" y="1820"/>
                  </a:lnTo>
                  <a:lnTo>
                    <a:pt x="377" y="1904"/>
                  </a:lnTo>
                  <a:lnTo>
                    <a:pt x="293" y="1925"/>
                  </a:lnTo>
                  <a:lnTo>
                    <a:pt x="168" y="2030"/>
                  </a:lnTo>
                  <a:lnTo>
                    <a:pt x="126" y="2051"/>
                  </a:lnTo>
                  <a:lnTo>
                    <a:pt x="126" y="2134"/>
                  </a:lnTo>
                  <a:lnTo>
                    <a:pt x="168" y="2197"/>
                  </a:lnTo>
                  <a:lnTo>
                    <a:pt x="126" y="2260"/>
                  </a:lnTo>
                  <a:lnTo>
                    <a:pt x="126" y="2344"/>
                  </a:lnTo>
                  <a:lnTo>
                    <a:pt x="63" y="2448"/>
                  </a:lnTo>
                  <a:lnTo>
                    <a:pt x="1" y="2469"/>
                  </a:lnTo>
                  <a:lnTo>
                    <a:pt x="1" y="2532"/>
                  </a:lnTo>
                  <a:lnTo>
                    <a:pt x="84" y="2636"/>
                  </a:lnTo>
                  <a:lnTo>
                    <a:pt x="126" y="2741"/>
                  </a:lnTo>
                  <a:lnTo>
                    <a:pt x="168" y="2783"/>
                  </a:lnTo>
                  <a:lnTo>
                    <a:pt x="314" y="2762"/>
                  </a:lnTo>
                  <a:lnTo>
                    <a:pt x="335" y="2825"/>
                  </a:lnTo>
                  <a:lnTo>
                    <a:pt x="377" y="2867"/>
                  </a:lnTo>
                  <a:lnTo>
                    <a:pt x="419" y="2929"/>
                  </a:lnTo>
                  <a:lnTo>
                    <a:pt x="419" y="2992"/>
                  </a:lnTo>
                  <a:lnTo>
                    <a:pt x="524" y="3055"/>
                  </a:lnTo>
                  <a:lnTo>
                    <a:pt x="586" y="3034"/>
                  </a:lnTo>
                  <a:lnTo>
                    <a:pt x="628" y="3034"/>
                  </a:lnTo>
                  <a:lnTo>
                    <a:pt x="691" y="2971"/>
                  </a:lnTo>
                  <a:lnTo>
                    <a:pt x="817" y="2971"/>
                  </a:lnTo>
                  <a:lnTo>
                    <a:pt x="963" y="2992"/>
                  </a:lnTo>
                  <a:lnTo>
                    <a:pt x="1026" y="3097"/>
                  </a:lnTo>
                  <a:lnTo>
                    <a:pt x="1026" y="3264"/>
                  </a:lnTo>
                  <a:lnTo>
                    <a:pt x="1005" y="3390"/>
                  </a:lnTo>
                  <a:lnTo>
                    <a:pt x="900" y="3515"/>
                  </a:lnTo>
                  <a:lnTo>
                    <a:pt x="837" y="3662"/>
                  </a:lnTo>
                  <a:lnTo>
                    <a:pt x="796" y="3766"/>
                  </a:lnTo>
                  <a:lnTo>
                    <a:pt x="796" y="3871"/>
                  </a:lnTo>
                  <a:lnTo>
                    <a:pt x="837" y="3996"/>
                  </a:lnTo>
                  <a:lnTo>
                    <a:pt x="837" y="4080"/>
                  </a:lnTo>
                  <a:lnTo>
                    <a:pt x="942" y="4206"/>
                  </a:lnTo>
                  <a:lnTo>
                    <a:pt x="1047" y="4289"/>
                  </a:lnTo>
                  <a:lnTo>
                    <a:pt x="1130" y="4331"/>
                  </a:lnTo>
                  <a:lnTo>
                    <a:pt x="1172" y="4394"/>
                  </a:lnTo>
                  <a:lnTo>
                    <a:pt x="1256" y="4499"/>
                  </a:lnTo>
                  <a:lnTo>
                    <a:pt x="1235" y="4541"/>
                  </a:lnTo>
                  <a:lnTo>
                    <a:pt x="1256" y="4645"/>
                  </a:lnTo>
                  <a:lnTo>
                    <a:pt x="1361" y="4624"/>
                  </a:lnTo>
                  <a:lnTo>
                    <a:pt x="1381" y="4499"/>
                  </a:lnTo>
                  <a:lnTo>
                    <a:pt x="1361" y="4352"/>
                  </a:lnTo>
                  <a:lnTo>
                    <a:pt x="1423" y="4248"/>
                  </a:lnTo>
                  <a:lnTo>
                    <a:pt x="1423" y="4143"/>
                  </a:lnTo>
                  <a:lnTo>
                    <a:pt x="1486" y="3996"/>
                  </a:lnTo>
                  <a:lnTo>
                    <a:pt x="1591" y="3976"/>
                  </a:lnTo>
                  <a:lnTo>
                    <a:pt x="1674" y="3913"/>
                  </a:lnTo>
                  <a:lnTo>
                    <a:pt x="1695" y="3808"/>
                  </a:lnTo>
                  <a:lnTo>
                    <a:pt x="1737" y="3599"/>
                  </a:lnTo>
                  <a:lnTo>
                    <a:pt x="1653" y="3515"/>
                  </a:lnTo>
                  <a:lnTo>
                    <a:pt x="1674" y="3473"/>
                  </a:lnTo>
                  <a:lnTo>
                    <a:pt x="1653" y="3452"/>
                  </a:lnTo>
                  <a:lnTo>
                    <a:pt x="1674" y="3390"/>
                  </a:lnTo>
                  <a:lnTo>
                    <a:pt x="1737" y="3390"/>
                  </a:lnTo>
                  <a:lnTo>
                    <a:pt x="1758" y="3306"/>
                  </a:lnTo>
                  <a:lnTo>
                    <a:pt x="1842" y="3306"/>
                  </a:lnTo>
                  <a:lnTo>
                    <a:pt x="1842" y="3243"/>
                  </a:lnTo>
                  <a:lnTo>
                    <a:pt x="1779" y="3160"/>
                  </a:lnTo>
                  <a:lnTo>
                    <a:pt x="1737" y="3034"/>
                  </a:lnTo>
                  <a:lnTo>
                    <a:pt x="1591" y="2846"/>
                  </a:lnTo>
                  <a:lnTo>
                    <a:pt x="1570" y="2741"/>
                  </a:lnTo>
                  <a:lnTo>
                    <a:pt x="1361" y="2553"/>
                  </a:lnTo>
                  <a:lnTo>
                    <a:pt x="1319" y="2532"/>
                  </a:lnTo>
                  <a:lnTo>
                    <a:pt x="1277" y="2469"/>
                  </a:lnTo>
                  <a:lnTo>
                    <a:pt x="1172" y="2406"/>
                  </a:lnTo>
                  <a:lnTo>
                    <a:pt x="1005" y="2323"/>
                  </a:lnTo>
                  <a:lnTo>
                    <a:pt x="921" y="1779"/>
                  </a:lnTo>
                  <a:lnTo>
                    <a:pt x="942" y="1674"/>
                  </a:lnTo>
                  <a:lnTo>
                    <a:pt x="942" y="691"/>
                  </a:lnTo>
                  <a:lnTo>
                    <a:pt x="921" y="481"/>
                  </a:lnTo>
                  <a:lnTo>
                    <a:pt x="733" y="272"/>
                  </a:lnTo>
                  <a:lnTo>
                    <a:pt x="649" y="209"/>
                  </a:lnTo>
                  <a:lnTo>
                    <a:pt x="607" y="167"/>
                  </a:lnTo>
                  <a:lnTo>
                    <a:pt x="586" y="126"/>
                  </a:lnTo>
                  <a:lnTo>
                    <a:pt x="524" y="126"/>
                  </a:lnTo>
                  <a:lnTo>
                    <a:pt x="503" y="105"/>
                  </a:lnTo>
                  <a:lnTo>
                    <a:pt x="419" y="63"/>
                  </a:lnTo>
                  <a:lnTo>
                    <a:pt x="398" y="105"/>
                  </a:lnTo>
                  <a:lnTo>
                    <a:pt x="377" y="63"/>
                  </a:lnTo>
                  <a:lnTo>
                    <a:pt x="293" y="63"/>
                  </a:lnTo>
                  <a:lnTo>
                    <a:pt x="27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 name="Google Shape;6057;p93">
              <a:extLst>
                <a:ext uri="{FF2B5EF4-FFF2-40B4-BE49-F238E27FC236}">
                  <a16:creationId xmlns:a16="http://schemas.microsoft.com/office/drawing/2014/main" id="{0B8A6F5E-6A57-4657-80DD-2C062B2FEAEE}"/>
                </a:ext>
              </a:extLst>
            </p:cNvPr>
            <p:cNvSpPr/>
            <p:nvPr/>
          </p:nvSpPr>
          <p:spPr>
            <a:xfrm>
              <a:off x="3895082" y="3199593"/>
              <a:ext cx="81233" cy="66165"/>
            </a:xfrm>
            <a:custGeom>
              <a:avLst/>
              <a:gdLst/>
              <a:ahLst/>
              <a:cxnLst/>
              <a:rect l="l" t="t" r="r" b="b"/>
              <a:pathLst>
                <a:path w="6822" h="5818" extrusionOk="0">
                  <a:moveTo>
                    <a:pt x="5085" y="1"/>
                  </a:moveTo>
                  <a:lnTo>
                    <a:pt x="4143" y="210"/>
                  </a:lnTo>
                  <a:lnTo>
                    <a:pt x="3913" y="691"/>
                  </a:lnTo>
                  <a:lnTo>
                    <a:pt x="3934" y="796"/>
                  </a:lnTo>
                  <a:lnTo>
                    <a:pt x="3997" y="858"/>
                  </a:lnTo>
                  <a:lnTo>
                    <a:pt x="4081" y="900"/>
                  </a:lnTo>
                  <a:lnTo>
                    <a:pt x="4039" y="942"/>
                  </a:lnTo>
                  <a:lnTo>
                    <a:pt x="4018" y="1005"/>
                  </a:lnTo>
                  <a:lnTo>
                    <a:pt x="4018" y="1068"/>
                  </a:lnTo>
                  <a:lnTo>
                    <a:pt x="4018" y="1151"/>
                  </a:lnTo>
                  <a:lnTo>
                    <a:pt x="4018" y="1235"/>
                  </a:lnTo>
                  <a:lnTo>
                    <a:pt x="4018" y="1361"/>
                  </a:lnTo>
                  <a:lnTo>
                    <a:pt x="3976" y="1382"/>
                  </a:lnTo>
                  <a:lnTo>
                    <a:pt x="3997" y="1423"/>
                  </a:lnTo>
                  <a:lnTo>
                    <a:pt x="3934" y="1465"/>
                  </a:lnTo>
                  <a:lnTo>
                    <a:pt x="3830" y="1570"/>
                  </a:lnTo>
                  <a:lnTo>
                    <a:pt x="3830" y="1654"/>
                  </a:lnTo>
                  <a:lnTo>
                    <a:pt x="3830" y="1988"/>
                  </a:lnTo>
                  <a:lnTo>
                    <a:pt x="3830" y="2114"/>
                  </a:lnTo>
                  <a:lnTo>
                    <a:pt x="3913" y="2198"/>
                  </a:lnTo>
                  <a:lnTo>
                    <a:pt x="4081" y="2365"/>
                  </a:lnTo>
                  <a:lnTo>
                    <a:pt x="4102" y="2428"/>
                  </a:lnTo>
                  <a:lnTo>
                    <a:pt x="4143" y="2511"/>
                  </a:lnTo>
                  <a:lnTo>
                    <a:pt x="4436" y="2511"/>
                  </a:lnTo>
                  <a:lnTo>
                    <a:pt x="4395" y="2470"/>
                  </a:lnTo>
                  <a:lnTo>
                    <a:pt x="4395" y="2386"/>
                  </a:lnTo>
                  <a:lnTo>
                    <a:pt x="4520" y="2365"/>
                  </a:lnTo>
                  <a:lnTo>
                    <a:pt x="4562" y="2386"/>
                  </a:lnTo>
                  <a:lnTo>
                    <a:pt x="4625" y="3014"/>
                  </a:lnTo>
                  <a:lnTo>
                    <a:pt x="4562" y="3055"/>
                  </a:lnTo>
                  <a:lnTo>
                    <a:pt x="4499" y="3035"/>
                  </a:lnTo>
                  <a:lnTo>
                    <a:pt x="4457" y="3014"/>
                  </a:lnTo>
                  <a:lnTo>
                    <a:pt x="4436" y="2993"/>
                  </a:lnTo>
                  <a:lnTo>
                    <a:pt x="4353" y="3035"/>
                  </a:lnTo>
                  <a:lnTo>
                    <a:pt x="4248" y="3055"/>
                  </a:lnTo>
                  <a:lnTo>
                    <a:pt x="4185" y="3055"/>
                  </a:lnTo>
                  <a:lnTo>
                    <a:pt x="4039" y="2930"/>
                  </a:lnTo>
                  <a:lnTo>
                    <a:pt x="3934" y="2804"/>
                  </a:lnTo>
                  <a:lnTo>
                    <a:pt x="3830" y="2721"/>
                  </a:lnTo>
                  <a:lnTo>
                    <a:pt x="3725" y="2574"/>
                  </a:lnTo>
                  <a:lnTo>
                    <a:pt x="3599" y="2470"/>
                  </a:lnTo>
                  <a:lnTo>
                    <a:pt x="3390" y="2407"/>
                  </a:lnTo>
                  <a:lnTo>
                    <a:pt x="3244" y="2323"/>
                  </a:lnTo>
                  <a:lnTo>
                    <a:pt x="3244" y="2260"/>
                  </a:lnTo>
                  <a:lnTo>
                    <a:pt x="3139" y="2156"/>
                  </a:lnTo>
                  <a:lnTo>
                    <a:pt x="3139" y="1988"/>
                  </a:lnTo>
                  <a:lnTo>
                    <a:pt x="3097" y="1988"/>
                  </a:lnTo>
                  <a:lnTo>
                    <a:pt x="3055" y="2009"/>
                  </a:lnTo>
                  <a:lnTo>
                    <a:pt x="2972" y="2009"/>
                  </a:lnTo>
                  <a:lnTo>
                    <a:pt x="2930" y="2177"/>
                  </a:lnTo>
                  <a:lnTo>
                    <a:pt x="2888" y="2219"/>
                  </a:lnTo>
                  <a:lnTo>
                    <a:pt x="2742" y="2281"/>
                  </a:lnTo>
                  <a:lnTo>
                    <a:pt x="2637" y="2281"/>
                  </a:lnTo>
                  <a:lnTo>
                    <a:pt x="2637" y="2260"/>
                  </a:lnTo>
                  <a:lnTo>
                    <a:pt x="2511" y="2219"/>
                  </a:lnTo>
                  <a:lnTo>
                    <a:pt x="2365" y="2198"/>
                  </a:lnTo>
                  <a:lnTo>
                    <a:pt x="2239" y="2114"/>
                  </a:lnTo>
                  <a:lnTo>
                    <a:pt x="2198" y="2114"/>
                  </a:lnTo>
                  <a:lnTo>
                    <a:pt x="2093" y="2072"/>
                  </a:lnTo>
                  <a:lnTo>
                    <a:pt x="2030" y="2072"/>
                  </a:lnTo>
                  <a:lnTo>
                    <a:pt x="2030" y="2009"/>
                  </a:lnTo>
                  <a:lnTo>
                    <a:pt x="2030" y="1947"/>
                  </a:lnTo>
                  <a:lnTo>
                    <a:pt x="2009" y="1884"/>
                  </a:lnTo>
                  <a:lnTo>
                    <a:pt x="2009" y="1758"/>
                  </a:lnTo>
                  <a:lnTo>
                    <a:pt x="1946" y="1758"/>
                  </a:lnTo>
                  <a:lnTo>
                    <a:pt x="1800" y="1800"/>
                  </a:lnTo>
                  <a:lnTo>
                    <a:pt x="1779" y="1842"/>
                  </a:lnTo>
                  <a:lnTo>
                    <a:pt x="1695" y="1842"/>
                  </a:lnTo>
                  <a:lnTo>
                    <a:pt x="1612" y="1884"/>
                  </a:lnTo>
                  <a:lnTo>
                    <a:pt x="1528" y="1947"/>
                  </a:lnTo>
                  <a:lnTo>
                    <a:pt x="1507" y="1905"/>
                  </a:lnTo>
                  <a:lnTo>
                    <a:pt x="1486" y="1884"/>
                  </a:lnTo>
                  <a:lnTo>
                    <a:pt x="1486" y="1779"/>
                  </a:lnTo>
                  <a:lnTo>
                    <a:pt x="1465" y="1758"/>
                  </a:lnTo>
                  <a:lnTo>
                    <a:pt x="1361" y="1695"/>
                  </a:lnTo>
                  <a:lnTo>
                    <a:pt x="1298" y="1737"/>
                  </a:lnTo>
                  <a:lnTo>
                    <a:pt x="1256" y="1674"/>
                  </a:lnTo>
                  <a:lnTo>
                    <a:pt x="1256" y="1695"/>
                  </a:lnTo>
                  <a:lnTo>
                    <a:pt x="1256" y="1758"/>
                  </a:lnTo>
                  <a:lnTo>
                    <a:pt x="1214" y="1779"/>
                  </a:lnTo>
                  <a:lnTo>
                    <a:pt x="1256" y="2009"/>
                  </a:lnTo>
                  <a:lnTo>
                    <a:pt x="1256" y="2219"/>
                  </a:lnTo>
                  <a:lnTo>
                    <a:pt x="1256" y="2365"/>
                  </a:lnTo>
                  <a:lnTo>
                    <a:pt x="1298" y="2470"/>
                  </a:lnTo>
                  <a:lnTo>
                    <a:pt x="1298" y="2574"/>
                  </a:lnTo>
                  <a:lnTo>
                    <a:pt x="1277" y="2616"/>
                  </a:lnTo>
                  <a:lnTo>
                    <a:pt x="1256" y="2783"/>
                  </a:lnTo>
                  <a:lnTo>
                    <a:pt x="1277" y="2825"/>
                  </a:lnTo>
                  <a:lnTo>
                    <a:pt x="42" y="2825"/>
                  </a:lnTo>
                  <a:lnTo>
                    <a:pt x="1" y="4771"/>
                  </a:lnTo>
                  <a:lnTo>
                    <a:pt x="22" y="4813"/>
                  </a:lnTo>
                  <a:lnTo>
                    <a:pt x="105" y="4918"/>
                  </a:lnTo>
                  <a:lnTo>
                    <a:pt x="168" y="4980"/>
                  </a:lnTo>
                  <a:lnTo>
                    <a:pt x="231" y="5043"/>
                  </a:lnTo>
                  <a:lnTo>
                    <a:pt x="314" y="5085"/>
                  </a:lnTo>
                  <a:lnTo>
                    <a:pt x="419" y="5232"/>
                  </a:lnTo>
                  <a:lnTo>
                    <a:pt x="482" y="5294"/>
                  </a:lnTo>
                  <a:lnTo>
                    <a:pt x="566" y="5336"/>
                  </a:lnTo>
                  <a:lnTo>
                    <a:pt x="628" y="5399"/>
                  </a:lnTo>
                  <a:lnTo>
                    <a:pt x="670" y="5462"/>
                  </a:lnTo>
                  <a:lnTo>
                    <a:pt x="754" y="5504"/>
                  </a:lnTo>
                  <a:lnTo>
                    <a:pt x="775" y="5608"/>
                  </a:lnTo>
                  <a:lnTo>
                    <a:pt x="1319" y="5462"/>
                  </a:lnTo>
                  <a:lnTo>
                    <a:pt x="1402" y="5504"/>
                  </a:lnTo>
                  <a:lnTo>
                    <a:pt x="1528" y="5441"/>
                  </a:lnTo>
                  <a:lnTo>
                    <a:pt x="1570" y="5462"/>
                  </a:lnTo>
                  <a:lnTo>
                    <a:pt x="1591" y="5462"/>
                  </a:lnTo>
                  <a:lnTo>
                    <a:pt x="1612" y="5504"/>
                  </a:lnTo>
                  <a:lnTo>
                    <a:pt x="1695" y="5504"/>
                  </a:lnTo>
                  <a:lnTo>
                    <a:pt x="1716" y="5524"/>
                  </a:lnTo>
                  <a:lnTo>
                    <a:pt x="1737" y="5524"/>
                  </a:lnTo>
                  <a:lnTo>
                    <a:pt x="1821" y="5629"/>
                  </a:lnTo>
                  <a:lnTo>
                    <a:pt x="1884" y="5629"/>
                  </a:lnTo>
                  <a:lnTo>
                    <a:pt x="2030" y="5650"/>
                  </a:lnTo>
                  <a:lnTo>
                    <a:pt x="2135" y="5713"/>
                  </a:lnTo>
                  <a:lnTo>
                    <a:pt x="2198" y="5755"/>
                  </a:lnTo>
                  <a:lnTo>
                    <a:pt x="2239" y="5755"/>
                  </a:lnTo>
                  <a:lnTo>
                    <a:pt x="2344" y="5671"/>
                  </a:lnTo>
                  <a:lnTo>
                    <a:pt x="2470" y="5650"/>
                  </a:lnTo>
                  <a:lnTo>
                    <a:pt x="2532" y="5713"/>
                  </a:lnTo>
                  <a:lnTo>
                    <a:pt x="2553" y="5671"/>
                  </a:lnTo>
                  <a:lnTo>
                    <a:pt x="2574" y="5713"/>
                  </a:lnTo>
                  <a:lnTo>
                    <a:pt x="2616" y="5713"/>
                  </a:lnTo>
                  <a:lnTo>
                    <a:pt x="2679" y="5776"/>
                  </a:lnTo>
                  <a:lnTo>
                    <a:pt x="2783" y="5817"/>
                  </a:lnTo>
                  <a:lnTo>
                    <a:pt x="2951" y="5755"/>
                  </a:lnTo>
                  <a:lnTo>
                    <a:pt x="3139" y="5504"/>
                  </a:lnTo>
                  <a:lnTo>
                    <a:pt x="3390" y="5190"/>
                  </a:lnTo>
                  <a:lnTo>
                    <a:pt x="3725" y="4939"/>
                  </a:lnTo>
                  <a:lnTo>
                    <a:pt x="3934" y="4876"/>
                  </a:lnTo>
                  <a:lnTo>
                    <a:pt x="3976" y="4834"/>
                  </a:lnTo>
                  <a:lnTo>
                    <a:pt x="3997" y="4792"/>
                  </a:lnTo>
                  <a:lnTo>
                    <a:pt x="3976" y="4729"/>
                  </a:lnTo>
                  <a:lnTo>
                    <a:pt x="3997" y="4687"/>
                  </a:lnTo>
                  <a:lnTo>
                    <a:pt x="3997" y="4625"/>
                  </a:lnTo>
                  <a:lnTo>
                    <a:pt x="4039" y="4562"/>
                  </a:lnTo>
                  <a:lnTo>
                    <a:pt x="4206" y="4457"/>
                  </a:lnTo>
                  <a:lnTo>
                    <a:pt x="4290" y="4415"/>
                  </a:lnTo>
                  <a:lnTo>
                    <a:pt x="4353" y="4395"/>
                  </a:lnTo>
                  <a:lnTo>
                    <a:pt x="4499" y="4353"/>
                  </a:lnTo>
                  <a:lnTo>
                    <a:pt x="4646" y="4353"/>
                  </a:lnTo>
                  <a:lnTo>
                    <a:pt x="4667" y="4395"/>
                  </a:lnTo>
                  <a:lnTo>
                    <a:pt x="4729" y="4374"/>
                  </a:lnTo>
                  <a:lnTo>
                    <a:pt x="4855" y="4395"/>
                  </a:lnTo>
                  <a:lnTo>
                    <a:pt x="4918" y="4395"/>
                  </a:lnTo>
                  <a:lnTo>
                    <a:pt x="4918" y="4311"/>
                  </a:lnTo>
                  <a:lnTo>
                    <a:pt x="4876" y="4143"/>
                  </a:lnTo>
                  <a:lnTo>
                    <a:pt x="4918" y="4060"/>
                  </a:lnTo>
                  <a:lnTo>
                    <a:pt x="5148" y="3955"/>
                  </a:lnTo>
                  <a:lnTo>
                    <a:pt x="5273" y="3955"/>
                  </a:lnTo>
                  <a:lnTo>
                    <a:pt x="5859" y="3683"/>
                  </a:lnTo>
                  <a:lnTo>
                    <a:pt x="5964" y="3662"/>
                  </a:lnTo>
                  <a:lnTo>
                    <a:pt x="6299" y="3537"/>
                  </a:lnTo>
                  <a:lnTo>
                    <a:pt x="6487" y="3474"/>
                  </a:lnTo>
                  <a:lnTo>
                    <a:pt x="6445" y="3432"/>
                  </a:lnTo>
                  <a:lnTo>
                    <a:pt x="6403" y="3327"/>
                  </a:lnTo>
                  <a:lnTo>
                    <a:pt x="6320" y="3223"/>
                  </a:lnTo>
                  <a:lnTo>
                    <a:pt x="6320" y="3160"/>
                  </a:lnTo>
                  <a:lnTo>
                    <a:pt x="6382" y="3139"/>
                  </a:lnTo>
                  <a:lnTo>
                    <a:pt x="6445" y="3035"/>
                  </a:lnTo>
                  <a:lnTo>
                    <a:pt x="6445" y="2951"/>
                  </a:lnTo>
                  <a:lnTo>
                    <a:pt x="6487" y="2888"/>
                  </a:lnTo>
                  <a:lnTo>
                    <a:pt x="6445" y="2825"/>
                  </a:lnTo>
                  <a:lnTo>
                    <a:pt x="6445" y="2742"/>
                  </a:lnTo>
                  <a:lnTo>
                    <a:pt x="6487" y="2721"/>
                  </a:lnTo>
                  <a:lnTo>
                    <a:pt x="6612" y="2616"/>
                  </a:lnTo>
                  <a:lnTo>
                    <a:pt x="6696" y="2595"/>
                  </a:lnTo>
                  <a:lnTo>
                    <a:pt x="6717" y="2511"/>
                  </a:lnTo>
                  <a:lnTo>
                    <a:pt x="6759" y="2511"/>
                  </a:lnTo>
                  <a:lnTo>
                    <a:pt x="6759" y="2470"/>
                  </a:lnTo>
                  <a:lnTo>
                    <a:pt x="6717" y="2428"/>
                  </a:lnTo>
                  <a:lnTo>
                    <a:pt x="6696" y="2386"/>
                  </a:lnTo>
                  <a:lnTo>
                    <a:pt x="6654" y="2302"/>
                  </a:lnTo>
                  <a:lnTo>
                    <a:pt x="6717" y="2281"/>
                  </a:lnTo>
                  <a:lnTo>
                    <a:pt x="6717" y="2198"/>
                  </a:lnTo>
                  <a:lnTo>
                    <a:pt x="6654" y="2114"/>
                  </a:lnTo>
                  <a:lnTo>
                    <a:pt x="6717" y="2051"/>
                  </a:lnTo>
                  <a:lnTo>
                    <a:pt x="6696" y="1967"/>
                  </a:lnTo>
                  <a:lnTo>
                    <a:pt x="6696" y="1884"/>
                  </a:lnTo>
                  <a:lnTo>
                    <a:pt x="6654" y="1779"/>
                  </a:lnTo>
                  <a:lnTo>
                    <a:pt x="6654" y="1695"/>
                  </a:lnTo>
                  <a:lnTo>
                    <a:pt x="6801" y="1570"/>
                  </a:lnTo>
                  <a:lnTo>
                    <a:pt x="6801" y="1528"/>
                  </a:lnTo>
                  <a:lnTo>
                    <a:pt x="6822" y="1486"/>
                  </a:lnTo>
                  <a:lnTo>
                    <a:pt x="6822" y="1361"/>
                  </a:lnTo>
                  <a:lnTo>
                    <a:pt x="6801" y="1277"/>
                  </a:lnTo>
                  <a:lnTo>
                    <a:pt x="6696" y="1214"/>
                  </a:lnTo>
                  <a:lnTo>
                    <a:pt x="6696" y="1151"/>
                  </a:lnTo>
                  <a:lnTo>
                    <a:pt x="6738" y="1005"/>
                  </a:lnTo>
                  <a:lnTo>
                    <a:pt x="6738" y="963"/>
                  </a:lnTo>
                  <a:lnTo>
                    <a:pt x="6696" y="942"/>
                  </a:lnTo>
                  <a:lnTo>
                    <a:pt x="6592" y="900"/>
                  </a:lnTo>
                  <a:lnTo>
                    <a:pt x="6550" y="817"/>
                  </a:lnTo>
                  <a:lnTo>
                    <a:pt x="6529" y="796"/>
                  </a:lnTo>
                  <a:lnTo>
                    <a:pt x="6508" y="712"/>
                  </a:lnTo>
                  <a:lnTo>
                    <a:pt x="6508" y="691"/>
                  </a:lnTo>
                  <a:lnTo>
                    <a:pt x="6445" y="691"/>
                  </a:lnTo>
                  <a:lnTo>
                    <a:pt x="6340" y="586"/>
                  </a:lnTo>
                  <a:lnTo>
                    <a:pt x="6299" y="503"/>
                  </a:lnTo>
                  <a:lnTo>
                    <a:pt x="6236" y="482"/>
                  </a:lnTo>
                  <a:lnTo>
                    <a:pt x="6194" y="419"/>
                  </a:lnTo>
                  <a:lnTo>
                    <a:pt x="6110" y="419"/>
                  </a:lnTo>
                  <a:lnTo>
                    <a:pt x="5859" y="335"/>
                  </a:lnTo>
                  <a:lnTo>
                    <a:pt x="5755" y="335"/>
                  </a:lnTo>
                  <a:lnTo>
                    <a:pt x="5671" y="273"/>
                  </a:lnTo>
                  <a:lnTo>
                    <a:pt x="5671" y="210"/>
                  </a:lnTo>
                  <a:lnTo>
                    <a:pt x="5587" y="168"/>
                  </a:lnTo>
                  <a:lnTo>
                    <a:pt x="5545" y="168"/>
                  </a:lnTo>
                  <a:lnTo>
                    <a:pt x="5441" y="126"/>
                  </a:lnTo>
                  <a:lnTo>
                    <a:pt x="5357" y="126"/>
                  </a:lnTo>
                  <a:lnTo>
                    <a:pt x="5169" y="22"/>
                  </a:lnTo>
                  <a:lnTo>
                    <a:pt x="508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 name="Google Shape;6058;p93">
              <a:extLst>
                <a:ext uri="{FF2B5EF4-FFF2-40B4-BE49-F238E27FC236}">
                  <a16:creationId xmlns:a16="http://schemas.microsoft.com/office/drawing/2014/main" id="{08F50087-F283-4A48-9116-4FD30970DE08}"/>
                </a:ext>
              </a:extLst>
            </p:cNvPr>
            <p:cNvSpPr/>
            <p:nvPr/>
          </p:nvSpPr>
          <p:spPr>
            <a:xfrm>
              <a:off x="3824328" y="3184365"/>
              <a:ext cx="86210" cy="81393"/>
            </a:xfrm>
            <a:custGeom>
              <a:avLst/>
              <a:gdLst/>
              <a:ahLst/>
              <a:cxnLst/>
              <a:rect l="l" t="t" r="r" b="b"/>
              <a:pathLst>
                <a:path w="7240" h="7157" extrusionOk="0">
                  <a:moveTo>
                    <a:pt x="963" y="0"/>
                  </a:moveTo>
                  <a:lnTo>
                    <a:pt x="879" y="42"/>
                  </a:lnTo>
                  <a:lnTo>
                    <a:pt x="774" y="63"/>
                  </a:lnTo>
                  <a:lnTo>
                    <a:pt x="712" y="63"/>
                  </a:lnTo>
                  <a:lnTo>
                    <a:pt x="670" y="84"/>
                  </a:lnTo>
                  <a:lnTo>
                    <a:pt x="670" y="105"/>
                  </a:lnTo>
                  <a:lnTo>
                    <a:pt x="649" y="105"/>
                  </a:lnTo>
                  <a:lnTo>
                    <a:pt x="502" y="189"/>
                  </a:lnTo>
                  <a:lnTo>
                    <a:pt x="544" y="273"/>
                  </a:lnTo>
                  <a:lnTo>
                    <a:pt x="544" y="356"/>
                  </a:lnTo>
                  <a:lnTo>
                    <a:pt x="858" y="712"/>
                  </a:lnTo>
                  <a:lnTo>
                    <a:pt x="879" y="1151"/>
                  </a:lnTo>
                  <a:lnTo>
                    <a:pt x="1046" y="1402"/>
                  </a:lnTo>
                  <a:lnTo>
                    <a:pt x="1026" y="1633"/>
                  </a:lnTo>
                  <a:lnTo>
                    <a:pt x="837" y="1863"/>
                  </a:lnTo>
                  <a:lnTo>
                    <a:pt x="942" y="1925"/>
                  </a:lnTo>
                  <a:lnTo>
                    <a:pt x="942" y="2135"/>
                  </a:lnTo>
                  <a:lnTo>
                    <a:pt x="1046" y="2260"/>
                  </a:lnTo>
                  <a:lnTo>
                    <a:pt x="1046" y="2407"/>
                  </a:lnTo>
                  <a:lnTo>
                    <a:pt x="1256" y="2783"/>
                  </a:lnTo>
                  <a:lnTo>
                    <a:pt x="1256" y="2867"/>
                  </a:lnTo>
                  <a:lnTo>
                    <a:pt x="1339" y="2972"/>
                  </a:lnTo>
                  <a:lnTo>
                    <a:pt x="1339" y="3453"/>
                  </a:lnTo>
                  <a:lnTo>
                    <a:pt x="1088" y="3871"/>
                  </a:lnTo>
                  <a:lnTo>
                    <a:pt x="1026" y="3871"/>
                  </a:lnTo>
                  <a:lnTo>
                    <a:pt x="754" y="4081"/>
                  </a:lnTo>
                  <a:lnTo>
                    <a:pt x="754" y="4227"/>
                  </a:lnTo>
                  <a:lnTo>
                    <a:pt x="440" y="4499"/>
                  </a:lnTo>
                  <a:lnTo>
                    <a:pt x="440" y="4687"/>
                  </a:lnTo>
                  <a:lnTo>
                    <a:pt x="398" y="4750"/>
                  </a:lnTo>
                  <a:lnTo>
                    <a:pt x="398" y="5210"/>
                  </a:lnTo>
                  <a:lnTo>
                    <a:pt x="230" y="5399"/>
                  </a:lnTo>
                  <a:lnTo>
                    <a:pt x="210" y="5608"/>
                  </a:lnTo>
                  <a:lnTo>
                    <a:pt x="42" y="5796"/>
                  </a:lnTo>
                  <a:lnTo>
                    <a:pt x="42" y="6006"/>
                  </a:lnTo>
                  <a:lnTo>
                    <a:pt x="21" y="6173"/>
                  </a:lnTo>
                  <a:lnTo>
                    <a:pt x="21" y="6466"/>
                  </a:lnTo>
                  <a:lnTo>
                    <a:pt x="0" y="6654"/>
                  </a:lnTo>
                  <a:lnTo>
                    <a:pt x="21" y="6696"/>
                  </a:lnTo>
                  <a:lnTo>
                    <a:pt x="105" y="6738"/>
                  </a:lnTo>
                  <a:lnTo>
                    <a:pt x="126" y="6759"/>
                  </a:lnTo>
                  <a:lnTo>
                    <a:pt x="189" y="6738"/>
                  </a:lnTo>
                  <a:lnTo>
                    <a:pt x="210" y="6654"/>
                  </a:lnTo>
                  <a:lnTo>
                    <a:pt x="398" y="6654"/>
                  </a:lnTo>
                  <a:lnTo>
                    <a:pt x="461" y="6696"/>
                  </a:lnTo>
                  <a:lnTo>
                    <a:pt x="523" y="6675"/>
                  </a:lnTo>
                  <a:lnTo>
                    <a:pt x="523" y="6591"/>
                  </a:lnTo>
                  <a:lnTo>
                    <a:pt x="712" y="6466"/>
                  </a:lnTo>
                  <a:lnTo>
                    <a:pt x="754" y="6466"/>
                  </a:lnTo>
                  <a:lnTo>
                    <a:pt x="858" y="6529"/>
                  </a:lnTo>
                  <a:lnTo>
                    <a:pt x="879" y="6529"/>
                  </a:lnTo>
                  <a:lnTo>
                    <a:pt x="921" y="6487"/>
                  </a:lnTo>
                  <a:lnTo>
                    <a:pt x="963" y="6466"/>
                  </a:lnTo>
                  <a:lnTo>
                    <a:pt x="1046" y="6529"/>
                  </a:lnTo>
                  <a:lnTo>
                    <a:pt x="1046" y="6550"/>
                  </a:lnTo>
                  <a:lnTo>
                    <a:pt x="1130" y="6571"/>
                  </a:lnTo>
                  <a:lnTo>
                    <a:pt x="1088" y="6633"/>
                  </a:lnTo>
                  <a:lnTo>
                    <a:pt x="1151" y="6654"/>
                  </a:lnTo>
                  <a:lnTo>
                    <a:pt x="1256" y="6759"/>
                  </a:lnTo>
                  <a:lnTo>
                    <a:pt x="1381" y="6801"/>
                  </a:lnTo>
                  <a:lnTo>
                    <a:pt x="1486" y="6759"/>
                  </a:lnTo>
                  <a:lnTo>
                    <a:pt x="1507" y="6759"/>
                  </a:lnTo>
                  <a:lnTo>
                    <a:pt x="1590" y="6696"/>
                  </a:lnTo>
                  <a:lnTo>
                    <a:pt x="1653" y="6696"/>
                  </a:lnTo>
                  <a:lnTo>
                    <a:pt x="1674" y="6738"/>
                  </a:lnTo>
                  <a:lnTo>
                    <a:pt x="3850" y="6738"/>
                  </a:lnTo>
                  <a:lnTo>
                    <a:pt x="3871" y="6759"/>
                  </a:lnTo>
                  <a:lnTo>
                    <a:pt x="3913" y="6863"/>
                  </a:lnTo>
                  <a:lnTo>
                    <a:pt x="3976" y="6905"/>
                  </a:lnTo>
                  <a:lnTo>
                    <a:pt x="4101" y="6968"/>
                  </a:lnTo>
                  <a:lnTo>
                    <a:pt x="4206" y="6989"/>
                  </a:lnTo>
                  <a:lnTo>
                    <a:pt x="4311" y="6968"/>
                  </a:lnTo>
                  <a:lnTo>
                    <a:pt x="4373" y="6989"/>
                  </a:lnTo>
                  <a:lnTo>
                    <a:pt x="4394" y="7052"/>
                  </a:lnTo>
                  <a:lnTo>
                    <a:pt x="4478" y="7073"/>
                  </a:lnTo>
                  <a:lnTo>
                    <a:pt x="4541" y="7010"/>
                  </a:lnTo>
                  <a:lnTo>
                    <a:pt x="4645" y="6989"/>
                  </a:lnTo>
                  <a:lnTo>
                    <a:pt x="4792" y="7010"/>
                  </a:lnTo>
                  <a:lnTo>
                    <a:pt x="4855" y="7010"/>
                  </a:lnTo>
                  <a:lnTo>
                    <a:pt x="4896" y="6947"/>
                  </a:lnTo>
                  <a:lnTo>
                    <a:pt x="4917" y="6968"/>
                  </a:lnTo>
                  <a:lnTo>
                    <a:pt x="4959" y="6968"/>
                  </a:lnTo>
                  <a:lnTo>
                    <a:pt x="5106" y="7094"/>
                  </a:lnTo>
                  <a:lnTo>
                    <a:pt x="5210" y="7115"/>
                  </a:lnTo>
                  <a:lnTo>
                    <a:pt x="5357" y="7115"/>
                  </a:lnTo>
                  <a:lnTo>
                    <a:pt x="5357" y="7073"/>
                  </a:lnTo>
                  <a:lnTo>
                    <a:pt x="5440" y="7052"/>
                  </a:lnTo>
                  <a:lnTo>
                    <a:pt x="5482" y="7073"/>
                  </a:lnTo>
                  <a:lnTo>
                    <a:pt x="5545" y="7094"/>
                  </a:lnTo>
                  <a:lnTo>
                    <a:pt x="5587" y="7073"/>
                  </a:lnTo>
                  <a:lnTo>
                    <a:pt x="5629" y="7115"/>
                  </a:lnTo>
                  <a:lnTo>
                    <a:pt x="5671" y="7115"/>
                  </a:lnTo>
                  <a:lnTo>
                    <a:pt x="5692" y="7156"/>
                  </a:lnTo>
                  <a:lnTo>
                    <a:pt x="5838" y="7156"/>
                  </a:lnTo>
                  <a:lnTo>
                    <a:pt x="6717" y="6947"/>
                  </a:lnTo>
                  <a:lnTo>
                    <a:pt x="6696" y="6843"/>
                  </a:lnTo>
                  <a:lnTo>
                    <a:pt x="6612" y="6801"/>
                  </a:lnTo>
                  <a:lnTo>
                    <a:pt x="6570" y="6738"/>
                  </a:lnTo>
                  <a:lnTo>
                    <a:pt x="6508" y="6675"/>
                  </a:lnTo>
                  <a:lnTo>
                    <a:pt x="6424" y="6633"/>
                  </a:lnTo>
                  <a:lnTo>
                    <a:pt x="6361" y="6571"/>
                  </a:lnTo>
                  <a:lnTo>
                    <a:pt x="6256" y="6424"/>
                  </a:lnTo>
                  <a:lnTo>
                    <a:pt x="6173" y="6382"/>
                  </a:lnTo>
                  <a:lnTo>
                    <a:pt x="6110" y="6319"/>
                  </a:lnTo>
                  <a:lnTo>
                    <a:pt x="6047" y="6257"/>
                  </a:lnTo>
                  <a:lnTo>
                    <a:pt x="5964" y="6152"/>
                  </a:lnTo>
                  <a:lnTo>
                    <a:pt x="5943" y="6110"/>
                  </a:lnTo>
                  <a:lnTo>
                    <a:pt x="5984" y="4164"/>
                  </a:lnTo>
                  <a:lnTo>
                    <a:pt x="7219" y="4164"/>
                  </a:lnTo>
                  <a:lnTo>
                    <a:pt x="7198" y="4122"/>
                  </a:lnTo>
                  <a:lnTo>
                    <a:pt x="7219" y="3955"/>
                  </a:lnTo>
                  <a:lnTo>
                    <a:pt x="7240" y="3913"/>
                  </a:lnTo>
                  <a:lnTo>
                    <a:pt x="7240" y="3809"/>
                  </a:lnTo>
                  <a:lnTo>
                    <a:pt x="7198" y="3704"/>
                  </a:lnTo>
                  <a:lnTo>
                    <a:pt x="7198" y="3558"/>
                  </a:lnTo>
                  <a:lnTo>
                    <a:pt x="7198" y="3348"/>
                  </a:lnTo>
                  <a:lnTo>
                    <a:pt x="7156" y="3118"/>
                  </a:lnTo>
                  <a:lnTo>
                    <a:pt x="7198" y="3097"/>
                  </a:lnTo>
                  <a:lnTo>
                    <a:pt x="7198" y="3034"/>
                  </a:lnTo>
                  <a:lnTo>
                    <a:pt x="7198" y="3013"/>
                  </a:lnTo>
                  <a:lnTo>
                    <a:pt x="7093" y="3013"/>
                  </a:lnTo>
                  <a:lnTo>
                    <a:pt x="6989" y="3034"/>
                  </a:lnTo>
                  <a:lnTo>
                    <a:pt x="6905" y="3097"/>
                  </a:lnTo>
                  <a:lnTo>
                    <a:pt x="6821" y="3118"/>
                  </a:lnTo>
                  <a:lnTo>
                    <a:pt x="6780" y="3139"/>
                  </a:lnTo>
                  <a:lnTo>
                    <a:pt x="6717" y="3118"/>
                  </a:lnTo>
                  <a:lnTo>
                    <a:pt x="6570" y="3118"/>
                  </a:lnTo>
                  <a:lnTo>
                    <a:pt x="6508" y="3097"/>
                  </a:lnTo>
                  <a:lnTo>
                    <a:pt x="6424" y="3034"/>
                  </a:lnTo>
                  <a:lnTo>
                    <a:pt x="6382" y="3034"/>
                  </a:lnTo>
                  <a:lnTo>
                    <a:pt x="6361" y="3076"/>
                  </a:lnTo>
                  <a:lnTo>
                    <a:pt x="6298" y="3097"/>
                  </a:lnTo>
                  <a:lnTo>
                    <a:pt x="6256" y="3118"/>
                  </a:lnTo>
                  <a:lnTo>
                    <a:pt x="6194" y="3118"/>
                  </a:lnTo>
                  <a:lnTo>
                    <a:pt x="6173" y="3097"/>
                  </a:lnTo>
                  <a:lnTo>
                    <a:pt x="6173" y="2972"/>
                  </a:lnTo>
                  <a:lnTo>
                    <a:pt x="6215" y="2930"/>
                  </a:lnTo>
                  <a:lnTo>
                    <a:pt x="6215" y="2909"/>
                  </a:lnTo>
                  <a:lnTo>
                    <a:pt x="6256" y="2825"/>
                  </a:lnTo>
                  <a:lnTo>
                    <a:pt x="6173" y="2783"/>
                  </a:lnTo>
                  <a:lnTo>
                    <a:pt x="6173" y="2658"/>
                  </a:lnTo>
                  <a:lnTo>
                    <a:pt x="6194" y="2616"/>
                  </a:lnTo>
                  <a:lnTo>
                    <a:pt x="6194" y="2553"/>
                  </a:lnTo>
                  <a:lnTo>
                    <a:pt x="6110" y="2490"/>
                  </a:lnTo>
                  <a:lnTo>
                    <a:pt x="6110" y="2407"/>
                  </a:lnTo>
                  <a:lnTo>
                    <a:pt x="6152" y="2344"/>
                  </a:lnTo>
                  <a:lnTo>
                    <a:pt x="6110" y="2281"/>
                  </a:lnTo>
                  <a:lnTo>
                    <a:pt x="6068" y="2260"/>
                  </a:lnTo>
                  <a:lnTo>
                    <a:pt x="6047" y="2197"/>
                  </a:lnTo>
                  <a:lnTo>
                    <a:pt x="6005" y="2177"/>
                  </a:lnTo>
                  <a:lnTo>
                    <a:pt x="6005" y="2093"/>
                  </a:lnTo>
                  <a:lnTo>
                    <a:pt x="5964" y="2051"/>
                  </a:lnTo>
                  <a:lnTo>
                    <a:pt x="5964" y="1967"/>
                  </a:lnTo>
                  <a:lnTo>
                    <a:pt x="5901" y="1925"/>
                  </a:lnTo>
                  <a:lnTo>
                    <a:pt x="5964" y="1821"/>
                  </a:lnTo>
                  <a:lnTo>
                    <a:pt x="5964" y="1612"/>
                  </a:lnTo>
                  <a:lnTo>
                    <a:pt x="5943" y="1528"/>
                  </a:lnTo>
                  <a:lnTo>
                    <a:pt x="5943" y="1507"/>
                  </a:lnTo>
                  <a:lnTo>
                    <a:pt x="5964" y="1444"/>
                  </a:lnTo>
                  <a:lnTo>
                    <a:pt x="5964" y="1361"/>
                  </a:lnTo>
                  <a:lnTo>
                    <a:pt x="5901" y="1298"/>
                  </a:lnTo>
                  <a:lnTo>
                    <a:pt x="5943" y="1193"/>
                  </a:lnTo>
                  <a:lnTo>
                    <a:pt x="5984" y="1089"/>
                  </a:lnTo>
                  <a:lnTo>
                    <a:pt x="5984" y="1005"/>
                  </a:lnTo>
                  <a:lnTo>
                    <a:pt x="5984" y="921"/>
                  </a:lnTo>
                  <a:lnTo>
                    <a:pt x="5964" y="837"/>
                  </a:lnTo>
                  <a:lnTo>
                    <a:pt x="5315" y="796"/>
                  </a:lnTo>
                  <a:lnTo>
                    <a:pt x="5273" y="733"/>
                  </a:lnTo>
                  <a:lnTo>
                    <a:pt x="5315" y="691"/>
                  </a:lnTo>
                  <a:lnTo>
                    <a:pt x="5336" y="607"/>
                  </a:lnTo>
                  <a:lnTo>
                    <a:pt x="5147" y="586"/>
                  </a:lnTo>
                  <a:lnTo>
                    <a:pt x="5147" y="628"/>
                  </a:lnTo>
                  <a:lnTo>
                    <a:pt x="4583" y="670"/>
                  </a:lnTo>
                  <a:lnTo>
                    <a:pt x="4583" y="817"/>
                  </a:lnTo>
                  <a:lnTo>
                    <a:pt x="4520" y="921"/>
                  </a:lnTo>
                  <a:lnTo>
                    <a:pt x="4478" y="942"/>
                  </a:lnTo>
                  <a:lnTo>
                    <a:pt x="4499" y="1047"/>
                  </a:lnTo>
                  <a:lnTo>
                    <a:pt x="4499" y="1214"/>
                  </a:lnTo>
                  <a:lnTo>
                    <a:pt x="4059" y="1235"/>
                  </a:lnTo>
                  <a:lnTo>
                    <a:pt x="3976" y="1298"/>
                  </a:lnTo>
                  <a:lnTo>
                    <a:pt x="3787" y="1256"/>
                  </a:lnTo>
                  <a:lnTo>
                    <a:pt x="3704" y="1235"/>
                  </a:lnTo>
                  <a:lnTo>
                    <a:pt x="3599" y="1256"/>
                  </a:lnTo>
                  <a:lnTo>
                    <a:pt x="3453" y="1256"/>
                  </a:lnTo>
                  <a:lnTo>
                    <a:pt x="3390" y="1235"/>
                  </a:lnTo>
                  <a:lnTo>
                    <a:pt x="3369" y="1026"/>
                  </a:lnTo>
                  <a:lnTo>
                    <a:pt x="3285" y="921"/>
                  </a:lnTo>
                  <a:lnTo>
                    <a:pt x="3243" y="837"/>
                  </a:lnTo>
                  <a:lnTo>
                    <a:pt x="3181" y="817"/>
                  </a:lnTo>
                  <a:lnTo>
                    <a:pt x="3181" y="733"/>
                  </a:lnTo>
                  <a:lnTo>
                    <a:pt x="3160" y="691"/>
                  </a:lnTo>
                  <a:lnTo>
                    <a:pt x="3139" y="565"/>
                  </a:lnTo>
                  <a:lnTo>
                    <a:pt x="3076" y="461"/>
                  </a:lnTo>
                  <a:lnTo>
                    <a:pt x="3076" y="377"/>
                  </a:lnTo>
                  <a:lnTo>
                    <a:pt x="3118" y="314"/>
                  </a:lnTo>
                  <a:lnTo>
                    <a:pt x="3076" y="252"/>
                  </a:lnTo>
                  <a:lnTo>
                    <a:pt x="3034" y="189"/>
                  </a:lnTo>
                  <a:lnTo>
                    <a:pt x="3034" y="105"/>
                  </a:lnTo>
                  <a:lnTo>
                    <a:pt x="3034" y="84"/>
                  </a:lnTo>
                  <a:lnTo>
                    <a:pt x="3034" y="0"/>
                  </a:lnTo>
                  <a:lnTo>
                    <a:pt x="2030" y="0"/>
                  </a:lnTo>
                  <a:lnTo>
                    <a:pt x="1821" y="42"/>
                  </a:lnTo>
                  <a:lnTo>
                    <a:pt x="165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 name="Google Shape;6059;p93">
              <a:extLst>
                <a:ext uri="{FF2B5EF4-FFF2-40B4-BE49-F238E27FC236}">
                  <a16:creationId xmlns:a16="http://schemas.microsoft.com/office/drawing/2014/main" id="{29ADECC3-6DB5-4AEC-A010-A8BB60DC93C8}"/>
                </a:ext>
              </a:extLst>
            </p:cNvPr>
            <p:cNvSpPr/>
            <p:nvPr/>
          </p:nvSpPr>
          <p:spPr>
            <a:xfrm>
              <a:off x="3916754" y="3249086"/>
              <a:ext cx="53834" cy="46889"/>
            </a:xfrm>
            <a:custGeom>
              <a:avLst/>
              <a:gdLst/>
              <a:ahLst/>
              <a:cxnLst/>
              <a:rect l="l" t="t" r="r" b="b"/>
              <a:pathLst>
                <a:path w="4521" h="4123" extrusionOk="0">
                  <a:moveTo>
                    <a:pt x="2679" y="1"/>
                  </a:moveTo>
                  <a:lnTo>
                    <a:pt x="2533" y="43"/>
                  </a:lnTo>
                  <a:lnTo>
                    <a:pt x="2470" y="63"/>
                  </a:lnTo>
                  <a:lnTo>
                    <a:pt x="2386" y="105"/>
                  </a:lnTo>
                  <a:lnTo>
                    <a:pt x="2219" y="210"/>
                  </a:lnTo>
                  <a:lnTo>
                    <a:pt x="2177" y="273"/>
                  </a:lnTo>
                  <a:lnTo>
                    <a:pt x="2177" y="335"/>
                  </a:lnTo>
                  <a:lnTo>
                    <a:pt x="2156" y="377"/>
                  </a:lnTo>
                  <a:lnTo>
                    <a:pt x="2177" y="440"/>
                  </a:lnTo>
                  <a:lnTo>
                    <a:pt x="2156" y="482"/>
                  </a:lnTo>
                  <a:lnTo>
                    <a:pt x="2114" y="524"/>
                  </a:lnTo>
                  <a:lnTo>
                    <a:pt x="1905" y="587"/>
                  </a:lnTo>
                  <a:lnTo>
                    <a:pt x="1570" y="838"/>
                  </a:lnTo>
                  <a:lnTo>
                    <a:pt x="1319" y="1152"/>
                  </a:lnTo>
                  <a:lnTo>
                    <a:pt x="1131" y="1403"/>
                  </a:lnTo>
                  <a:lnTo>
                    <a:pt x="963" y="1465"/>
                  </a:lnTo>
                  <a:lnTo>
                    <a:pt x="859" y="1424"/>
                  </a:lnTo>
                  <a:lnTo>
                    <a:pt x="796" y="1361"/>
                  </a:lnTo>
                  <a:lnTo>
                    <a:pt x="754" y="1361"/>
                  </a:lnTo>
                  <a:lnTo>
                    <a:pt x="733" y="1319"/>
                  </a:lnTo>
                  <a:lnTo>
                    <a:pt x="712" y="1361"/>
                  </a:lnTo>
                  <a:lnTo>
                    <a:pt x="650" y="1298"/>
                  </a:lnTo>
                  <a:lnTo>
                    <a:pt x="524" y="1319"/>
                  </a:lnTo>
                  <a:lnTo>
                    <a:pt x="419" y="1403"/>
                  </a:lnTo>
                  <a:lnTo>
                    <a:pt x="378" y="1403"/>
                  </a:lnTo>
                  <a:lnTo>
                    <a:pt x="315" y="1361"/>
                  </a:lnTo>
                  <a:lnTo>
                    <a:pt x="210" y="1298"/>
                  </a:lnTo>
                  <a:lnTo>
                    <a:pt x="64" y="1277"/>
                  </a:lnTo>
                  <a:lnTo>
                    <a:pt x="1" y="1277"/>
                  </a:lnTo>
                  <a:lnTo>
                    <a:pt x="22" y="1319"/>
                  </a:lnTo>
                  <a:lnTo>
                    <a:pt x="22" y="1382"/>
                  </a:lnTo>
                  <a:lnTo>
                    <a:pt x="22" y="1424"/>
                  </a:lnTo>
                  <a:lnTo>
                    <a:pt x="22" y="1486"/>
                  </a:lnTo>
                  <a:lnTo>
                    <a:pt x="106" y="1570"/>
                  </a:lnTo>
                  <a:lnTo>
                    <a:pt x="168" y="1591"/>
                  </a:lnTo>
                  <a:lnTo>
                    <a:pt x="231" y="1633"/>
                  </a:lnTo>
                  <a:lnTo>
                    <a:pt x="294" y="1716"/>
                  </a:lnTo>
                  <a:lnTo>
                    <a:pt x="294" y="1779"/>
                  </a:lnTo>
                  <a:lnTo>
                    <a:pt x="315" y="1800"/>
                  </a:lnTo>
                  <a:lnTo>
                    <a:pt x="378" y="1884"/>
                  </a:lnTo>
                  <a:lnTo>
                    <a:pt x="398" y="1988"/>
                  </a:lnTo>
                  <a:lnTo>
                    <a:pt x="440" y="2030"/>
                  </a:lnTo>
                  <a:lnTo>
                    <a:pt x="503" y="2114"/>
                  </a:lnTo>
                  <a:lnTo>
                    <a:pt x="545" y="2156"/>
                  </a:lnTo>
                  <a:lnTo>
                    <a:pt x="587" y="2156"/>
                  </a:lnTo>
                  <a:lnTo>
                    <a:pt x="629" y="2240"/>
                  </a:lnTo>
                  <a:lnTo>
                    <a:pt x="796" y="2512"/>
                  </a:lnTo>
                  <a:lnTo>
                    <a:pt x="901" y="2574"/>
                  </a:lnTo>
                  <a:lnTo>
                    <a:pt x="1005" y="2637"/>
                  </a:lnTo>
                  <a:lnTo>
                    <a:pt x="1047" y="2679"/>
                  </a:lnTo>
                  <a:lnTo>
                    <a:pt x="1131" y="2742"/>
                  </a:lnTo>
                  <a:lnTo>
                    <a:pt x="1131" y="2763"/>
                  </a:lnTo>
                  <a:lnTo>
                    <a:pt x="1131" y="2825"/>
                  </a:lnTo>
                  <a:lnTo>
                    <a:pt x="1152" y="2867"/>
                  </a:lnTo>
                  <a:lnTo>
                    <a:pt x="1256" y="2888"/>
                  </a:lnTo>
                  <a:lnTo>
                    <a:pt x="1340" y="2972"/>
                  </a:lnTo>
                  <a:lnTo>
                    <a:pt x="1319" y="3056"/>
                  </a:lnTo>
                  <a:lnTo>
                    <a:pt x="1340" y="3181"/>
                  </a:lnTo>
                  <a:lnTo>
                    <a:pt x="1340" y="3265"/>
                  </a:lnTo>
                  <a:lnTo>
                    <a:pt x="1382" y="3369"/>
                  </a:lnTo>
                  <a:lnTo>
                    <a:pt x="1487" y="3453"/>
                  </a:lnTo>
                  <a:lnTo>
                    <a:pt x="1549" y="3558"/>
                  </a:lnTo>
                  <a:lnTo>
                    <a:pt x="1675" y="3579"/>
                  </a:lnTo>
                  <a:lnTo>
                    <a:pt x="1759" y="3558"/>
                  </a:lnTo>
                  <a:lnTo>
                    <a:pt x="1884" y="3600"/>
                  </a:lnTo>
                  <a:lnTo>
                    <a:pt x="1968" y="3600"/>
                  </a:lnTo>
                  <a:lnTo>
                    <a:pt x="2093" y="3683"/>
                  </a:lnTo>
                  <a:lnTo>
                    <a:pt x="2156" y="3683"/>
                  </a:lnTo>
                  <a:lnTo>
                    <a:pt x="2198" y="3725"/>
                  </a:lnTo>
                  <a:lnTo>
                    <a:pt x="2198" y="3788"/>
                  </a:lnTo>
                  <a:lnTo>
                    <a:pt x="2261" y="3830"/>
                  </a:lnTo>
                  <a:lnTo>
                    <a:pt x="2303" y="3893"/>
                  </a:lnTo>
                  <a:lnTo>
                    <a:pt x="2491" y="3872"/>
                  </a:lnTo>
                  <a:lnTo>
                    <a:pt x="2616" y="3893"/>
                  </a:lnTo>
                  <a:lnTo>
                    <a:pt x="2679" y="3976"/>
                  </a:lnTo>
                  <a:lnTo>
                    <a:pt x="2742" y="3976"/>
                  </a:lnTo>
                  <a:lnTo>
                    <a:pt x="2888" y="4018"/>
                  </a:lnTo>
                  <a:lnTo>
                    <a:pt x="2909" y="4039"/>
                  </a:lnTo>
                  <a:lnTo>
                    <a:pt x="3014" y="4018"/>
                  </a:lnTo>
                  <a:lnTo>
                    <a:pt x="3160" y="3997"/>
                  </a:lnTo>
                  <a:lnTo>
                    <a:pt x="3349" y="4039"/>
                  </a:lnTo>
                  <a:lnTo>
                    <a:pt x="3453" y="4123"/>
                  </a:lnTo>
                  <a:lnTo>
                    <a:pt x="4081" y="3474"/>
                  </a:lnTo>
                  <a:lnTo>
                    <a:pt x="4081" y="3286"/>
                  </a:lnTo>
                  <a:lnTo>
                    <a:pt x="4102" y="3202"/>
                  </a:lnTo>
                  <a:lnTo>
                    <a:pt x="4144" y="3056"/>
                  </a:lnTo>
                  <a:lnTo>
                    <a:pt x="4165" y="2972"/>
                  </a:lnTo>
                  <a:lnTo>
                    <a:pt x="4144" y="2867"/>
                  </a:lnTo>
                  <a:lnTo>
                    <a:pt x="4165" y="2784"/>
                  </a:lnTo>
                  <a:lnTo>
                    <a:pt x="4248" y="2784"/>
                  </a:lnTo>
                  <a:lnTo>
                    <a:pt x="4269" y="2742"/>
                  </a:lnTo>
                  <a:lnTo>
                    <a:pt x="4374" y="2637"/>
                  </a:lnTo>
                  <a:lnTo>
                    <a:pt x="4458" y="2532"/>
                  </a:lnTo>
                  <a:lnTo>
                    <a:pt x="4416" y="2449"/>
                  </a:lnTo>
                  <a:lnTo>
                    <a:pt x="4374" y="2407"/>
                  </a:lnTo>
                  <a:lnTo>
                    <a:pt x="4374" y="2302"/>
                  </a:lnTo>
                  <a:lnTo>
                    <a:pt x="4416" y="2240"/>
                  </a:lnTo>
                  <a:lnTo>
                    <a:pt x="4395" y="2135"/>
                  </a:lnTo>
                  <a:lnTo>
                    <a:pt x="4290" y="2051"/>
                  </a:lnTo>
                  <a:lnTo>
                    <a:pt x="4290" y="2009"/>
                  </a:lnTo>
                  <a:lnTo>
                    <a:pt x="4374" y="1988"/>
                  </a:lnTo>
                  <a:lnTo>
                    <a:pt x="4374" y="1842"/>
                  </a:lnTo>
                  <a:lnTo>
                    <a:pt x="4374" y="1737"/>
                  </a:lnTo>
                  <a:lnTo>
                    <a:pt x="4479" y="1696"/>
                  </a:lnTo>
                  <a:lnTo>
                    <a:pt x="4500" y="1612"/>
                  </a:lnTo>
                  <a:lnTo>
                    <a:pt x="4416" y="1612"/>
                  </a:lnTo>
                  <a:lnTo>
                    <a:pt x="4374" y="1570"/>
                  </a:lnTo>
                  <a:lnTo>
                    <a:pt x="4416" y="1465"/>
                  </a:lnTo>
                  <a:lnTo>
                    <a:pt x="4458" y="1298"/>
                  </a:lnTo>
                  <a:lnTo>
                    <a:pt x="4500" y="1214"/>
                  </a:lnTo>
                  <a:lnTo>
                    <a:pt x="4500" y="1152"/>
                  </a:lnTo>
                  <a:lnTo>
                    <a:pt x="4479" y="1068"/>
                  </a:lnTo>
                  <a:lnTo>
                    <a:pt x="4500" y="984"/>
                  </a:lnTo>
                  <a:lnTo>
                    <a:pt x="4479" y="900"/>
                  </a:lnTo>
                  <a:lnTo>
                    <a:pt x="4520" y="796"/>
                  </a:lnTo>
                  <a:lnTo>
                    <a:pt x="4520" y="733"/>
                  </a:lnTo>
                  <a:lnTo>
                    <a:pt x="4395" y="691"/>
                  </a:lnTo>
                  <a:lnTo>
                    <a:pt x="4353" y="628"/>
                  </a:lnTo>
                  <a:lnTo>
                    <a:pt x="4248" y="545"/>
                  </a:lnTo>
                  <a:lnTo>
                    <a:pt x="4060" y="545"/>
                  </a:lnTo>
                  <a:lnTo>
                    <a:pt x="3956" y="524"/>
                  </a:lnTo>
                  <a:lnTo>
                    <a:pt x="3851" y="377"/>
                  </a:lnTo>
                  <a:lnTo>
                    <a:pt x="3683" y="273"/>
                  </a:lnTo>
                  <a:lnTo>
                    <a:pt x="3537" y="252"/>
                  </a:lnTo>
                  <a:lnTo>
                    <a:pt x="3474" y="315"/>
                  </a:lnTo>
                  <a:lnTo>
                    <a:pt x="3432" y="335"/>
                  </a:lnTo>
                  <a:lnTo>
                    <a:pt x="3411" y="252"/>
                  </a:lnTo>
                  <a:lnTo>
                    <a:pt x="3328" y="252"/>
                  </a:lnTo>
                  <a:lnTo>
                    <a:pt x="3119" y="231"/>
                  </a:lnTo>
                  <a:lnTo>
                    <a:pt x="3098" y="43"/>
                  </a:lnTo>
                  <a:lnTo>
                    <a:pt x="3035" y="43"/>
                  </a:lnTo>
                  <a:lnTo>
                    <a:pt x="2909" y="22"/>
                  </a:lnTo>
                  <a:lnTo>
                    <a:pt x="2847" y="43"/>
                  </a:lnTo>
                  <a:lnTo>
                    <a:pt x="282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 name="Google Shape;6060;p93">
              <a:extLst>
                <a:ext uri="{FF2B5EF4-FFF2-40B4-BE49-F238E27FC236}">
                  <a16:creationId xmlns:a16="http://schemas.microsoft.com/office/drawing/2014/main" id="{2C7EBFAD-1359-4540-89F7-CFF4B184E21B}"/>
                </a:ext>
              </a:extLst>
            </p:cNvPr>
            <p:cNvSpPr/>
            <p:nvPr/>
          </p:nvSpPr>
          <p:spPr>
            <a:xfrm>
              <a:off x="3879638" y="3263609"/>
              <a:ext cx="64539" cy="61639"/>
            </a:xfrm>
            <a:custGeom>
              <a:avLst/>
              <a:gdLst/>
              <a:ahLst/>
              <a:cxnLst/>
              <a:rect l="l" t="t" r="r" b="b"/>
              <a:pathLst>
                <a:path w="5420" h="5420" extrusionOk="0">
                  <a:moveTo>
                    <a:pt x="3118" y="0"/>
                  </a:moveTo>
                  <a:lnTo>
                    <a:pt x="3013" y="21"/>
                  </a:lnTo>
                  <a:lnTo>
                    <a:pt x="2825" y="105"/>
                  </a:lnTo>
                  <a:lnTo>
                    <a:pt x="2762" y="147"/>
                  </a:lnTo>
                  <a:lnTo>
                    <a:pt x="2679" y="126"/>
                  </a:lnTo>
                  <a:lnTo>
                    <a:pt x="2658" y="105"/>
                  </a:lnTo>
                  <a:lnTo>
                    <a:pt x="2511" y="105"/>
                  </a:lnTo>
                  <a:lnTo>
                    <a:pt x="2407" y="230"/>
                  </a:lnTo>
                  <a:lnTo>
                    <a:pt x="2281" y="356"/>
                  </a:lnTo>
                  <a:lnTo>
                    <a:pt x="2093" y="502"/>
                  </a:lnTo>
                  <a:lnTo>
                    <a:pt x="2051" y="502"/>
                  </a:lnTo>
                  <a:lnTo>
                    <a:pt x="2072" y="419"/>
                  </a:lnTo>
                  <a:lnTo>
                    <a:pt x="2093" y="356"/>
                  </a:lnTo>
                  <a:lnTo>
                    <a:pt x="2051" y="335"/>
                  </a:lnTo>
                  <a:lnTo>
                    <a:pt x="2030" y="251"/>
                  </a:lnTo>
                  <a:lnTo>
                    <a:pt x="1988" y="230"/>
                  </a:lnTo>
                  <a:lnTo>
                    <a:pt x="1883" y="230"/>
                  </a:lnTo>
                  <a:lnTo>
                    <a:pt x="1716" y="293"/>
                  </a:lnTo>
                  <a:lnTo>
                    <a:pt x="1151" y="419"/>
                  </a:lnTo>
                  <a:lnTo>
                    <a:pt x="733" y="419"/>
                  </a:lnTo>
                  <a:lnTo>
                    <a:pt x="628" y="2490"/>
                  </a:lnTo>
                  <a:lnTo>
                    <a:pt x="105" y="2490"/>
                  </a:lnTo>
                  <a:lnTo>
                    <a:pt x="0" y="4310"/>
                  </a:lnTo>
                  <a:lnTo>
                    <a:pt x="210" y="4436"/>
                  </a:lnTo>
                  <a:lnTo>
                    <a:pt x="272" y="4624"/>
                  </a:lnTo>
                  <a:lnTo>
                    <a:pt x="419" y="4938"/>
                  </a:lnTo>
                  <a:lnTo>
                    <a:pt x="398" y="5105"/>
                  </a:lnTo>
                  <a:lnTo>
                    <a:pt x="314" y="5273"/>
                  </a:lnTo>
                  <a:lnTo>
                    <a:pt x="314" y="5377"/>
                  </a:lnTo>
                  <a:lnTo>
                    <a:pt x="482" y="5357"/>
                  </a:lnTo>
                  <a:lnTo>
                    <a:pt x="628" y="5419"/>
                  </a:lnTo>
                  <a:lnTo>
                    <a:pt x="712" y="5357"/>
                  </a:lnTo>
                  <a:lnTo>
                    <a:pt x="879" y="5377"/>
                  </a:lnTo>
                  <a:lnTo>
                    <a:pt x="942" y="5294"/>
                  </a:lnTo>
                  <a:lnTo>
                    <a:pt x="1088" y="5273"/>
                  </a:lnTo>
                  <a:lnTo>
                    <a:pt x="1193" y="5210"/>
                  </a:lnTo>
                  <a:lnTo>
                    <a:pt x="1235" y="5126"/>
                  </a:lnTo>
                  <a:lnTo>
                    <a:pt x="1423" y="5043"/>
                  </a:lnTo>
                  <a:lnTo>
                    <a:pt x="1528" y="4938"/>
                  </a:lnTo>
                  <a:lnTo>
                    <a:pt x="1611" y="4708"/>
                  </a:lnTo>
                  <a:lnTo>
                    <a:pt x="1758" y="4582"/>
                  </a:lnTo>
                  <a:lnTo>
                    <a:pt x="1925" y="4540"/>
                  </a:lnTo>
                  <a:lnTo>
                    <a:pt x="2093" y="4603"/>
                  </a:lnTo>
                  <a:lnTo>
                    <a:pt x="2155" y="4645"/>
                  </a:lnTo>
                  <a:lnTo>
                    <a:pt x="2239" y="4687"/>
                  </a:lnTo>
                  <a:lnTo>
                    <a:pt x="2448" y="4771"/>
                  </a:lnTo>
                  <a:lnTo>
                    <a:pt x="2511" y="4771"/>
                  </a:lnTo>
                  <a:lnTo>
                    <a:pt x="2616" y="4812"/>
                  </a:lnTo>
                  <a:lnTo>
                    <a:pt x="2762" y="4771"/>
                  </a:lnTo>
                  <a:lnTo>
                    <a:pt x="2888" y="4771"/>
                  </a:lnTo>
                  <a:lnTo>
                    <a:pt x="2992" y="4750"/>
                  </a:lnTo>
                  <a:lnTo>
                    <a:pt x="3013" y="4812"/>
                  </a:lnTo>
                  <a:lnTo>
                    <a:pt x="3097" y="4854"/>
                  </a:lnTo>
                  <a:lnTo>
                    <a:pt x="3223" y="4750"/>
                  </a:lnTo>
                  <a:lnTo>
                    <a:pt x="3202" y="4729"/>
                  </a:lnTo>
                  <a:lnTo>
                    <a:pt x="3223" y="4624"/>
                  </a:lnTo>
                  <a:lnTo>
                    <a:pt x="3223" y="4540"/>
                  </a:lnTo>
                  <a:lnTo>
                    <a:pt x="3285" y="4499"/>
                  </a:lnTo>
                  <a:lnTo>
                    <a:pt x="3285" y="4331"/>
                  </a:lnTo>
                  <a:lnTo>
                    <a:pt x="3327" y="4227"/>
                  </a:lnTo>
                  <a:lnTo>
                    <a:pt x="3432" y="4206"/>
                  </a:lnTo>
                  <a:lnTo>
                    <a:pt x="3515" y="4164"/>
                  </a:lnTo>
                  <a:lnTo>
                    <a:pt x="3599" y="4164"/>
                  </a:lnTo>
                  <a:lnTo>
                    <a:pt x="3641" y="4101"/>
                  </a:lnTo>
                  <a:lnTo>
                    <a:pt x="3662" y="4080"/>
                  </a:lnTo>
                  <a:lnTo>
                    <a:pt x="3704" y="3996"/>
                  </a:lnTo>
                  <a:lnTo>
                    <a:pt x="3767" y="3955"/>
                  </a:lnTo>
                  <a:lnTo>
                    <a:pt x="3850" y="3913"/>
                  </a:lnTo>
                  <a:lnTo>
                    <a:pt x="3871" y="3871"/>
                  </a:lnTo>
                  <a:lnTo>
                    <a:pt x="3955" y="3850"/>
                  </a:lnTo>
                  <a:lnTo>
                    <a:pt x="3955" y="3766"/>
                  </a:lnTo>
                  <a:lnTo>
                    <a:pt x="3934" y="3704"/>
                  </a:lnTo>
                  <a:lnTo>
                    <a:pt x="3955" y="3578"/>
                  </a:lnTo>
                  <a:lnTo>
                    <a:pt x="4080" y="3369"/>
                  </a:lnTo>
                  <a:lnTo>
                    <a:pt x="4185" y="3327"/>
                  </a:lnTo>
                  <a:lnTo>
                    <a:pt x="4248" y="3327"/>
                  </a:lnTo>
                  <a:lnTo>
                    <a:pt x="4290" y="3264"/>
                  </a:lnTo>
                  <a:lnTo>
                    <a:pt x="4373" y="3243"/>
                  </a:lnTo>
                  <a:lnTo>
                    <a:pt x="4394" y="3180"/>
                  </a:lnTo>
                  <a:lnTo>
                    <a:pt x="4457" y="3139"/>
                  </a:lnTo>
                  <a:lnTo>
                    <a:pt x="4541" y="3076"/>
                  </a:lnTo>
                  <a:lnTo>
                    <a:pt x="4645" y="2971"/>
                  </a:lnTo>
                  <a:lnTo>
                    <a:pt x="4771" y="2950"/>
                  </a:lnTo>
                  <a:lnTo>
                    <a:pt x="4792" y="2971"/>
                  </a:lnTo>
                  <a:lnTo>
                    <a:pt x="4855" y="2950"/>
                  </a:lnTo>
                  <a:lnTo>
                    <a:pt x="4959" y="2950"/>
                  </a:lnTo>
                  <a:lnTo>
                    <a:pt x="5022" y="2867"/>
                  </a:lnTo>
                  <a:lnTo>
                    <a:pt x="5106" y="2867"/>
                  </a:lnTo>
                  <a:lnTo>
                    <a:pt x="5127" y="2762"/>
                  </a:lnTo>
                  <a:lnTo>
                    <a:pt x="5127" y="2720"/>
                  </a:lnTo>
                  <a:lnTo>
                    <a:pt x="5189" y="2657"/>
                  </a:lnTo>
                  <a:lnTo>
                    <a:pt x="5294" y="2657"/>
                  </a:lnTo>
                  <a:lnTo>
                    <a:pt x="5336" y="2616"/>
                  </a:lnTo>
                  <a:lnTo>
                    <a:pt x="5420" y="2616"/>
                  </a:lnTo>
                  <a:lnTo>
                    <a:pt x="5378" y="2553"/>
                  </a:lnTo>
                  <a:lnTo>
                    <a:pt x="5315" y="2511"/>
                  </a:lnTo>
                  <a:lnTo>
                    <a:pt x="5315" y="2448"/>
                  </a:lnTo>
                  <a:lnTo>
                    <a:pt x="5273" y="2406"/>
                  </a:lnTo>
                  <a:lnTo>
                    <a:pt x="5210" y="2406"/>
                  </a:lnTo>
                  <a:lnTo>
                    <a:pt x="5085" y="2323"/>
                  </a:lnTo>
                  <a:lnTo>
                    <a:pt x="5001" y="2323"/>
                  </a:lnTo>
                  <a:lnTo>
                    <a:pt x="4876" y="2281"/>
                  </a:lnTo>
                  <a:lnTo>
                    <a:pt x="4792" y="2302"/>
                  </a:lnTo>
                  <a:lnTo>
                    <a:pt x="4666" y="2281"/>
                  </a:lnTo>
                  <a:lnTo>
                    <a:pt x="4604" y="2176"/>
                  </a:lnTo>
                  <a:lnTo>
                    <a:pt x="4499" y="2092"/>
                  </a:lnTo>
                  <a:lnTo>
                    <a:pt x="4457" y="1988"/>
                  </a:lnTo>
                  <a:lnTo>
                    <a:pt x="4457" y="1904"/>
                  </a:lnTo>
                  <a:lnTo>
                    <a:pt x="4436" y="1779"/>
                  </a:lnTo>
                  <a:lnTo>
                    <a:pt x="4457" y="1695"/>
                  </a:lnTo>
                  <a:lnTo>
                    <a:pt x="4373" y="1611"/>
                  </a:lnTo>
                  <a:lnTo>
                    <a:pt x="4269" y="1590"/>
                  </a:lnTo>
                  <a:lnTo>
                    <a:pt x="4248" y="1548"/>
                  </a:lnTo>
                  <a:lnTo>
                    <a:pt x="4248" y="1486"/>
                  </a:lnTo>
                  <a:lnTo>
                    <a:pt x="4248" y="1465"/>
                  </a:lnTo>
                  <a:lnTo>
                    <a:pt x="4164" y="1402"/>
                  </a:lnTo>
                  <a:lnTo>
                    <a:pt x="4122" y="1360"/>
                  </a:lnTo>
                  <a:lnTo>
                    <a:pt x="4018" y="1297"/>
                  </a:lnTo>
                  <a:lnTo>
                    <a:pt x="3913" y="1235"/>
                  </a:lnTo>
                  <a:lnTo>
                    <a:pt x="3746" y="963"/>
                  </a:lnTo>
                  <a:lnTo>
                    <a:pt x="3704" y="879"/>
                  </a:lnTo>
                  <a:lnTo>
                    <a:pt x="3662" y="879"/>
                  </a:lnTo>
                  <a:lnTo>
                    <a:pt x="3620" y="837"/>
                  </a:lnTo>
                  <a:lnTo>
                    <a:pt x="3557" y="753"/>
                  </a:lnTo>
                  <a:lnTo>
                    <a:pt x="3515" y="711"/>
                  </a:lnTo>
                  <a:lnTo>
                    <a:pt x="3495" y="607"/>
                  </a:lnTo>
                  <a:lnTo>
                    <a:pt x="3432" y="523"/>
                  </a:lnTo>
                  <a:lnTo>
                    <a:pt x="3411" y="502"/>
                  </a:lnTo>
                  <a:lnTo>
                    <a:pt x="3411" y="439"/>
                  </a:lnTo>
                  <a:lnTo>
                    <a:pt x="3348" y="356"/>
                  </a:lnTo>
                  <a:lnTo>
                    <a:pt x="3285" y="314"/>
                  </a:lnTo>
                  <a:lnTo>
                    <a:pt x="3223" y="293"/>
                  </a:lnTo>
                  <a:lnTo>
                    <a:pt x="3139" y="209"/>
                  </a:lnTo>
                  <a:lnTo>
                    <a:pt x="3139" y="147"/>
                  </a:lnTo>
                  <a:lnTo>
                    <a:pt x="3139" y="105"/>
                  </a:lnTo>
                  <a:lnTo>
                    <a:pt x="3139" y="42"/>
                  </a:lnTo>
                  <a:lnTo>
                    <a:pt x="3118"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 name="Google Shape;6061;p93">
              <a:extLst>
                <a:ext uri="{FF2B5EF4-FFF2-40B4-BE49-F238E27FC236}">
                  <a16:creationId xmlns:a16="http://schemas.microsoft.com/office/drawing/2014/main" id="{DAE666C3-0B7D-43B1-A947-F83334B6CC8B}"/>
                </a:ext>
              </a:extLst>
            </p:cNvPr>
            <p:cNvSpPr/>
            <p:nvPr/>
          </p:nvSpPr>
          <p:spPr>
            <a:xfrm>
              <a:off x="3824578" y="3257889"/>
              <a:ext cx="92188" cy="82826"/>
            </a:xfrm>
            <a:custGeom>
              <a:avLst/>
              <a:gdLst/>
              <a:ahLst/>
              <a:cxnLst/>
              <a:rect l="l" t="t" r="r" b="b"/>
              <a:pathLst>
                <a:path w="7742" h="7283" extrusionOk="0">
                  <a:moveTo>
                    <a:pt x="691" y="1"/>
                  </a:moveTo>
                  <a:lnTo>
                    <a:pt x="502" y="126"/>
                  </a:lnTo>
                  <a:lnTo>
                    <a:pt x="502" y="210"/>
                  </a:lnTo>
                  <a:lnTo>
                    <a:pt x="440" y="231"/>
                  </a:lnTo>
                  <a:lnTo>
                    <a:pt x="377" y="189"/>
                  </a:lnTo>
                  <a:lnTo>
                    <a:pt x="189" y="189"/>
                  </a:lnTo>
                  <a:lnTo>
                    <a:pt x="168" y="273"/>
                  </a:lnTo>
                  <a:lnTo>
                    <a:pt x="105" y="294"/>
                  </a:lnTo>
                  <a:lnTo>
                    <a:pt x="84" y="273"/>
                  </a:lnTo>
                  <a:lnTo>
                    <a:pt x="0" y="231"/>
                  </a:lnTo>
                  <a:lnTo>
                    <a:pt x="21" y="733"/>
                  </a:lnTo>
                  <a:lnTo>
                    <a:pt x="377" y="1068"/>
                  </a:lnTo>
                  <a:lnTo>
                    <a:pt x="544" y="1382"/>
                  </a:lnTo>
                  <a:lnTo>
                    <a:pt x="837" y="2051"/>
                  </a:lnTo>
                  <a:lnTo>
                    <a:pt x="858" y="2302"/>
                  </a:lnTo>
                  <a:lnTo>
                    <a:pt x="1151" y="2700"/>
                  </a:lnTo>
                  <a:lnTo>
                    <a:pt x="1151" y="2847"/>
                  </a:lnTo>
                  <a:lnTo>
                    <a:pt x="1465" y="3307"/>
                  </a:lnTo>
                  <a:lnTo>
                    <a:pt x="1465" y="3537"/>
                  </a:lnTo>
                  <a:lnTo>
                    <a:pt x="1381" y="3579"/>
                  </a:lnTo>
                  <a:lnTo>
                    <a:pt x="1465" y="3872"/>
                  </a:lnTo>
                  <a:lnTo>
                    <a:pt x="1486" y="4311"/>
                  </a:lnTo>
                  <a:lnTo>
                    <a:pt x="1674" y="4751"/>
                  </a:lnTo>
                  <a:lnTo>
                    <a:pt x="1653" y="5023"/>
                  </a:lnTo>
                  <a:lnTo>
                    <a:pt x="1695" y="5190"/>
                  </a:lnTo>
                  <a:lnTo>
                    <a:pt x="1632" y="5232"/>
                  </a:lnTo>
                  <a:lnTo>
                    <a:pt x="1674" y="5315"/>
                  </a:lnTo>
                  <a:lnTo>
                    <a:pt x="1737" y="5629"/>
                  </a:lnTo>
                  <a:lnTo>
                    <a:pt x="1800" y="5650"/>
                  </a:lnTo>
                  <a:lnTo>
                    <a:pt x="1862" y="5755"/>
                  </a:lnTo>
                  <a:lnTo>
                    <a:pt x="1800" y="5797"/>
                  </a:lnTo>
                  <a:lnTo>
                    <a:pt x="1800" y="5943"/>
                  </a:lnTo>
                  <a:lnTo>
                    <a:pt x="1883" y="6027"/>
                  </a:lnTo>
                  <a:lnTo>
                    <a:pt x="1904" y="6257"/>
                  </a:lnTo>
                  <a:lnTo>
                    <a:pt x="2009" y="6383"/>
                  </a:lnTo>
                  <a:lnTo>
                    <a:pt x="2155" y="6676"/>
                  </a:lnTo>
                  <a:lnTo>
                    <a:pt x="2281" y="6801"/>
                  </a:lnTo>
                  <a:lnTo>
                    <a:pt x="2302" y="6885"/>
                  </a:lnTo>
                  <a:lnTo>
                    <a:pt x="2511" y="7031"/>
                  </a:lnTo>
                  <a:lnTo>
                    <a:pt x="2595" y="6989"/>
                  </a:lnTo>
                  <a:lnTo>
                    <a:pt x="2720" y="6968"/>
                  </a:lnTo>
                  <a:lnTo>
                    <a:pt x="2720" y="6885"/>
                  </a:lnTo>
                  <a:lnTo>
                    <a:pt x="2678" y="6843"/>
                  </a:lnTo>
                  <a:lnTo>
                    <a:pt x="2720" y="6759"/>
                  </a:lnTo>
                  <a:lnTo>
                    <a:pt x="2888" y="6696"/>
                  </a:lnTo>
                  <a:lnTo>
                    <a:pt x="2930" y="6801"/>
                  </a:lnTo>
                  <a:lnTo>
                    <a:pt x="3055" y="6822"/>
                  </a:lnTo>
                  <a:lnTo>
                    <a:pt x="3013" y="6927"/>
                  </a:lnTo>
                  <a:lnTo>
                    <a:pt x="3097" y="7115"/>
                  </a:lnTo>
                  <a:lnTo>
                    <a:pt x="3264" y="7136"/>
                  </a:lnTo>
                  <a:lnTo>
                    <a:pt x="3411" y="7220"/>
                  </a:lnTo>
                  <a:lnTo>
                    <a:pt x="3515" y="7199"/>
                  </a:lnTo>
                  <a:lnTo>
                    <a:pt x="3557" y="7220"/>
                  </a:lnTo>
                  <a:lnTo>
                    <a:pt x="3662" y="7240"/>
                  </a:lnTo>
                  <a:lnTo>
                    <a:pt x="3725" y="7199"/>
                  </a:lnTo>
                  <a:lnTo>
                    <a:pt x="3787" y="7199"/>
                  </a:lnTo>
                  <a:lnTo>
                    <a:pt x="3850" y="7282"/>
                  </a:lnTo>
                  <a:lnTo>
                    <a:pt x="3976" y="7282"/>
                  </a:lnTo>
                  <a:lnTo>
                    <a:pt x="3997" y="7178"/>
                  </a:lnTo>
                  <a:lnTo>
                    <a:pt x="4038" y="7115"/>
                  </a:lnTo>
                  <a:lnTo>
                    <a:pt x="4101" y="7094"/>
                  </a:lnTo>
                  <a:lnTo>
                    <a:pt x="4164" y="6968"/>
                  </a:lnTo>
                  <a:lnTo>
                    <a:pt x="4310" y="6885"/>
                  </a:lnTo>
                  <a:lnTo>
                    <a:pt x="4499" y="6906"/>
                  </a:lnTo>
                  <a:lnTo>
                    <a:pt x="4562" y="6906"/>
                  </a:lnTo>
                  <a:lnTo>
                    <a:pt x="4624" y="4813"/>
                  </a:lnTo>
                  <a:lnTo>
                    <a:pt x="4729" y="2993"/>
                  </a:lnTo>
                  <a:lnTo>
                    <a:pt x="5252" y="2993"/>
                  </a:lnTo>
                  <a:lnTo>
                    <a:pt x="5357" y="922"/>
                  </a:lnTo>
                  <a:lnTo>
                    <a:pt x="5775" y="922"/>
                  </a:lnTo>
                  <a:lnTo>
                    <a:pt x="6340" y="796"/>
                  </a:lnTo>
                  <a:lnTo>
                    <a:pt x="6507" y="733"/>
                  </a:lnTo>
                  <a:lnTo>
                    <a:pt x="6612" y="733"/>
                  </a:lnTo>
                  <a:lnTo>
                    <a:pt x="6654" y="754"/>
                  </a:lnTo>
                  <a:lnTo>
                    <a:pt x="6675" y="838"/>
                  </a:lnTo>
                  <a:lnTo>
                    <a:pt x="6717" y="859"/>
                  </a:lnTo>
                  <a:lnTo>
                    <a:pt x="6696" y="922"/>
                  </a:lnTo>
                  <a:lnTo>
                    <a:pt x="6675" y="1005"/>
                  </a:lnTo>
                  <a:lnTo>
                    <a:pt x="6717" y="1005"/>
                  </a:lnTo>
                  <a:lnTo>
                    <a:pt x="6905" y="859"/>
                  </a:lnTo>
                  <a:lnTo>
                    <a:pt x="7031" y="733"/>
                  </a:lnTo>
                  <a:lnTo>
                    <a:pt x="7135" y="608"/>
                  </a:lnTo>
                  <a:lnTo>
                    <a:pt x="7282" y="608"/>
                  </a:lnTo>
                  <a:lnTo>
                    <a:pt x="7303" y="629"/>
                  </a:lnTo>
                  <a:lnTo>
                    <a:pt x="7386" y="650"/>
                  </a:lnTo>
                  <a:lnTo>
                    <a:pt x="7449" y="608"/>
                  </a:lnTo>
                  <a:lnTo>
                    <a:pt x="7637" y="524"/>
                  </a:lnTo>
                  <a:lnTo>
                    <a:pt x="7742" y="503"/>
                  </a:lnTo>
                  <a:lnTo>
                    <a:pt x="7658" y="398"/>
                  </a:lnTo>
                  <a:lnTo>
                    <a:pt x="7637" y="398"/>
                  </a:lnTo>
                  <a:lnTo>
                    <a:pt x="7616" y="378"/>
                  </a:lnTo>
                  <a:lnTo>
                    <a:pt x="7533" y="378"/>
                  </a:lnTo>
                  <a:lnTo>
                    <a:pt x="7512" y="336"/>
                  </a:lnTo>
                  <a:lnTo>
                    <a:pt x="7491" y="336"/>
                  </a:lnTo>
                  <a:lnTo>
                    <a:pt x="7449" y="315"/>
                  </a:lnTo>
                  <a:lnTo>
                    <a:pt x="7323" y="378"/>
                  </a:lnTo>
                  <a:lnTo>
                    <a:pt x="7240" y="336"/>
                  </a:lnTo>
                  <a:lnTo>
                    <a:pt x="6696" y="482"/>
                  </a:lnTo>
                  <a:lnTo>
                    <a:pt x="5817" y="691"/>
                  </a:lnTo>
                  <a:lnTo>
                    <a:pt x="5671" y="691"/>
                  </a:lnTo>
                  <a:lnTo>
                    <a:pt x="5650" y="650"/>
                  </a:lnTo>
                  <a:lnTo>
                    <a:pt x="5608" y="650"/>
                  </a:lnTo>
                  <a:lnTo>
                    <a:pt x="5566" y="608"/>
                  </a:lnTo>
                  <a:lnTo>
                    <a:pt x="5524" y="629"/>
                  </a:lnTo>
                  <a:lnTo>
                    <a:pt x="5461" y="608"/>
                  </a:lnTo>
                  <a:lnTo>
                    <a:pt x="5419" y="587"/>
                  </a:lnTo>
                  <a:lnTo>
                    <a:pt x="5336" y="608"/>
                  </a:lnTo>
                  <a:lnTo>
                    <a:pt x="5336" y="650"/>
                  </a:lnTo>
                  <a:lnTo>
                    <a:pt x="5189" y="650"/>
                  </a:lnTo>
                  <a:lnTo>
                    <a:pt x="5085" y="629"/>
                  </a:lnTo>
                  <a:lnTo>
                    <a:pt x="4938" y="503"/>
                  </a:lnTo>
                  <a:lnTo>
                    <a:pt x="4896" y="503"/>
                  </a:lnTo>
                  <a:lnTo>
                    <a:pt x="4875" y="482"/>
                  </a:lnTo>
                  <a:lnTo>
                    <a:pt x="4834" y="545"/>
                  </a:lnTo>
                  <a:lnTo>
                    <a:pt x="4771" y="545"/>
                  </a:lnTo>
                  <a:lnTo>
                    <a:pt x="4624" y="524"/>
                  </a:lnTo>
                  <a:lnTo>
                    <a:pt x="4520" y="545"/>
                  </a:lnTo>
                  <a:lnTo>
                    <a:pt x="4457" y="608"/>
                  </a:lnTo>
                  <a:lnTo>
                    <a:pt x="4373" y="587"/>
                  </a:lnTo>
                  <a:lnTo>
                    <a:pt x="4352" y="524"/>
                  </a:lnTo>
                  <a:lnTo>
                    <a:pt x="4290" y="503"/>
                  </a:lnTo>
                  <a:lnTo>
                    <a:pt x="4185" y="524"/>
                  </a:lnTo>
                  <a:lnTo>
                    <a:pt x="4080" y="503"/>
                  </a:lnTo>
                  <a:lnTo>
                    <a:pt x="3955" y="440"/>
                  </a:lnTo>
                  <a:lnTo>
                    <a:pt x="3892" y="398"/>
                  </a:lnTo>
                  <a:lnTo>
                    <a:pt x="3850" y="294"/>
                  </a:lnTo>
                  <a:lnTo>
                    <a:pt x="3829" y="273"/>
                  </a:lnTo>
                  <a:lnTo>
                    <a:pt x="1653" y="273"/>
                  </a:lnTo>
                  <a:lnTo>
                    <a:pt x="1632" y="231"/>
                  </a:lnTo>
                  <a:lnTo>
                    <a:pt x="1569" y="231"/>
                  </a:lnTo>
                  <a:lnTo>
                    <a:pt x="1486" y="294"/>
                  </a:lnTo>
                  <a:lnTo>
                    <a:pt x="1465" y="294"/>
                  </a:lnTo>
                  <a:lnTo>
                    <a:pt x="1360" y="336"/>
                  </a:lnTo>
                  <a:lnTo>
                    <a:pt x="1235" y="294"/>
                  </a:lnTo>
                  <a:lnTo>
                    <a:pt x="1130" y="189"/>
                  </a:lnTo>
                  <a:lnTo>
                    <a:pt x="1067" y="168"/>
                  </a:lnTo>
                  <a:lnTo>
                    <a:pt x="1109" y="106"/>
                  </a:lnTo>
                  <a:lnTo>
                    <a:pt x="1025" y="85"/>
                  </a:lnTo>
                  <a:lnTo>
                    <a:pt x="1025" y="64"/>
                  </a:lnTo>
                  <a:lnTo>
                    <a:pt x="942" y="1"/>
                  </a:lnTo>
                  <a:lnTo>
                    <a:pt x="900" y="22"/>
                  </a:lnTo>
                  <a:lnTo>
                    <a:pt x="858" y="64"/>
                  </a:lnTo>
                  <a:lnTo>
                    <a:pt x="837" y="64"/>
                  </a:lnTo>
                  <a:lnTo>
                    <a:pt x="73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1273" name="Google Shape;6062;p93">
              <a:extLst>
                <a:ext uri="{FF2B5EF4-FFF2-40B4-BE49-F238E27FC236}">
                  <a16:creationId xmlns:a16="http://schemas.microsoft.com/office/drawing/2014/main" id="{465B42F6-D30A-428B-88D9-386EF6D9906C}"/>
                </a:ext>
              </a:extLst>
            </p:cNvPr>
            <p:cNvSpPr/>
            <p:nvPr/>
          </p:nvSpPr>
          <p:spPr>
            <a:xfrm>
              <a:off x="3953131" y="3215060"/>
              <a:ext cx="71767" cy="110427"/>
            </a:xfrm>
            <a:custGeom>
              <a:avLst/>
              <a:gdLst/>
              <a:ahLst/>
              <a:cxnLst/>
              <a:rect l="l" t="t" r="r" b="b"/>
              <a:pathLst>
                <a:path w="6027" h="9710" extrusionOk="0">
                  <a:moveTo>
                    <a:pt x="6006" y="1"/>
                  </a:moveTo>
                  <a:lnTo>
                    <a:pt x="5964" y="22"/>
                  </a:lnTo>
                  <a:lnTo>
                    <a:pt x="5922" y="84"/>
                  </a:lnTo>
                  <a:lnTo>
                    <a:pt x="5818" y="63"/>
                  </a:lnTo>
                  <a:lnTo>
                    <a:pt x="5734" y="126"/>
                  </a:lnTo>
                  <a:lnTo>
                    <a:pt x="5650" y="210"/>
                  </a:lnTo>
                  <a:lnTo>
                    <a:pt x="5525" y="231"/>
                  </a:lnTo>
                  <a:lnTo>
                    <a:pt x="5441" y="314"/>
                  </a:lnTo>
                  <a:lnTo>
                    <a:pt x="5315" y="314"/>
                  </a:lnTo>
                  <a:lnTo>
                    <a:pt x="5294" y="377"/>
                  </a:lnTo>
                  <a:lnTo>
                    <a:pt x="5190" y="398"/>
                  </a:lnTo>
                  <a:lnTo>
                    <a:pt x="5106" y="377"/>
                  </a:lnTo>
                  <a:lnTo>
                    <a:pt x="4897" y="440"/>
                  </a:lnTo>
                  <a:lnTo>
                    <a:pt x="4855" y="482"/>
                  </a:lnTo>
                  <a:lnTo>
                    <a:pt x="4750" y="503"/>
                  </a:lnTo>
                  <a:lnTo>
                    <a:pt x="4667" y="440"/>
                  </a:lnTo>
                  <a:lnTo>
                    <a:pt x="4583" y="440"/>
                  </a:lnTo>
                  <a:lnTo>
                    <a:pt x="4478" y="419"/>
                  </a:lnTo>
                  <a:lnTo>
                    <a:pt x="4437" y="482"/>
                  </a:lnTo>
                  <a:lnTo>
                    <a:pt x="4458" y="524"/>
                  </a:lnTo>
                  <a:lnTo>
                    <a:pt x="4437" y="607"/>
                  </a:lnTo>
                  <a:lnTo>
                    <a:pt x="4269" y="628"/>
                  </a:lnTo>
                  <a:lnTo>
                    <a:pt x="4144" y="691"/>
                  </a:lnTo>
                  <a:lnTo>
                    <a:pt x="4060" y="628"/>
                  </a:lnTo>
                  <a:lnTo>
                    <a:pt x="3976" y="628"/>
                  </a:lnTo>
                  <a:lnTo>
                    <a:pt x="3976" y="587"/>
                  </a:lnTo>
                  <a:lnTo>
                    <a:pt x="3934" y="545"/>
                  </a:lnTo>
                  <a:lnTo>
                    <a:pt x="3872" y="607"/>
                  </a:lnTo>
                  <a:lnTo>
                    <a:pt x="3809" y="607"/>
                  </a:lnTo>
                  <a:lnTo>
                    <a:pt x="3704" y="712"/>
                  </a:lnTo>
                  <a:lnTo>
                    <a:pt x="3516" y="733"/>
                  </a:lnTo>
                  <a:lnTo>
                    <a:pt x="3537" y="712"/>
                  </a:lnTo>
                  <a:lnTo>
                    <a:pt x="3495" y="628"/>
                  </a:lnTo>
                  <a:lnTo>
                    <a:pt x="3411" y="628"/>
                  </a:lnTo>
                  <a:lnTo>
                    <a:pt x="3328" y="587"/>
                  </a:lnTo>
                  <a:lnTo>
                    <a:pt x="3244" y="545"/>
                  </a:lnTo>
                  <a:lnTo>
                    <a:pt x="3244" y="503"/>
                  </a:lnTo>
                  <a:lnTo>
                    <a:pt x="3181" y="524"/>
                  </a:lnTo>
                  <a:lnTo>
                    <a:pt x="3139" y="545"/>
                  </a:lnTo>
                  <a:lnTo>
                    <a:pt x="3035" y="587"/>
                  </a:lnTo>
                  <a:lnTo>
                    <a:pt x="2491" y="607"/>
                  </a:lnTo>
                  <a:lnTo>
                    <a:pt x="2365" y="1110"/>
                  </a:lnTo>
                  <a:lnTo>
                    <a:pt x="2449" y="1654"/>
                  </a:lnTo>
                  <a:lnTo>
                    <a:pt x="2616" y="1737"/>
                  </a:lnTo>
                  <a:lnTo>
                    <a:pt x="2721" y="1800"/>
                  </a:lnTo>
                  <a:lnTo>
                    <a:pt x="2763" y="1863"/>
                  </a:lnTo>
                  <a:lnTo>
                    <a:pt x="2805" y="1884"/>
                  </a:lnTo>
                  <a:lnTo>
                    <a:pt x="3014" y="2072"/>
                  </a:lnTo>
                  <a:lnTo>
                    <a:pt x="3035" y="2177"/>
                  </a:lnTo>
                  <a:lnTo>
                    <a:pt x="3181" y="2365"/>
                  </a:lnTo>
                  <a:lnTo>
                    <a:pt x="3223" y="2491"/>
                  </a:lnTo>
                  <a:lnTo>
                    <a:pt x="3286" y="2574"/>
                  </a:lnTo>
                  <a:lnTo>
                    <a:pt x="3286" y="2637"/>
                  </a:lnTo>
                  <a:lnTo>
                    <a:pt x="3202" y="2637"/>
                  </a:lnTo>
                  <a:lnTo>
                    <a:pt x="3181" y="2721"/>
                  </a:lnTo>
                  <a:lnTo>
                    <a:pt x="3118" y="2721"/>
                  </a:lnTo>
                  <a:lnTo>
                    <a:pt x="3097" y="2783"/>
                  </a:lnTo>
                  <a:lnTo>
                    <a:pt x="3118" y="2804"/>
                  </a:lnTo>
                  <a:lnTo>
                    <a:pt x="3097" y="2846"/>
                  </a:lnTo>
                  <a:lnTo>
                    <a:pt x="3181" y="2930"/>
                  </a:lnTo>
                  <a:lnTo>
                    <a:pt x="3139" y="3139"/>
                  </a:lnTo>
                  <a:lnTo>
                    <a:pt x="3118" y="3244"/>
                  </a:lnTo>
                  <a:lnTo>
                    <a:pt x="3035" y="3307"/>
                  </a:lnTo>
                  <a:lnTo>
                    <a:pt x="2930" y="3327"/>
                  </a:lnTo>
                  <a:lnTo>
                    <a:pt x="2867" y="3474"/>
                  </a:lnTo>
                  <a:lnTo>
                    <a:pt x="2867" y="3579"/>
                  </a:lnTo>
                  <a:lnTo>
                    <a:pt x="2805" y="3683"/>
                  </a:lnTo>
                  <a:lnTo>
                    <a:pt x="2825" y="3830"/>
                  </a:lnTo>
                  <a:lnTo>
                    <a:pt x="2805" y="3955"/>
                  </a:lnTo>
                  <a:lnTo>
                    <a:pt x="2700" y="3976"/>
                  </a:lnTo>
                  <a:lnTo>
                    <a:pt x="2679" y="3872"/>
                  </a:lnTo>
                  <a:lnTo>
                    <a:pt x="2700" y="3830"/>
                  </a:lnTo>
                  <a:lnTo>
                    <a:pt x="2616" y="3725"/>
                  </a:lnTo>
                  <a:lnTo>
                    <a:pt x="2574" y="3662"/>
                  </a:lnTo>
                  <a:lnTo>
                    <a:pt x="2491" y="3620"/>
                  </a:lnTo>
                  <a:lnTo>
                    <a:pt x="2386" y="3537"/>
                  </a:lnTo>
                  <a:lnTo>
                    <a:pt x="2281" y="3411"/>
                  </a:lnTo>
                  <a:lnTo>
                    <a:pt x="2281" y="3327"/>
                  </a:lnTo>
                  <a:lnTo>
                    <a:pt x="2240" y="3202"/>
                  </a:lnTo>
                  <a:lnTo>
                    <a:pt x="2240" y="3097"/>
                  </a:lnTo>
                  <a:lnTo>
                    <a:pt x="2281" y="2993"/>
                  </a:lnTo>
                  <a:lnTo>
                    <a:pt x="2344" y="2846"/>
                  </a:lnTo>
                  <a:lnTo>
                    <a:pt x="2449" y="2721"/>
                  </a:lnTo>
                  <a:lnTo>
                    <a:pt x="2470" y="2595"/>
                  </a:lnTo>
                  <a:lnTo>
                    <a:pt x="2470" y="2428"/>
                  </a:lnTo>
                  <a:lnTo>
                    <a:pt x="2407" y="2323"/>
                  </a:lnTo>
                  <a:lnTo>
                    <a:pt x="2261" y="2302"/>
                  </a:lnTo>
                  <a:lnTo>
                    <a:pt x="2135" y="2302"/>
                  </a:lnTo>
                  <a:lnTo>
                    <a:pt x="2072" y="2365"/>
                  </a:lnTo>
                  <a:lnTo>
                    <a:pt x="2030" y="2365"/>
                  </a:lnTo>
                  <a:lnTo>
                    <a:pt x="1968" y="2386"/>
                  </a:lnTo>
                  <a:lnTo>
                    <a:pt x="1863" y="2323"/>
                  </a:lnTo>
                  <a:lnTo>
                    <a:pt x="1863" y="2260"/>
                  </a:lnTo>
                  <a:lnTo>
                    <a:pt x="1821" y="2198"/>
                  </a:lnTo>
                  <a:lnTo>
                    <a:pt x="1779" y="2156"/>
                  </a:lnTo>
                  <a:lnTo>
                    <a:pt x="1758" y="2093"/>
                  </a:lnTo>
                  <a:lnTo>
                    <a:pt x="1612" y="2114"/>
                  </a:lnTo>
                  <a:lnTo>
                    <a:pt x="1424" y="2177"/>
                  </a:lnTo>
                  <a:lnTo>
                    <a:pt x="1089" y="2302"/>
                  </a:lnTo>
                  <a:lnTo>
                    <a:pt x="984" y="2323"/>
                  </a:lnTo>
                  <a:lnTo>
                    <a:pt x="398" y="2595"/>
                  </a:lnTo>
                  <a:lnTo>
                    <a:pt x="273" y="2595"/>
                  </a:lnTo>
                  <a:lnTo>
                    <a:pt x="43" y="2700"/>
                  </a:lnTo>
                  <a:lnTo>
                    <a:pt x="1" y="2783"/>
                  </a:lnTo>
                  <a:lnTo>
                    <a:pt x="43" y="2951"/>
                  </a:lnTo>
                  <a:lnTo>
                    <a:pt x="43" y="3035"/>
                  </a:lnTo>
                  <a:lnTo>
                    <a:pt x="64" y="3223"/>
                  </a:lnTo>
                  <a:lnTo>
                    <a:pt x="273" y="3244"/>
                  </a:lnTo>
                  <a:lnTo>
                    <a:pt x="356" y="3244"/>
                  </a:lnTo>
                  <a:lnTo>
                    <a:pt x="377" y="3327"/>
                  </a:lnTo>
                  <a:lnTo>
                    <a:pt x="419" y="3307"/>
                  </a:lnTo>
                  <a:lnTo>
                    <a:pt x="482" y="3244"/>
                  </a:lnTo>
                  <a:lnTo>
                    <a:pt x="628" y="3265"/>
                  </a:lnTo>
                  <a:lnTo>
                    <a:pt x="796" y="3369"/>
                  </a:lnTo>
                  <a:lnTo>
                    <a:pt x="901" y="3516"/>
                  </a:lnTo>
                  <a:lnTo>
                    <a:pt x="1005" y="3537"/>
                  </a:lnTo>
                  <a:lnTo>
                    <a:pt x="1193" y="3537"/>
                  </a:lnTo>
                  <a:lnTo>
                    <a:pt x="1298" y="3620"/>
                  </a:lnTo>
                  <a:lnTo>
                    <a:pt x="1340" y="3683"/>
                  </a:lnTo>
                  <a:lnTo>
                    <a:pt x="1465" y="3725"/>
                  </a:lnTo>
                  <a:lnTo>
                    <a:pt x="1465" y="3788"/>
                  </a:lnTo>
                  <a:lnTo>
                    <a:pt x="1424" y="3892"/>
                  </a:lnTo>
                  <a:lnTo>
                    <a:pt x="1445" y="3976"/>
                  </a:lnTo>
                  <a:lnTo>
                    <a:pt x="1424" y="4060"/>
                  </a:lnTo>
                  <a:lnTo>
                    <a:pt x="1445" y="4144"/>
                  </a:lnTo>
                  <a:lnTo>
                    <a:pt x="1445" y="4206"/>
                  </a:lnTo>
                  <a:lnTo>
                    <a:pt x="1403" y="4290"/>
                  </a:lnTo>
                  <a:lnTo>
                    <a:pt x="1361" y="4457"/>
                  </a:lnTo>
                  <a:lnTo>
                    <a:pt x="1319" y="4562"/>
                  </a:lnTo>
                  <a:lnTo>
                    <a:pt x="1361" y="4604"/>
                  </a:lnTo>
                  <a:lnTo>
                    <a:pt x="1445" y="4604"/>
                  </a:lnTo>
                  <a:lnTo>
                    <a:pt x="1424" y="4688"/>
                  </a:lnTo>
                  <a:lnTo>
                    <a:pt x="1319" y="4729"/>
                  </a:lnTo>
                  <a:lnTo>
                    <a:pt x="1319" y="4834"/>
                  </a:lnTo>
                  <a:lnTo>
                    <a:pt x="1319" y="4980"/>
                  </a:lnTo>
                  <a:lnTo>
                    <a:pt x="1235" y="5001"/>
                  </a:lnTo>
                  <a:lnTo>
                    <a:pt x="1235" y="5043"/>
                  </a:lnTo>
                  <a:lnTo>
                    <a:pt x="1340" y="5127"/>
                  </a:lnTo>
                  <a:lnTo>
                    <a:pt x="1361" y="5232"/>
                  </a:lnTo>
                  <a:lnTo>
                    <a:pt x="1319" y="5294"/>
                  </a:lnTo>
                  <a:lnTo>
                    <a:pt x="1319" y="5399"/>
                  </a:lnTo>
                  <a:lnTo>
                    <a:pt x="1361" y="5441"/>
                  </a:lnTo>
                  <a:lnTo>
                    <a:pt x="1403" y="5524"/>
                  </a:lnTo>
                  <a:lnTo>
                    <a:pt x="1319" y="5629"/>
                  </a:lnTo>
                  <a:lnTo>
                    <a:pt x="1214" y="5734"/>
                  </a:lnTo>
                  <a:lnTo>
                    <a:pt x="1193" y="5776"/>
                  </a:lnTo>
                  <a:lnTo>
                    <a:pt x="1110" y="5776"/>
                  </a:lnTo>
                  <a:lnTo>
                    <a:pt x="1089" y="5859"/>
                  </a:lnTo>
                  <a:lnTo>
                    <a:pt x="1110" y="5964"/>
                  </a:lnTo>
                  <a:lnTo>
                    <a:pt x="1089" y="6048"/>
                  </a:lnTo>
                  <a:lnTo>
                    <a:pt x="1047" y="6194"/>
                  </a:lnTo>
                  <a:lnTo>
                    <a:pt x="1026" y="6278"/>
                  </a:lnTo>
                  <a:lnTo>
                    <a:pt x="1026" y="6466"/>
                  </a:lnTo>
                  <a:lnTo>
                    <a:pt x="398" y="7115"/>
                  </a:lnTo>
                  <a:lnTo>
                    <a:pt x="461" y="7282"/>
                  </a:lnTo>
                  <a:lnTo>
                    <a:pt x="482" y="7429"/>
                  </a:lnTo>
                  <a:lnTo>
                    <a:pt x="566" y="7554"/>
                  </a:lnTo>
                  <a:lnTo>
                    <a:pt x="566" y="7847"/>
                  </a:lnTo>
                  <a:lnTo>
                    <a:pt x="524" y="7868"/>
                  </a:lnTo>
                  <a:lnTo>
                    <a:pt x="524" y="7973"/>
                  </a:lnTo>
                  <a:lnTo>
                    <a:pt x="587" y="8077"/>
                  </a:lnTo>
                  <a:lnTo>
                    <a:pt x="608" y="8224"/>
                  </a:lnTo>
                  <a:lnTo>
                    <a:pt x="608" y="8684"/>
                  </a:lnTo>
                  <a:lnTo>
                    <a:pt x="566" y="8851"/>
                  </a:lnTo>
                  <a:lnTo>
                    <a:pt x="566" y="9019"/>
                  </a:lnTo>
                  <a:lnTo>
                    <a:pt x="566" y="9207"/>
                  </a:lnTo>
                  <a:lnTo>
                    <a:pt x="566" y="9228"/>
                  </a:lnTo>
                  <a:lnTo>
                    <a:pt x="628" y="9270"/>
                  </a:lnTo>
                  <a:lnTo>
                    <a:pt x="691" y="9333"/>
                  </a:lnTo>
                  <a:lnTo>
                    <a:pt x="733" y="9395"/>
                  </a:lnTo>
                  <a:lnTo>
                    <a:pt x="712" y="9437"/>
                  </a:lnTo>
                  <a:lnTo>
                    <a:pt x="712" y="9521"/>
                  </a:lnTo>
                  <a:lnTo>
                    <a:pt x="691" y="9626"/>
                  </a:lnTo>
                  <a:lnTo>
                    <a:pt x="691" y="9646"/>
                  </a:lnTo>
                  <a:lnTo>
                    <a:pt x="733" y="9646"/>
                  </a:lnTo>
                  <a:lnTo>
                    <a:pt x="942" y="9709"/>
                  </a:lnTo>
                  <a:lnTo>
                    <a:pt x="1047" y="9709"/>
                  </a:lnTo>
                  <a:lnTo>
                    <a:pt x="1089" y="9605"/>
                  </a:lnTo>
                  <a:lnTo>
                    <a:pt x="1131" y="9500"/>
                  </a:lnTo>
                  <a:lnTo>
                    <a:pt x="1152" y="9333"/>
                  </a:lnTo>
                  <a:lnTo>
                    <a:pt x="1131" y="9291"/>
                  </a:lnTo>
                  <a:lnTo>
                    <a:pt x="1110" y="9291"/>
                  </a:lnTo>
                  <a:lnTo>
                    <a:pt x="1089" y="9395"/>
                  </a:lnTo>
                  <a:lnTo>
                    <a:pt x="1005" y="9374"/>
                  </a:lnTo>
                  <a:lnTo>
                    <a:pt x="942" y="9437"/>
                  </a:lnTo>
                  <a:lnTo>
                    <a:pt x="942" y="9333"/>
                  </a:lnTo>
                  <a:lnTo>
                    <a:pt x="901" y="9228"/>
                  </a:lnTo>
                  <a:lnTo>
                    <a:pt x="880" y="9207"/>
                  </a:lnTo>
                  <a:lnTo>
                    <a:pt x="921" y="9165"/>
                  </a:lnTo>
                  <a:lnTo>
                    <a:pt x="984" y="9165"/>
                  </a:lnTo>
                  <a:lnTo>
                    <a:pt x="1026" y="9019"/>
                  </a:lnTo>
                  <a:lnTo>
                    <a:pt x="1110" y="8977"/>
                  </a:lnTo>
                  <a:lnTo>
                    <a:pt x="1131" y="8893"/>
                  </a:lnTo>
                  <a:lnTo>
                    <a:pt x="1298" y="8872"/>
                  </a:lnTo>
                  <a:lnTo>
                    <a:pt x="1465" y="8663"/>
                  </a:lnTo>
                  <a:lnTo>
                    <a:pt x="1989" y="8579"/>
                  </a:lnTo>
                  <a:lnTo>
                    <a:pt x="2365" y="8391"/>
                  </a:lnTo>
                  <a:lnTo>
                    <a:pt x="2574" y="8182"/>
                  </a:lnTo>
                  <a:lnTo>
                    <a:pt x="2616" y="8035"/>
                  </a:lnTo>
                  <a:lnTo>
                    <a:pt x="2679" y="7931"/>
                  </a:lnTo>
                  <a:lnTo>
                    <a:pt x="2679" y="7847"/>
                  </a:lnTo>
                  <a:lnTo>
                    <a:pt x="2574" y="7910"/>
                  </a:lnTo>
                  <a:lnTo>
                    <a:pt x="2553" y="7805"/>
                  </a:lnTo>
                  <a:lnTo>
                    <a:pt x="2595" y="7805"/>
                  </a:lnTo>
                  <a:lnTo>
                    <a:pt x="2595" y="7701"/>
                  </a:lnTo>
                  <a:lnTo>
                    <a:pt x="2658" y="7617"/>
                  </a:lnTo>
                  <a:lnTo>
                    <a:pt x="2658" y="7533"/>
                  </a:lnTo>
                  <a:lnTo>
                    <a:pt x="2721" y="7345"/>
                  </a:lnTo>
                  <a:lnTo>
                    <a:pt x="2700" y="7324"/>
                  </a:lnTo>
                  <a:lnTo>
                    <a:pt x="2700" y="7177"/>
                  </a:lnTo>
                  <a:lnTo>
                    <a:pt x="2763" y="7115"/>
                  </a:lnTo>
                  <a:lnTo>
                    <a:pt x="2763" y="6968"/>
                  </a:lnTo>
                  <a:lnTo>
                    <a:pt x="2721" y="6968"/>
                  </a:lnTo>
                  <a:lnTo>
                    <a:pt x="2721" y="6822"/>
                  </a:lnTo>
                  <a:lnTo>
                    <a:pt x="2658" y="6968"/>
                  </a:lnTo>
                  <a:lnTo>
                    <a:pt x="2658" y="7073"/>
                  </a:lnTo>
                  <a:lnTo>
                    <a:pt x="2595" y="7094"/>
                  </a:lnTo>
                  <a:lnTo>
                    <a:pt x="2574" y="6968"/>
                  </a:lnTo>
                  <a:lnTo>
                    <a:pt x="2595" y="6592"/>
                  </a:lnTo>
                  <a:lnTo>
                    <a:pt x="2553" y="6466"/>
                  </a:lnTo>
                  <a:lnTo>
                    <a:pt x="2553" y="6340"/>
                  </a:lnTo>
                  <a:lnTo>
                    <a:pt x="2470" y="6236"/>
                  </a:lnTo>
                  <a:lnTo>
                    <a:pt x="2407" y="6194"/>
                  </a:lnTo>
                  <a:lnTo>
                    <a:pt x="2491" y="6152"/>
                  </a:lnTo>
                  <a:lnTo>
                    <a:pt x="2491" y="6068"/>
                  </a:lnTo>
                  <a:lnTo>
                    <a:pt x="2302" y="5838"/>
                  </a:lnTo>
                  <a:lnTo>
                    <a:pt x="2386" y="5755"/>
                  </a:lnTo>
                  <a:lnTo>
                    <a:pt x="2365" y="5650"/>
                  </a:lnTo>
                  <a:lnTo>
                    <a:pt x="2407" y="5608"/>
                  </a:lnTo>
                  <a:lnTo>
                    <a:pt x="2407" y="5524"/>
                  </a:lnTo>
                  <a:lnTo>
                    <a:pt x="2365" y="5441"/>
                  </a:lnTo>
                  <a:lnTo>
                    <a:pt x="2365" y="5399"/>
                  </a:lnTo>
                  <a:lnTo>
                    <a:pt x="2407" y="5399"/>
                  </a:lnTo>
                  <a:lnTo>
                    <a:pt x="2512" y="5462"/>
                  </a:lnTo>
                  <a:lnTo>
                    <a:pt x="2574" y="5399"/>
                  </a:lnTo>
                  <a:lnTo>
                    <a:pt x="2721" y="5399"/>
                  </a:lnTo>
                  <a:lnTo>
                    <a:pt x="2825" y="5315"/>
                  </a:lnTo>
                  <a:lnTo>
                    <a:pt x="2805" y="5190"/>
                  </a:lnTo>
                  <a:lnTo>
                    <a:pt x="3118" y="4980"/>
                  </a:lnTo>
                  <a:lnTo>
                    <a:pt x="3244" y="4980"/>
                  </a:lnTo>
                  <a:lnTo>
                    <a:pt x="3244" y="4897"/>
                  </a:lnTo>
                  <a:lnTo>
                    <a:pt x="3307" y="4876"/>
                  </a:lnTo>
                  <a:lnTo>
                    <a:pt x="3349" y="4813"/>
                  </a:lnTo>
                  <a:lnTo>
                    <a:pt x="3349" y="4771"/>
                  </a:lnTo>
                  <a:lnTo>
                    <a:pt x="3600" y="4625"/>
                  </a:lnTo>
                  <a:lnTo>
                    <a:pt x="3621" y="4562"/>
                  </a:lnTo>
                  <a:lnTo>
                    <a:pt x="3662" y="4520"/>
                  </a:lnTo>
                  <a:lnTo>
                    <a:pt x="3704" y="4374"/>
                  </a:lnTo>
                  <a:lnTo>
                    <a:pt x="3746" y="4478"/>
                  </a:lnTo>
                  <a:lnTo>
                    <a:pt x="3830" y="4416"/>
                  </a:lnTo>
                  <a:lnTo>
                    <a:pt x="3955" y="4269"/>
                  </a:lnTo>
                  <a:lnTo>
                    <a:pt x="3955" y="4185"/>
                  </a:lnTo>
                  <a:lnTo>
                    <a:pt x="4018" y="4248"/>
                  </a:lnTo>
                  <a:lnTo>
                    <a:pt x="4248" y="4081"/>
                  </a:lnTo>
                  <a:lnTo>
                    <a:pt x="4437" y="3997"/>
                  </a:lnTo>
                  <a:lnTo>
                    <a:pt x="4437" y="3976"/>
                  </a:lnTo>
                  <a:lnTo>
                    <a:pt x="4562" y="3976"/>
                  </a:lnTo>
                  <a:lnTo>
                    <a:pt x="4918" y="3788"/>
                  </a:lnTo>
                  <a:lnTo>
                    <a:pt x="4960" y="3725"/>
                  </a:lnTo>
                  <a:lnTo>
                    <a:pt x="5022" y="3683"/>
                  </a:lnTo>
                  <a:lnTo>
                    <a:pt x="5399" y="3474"/>
                  </a:lnTo>
                  <a:lnTo>
                    <a:pt x="5399" y="3369"/>
                  </a:lnTo>
                  <a:lnTo>
                    <a:pt x="5504" y="3369"/>
                  </a:lnTo>
                  <a:lnTo>
                    <a:pt x="5608" y="3223"/>
                  </a:lnTo>
                  <a:lnTo>
                    <a:pt x="5608" y="3139"/>
                  </a:lnTo>
                  <a:lnTo>
                    <a:pt x="5734" y="2993"/>
                  </a:lnTo>
                  <a:lnTo>
                    <a:pt x="5818" y="2951"/>
                  </a:lnTo>
                  <a:lnTo>
                    <a:pt x="5818" y="2846"/>
                  </a:lnTo>
                  <a:lnTo>
                    <a:pt x="5859" y="2783"/>
                  </a:lnTo>
                  <a:lnTo>
                    <a:pt x="5797" y="2783"/>
                  </a:lnTo>
                  <a:lnTo>
                    <a:pt x="5755" y="2804"/>
                  </a:lnTo>
                  <a:lnTo>
                    <a:pt x="5734" y="2742"/>
                  </a:lnTo>
                  <a:lnTo>
                    <a:pt x="5838" y="2679"/>
                  </a:lnTo>
                  <a:lnTo>
                    <a:pt x="5901" y="2679"/>
                  </a:lnTo>
                  <a:lnTo>
                    <a:pt x="5922" y="2616"/>
                  </a:lnTo>
                  <a:lnTo>
                    <a:pt x="5901" y="2574"/>
                  </a:lnTo>
                  <a:lnTo>
                    <a:pt x="5943" y="2532"/>
                  </a:lnTo>
                  <a:lnTo>
                    <a:pt x="6006" y="2470"/>
                  </a:lnTo>
                  <a:lnTo>
                    <a:pt x="5964" y="2219"/>
                  </a:lnTo>
                  <a:lnTo>
                    <a:pt x="5943" y="2198"/>
                  </a:lnTo>
                  <a:lnTo>
                    <a:pt x="5838" y="2198"/>
                  </a:lnTo>
                  <a:lnTo>
                    <a:pt x="5797" y="2177"/>
                  </a:lnTo>
                  <a:lnTo>
                    <a:pt x="5818" y="2114"/>
                  </a:lnTo>
                  <a:lnTo>
                    <a:pt x="5901" y="2114"/>
                  </a:lnTo>
                  <a:lnTo>
                    <a:pt x="5901" y="1863"/>
                  </a:lnTo>
                  <a:lnTo>
                    <a:pt x="5859" y="1800"/>
                  </a:lnTo>
                  <a:lnTo>
                    <a:pt x="5901" y="1800"/>
                  </a:lnTo>
                  <a:lnTo>
                    <a:pt x="5922" y="1528"/>
                  </a:lnTo>
                  <a:lnTo>
                    <a:pt x="5901" y="1361"/>
                  </a:lnTo>
                  <a:lnTo>
                    <a:pt x="5964" y="1319"/>
                  </a:lnTo>
                  <a:lnTo>
                    <a:pt x="5943" y="1151"/>
                  </a:lnTo>
                  <a:lnTo>
                    <a:pt x="5922" y="1131"/>
                  </a:lnTo>
                  <a:lnTo>
                    <a:pt x="5922" y="963"/>
                  </a:lnTo>
                  <a:lnTo>
                    <a:pt x="5964" y="942"/>
                  </a:lnTo>
                  <a:lnTo>
                    <a:pt x="5901" y="817"/>
                  </a:lnTo>
                  <a:lnTo>
                    <a:pt x="5859" y="628"/>
                  </a:lnTo>
                  <a:lnTo>
                    <a:pt x="5922" y="587"/>
                  </a:lnTo>
                  <a:lnTo>
                    <a:pt x="5901" y="545"/>
                  </a:lnTo>
                  <a:lnTo>
                    <a:pt x="5901" y="503"/>
                  </a:lnTo>
                  <a:lnTo>
                    <a:pt x="5901" y="440"/>
                  </a:lnTo>
                  <a:lnTo>
                    <a:pt x="6027" y="273"/>
                  </a:lnTo>
                  <a:lnTo>
                    <a:pt x="5964" y="231"/>
                  </a:lnTo>
                  <a:lnTo>
                    <a:pt x="6027" y="168"/>
                  </a:lnTo>
                  <a:lnTo>
                    <a:pt x="6027" y="22"/>
                  </a:lnTo>
                  <a:lnTo>
                    <a:pt x="600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 name="Google Shape;6063;p93">
              <a:extLst>
                <a:ext uri="{FF2B5EF4-FFF2-40B4-BE49-F238E27FC236}">
                  <a16:creationId xmlns:a16="http://schemas.microsoft.com/office/drawing/2014/main" id="{0DE7F1D4-F7F1-4530-AECE-E9B6CD5014B9}"/>
                </a:ext>
              </a:extLst>
            </p:cNvPr>
            <p:cNvSpPr/>
            <p:nvPr/>
          </p:nvSpPr>
          <p:spPr>
            <a:xfrm>
              <a:off x="3951893" y="3317378"/>
              <a:ext cx="9978" cy="10724"/>
            </a:xfrm>
            <a:custGeom>
              <a:avLst/>
              <a:gdLst/>
              <a:ahLst/>
              <a:cxnLst/>
              <a:rect l="l" t="t" r="r" b="b"/>
              <a:pathLst>
                <a:path w="838" h="943" extrusionOk="0">
                  <a:moveTo>
                    <a:pt x="314" y="1"/>
                  </a:moveTo>
                  <a:lnTo>
                    <a:pt x="209" y="43"/>
                  </a:lnTo>
                  <a:lnTo>
                    <a:pt x="188" y="189"/>
                  </a:lnTo>
                  <a:lnTo>
                    <a:pt x="63" y="440"/>
                  </a:lnTo>
                  <a:lnTo>
                    <a:pt x="0" y="566"/>
                  </a:lnTo>
                  <a:lnTo>
                    <a:pt x="42" y="649"/>
                  </a:lnTo>
                  <a:lnTo>
                    <a:pt x="105" y="712"/>
                  </a:lnTo>
                  <a:lnTo>
                    <a:pt x="168" y="817"/>
                  </a:lnTo>
                  <a:lnTo>
                    <a:pt x="377" y="921"/>
                  </a:lnTo>
                  <a:lnTo>
                    <a:pt x="586" y="942"/>
                  </a:lnTo>
                  <a:lnTo>
                    <a:pt x="670" y="921"/>
                  </a:lnTo>
                  <a:lnTo>
                    <a:pt x="712" y="817"/>
                  </a:lnTo>
                  <a:lnTo>
                    <a:pt x="691" y="712"/>
                  </a:lnTo>
                  <a:lnTo>
                    <a:pt x="774" y="691"/>
                  </a:lnTo>
                  <a:lnTo>
                    <a:pt x="795" y="649"/>
                  </a:lnTo>
                  <a:lnTo>
                    <a:pt x="795" y="629"/>
                  </a:lnTo>
                  <a:lnTo>
                    <a:pt x="816" y="524"/>
                  </a:lnTo>
                  <a:lnTo>
                    <a:pt x="816" y="440"/>
                  </a:lnTo>
                  <a:lnTo>
                    <a:pt x="837" y="398"/>
                  </a:lnTo>
                  <a:lnTo>
                    <a:pt x="795" y="336"/>
                  </a:lnTo>
                  <a:lnTo>
                    <a:pt x="732" y="273"/>
                  </a:lnTo>
                  <a:lnTo>
                    <a:pt x="670" y="231"/>
                  </a:lnTo>
                  <a:lnTo>
                    <a:pt x="670" y="210"/>
                  </a:lnTo>
                  <a:lnTo>
                    <a:pt x="565" y="189"/>
                  </a:lnTo>
                  <a:lnTo>
                    <a:pt x="481" y="105"/>
                  </a:lnTo>
                  <a:lnTo>
                    <a:pt x="31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 name="Google Shape;6064;p93">
              <a:extLst>
                <a:ext uri="{FF2B5EF4-FFF2-40B4-BE49-F238E27FC236}">
                  <a16:creationId xmlns:a16="http://schemas.microsoft.com/office/drawing/2014/main" id="{BE5F7407-3C3C-4265-A5EE-4A77097514F7}"/>
                </a:ext>
              </a:extLst>
            </p:cNvPr>
            <p:cNvSpPr/>
            <p:nvPr/>
          </p:nvSpPr>
          <p:spPr>
            <a:xfrm>
              <a:off x="3925232" y="3338554"/>
              <a:ext cx="15956" cy="14295"/>
            </a:xfrm>
            <a:custGeom>
              <a:avLst/>
              <a:gdLst/>
              <a:ahLst/>
              <a:cxnLst/>
              <a:rect l="l" t="t" r="r" b="b"/>
              <a:pathLst>
                <a:path w="1340" h="1257" extrusionOk="0">
                  <a:moveTo>
                    <a:pt x="775" y="1"/>
                  </a:moveTo>
                  <a:lnTo>
                    <a:pt x="754" y="43"/>
                  </a:lnTo>
                  <a:lnTo>
                    <a:pt x="670" y="106"/>
                  </a:lnTo>
                  <a:lnTo>
                    <a:pt x="628" y="147"/>
                  </a:lnTo>
                  <a:lnTo>
                    <a:pt x="419" y="189"/>
                  </a:lnTo>
                  <a:lnTo>
                    <a:pt x="293" y="315"/>
                  </a:lnTo>
                  <a:lnTo>
                    <a:pt x="231" y="440"/>
                  </a:lnTo>
                  <a:lnTo>
                    <a:pt x="84" y="566"/>
                  </a:lnTo>
                  <a:lnTo>
                    <a:pt x="0" y="629"/>
                  </a:lnTo>
                  <a:lnTo>
                    <a:pt x="42" y="733"/>
                  </a:lnTo>
                  <a:lnTo>
                    <a:pt x="126" y="796"/>
                  </a:lnTo>
                  <a:lnTo>
                    <a:pt x="126" y="859"/>
                  </a:lnTo>
                  <a:lnTo>
                    <a:pt x="210" y="943"/>
                  </a:lnTo>
                  <a:lnTo>
                    <a:pt x="210" y="1047"/>
                  </a:lnTo>
                  <a:lnTo>
                    <a:pt x="293" y="1131"/>
                  </a:lnTo>
                  <a:lnTo>
                    <a:pt x="356" y="1194"/>
                  </a:lnTo>
                  <a:lnTo>
                    <a:pt x="503" y="1256"/>
                  </a:lnTo>
                  <a:lnTo>
                    <a:pt x="607" y="1256"/>
                  </a:lnTo>
                  <a:lnTo>
                    <a:pt x="628" y="1194"/>
                  </a:lnTo>
                  <a:lnTo>
                    <a:pt x="670" y="1152"/>
                  </a:lnTo>
                  <a:lnTo>
                    <a:pt x="712" y="1026"/>
                  </a:lnTo>
                  <a:lnTo>
                    <a:pt x="816" y="984"/>
                  </a:lnTo>
                  <a:lnTo>
                    <a:pt x="879" y="943"/>
                  </a:lnTo>
                  <a:lnTo>
                    <a:pt x="984" y="922"/>
                  </a:lnTo>
                  <a:lnTo>
                    <a:pt x="1067" y="943"/>
                  </a:lnTo>
                  <a:lnTo>
                    <a:pt x="1172" y="859"/>
                  </a:lnTo>
                  <a:lnTo>
                    <a:pt x="1193" y="775"/>
                  </a:lnTo>
                  <a:lnTo>
                    <a:pt x="1151" y="733"/>
                  </a:lnTo>
                  <a:lnTo>
                    <a:pt x="1130" y="650"/>
                  </a:lnTo>
                  <a:lnTo>
                    <a:pt x="1235" y="608"/>
                  </a:lnTo>
                  <a:lnTo>
                    <a:pt x="1339" y="524"/>
                  </a:lnTo>
                  <a:lnTo>
                    <a:pt x="1339" y="399"/>
                  </a:lnTo>
                  <a:lnTo>
                    <a:pt x="1256" y="147"/>
                  </a:lnTo>
                  <a:lnTo>
                    <a:pt x="1130" y="43"/>
                  </a:lnTo>
                  <a:lnTo>
                    <a:pt x="1026" y="85"/>
                  </a:lnTo>
                  <a:lnTo>
                    <a:pt x="942" y="22"/>
                  </a:lnTo>
                  <a:lnTo>
                    <a:pt x="921" y="43"/>
                  </a:lnTo>
                  <a:lnTo>
                    <a:pt x="858" y="22"/>
                  </a:lnTo>
                  <a:lnTo>
                    <a:pt x="77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 name="Google Shape;6065;p93">
              <a:extLst>
                <a:ext uri="{FF2B5EF4-FFF2-40B4-BE49-F238E27FC236}">
                  <a16:creationId xmlns:a16="http://schemas.microsoft.com/office/drawing/2014/main" id="{97F9BB3D-7094-4C0D-91B0-B40448CB28CC}"/>
                </a:ext>
              </a:extLst>
            </p:cNvPr>
            <p:cNvSpPr/>
            <p:nvPr/>
          </p:nvSpPr>
          <p:spPr>
            <a:xfrm>
              <a:off x="4226694" y="2879548"/>
              <a:ext cx="50095" cy="39508"/>
            </a:xfrm>
            <a:custGeom>
              <a:avLst/>
              <a:gdLst/>
              <a:ahLst/>
              <a:cxnLst/>
              <a:rect l="l" t="t" r="r" b="b"/>
              <a:pathLst>
                <a:path w="4207" h="3474" extrusionOk="0">
                  <a:moveTo>
                    <a:pt x="1507" y="0"/>
                  </a:moveTo>
                  <a:lnTo>
                    <a:pt x="1466" y="63"/>
                  </a:lnTo>
                  <a:lnTo>
                    <a:pt x="1403" y="105"/>
                  </a:lnTo>
                  <a:lnTo>
                    <a:pt x="1298" y="105"/>
                  </a:lnTo>
                  <a:lnTo>
                    <a:pt x="1256" y="126"/>
                  </a:lnTo>
                  <a:lnTo>
                    <a:pt x="1152" y="63"/>
                  </a:lnTo>
                  <a:lnTo>
                    <a:pt x="1068" y="63"/>
                  </a:lnTo>
                  <a:lnTo>
                    <a:pt x="1026" y="105"/>
                  </a:lnTo>
                  <a:lnTo>
                    <a:pt x="880" y="293"/>
                  </a:lnTo>
                  <a:lnTo>
                    <a:pt x="629" y="398"/>
                  </a:lnTo>
                  <a:lnTo>
                    <a:pt x="231" y="503"/>
                  </a:lnTo>
                  <a:lnTo>
                    <a:pt x="252" y="586"/>
                  </a:lnTo>
                  <a:lnTo>
                    <a:pt x="1" y="754"/>
                  </a:lnTo>
                  <a:lnTo>
                    <a:pt x="22" y="1005"/>
                  </a:lnTo>
                  <a:lnTo>
                    <a:pt x="106" y="1067"/>
                  </a:lnTo>
                  <a:lnTo>
                    <a:pt x="189" y="1047"/>
                  </a:lnTo>
                  <a:lnTo>
                    <a:pt x="294" y="1005"/>
                  </a:lnTo>
                  <a:lnTo>
                    <a:pt x="419" y="1151"/>
                  </a:lnTo>
                  <a:lnTo>
                    <a:pt x="566" y="1277"/>
                  </a:lnTo>
                  <a:lnTo>
                    <a:pt x="733" y="1360"/>
                  </a:lnTo>
                  <a:lnTo>
                    <a:pt x="754" y="1486"/>
                  </a:lnTo>
                  <a:lnTo>
                    <a:pt x="901" y="1549"/>
                  </a:lnTo>
                  <a:lnTo>
                    <a:pt x="901" y="1674"/>
                  </a:lnTo>
                  <a:lnTo>
                    <a:pt x="754" y="1779"/>
                  </a:lnTo>
                  <a:lnTo>
                    <a:pt x="754" y="1904"/>
                  </a:lnTo>
                  <a:lnTo>
                    <a:pt x="650" y="1946"/>
                  </a:lnTo>
                  <a:lnTo>
                    <a:pt x="650" y="2114"/>
                  </a:lnTo>
                  <a:lnTo>
                    <a:pt x="754" y="2302"/>
                  </a:lnTo>
                  <a:lnTo>
                    <a:pt x="859" y="2679"/>
                  </a:lnTo>
                  <a:lnTo>
                    <a:pt x="880" y="2846"/>
                  </a:lnTo>
                  <a:lnTo>
                    <a:pt x="1089" y="3034"/>
                  </a:lnTo>
                  <a:lnTo>
                    <a:pt x="1298" y="3097"/>
                  </a:lnTo>
                  <a:lnTo>
                    <a:pt x="1507" y="3160"/>
                  </a:lnTo>
                  <a:lnTo>
                    <a:pt x="1570" y="3327"/>
                  </a:lnTo>
                  <a:lnTo>
                    <a:pt x="1759" y="3348"/>
                  </a:lnTo>
                  <a:lnTo>
                    <a:pt x="1884" y="3306"/>
                  </a:lnTo>
                  <a:lnTo>
                    <a:pt x="2031" y="3348"/>
                  </a:lnTo>
                  <a:lnTo>
                    <a:pt x="2031" y="3474"/>
                  </a:lnTo>
                  <a:lnTo>
                    <a:pt x="2093" y="3432"/>
                  </a:lnTo>
                  <a:lnTo>
                    <a:pt x="2240" y="3139"/>
                  </a:lnTo>
                  <a:lnTo>
                    <a:pt x="2428" y="2992"/>
                  </a:lnTo>
                  <a:lnTo>
                    <a:pt x="2554" y="2992"/>
                  </a:lnTo>
                  <a:lnTo>
                    <a:pt x="2637" y="2846"/>
                  </a:lnTo>
                  <a:lnTo>
                    <a:pt x="2763" y="2846"/>
                  </a:lnTo>
                  <a:lnTo>
                    <a:pt x="3077" y="3055"/>
                  </a:lnTo>
                  <a:lnTo>
                    <a:pt x="3244" y="2951"/>
                  </a:lnTo>
                  <a:lnTo>
                    <a:pt x="3391" y="3034"/>
                  </a:lnTo>
                  <a:lnTo>
                    <a:pt x="3453" y="3202"/>
                  </a:lnTo>
                  <a:lnTo>
                    <a:pt x="3600" y="3202"/>
                  </a:lnTo>
                  <a:lnTo>
                    <a:pt x="3851" y="3327"/>
                  </a:lnTo>
                  <a:lnTo>
                    <a:pt x="3997" y="3139"/>
                  </a:lnTo>
                  <a:lnTo>
                    <a:pt x="4102" y="3202"/>
                  </a:lnTo>
                  <a:lnTo>
                    <a:pt x="4123" y="3264"/>
                  </a:lnTo>
                  <a:lnTo>
                    <a:pt x="4207" y="3139"/>
                  </a:lnTo>
                  <a:lnTo>
                    <a:pt x="4165" y="2930"/>
                  </a:lnTo>
                  <a:lnTo>
                    <a:pt x="4102" y="2679"/>
                  </a:lnTo>
                  <a:lnTo>
                    <a:pt x="3955" y="2637"/>
                  </a:lnTo>
                  <a:lnTo>
                    <a:pt x="3851" y="2386"/>
                  </a:lnTo>
                  <a:lnTo>
                    <a:pt x="3851" y="2114"/>
                  </a:lnTo>
                  <a:lnTo>
                    <a:pt x="3767" y="1967"/>
                  </a:lnTo>
                  <a:lnTo>
                    <a:pt x="3579" y="1863"/>
                  </a:lnTo>
                  <a:lnTo>
                    <a:pt x="3432" y="1695"/>
                  </a:lnTo>
                  <a:lnTo>
                    <a:pt x="3328" y="1423"/>
                  </a:lnTo>
                  <a:lnTo>
                    <a:pt x="3139" y="1319"/>
                  </a:lnTo>
                  <a:lnTo>
                    <a:pt x="2909" y="1235"/>
                  </a:lnTo>
                  <a:lnTo>
                    <a:pt x="2867" y="1109"/>
                  </a:lnTo>
                  <a:lnTo>
                    <a:pt x="2763" y="1067"/>
                  </a:lnTo>
                  <a:lnTo>
                    <a:pt x="2554" y="1067"/>
                  </a:lnTo>
                  <a:lnTo>
                    <a:pt x="2323" y="1047"/>
                  </a:lnTo>
                  <a:lnTo>
                    <a:pt x="2240" y="963"/>
                  </a:lnTo>
                  <a:lnTo>
                    <a:pt x="2177" y="900"/>
                  </a:lnTo>
                  <a:lnTo>
                    <a:pt x="2135" y="733"/>
                  </a:lnTo>
                  <a:lnTo>
                    <a:pt x="2010" y="649"/>
                  </a:lnTo>
                  <a:lnTo>
                    <a:pt x="1759" y="272"/>
                  </a:lnTo>
                  <a:lnTo>
                    <a:pt x="1675" y="84"/>
                  </a:lnTo>
                  <a:lnTo>
                    <a:pt x="159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 name="Google Shape;6066;p93">
              <a:extLst>
                <a:ext uri="{FF2B5EF4-FFF2-40B4-BE49-F238E27FC236}">
                  <a16:creationId xmlns:a16="http://schemas.microsoft.com/office/drawing/2014/main" id="{D7AC0935-C9C7-4459-A378-8F5668926B08}"/>
                </a:ext>
              </a:extLst>
            </p:cNvPr>
            <p:cNvSpPr/>
            <p:nvPr/>
          </p:nvSpPr>
          <p:spPr>
            <a:xfrm>
              <a:off x="4226694" y="2879548"/>
              <a:ext cx="50095" cy="39508"/>
            </a:xfrm>
            <a:custGeom>
              <a:avLst/>
              <a:gdLst/>
              <a:ahLst/>
              <a:cxnLst/>
              <a:rect l="l" t="t" r="r" b="b"/>
              <a:pathLst>
                <a:path w="4207" h="3474" extrusionOk="0">
                  <a:moveTo>
                    <a:pt x="1507" y="0"/>
                  </a:moveTo>
                  <a:lnTo>
                    <a:pt x="1466" y="63"/>
                  </a:lnTo>
                  <a:lnTo>
                    <a:pt x="1403" y="105"/>
                  </a:lnTo>
                  <a:lnTo>
                    <a:pt x="1298" y="105"/>
                  </a:lnTo>
                  <a:lnTo>
                    <a:pt x="1256" y="126"/>
                  </a:lnTo>
                  <a:lnTo>
                    <a:pt x="1152" y="63"/>
                  </a:lnTo>
                  <a:lnTo>
                    <a:pt x="1068" y="63"/>
                  </a:lnTo>
                  <a:lnTo>
                    <a:pt x="1026" y="105"/>
                  </a:lnTo>
                  <a:lnTo>
                    <a:pt x="880" y="293"/>
                  </a:lnTo>
                  <a:lnTo>
                    <a:pt x="629" y="398"/>
                  </a:lnTo>
                  <a:lnTo>
                    <a:pt x="231" y="503"/>
                  </a:lnTo>
                  <a:lnTo>
                    <a:pt x="252" y="586"/>
                  </a:lnTo>
                  <a:lnTo>
                    <a:pt x="1" y="754"/>
                  </a:lnTo>
                  <a:lnTo>
                    <a:pt x="22" y="1005"/>
                  </a:lnTo>
                  <a:lnTo>
                    <a:pt x="106" y="1067"/>
                  </a:lnTo>
                  <a:lnTo>
                    <a:pt x="189" y="1047"/>
                  </a:lnTo>
                  <a:lnTo>
                    <a:pt x="294" y="1005"/>
                  </a:lnTo>
                  <a:lnTo>
                    <a:pt x="419" y="1151"/>
                  </a:lnTo>
                  <a:lnTo>
                    <a:pt x="566" y="1277"/>
                  </a:lnTo>
                  <a:lnTo>
                    <a:pt x="733" y="1360"/>
                  </a:lnTo>
                  <a:lnTo>
                    <a:pt x="754" y="1486"/>
                  </a:lnTo>
                  <a:lnTo>
                    <a:pt x="901" y="1549"/>
                  </a:lnTo>
                  <a:lnTo>
                    <a:pt x="901" y="1674"/>
                  </a:lnTo>
                  <a:lnTo>
                    <a:pt x="754" y="1779"/>
                  </a:lnTo>
                  <a:lnTo>
                    <a:pt x="754" y="1904"/>
                  </a:lnTo>
                  <a:lnTo>
                    <a:pt x="650" y="1946"/>
                  </a:lnTo>
                  <a:lnTo>
                    <a:pt x="650" y="2114"/>
                  </a:lnTo>
                  <a:lnTo>
                    <a:pt x="754" y="2302"/>
                  </a:lnTo>
                  <a:lnTo>
                    <a:pt x="859" y="2679"/>
                  </a:lnTo>
                  <a:lnTo>
                    <a:pt x="880" y="2846"/>
                  </a:lnTo>
                  <a:lnTo>
                    <a:pt x="1089" y="3034"/>
                  </a:lnTo>
                  <a:lnTo>
                    <a:pt x="1298" y="3097"/>
                  </a:lnTo>
                  <a:lnTo>
                    <a:pt x="1507" y="3160"/>
                  </a:lnTo>
                  <a:lnTo>
                    <a:pt x="1570" y="3327"/>
                  </a:lnTo>
                  <a:lnTo>
                    <a:pt x="1759" y="3348"/>
                  </a:lnTo>
                  <a:lnTo>
                    <a:pt x="1884" y="3306"/>
                  </a:lnTo>
                  <a:lnTo>
                    <a:pt x="2031" y="3348"/>
                  </a:lnTo>
                  <a:lnTo>
                    <a:pt x="2031" y="3474"/>
                  </a:lnTo>
                  <a:lnTo>
                    <a:pt x="2093" y="3432"/>
                  </a:lnTo>
                  <a:lnTo>
                    <a:pt x="2240" y="3139"/>
                  </a:lnTo>
                  <a:lnTo>
                    <a:pt x="2428" y="2992"/>
                  </a:lnTo>
                  <a:lnTo>
                    <a:pt x="2554" y="2992"/>
                  </a:lnTo>
                  <a:lnTo>
                    <a:pt x="2637" y="2846"/>
                  </a:lnTo>
                  <a:lnTo>
                    <a:pt x="2763" y="2846"/>
                  </a:lnTo>
                  <a:lnTo>
                    <a:pt x="3077" y="3055"/>
                  </a:lnTo>
                  <a:lnTo>
                    <a:pt x="3244" y="2951"/>
                  </a:lnTo>
                  <a:lnTo>
                    <a:pt x="3391" y="3034"/>
                  </a:lnTo>
                  <a:lnTo>
                    <a:pt x="3453" y="3202"/>
                  </a:lnTo>
                  <a:lnTo>
                    <a:pt x="3600" y="3202"/>
                  </a:lnTo>
                  <a:lnTo>
                    <a:pt x="3851" y="3327"/>
                  </a:lnTo>
                  <a:lnTo>
                    <a:pt x="3997" y="3139"/>
                  </a:lnTo>
                  <a:lnTo>
                    <a:pt x="4102" y="3202"/>
                  </a:lnTo>
                  <a:lnTo>
                    <a:pt x="4123" y="3264"/>
                  </a:lnTo>
                  <a:lnTo>
                    <a:pt x="4207" y="3139"/>
                  </a:lnTo>
                  <a:lnTo>
                    <a:pt x="4165" y="2930"/>
                  </a:lnTo>
                  <a:lnTo>
                    <a:pt x="4102" y="2679"/>
                  </a:lnTo>
                  <a:lnTo>
                    <a:pt x="3955" y="2637"/>
                  </a:lnTo>
                  <a:lnTo>
                    <a:pt x="3851" y="2386"/>
                  </a:lnTo>
                  <a:lnTo>
                    <a:pt x="3851" y="2114"/>
                  </a:lnTo>
                  <a:lnTo>
                    <a:pt x="3767" y="1967"/>
                  </a:lnTo>
                  <a:lnTo>
                    <a:pt x="3579" y="1863"/>
                  </a:lnTo>
                  <a:lnTo>
                    <a:pt x="3432" y="1695"/>
                  </a:lnTo>
                  <a:lnTo>
                    <a:pt x="3328" y="1423"/>
                  </a:lnTo>
                  <a:lnTo>
                    <a:pt x="3139" y="1319"/>
                  </a:lnTo>
                  <a:lnTo>
                    <a:pt x="2909" y="1235"/>
                  </a:lnTo>
                  <a:lnTo>
                    <a:pt x="2867" y="1109"/>
                  </a:lnTo>
                  <a:lnTo>
                    <a:pt x="2763" y="1067"/>
                  </a:lnTo>
                  <a:lnTo>
                    <a:pt x="2554" y="1067"/>
                  </a:lnTo>
                  <a:lnTo>
                    <a:pt x="2323" y="1047"/>
                  </a:lnTo>
                  <a:lnTo>
                    <a:pt x="2240" y="963"/>
                  </a:lnTo>
                  <a:lnTo>
                    <a:pt x="2177" y="900"/>
                  </a:lnTo>
                  <a:lnTo>
                    <a:pt x="2135" y="733"/>
                  </a:lnTo>
                  <a:lnTo>
                    <a:pt x="2010" y="649"/>
                  </a:lnTo>
                  <a:lnTo>
                    <a:pt x="1759" y="272"/>
                  </a:lnTo>
                  <a:lnTo>
                    <a:pt x="1675" y="84"/>
                  </a:lnTo>
                  <a:lnTo>
                    <a:pt x="159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 name="Google Shape;6067;p93">
              <a:extLst>
                <a:ext uri="{FF2B5EF4-FFF2-40B4-BE49-F238E27FC236}">
                  <a16:creationId xmlns:a16="http://schemas.microsoft.com/office/drawing/2014/main" id="{CB7F2180-3B27-4700-9DF3-340A7E60B125}"/>
                </a:ext>
              </a:extLst>
            </p:cNvPr>
            <p:cNvSpPr/>
            <p:nvPr/>
          </p:nvSpPr>
          <p:spPr>
            <a:xfrm>
              <a:off x="4014919" y="2846238"/>
              <a:ext cx="33651" cy="9053"/>
            </a:xfrm>
            <a:custGeom>
              <a:avLst/>
              <a:gdLst/>
              <a:ahLst/>
              <a:cxnLst/>
              <a:rect l="l" t="t" r="r" b="b"/>
              <a:pathLst>
                <a:path w="2826" h="796" extrusionOk="0">
                  <a:moveTo>
                    <a:pt x="2240" y="0"/>
                  </a:moveTo>
                  <a:cubicBezTo>
                    <a:pt x="2240" y="0"/>
                    <a:pt x="1717" y="230"/>
                    <a:pt x="1612" y="230"/>
                  </a:cubicBezTo>
                  <a:cubicBezTo>
                    <a:pt x="1507" y="230"/>
                    <a:pt x="1382" y="105"/>
                    <a:pt x="1382" y="105"/>
                  </a:cubicBezTo>
                  <a:lnTo>
                    <a:pt x="733" y="126"/>
                  </a:lnTo>
                  <a:lnTo>
                    <a:pt x="754" y="293"/>
                  </a:lnTo>
                  <a:cubicBezTo>
                    <a:pt x="775" y="419"/>
                    <a:pt x="231" y="419"/>
                    <a:pt x="22" y="419"/>
                  </a:cubicBezTo>
                  <a:lnTo>
                    <a:pt x="22" y="439"/>
                  </a:lnTo>
                  <a:lnTo>
                    <a:pt x="1" y="481"/>
                  </a:lnTo>
                  <a:lnTo>
                    <a:pt x="85" y="481"/>
                  </a:lnTo>
                  <a:lnTo>
                    <a:pt x="105" y="586"/>
                  </a:lnTo>
                  <a:lnTo>
                    <a:pt x="189" y="586"/>
                  </a:lnTo>
                  <a:lnTo>
                    <a:pt x="231" y="502"/>
                  </a:lnTo>
                  <a:lnTo>
                    <a:pt x="398" y="544"/>
                  </a:lnTo>
                  <a:lnTo>
                    <a:pt x="461" y="544"/>
                  </a:lnTo>
                  <a:lnTo>
                    <a:pt x="545" y="460"/>
                  </a:lnTo>
                  <a:lnTo>
                    <a:pt x="649" y="502"/>
                  </a:lnTo>
                  <a:lnTo>
                    <a:pt x="880" y="711"/>
                  </a:lnTo>
                  <a:lnTo>
                    <a:pt x="984" y="732"/>
                  </a:lnTo>
                  <a:lnTo>
                    <a:pt x="1173" y="691"/>
                  </a:lnTo>
                  <a:lnTo>
                    <a:pt x="1424" y="628"/>
                  </a:lnTo>
                  <a:lnTo>
                    <a:pt x="1507" y="649"/>
                  </a:lnTo>
                  <a:lnTo>
                    <a:pt x="1821" y="649"/>
                  </a:lnTo>
                  <a:lnTo>
                    <a:pt x="1863" y="691"/>
                  </a:lnTo>
                  <a:lnTo>
                    <a:pt x="1863" y="586"/>
                  </a:lnTo>
                  <a:lnTo>
                    <a:pt x="2072" y="502"/>
                  </a:lnTo>
                  <a:lnTo>
                    <a:pt x="2386" y="691"/>
                  </a:lnTo>
                  <a:lnTo>
                    <a:pt x="2595" y="691"/>
                  </a:lnTo>
                  <a:lnTo>
                    <a:pt x="2805" y="795"/>
                  </a:lnTo>
                  <a:lnTo>
                    <a:pt x="2826" y="586"/>
                  </a:lnTo>
                  <a:lnTo>
                    <a:pt x="2742" y="481"/>
                  </a:lnTo>
                  <a:lnTo>
                    <a:pt x="2595" y="377"/>
                  </a:lnTo>
                  <a:lnTo>
                    <a:pt x="2637" y="188"/>
                  </a:lnTo>
                  <a:cubicBezTo>
                    <a:pt x="2628" y="188"/>
                    <a:pt x="2594" y="197"/>
                    <a:pt x="2555" y="197"/>
                  </a:cubicBezTo>
                  <a:cubicBezTo>
                    <a:pt x="2507" y="197"/>
                    <a:pt x="2451" y="184"/>
                    <a:pt x="2428" y="126"/>
                  </a:cubicBezTo>
                  <a:cubicBezTo>
                    <a:pt x="2386" y="21"/>
                    <a:pt x="2240" y="0"/>
                    <a:pt x="2240" y="0"/>
                  </a:cubicBez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 name="Google Shape;6068;p93">
              <a:extLst>
                <a:ext uri="{FF2B5EF4-FFF2-40B4-BE49-F238E27FC236}">
                  <a16:creationId xmlns:a16="http://schemas.microsoft.com/office/drawing/2014/main" id="{52452D6A-C3C6-4B6B-97F2-41B2235035F4}"/>
                </a:ext>
              </a:extLst>
            </p:cNvPr>
            <p:cNvSpPr/>
            <p:nvPr/>
          </p:nvSpPr>
          <p:spPr>
            <a:xfrm>
              <a:off x="4036853" y="2853608"/>
              <a:ext cx="1250" cy="1205"/>
            </a:xfrm>
            <a:custGeom>
              <a:avLst/>
              <a:gdLst/>
              <a:ahLst/>
              <a:cxnLst/>
              <a:rect l="l" t="t" r="r" b="b"/>
              <a:pathLst>
                <a:path w="105" h="106" fill="none" extrusionOk="0">
                  <a:moveTo>
                    <a:pt x="105" y="105"/>
                  </a:moveTo>
                  <a:lnTo>
                    <a:pt x="0" y="1"/>
                  </a:lnTo>
                </a:path>
              </a:pathLst>
            </a:custGeom>
            <a:ln>
              <a:headEnd type="none" w="sm" len="sm"/>
              <a:tailEnd type="none" w="sm" len="s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 name="Google Shape;6069;p93">
              <a:extLst>
                <a:ext uri="{FF2B5EF4-FFF2-40B4-BE49-F238E27FC236}">
                  <a16:creationId xmlns:a16="http://schemas.microsoft.com/office/drawing/2014/main" id="{DFDF4247-8A4B-4735-BFE0-D5770EFD8D70}"/>
                </a:ext>
              </a:extLst>
            </p:cNvPr>
            <p:cNvSpPr/>
            <p:nvPr/>
          </p:nvSpPr>
          <p:spPr>
            <a:xfrm>
              <a:off x="4346543" y="2948318"/>
              <a:ext cx="21183" cy="11907"/>
            </a:xfrm>
            <a:custGeom>
              <a:avLst/>
              <a:gdLst/>
              <a:ahLst/>
              <a:cxnLst/>
              <a:rect l="l" t="t" r="r" b="b"/>
              <a:pathLst>
                <a:path w="1779" h="1047" extrusionOk="0">
                  <a:moveTo>
                    <a:pt x="753" y="0"/>
                  </a:moveTo>
                  <a:lnTo>
                    <a:pt x="586" y="21"/>
                  </a:lnTo>
                  <a:lnTo>
                    <a:pt x="314" y="189"/>
                  </a:lnTo>
                  <a:lnTo>
                    <a:pt x="188" y="440"/>
                  </a:lnTo>
                  <a:lnTo>
                    <a:pt x="63" y="502"/>
                  </a:lnTo>
                  <a:lnTo>
                    <a:pt x="63" y="628"/>
                  </a:lnTo>
                  <a:lnTo>
                    <a:pt x="0" y="733"/>
                  </a:lnTo>
                  <a:lnTo>
                    <a:pt x="105" y="921"/>
                  </a:lnTo>
                  <a:lnTo>
                    <a:pt x="314" y="942"/>
                  </a:lnTo>
                  <a:lnTo>
                    <a:pt x="398" y="879"/>
                  </a:lnTo>
                  <a:lnTo>
                    <a:pt x="691" y="1046"/>
                  </a:lnTo>
                  <a:lnTo>
                    <a:pt x="837" y="1046"/>
                  </a:lnTo>
                  <a:lnTo>
                    <a:pt x="942" y="921"/>
                  </a:lnTo>
                  <a:lnTo>
                    <a:pt x="1067" y="879"/>
                  </a:lnTo>
                  <a:lnTo>
                    <a:pt x="1172" y="942"/>
                  </a:lnTo>
                  <a:lnTo>
                    <a:pt x="1381" y="879"/>
                  </a:lnTo>
                  <a:lnTo>
                    <a:pt x="1549" y="921"/>
                  </a:lnTo>
                  <a:lnTo>
                    <a:pt x="1779" y="837"/>
                  </a:lnTo>
                  <a:lnTo>
                    <a:pt x="1779" y="733"/>
                  </a:lnTo>
                  <a:lnTo>
                    <a:pt x="1779" y="565"/>
                  </a:lnTo>
                  <a:lnTo>
                    <a:pt x="1590" y="502"/>
                  </a:lnTo>
                  <a:lnTo>
                    <a:pt x="1590" y="398"/>
                  </a:lnTo>
                  <a:lnTo>
                    <a:pt x="1632" y="230"/>
                  </a:lnTo>
                  <a:lnTo>
                    <a:pt x="1590" y="230"/>
                  </a:lnTo>
                  <a:lnTo>
                    <a:pt x="1528" y="126"/>
                  </a:lnTo>
                  <a:lnTo>
                    <a:pt x="1360" y="105"/>
                  </a:lnTo>
                  <a:lnTo>
                    <a:pt x="1214" y="189"/>
                  </a:lnTo>
                  <a:lnTo>
                    <a:pt x="1109" y="126"/>
                  </a:lnTo>
                  <a:lnTo>
                    <a:pt x="837" y="105"/>
                  </a:lnTo>
                  <a:lnTo>
                    <a:pt x="75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 name="Google Shape;6070;p93">
              <a:extLst>
                <a:ext uri="{FF2B5EF4-FFF2-40B4-BE49-F238E27FC236}">
                  <a16:creationId xmlns:a16="http://schemas.microsoft.com/office/drawing/2014/main" id="{1911854A-B731-4B8C-B8C7-A842887604F8}"/>
                </a:ext>
              </a:extLst>
            </p:cNvPr>
            <p:cNvSpPr/>
            <p:nvPr/>
          </p:nvSpPr>
          <p:spPr>
            <a:xfrm>
              <a:off x="3878888" y="2847660"/>
              <a:ext cx="16706" cy="13579"/>
            </a:xfrm>
            <a:custGeom>
              <a:avLst/>
              <a:gdLst/>
              <a:ahLst/>
              <a:cxnLst/>
              <a:rect l="l" t="t" r="r" b="b"/>
              <a:pathLst>
                <a:path w="1403" h="1194" extrusionOk="0">
                  <a:moveTo>
                    <a:pt x="900" y="1"/>
                  </a:moveTo>
                  <a:lnTo>
                    <a:pt x="754" y="42"/>
                  </a:lnTo>
                  <a:lnTo>
                    <a:pt x="628" y="42"/>
                  </a:lnTo>
                  <a:lnTo>
                    <a:pt x="419" y="84"/>
                  </a:lnTo>
                  <a:lnTo>
                    <a:pt x="314" y="168"/>
                  </a:lnTo>
                  <a:lnTo>
                    <a:pt x="210" y="189"/>
                  </a:lnTo>
                  <a:lnTo>
                    <a:pt x="42" y="273"/>
                  </a:lnTo>
                  <a:lnTo>
                    <a:pt x="63" y="356"/>
                  </a:lnTo>
                  <a:lnTo>
                    <a:pt x="21" y="398"/>
                  </a:lnTo>
                  <a:lnTo>
                    <a:pt x="21" y="377"/>
                  </a:lnTo>
                  <a:lnTo>
                    <a:pt x="1" y="586"/>
                  </a:lnTo>
                  <a:lnTo>
                    <a:pt x="21" y="796"/>
                  </a:lnTo>
                  <a:lnTo>
                    <a:pt x="126" y="942"/>
                  </a:lnTo>
                  <a:lnTo>
                    <a:pt x="168" y="1089"/>
                  </a:lnTo>
                  <a:lnTo>
                    <a:pt x="314" y="1193"/>
                  </a:lnTo>
                  <a:lnTo>
                    <a:pt x="314" y="1151"/>
                  </a:lnTo>
                  <a:lnTo>
                    <a:pt x="524" y="1026"/>
                  </a:lnTo>
                  <a:lnTo>
                    <a:pt x="691" y="984"/>
                  </a:lnTo>
                  <a:lnTo>
                    <a:pt x="691" y="921"/>
                  </a:lnTo>
                  <a:lnTo>
                    <a:pt x="837" y="838"/>
                  </a:lnTo>
                  <a:lnTo>
                    <a:pt x="1110" y="879"/>
                  </a:lnTo>
                  <a:lnTo>
                    <a:pt x="1256" y="796"/>
                  </a:lnTo>
                  <a:lnTo>
                    <a:pt x="1361" y="775"/>
                  </a:lnTo>
                  <a:lnTo>
                    <a:pt x="1402" y="712"/>
                  </a:lnTo>
                  <a:lnTo>
                    <a:pt x="1402" y="607"/>
                  </a:lnTo>
                  <a:lnTo>
                    <a:pt x="1382" y="461"/>
                  </a:lnTo>
                  <a:lnTo>
                    <a:pt x="1214" y="189"/>
                  </a:lnTo>
                  <a:lnTo>
                    <a:pt x="98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 name="Google Shape;6071;p93">
              <a:extLst>
                <a:ext uri="{FF2B5EF4-FFF2-40B4-BE49-F238E27FC236}">
                  <a16:creationId xmlns:a16="http://schemas.microsoft.com/office/drawing/2014/main" id="{AC4FA942-EF1B-4302-8144-D232F64602CC}"/>
                </a:ext>
              </a:extLst>
            </p:cNvPr>
            <p:cNvSpPr/>
            <p:nvPr/>
          </p:nvSpPr>
          <p:spPr>
            <a:xfrm>
              <a:off x="3865182" y="2817204"/>
              <a:ext cx="27923" cy="34993"/>
            </a:xfrm>
            <a:custGeom>
              <a:avLst/>
              <a:gdLst/>
              <a:ahLst/>
              <a:cxnLst/>
              <a:rect l="l" t="t" r="r" b="b"/>
              <a:pathLst>
                <a:path w="2345" h="3077" extrusionOk="0">
                  <a:moveTo>
                    <a:pt x="461" y="0"/>
                  </a:moveTo>
                  <a:lnTo>
                    <a:pt x="336" y="105"/>
                  </a:lnTo>
                  <a:lnTo>
                    <a:pt x="315" y="147"/>
                  </a:lnTo>
                  <a:lnTo>
                    <a:pt x="210" y="147"/>
                  </a:lnTo>
                  <a:lnTo>
                    <a:pt x="64" y="210"/>
                  </a:lnTo>
                  <a:lnTo>
                    <a:pt x="1" y="272"/>
                  </a:lnTo>
                  <a:lnTo>
                    <a:pt x="22" y="314"/>
                  </a:lnTo>
                  <a:lnTo>
                    <a:pt x="64" y="461"/>
                  </a:lnTo>
                  <a:lnTo>
                    <a:pt x="105" y="628"/>
                  </a:lnTo>
                  <a:lnTo>
                    <a:pt x="168" y="670"/>
                  </a:lnTo>
                  <a:lnTo>
                    <a:pt x="273" y="691"/>
                  </a:lnTo>
                  <a:lnTo>
                    <a:pt x="273" y="754"/>
                  </a:lnTo>
                  <a:lnTo>
                    <a:pt x="231" y="754"/>
                  </a:lnTo>
                  <a:lnTo>
                    <a:pt x="105" y="775"/>
                  </a:lnTo>
                  <a:lnTo>
                    <a:pt x="126" y="879"/>
                  </a:lnTo>
                  <a:lnTo>
                    <a:pt x="147" y="900"/>
                  </a:lnTo>
                  <a:lnTo>
                    <a:pt x="210" y="879"/>
                  </a:lnTo>
                  <a:lnTo>
                    <a:pt x="273" y="879"/>
                  </a:lnTo>
                  <a:lnTo>
                    <a:pt x="252" y="1047"/>
                  </a:lnTo>
                  <a:lnTo>
                    <a:pt x="147" y="1193"/>
                  </a:lnTo>
                  <a:lnTo>
                    <a:pt x="147" y="1277"/>
                  </a:lnTo>
                  <a:lnTo>
                    <a:pt x="315" y="1402"/>
                  </a:lnTo>
                  <a:lnTo>
                    <a:pt x="419" y="1423"/>
                  </a:lnTo>
                  <a:lnTo>
                    <a:pt x="461" y="1486"/>
                  </a:lnTo>
                  <a:lnTo>
                    <a:pt x="440" y="1570"/>
                  </a:lnTo>
                  <a:lnTo>
                    <a:pt x="336" y="1507"/>
                  </a:lnTo>
                  <a:lnTo>
                    <a:pt x="273" y="1528"/>
                  </a:lnTo>
                  <a:lnTo>
                    <a:pt x="273" y="1674"/>
                  </a:lnTo>
                  <a:lnTo>
                    <a:pt x="419" y="1821"/>
                  </a:lnTo>
                  <a:lnTo>
                    <a:pt x="356" y="1842"/>
                  </a:lnTo>
                  <a:lnTo>
                    <a:pt x="482" y="1988"/>
                  </a:lnTo>
                  <a:lnTo>
                    <a:pt x="482" y="2051"/>
                  </a:lnTo>
                  <a:lnTo>
                    <a:pt x="545" y="2135"/>
                  </a:lnTo>
                  <a:lnTo>
                    <a:pt x="670" y="2135"/>
                  </a:lnTo>
                  <a:lnTo>
                    <a:pt x="754" y="2218"/>
                  </a:lnTo>
                  <a:lnTo>
                    <a:pt x="900" y="2239"/>
                  </a:lnTo>
                  <a:lnTo>
                    <a:pt x="900" y="2365"/>
                  </a:lnTo>
                  <a:lnTo>
                    <a:pt x="838" y="2448"/>
                  </a:lnTo>
                  <a:lnTo>
                    <a:pt x="796" y="2511"/>
                  </a:lnTo>
                  <a:lnTo>
                    <a:pt x="859" y="2532"/>
                  </a:lnTo>
                  <a:lnTo>
                    <a:pt x="942" y="2658"/>
                  </a:lnTo>
                  <a:lnTo>
                    <a:pt x="984" y="2658"/>
                  </a:lnTo>
                  <a:lnTo>
                    <a:pt x="1089" y="2741"/>
                  </a:lnTo>
                  <a:lnTo>
                    <a:pt x="1152" y="2846"/>
                  </a:lnTo>
                  <a:lnTo>
                    <a:pt x="1152" y="2992"/>
                  </a:lnTo>
                  <a:lnTo>
                    <a:pt x="1172" y="3076"/>
                  </a:lnTo>
                  <a:lnTo>
                    <a:pt x="1214" y="3034"/>
                  </a:lnTo>
                  <a:lnTo>
                    <a:pt x="1193" y="2951"/>
                  </a:lnTo>
                  <a:lnTo>
                    <a:pt x="1361" y="2867"/>
                  </a:lnTo>
                  <a:lnTo>
                    <a:pt x="1465" y="2846"/>
                  </a:lnTo>
                  <a:lnTo>
                    <a:pt x="1570" y="2762"/>
                  </a:lnTo>
                  <a:lnTo>
                    <a:pt x="1779" y="2720"/>
                  </a:lnTo>
                  <a:lnTo>
                    <a:pt x="1905" y="2720"/>
                  </a:lnTo>
                  <a:lnTo>
                    <a:pt x="2051" y="2679"/>
                  </a:lnTo>
                  <a:lnTo>
                    <a:pt x="2135" y="2679"/>
                  </a:lnTo>
                  <a:lnTo>
                    <a:pt x="2198" y="2574"/>
                  </a:lnTo>
                  <a:lnTo>
                    <a:pt x="2114" y="2469"/>
                  </a:lnTo>
                  <a:lnTo>
                    <a:pt x="2093" y="2365"/>
                  </a:lnTo>
                  <a:lnTo>
                    <a:pt x="2302" y="2197"/>
                  </a:lnTo>
                  <a:lnTo>
                    <a:pt x="2344" y="2051"/>
                  </a:lnTo>
                  <a:lnTo>
                    <a:pt x="2261" y="1925"/>
                  </a:lnTo>
                  <a:lnTo>
                    <a:pt x="2093" y="1737"/>
                  </a:lnTo>
                  <a:lnTo>
                    <a:pt x="2030" y="1507"/>
                  </a:lnTo>
                  <a:lnTo>
                    <a:pt x="2114" y="1423"/>
                  </a:lnTo>
                  <a:lnTo>
                    <a:pt x="2093" y="1319"/>
                  </a:lnTo>
                  <a:lnTo>
                    <a:pt x="2051" y="1193"/>
                  </a:lnTo>
                  <a:lnTo>
                    <a:pt x="2030" y="1109"/>
                  </a:lnTo>
                  <a:lnTo>
                    <a:pt x="2135" y="984"/>
                  </a:lnTo>
                  <a:lnTo>
                    <a:pt x="1926" y="963"/>
                  </a:lnTo>
                  <a:lnTo>
                    <a:pt x="1842" y="1088"/>
                  </a:lnTo>
                  <a:lnTo>
                    <a:pt x="1737" y="1005"/>
                  </a:lnTo>
                  <a:lnTo>
                    <a:pt x="1633" y="1047"/>
                  </a:lnTo>
                  <a:lnTo>
                    <a:pt x="1591" y="963"/>
                  </a:lnTo>
                  <a:lnTo>
                    <a:pt x="1382" y="879"/>
                  </a:lnTo>
                  <a:lnTo>
                    <a:pt x="1361" y="837"/>
                  </a:lnTo>
                  <a:lnTo>
                    <a:pt x="1424" y="691"/>
                  </a:lnTo>
                  <a:lnTo>
                    <a:pt x="1277" y="565"/>
                  </a:lnTo>
                  <a:lnTo>
                    <a:pt x="1110" y="482"/>
                  </a:lnTo>
                  <a:lnTo>
                    <a:pt x="1089" y="377"/>
                  </a:lnTo>
                  <a:lnTo>
                    <a:pt x="900" y="168"/>
                  </a:lnTo>
                  <a:lnTo>
                    <a:pt x="880" y="105"/>
                  </a:lnTo>
                  <a:lnTo>
                    <a:pt x="754" y="63"/>
                  </a:lnTo>
                  <a:lnTo>
                    <a:pt x="670" y="42"/>
                  </a:lnTo>
                  <a:lnTo>
                    <a:pt x="566" y="21"/>
                  </a:lnTo>
                  <a:lnTo>
                    <a:pt x="46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aphicFrame>
        <p:nvGraphicFramePr>
          <p:cNvPr id="11" name="Content Placeholder 10">
            <a:extLst>
              <a:ext uri="{FF2B5EF4-FFF2-40B4-BE49-F238E27FC236}">
                <a16:creationId xmlns:a16="http://schemas.microsoft.com/office/drawing/2014/main" id="{64AD906B-C9AA-4CE5-B8C7-EA83161D6126}"/>
              </a:ext>
            </a:extLst>
          </p:cNvPr>
          <p:cNvGraphicFramePr>
            <a:graphicFrameLocks noGrp="1"/>
          </p:cNvGraphicFramePr>
          <p:nvPr>
            <p:ph idx="1"/>
            <p:extLst>
              <p:ext uri="{D42A27DB-BD31-4B8C-83A1-F6EECF244321}">
                <p14:modId xmlns:p14="http://schemas.microsoft.com/office/powerpoint/2010/main" val="3953530429"/>
              </p:ext>
            </p:extLst>
          </p:nvPr>
        </p:nvGraphicFramePr>
        <p:xfrm>
          <a:off x="1141413" y="2249488"/>
          <a:ext cx="9906000" cy="3541712"/>
        </p:xfrm>
        <a:graphic>
          <a:graphicData uri="http://schemas.openxmlformats.org/drawingml/2006/chart">
            <c:chart xmlns:c="http://schemas.openxmlformats.org/drawingml/2006/chart" xmlns:r="http://schemas.openxmlformats.org/officeDocument/2006/relationships" r:id="rId3"/>
          </a:graphicData>
        </a:graphic>
      </p:graphicFrame>
      <p:sp>
        <p:nvSpPr>
          <p:cNvPr id="14" name="Google Shape;11;p2">
            <a:extLst>
              <a:ext uri="{FF2B5EF4-FFF2-40B4-BE49-F238E27FC236}">
                <a16:creationId xmlns:a16="http://schemas.microsoft.com/office/drawing/2014/main" id="{8E0D89D9-AFEF-40BE-B5EE-946B65F37298}"/>
              </a:ext>
            </a:extLst>
          </p:cNvPr>
          <p:cNvSpPr/>
          <p:nvPr/>
        </p:nvSpPr>
        <p:spPr>
          <a:xfrm rot="1074665" flipH="1">
            <a:off x="5104928" y="-993910"/>
            <a:ext cx="3493975" cy="4013859"/>
          </a:xfrm>
          <a:prstGeom prst="lightningBolt">
            <a:avLst/>
          </a:prstGeom>
          <a:ln/>
          <a:effectLst>
            <a:glow rad="660400">
              <a:schemeClr val="accent1">
                <a:alpha val="40000"/>
              </a:schemeClr>
            </a:glow>
            <a:softEdge rad="0"/>
          </a:effectLst>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Title 6">
            <a:extLst>
              <a:ext uri="{FF2B5EF4-FFF2-40B4-BE49-F238E27FC236}">
                <a16:creationId xmlns:a16="http://schemas.microsoft.com/office/drawing/2014/main" id="{C87A06D3-7BC5-40B0-984A-4369A006BF33}"/>
              </a:ext>
            </a:extLst>
          </p:cNvPr>
          <p:cNvSpPr>
            <a:spLocks noGrp="1"/>
          </p:cNvSpPr>
          <p:nvPr>
            <p:ph type="title"/>
          </p:nvPr>
        </p:nvSpPr>
        <p:spPr>
          <a:effectLst>
            <a:glow>
              <a:schemeClr val="accent1">
                <a:alpha val="40000"/>
              </a:schemeClr>
            </a:glow>
          </a:effectLst>
        </p:spPr>
        <p:txBody>
          <a:bodyPr/>
          <a:lstStyle/>
          <a:p>
            <a:r>
              <a:rPr lang="en-US" dirty="0">
                <a:solidFill>
                  <a:srgbClr val="F7743C"/>
                </a:solidFill>
                <a:latin typeface="Saira SemiCondensed ExtraBold" panose="00000906000000000000" pitchFamily="2" charset="0"/>
              </a:rPr>
              <a:t>Gaming industry rise</a:t>
            </a:r>
          </a:p>
        </p:txBody>
      </p:sp>
      <p:sp>
        <p:nvSpPr>
          <p:cNvPr id="15" name="Arrow: Down 14">
            <a:extLst>
              <a:ext uri="{FF2B5EF4-FFF2-40B4-BE49-F238E27FC236}">
                <a16:creationId xmlns:a16="http://schemas.microsoft.com/office/drawing/2014/main" id="{762C02F2-6A36-4C2E-AEFE-46139FA65F45}"/>
              </a:ext>
            </a:extLst>
          </p:cNvPr>
          <p:cNvSpPr/>
          <p:nvPr/>
        </p:nvSpPr>
        <p:spPr>
          <a:xfrm>
            <a:off x="8646816" y="2695631"/>
            <a:ext cx="484632" cy="97840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DA4787E9-2849-4170-8FC0-1CD684ABE23B}"/>
              </a:ext>
            </a:extLst>
          </p:cNvPr>
          <p:cNvSpPr/>
          <p:nvPr/>
        </p:nvSpPr>
        <p:spPr>
          <a:xfrm>
            <a:off x="7998246" y="2429210"/>
            <a:ext cx="1781770" cy="338554"/>
          </a:xfrm>
          <a:prstGeom prst="rect">
            <a:avLst/>
          </a:prstGeom>
          <a:noFill/>
        </p:spPr>
        <p:txBody>
          <a:bodyPr wrap="none" lIns="91440" tIns="45720" rIns="91440" bIns="45720">
            <a:spAutoFit/>
          </a:bodyPr>
          <a:lstStyle/>
          <a:p>
            <a:pPr algn="ctr"/>
            <a:r>
              <a:rPr lang="en-US" sz="1600" dirty="0">
                <a:ln w="0"/>
                <a:solidFill>
                  <a:schemeClr val="accent1"/>
                </a:solidFill>
                <a:effectLst>
                  <a:outerShdw blurRad="38100" dist="25400" dir="5400000" algn="ctr" rotWithShape="0">
                    <a:srgbClr val="6E747A">
                      <a:alpha val="43000"/>
                    </a:srgbClr>
                  </a:outerShdw>
                </a:effectLst>
              </a:rPr>
              <a:t>Milestone Pandemic</a:t>
            </a:r>
          </a:p>
        </p:txBody>
      </p:sp>
      <p:sp>
        <p:nvSpPr>
          <p:cNvPr id="17" name="Google Shape;1373;p56">
            <a:extLst>
              <a:ext uri="{FF2B5EF4-FFF2-40B4-BE49-F238E27FC236}">
                <a16:creationId xmlns:a16="http://schemas.microsoft.com/office/drawing/2014/main" id="{329D5D16-6AD1-4A87-A74F-54E969A4C158}"/>
              </a:ext>
            </a:extLst>
          </p:cNvPr>
          <p:cNvSpPr/>
          <p:nvPr/>
        </p:nvSpPr>
        <p:spPr>
          <a:xfrm>
            <a:off x="9360932" y="154742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374;p56">
            <a:extLst>
              <a:ext uri="{FF2B5EF4-FFF2-40B4-BE49-F238E27FC236}">
                <a16:creationId xmlns:a16="http://schemas.microsoft.com/office/drawing/2014/main" id="{9AF8A649-742E-4168-A31F-0479AB33CFB8}"/>
              </a:ext>
            </a:extLst>
          </p:cNvPr>
          <p:cNvSpPr/>
          <p:nvPr/>
        </p:nvSpPr>
        <p:spPr>
          <a:xfrm>
            <a:off x="10857811" y="395992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375;p56">
            <a:extLst>
              <a:ext uri="{FF2B5EF4-FFF2-40B4-BE49-F238E27FC236}">
                <a16:creationId xmlns:a16="http://schemas.microsoft.com/office/drawing/2014/main" id="{85DC78EA-9EBB-4514-BD86-9E6A9A943054}"/>
              </a:ext>
            </a:extLst>
          </p:cNvPr>
          <p:cNvSpPr/>
          <p:nvPr/>
        </p:nvSpPr>
        <p:spPr>
          <a:xfrm>
            <a:off x="2106653" y="330261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3" name="Google Shape;1375;p56">
            <a:extLst>
              <a:ext uri="{FF2B5EF4-FFF2-40B4-BE49-F238E27FC236}">
                <a16:creationId xmlns:a16="http://schemas.microsoft.com/office/drawing/2014/main" id="{8F60EBF6-9F70-421A-AD29-1B15623DF850}"/>
              </a:ext>
            </a:extLst>
          </p:cNvPr>
          <p:cNvSpPr/>
          <p:nvPr/>
        </p:nvSpPr>
        <p:spPr>
          <a:xfrm>
            <a:off x="4248099" y="37131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24" name="Group 23">
            <a:extLst>
              <a:ext uri="{FF2B5EF4-FFF2-40B4-BE49-F238E27FC236}">
                <a16:creationId xmlns:a16="http://schemas.microsoft.com/office/drawing/2014/main" id="{E7190B29-F71A-41F7-BE59-BB7B4A6C42BA}"/>
              </a:ext>
            </a:extLst>
          </p:cNvPr>
          <p:cNvGrpSpPr/>
          <p:nvPr/>
        </p:nvGrpSpPr>
        <p:grpSpPr>
          <a:xfrm>
            <a:off x="10645929" y="1434253"/>
            <a:ext cx="802964" cy="667914"/>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25" name="Group 24">
              <a:extLst>
                <a:ext uri="{FF2B5EF4-FFF2-40B4-BE49-F238E27FC236}">
                  <a16:creationId xmlns:a16="http://schemas.microsoft.com/office/drawing/2014/main" id="{C1A0E5B0-6401-4BE5-BA85-1D79FCE42CF7}"/>
                </a:ext>
              </a:extLst>
            </p:cNvPr>
            <p:cNvGrpSpPr/>
            <p:nvPr/>
          </p:nvGrpSpPr>
          <p:grpSpPr>
            <a:xfrm>
              <a:off x="5241585" y="4198069"/>
              <a:ext cx="411449" cy="357382"/>
              <a:chOff x="5241585" y="4198069"/>
              <a:chExt cx="411449" cy="357382"/>
            </a:xfrm>
          </p:grpSpPr>
          <p:sp>
            <p:nvSpPr>
              <p:cNvPr id="27" name="Google Shape;658;p48">
                <a:extLst>
                  <a:ext uri="{FF2B5EF4-FFF2-40B4-BE49-F238E27FC236}">
                    <a16:creationId xmlns:a16="http://schemas.microsoft.com/office/drawing/2014/main" id="{38640CF8-6A66-414F-9B6A-3DC8B494AB21}"/>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59;p48">
                <a:extLst>
                  <a:ext uri="{FF2B5EF4-FFF2-40B4-BE49-F238E27FC236}">
                    <a16:creationId xmlns:a16="http://schemas.microsoft.com/office/drawing/2014/main" id="{ED3EDF64-0398-40F5-9A85-4407D255FEC9}"/>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9" name="Google Shape;660;p48">
                <a:extLst>
                  <a:ext uri="{FF2B5EF4-FFF2-40B4-BE49-F238E27FC236}">
                    <a16:creationId xmlns:a16="http://schemas.microsoft.com/office/drawing/2014/main" id="{9D6E0010-5CB2-4770-93A0-E72E693F977B}"/>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6" name="Google Shape;661;p48">
              <a:extLst>
                <a:ext uri="{FF2B5EF4-FFF2-40B4-BE49-F238E27FC236}">
                  <a16:creationId xmlns:a16="http://schemas.microsoft.com/office/drawing/2014/main" id="{842495D0-A1C9-42FD-AC58-18DA7820FB56}"/>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32719109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45" name="Google Shape;12;p2">
            <a:extLst>
              <a:ext uri="{FF2B5EF4-FFF2-40B4-BE49-F238E27FC236}">
                <a16:creationId xmlns:a16="http://schemas.microsoft.com/office/drawing/2014/main" id="{1A06647C-1C5A-4E0F-971D-BC7E48967C53}"/>
              </a:ext>
            </a:extLst>
          </p:cNvPr>
          <p:cNvSpPr/>
          <p:nvPr/>
        </p:nvSpPr>
        <p:spPr>
          <a:xfrm rot="4514952">
            <a:off x="9846143" y="-185643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Text Placeholder 2">
            <a:extLst>
              <a:ext uri="{FF2B5EF4-FFF2-40B4-BE49-F238E27FC236}">
                <a16:creationId xmlns:a16="http://schemas.microsoft.com/office/drawing/2014/main" id="{870A1FA2-5F43-4239-95BC-337A4B4E5AE0}"/>
              </a:ext>
            </a:extLst>
          </p:cNvPr>
          <p:cNvSpPr>
            <a:spLocks noGrp="1"/>
          </p:cNvSpPr>
          <p:nvPr>
            <p:ph type="body" idx="1"/>
          </p:nvPr>
        </p:nvSpPr>
        <p:spPr/>
        <p:txBody>
          <a:bodyPr/>
          <a:lstStyle/>
          <a:p>
            <a:r>
              <a:rPr lang="en-US" b="1" dirty="0">
                <a:latin typeface="Sora" pitchFamily="2" charset="0"/>
                <a:cs typeface="Sora" pitchFamily="2" charset="0"/>
              </a:rPr>
              <a:t>Arcade</a:t>
            </a:r>
          </a:p>
        </p:txBody>
      </p:sp>
      <p:pic>
        <p:nvPicPr>
          <p:cNvPr id="21" name="Picture Placeholder 20">
            <a:extLst>
              <a:ext uri="{FF2B5EF4-FFF2-40B4-BE49-F238E27FC236}">
                <a16:creationId xmlns:a16="http://schemas.microsoft.com/office/drawing/2014/main" id="{9C7C6DA4-2B78-413A-8393-5A0EF16F9615}"/>
              </a:ext>
            </a:extLst>
          </p:cNvPr>
          <p:cNvPicPr>
            <a:picLocks noGrp="1" noChangeAspect="1"/>
          </p:cNvPicPr>
          <p:nvPr>
            <p:ph type="pic" idx="15"/>
          </p:nvPr>
        </p:nvPicPr>
        <p:blipFill>
          <a:blip r:embed="rId3">
            <a:extLst>
              <a:ext uri="{837473B0-CC2E-450A-ABE3-18F120FF3D39}">
                <a1611:picAttrSrcUrl xmlns:a1611="http://schemas.microsoft.com/office/drawing/2016/11/main" r:id="rId4"/>
              </a:ext>
            </a:extLst>
          </a:blip>
          <a:srcRect t="18203" b="18203"/>
          <a:stretch/>
        </p:blipFill>
        <p:spPr>
          <a:xfrm>
            <a:off x="1141413" y="2666998"/>
            <a:ext cx="3195240" cy="1524000"/>
          </a:xfrm>
        </p:spPr>
      </p:pic>
      <p:sp>
        <p:nvSpPr>
          <p:cNvPr id="5" name="Text Placeholder 4">
            <a:extLst>
              <a:ext uri="{FF2B5EF4-FFF2-40B4-BE49-F238E27FC236}">
                <a16:creationId xmlns:a16="http://schemas.microsoft.com/office/drawing/2014/main" id="{2DE1A19D-7F90-4454-B880-807B56855BED}"/>
              </a:ext>
            </a:extLst>
          </p:cNvPr>
          <p:cNvSpPr>
            <a:spLocks noGrp="1"/>
          </p:cNvSpPr>
          <p:nvPr>
            <p:ph type="body" sz="half" idx="18"/>
          </p:nvPr>
        </p:nvSpPr>
        <p:spPr/>
        <p:txBody>
          <a:bodyPr>
            <a:normAutofit/>
          </a:bodyPr>
          <a:lstStyle/>
          <a:p>
            <a:r>
              <a:rPr lang="en-US" dirty="0">
                <a:latin typeface="Sora" pitchFamily="2" charset="0"/>
                <a:cs typeface="Sora" pitchFamily="2" charset="0"/>
              </a:rPr>
              <a:t>Entertainment</a:t>
            </a:r>
          </a:p>
        </p:txBody>
      </p:sp>
      <p:sp>
        <p:nvSpPr>
          <p:cNvPr id="6" name="Text Placeholder 5">
            <a:extLst>
              <a:ext uri="{FF2B5EF4-FFF2-40B4-BE49-F238E27FC236}">
                <a16:creationId xmlns:a16="http://schemas.microsoft.com/office/drawing/2014/main" id="{0D174BEC-5009-4C77-8817-D281BF019582}"/>
              </a:ext>
            </a:extLst>
          </p:cNvPr>
          <p:cNvSpPr>
            <a:spLocks noGrp="1"/>
          </p:cNvSpPr>
          <p:nvPr>
            <p:ph type="body" sz="quarter" idx="3"/>
          </p:nvPr>
        </p:nvSpPr>
        <p:spPr/>
        <p:txBody>
          <a:bodyPr/>
          <a:lstStyle/>
          <a:p>
            <a:r>
              <a:rPr lang="en-US" b="1" dirty="0">
                <a:latin typeface="Sora" pitchFamily="2" charset="0"/>
                <a:cs typeface="Sora" pitchFamily="2" charset="0"/>
              </a:rPr>
              <a:t>Console</a:t>
            </a:r>
          </a:p>
        </p:txBody>
      </p:sp>
      <p:pic>
        <p:nvPicPr>
          <p:cNvPr id="24" name="Picture Placeholder 23">
            <a:extLst>
              <a:ext uri="{FF2B5EF4-FFF2-40B4-BE49-F238E27FC236}">
                <a16:creationId xmlns:a16="http://schemas.microsoft.com/office/drawing/2014/main" id="{54B5C7F5-F6EB-41A9-AD19-D2EA47E63CD3}"/>
              </a:ext>
            </a:extLst>
          </p:cNvPr>
          <p:cNvPicPr>
            <a:picLocks noGrp="1" noChangeAspect="1"/>
          </p:cNvPicPr>
          <p:nvPr>
            <p:ph type="pic" idx="21"/>
          </p:nvPr>
        </p:nvPicPr>
        <p:blipFill>
          <a:blip r:embed="rId5"/>
          <a:srcRect t="7631" b="7631"/>
          <a:stretch>
            <a:fillRect/>
          </a:stretch>
        </p:blipFill>
        <p:spPr/>
      </p:pic>
      <p:sp>
        <p:nvSpPr>
          <p:cNvPr id="8" name="Text Placeholder 7">
            <a:extLst>
              <a:ext uri="{FF2B5EF4-FFF2-40B4-BE49-F238E27FC236}">
                <a16:creationId xmlns:a16="http://schemas.microsoft.com/office/drawing/2014/main" id="{09462B87-F26D-488A-980F-C30858AE819E}"/>
              </a:ext>
            </a:extLst>
          </p:cNvPr>
          <p:cNvSpPr>
            <a:spLocks noGrp="1"/>
          </p:cNvSpPr>
          <p:nvPr>
            <p:ph type="body" sz="half" idx="19"/>
          </p:nvPr>
        </p:nvSpPr>
        <p:spPr/>
        <p:txBody>
          <a:bodyPr>
            <a:normAutofit/>
          </a:bodyPr>
          <a:lstStyle/>
          <a:p>
            <a:r>
              <a:rPr lang="en-US" dirty="0">
                <a:latin typeface="Sora" pitchFamily="2" charset="0"/>
                <a:cs typeface="Sora" pitchFamily="2" charset="0"/>
              </a:rPr>
              <a:t>Entertainment</a:t>
            </a:r>
          </a:p>
        </p:txBody>
      </p:sp>
      <p:sp>
        <p:nvSpPr>
          <p:cNvPr id="9" name="Text Placeholder 8">
            <a:extLst>
              <a:ext uri="{FF2B5EF4-FFF2-40B4-BE49-F238E27FC236}">
                <a16:creationId xmlns:a16="http://schemas.microsoft.com/office/drawing/2014/main" id="{BE0E6B5E-3A5F-4584-88E5-54AA09D8AC75}"/>
              </a:ext>
            </a:extLst>
          </p:cNvPr>
          <p:cNvSpPr>
            <a:spLocks noGrp="1"/>
          </p:cNvSpPr>
          <p:nvPr>
            <p:ph type="body" sz="quarter" idx="13"/>
          </p:nvPr>
        </p:nvSpPr>
        <p:spPr/>
        <p:txBody>
          <a:bodyPr/>
          <a:lstStyle/>
          <a:p>
            <a:r>
              <a:rPr lang="en-US" b="1" dirty="0">
                <a:latin typeface="Sora" pitchFamily="2" charset="0"/>
                <a:cs typeface="Sora" pitchFamily="2" charset="0"/>
              </a:rPr>
              <a:t>mobile</a:t>
            </a:r>
          </a:p>
        </p:txBody>
      </p:sp>
      <p:pic>
        <p:nvPicPr>
          <p:cNvPr id="29" name="Picture Placeholder 28">
            <a:extLst>
              <a:ext uri="{FF2B5EF4-FFF2-40B4-BE49-F238E27FC236}">
                <a16:creationId xmlns:a16="http://schemas.microsoft.com/office/drawing/2014/main" id="{28B6DD6B-ACF4-4F23-97ED-4CA0F95799D5}"/>
              </a:ext>
            </a:extLst>
          </p:cNvPr>
          <p:cNvPicPr>
            <a:picLocks noGrp="1" noChangeAspect="1"/>
          </p:cNvPicPr>
          <p:nvPr>
            <p:ph type="pic" idx="22"/>
          </p:nvPr>
        </p:nvPicPr>
        <p:blipFill>
          <a:blip r:embed="rId6">
            <a:extLst>
              <a:ext uri="{837473B0-CC2E-450A-ABE3-18F120FF3D39}">
                <a1611:picAttrSrcUrl xmlns:a1611="http://schemas.microsoft.com/office/drawing/2016/11/main" r:id="rId7"/>
              </a:ext>
            </a:extLst>
          </a:blip>
          <a:srcRect t="7607" b="7607"/>
          <a:stretch/>
        </p:blipFill>
        <p:spPr>
          <a:xfrm>
            <a:off x="7852442" y="2666998"/>
            <a:ext cx="3194969" cy="1524000"/>
          </a:xfrm>
        </p:spPr>
      </p:pic>
      <p:sp>
        <p:nvSpPr>
          <p:cNvPr id="11" name="Text Placeholder 10">
            <a:extLst>
              <a:ext uri="{FF2B5EF4-FFF2-40B4-BE49-F238E27FC236}">
                <a16:creationId xmlns:a16="http://schemas.microsoft.com/office/drawing/2014/main" id="{EA9F649A-19E6-4983-BAA8-F0CDC95B7ABA}"/>
              </a:ext>
            </a:extLst>
          </p:cNvPr>
          <p:cNvSpPr>
            <a:spLocks noGrp="1"/>
          </p:cNvSpPr>
          <p:nvPr>
            <p:ph type="body" sz="half" idx="20"/>
          </p:nvPr>
        </p:nvSpPr>
        <p:spPr>
          <a:xfrm>
            <a:off x="7852441" y="4980854"/>
            <a:ext cx="3198145" cy="810345"/>
          </a:xfrm>
        </p:spPr>
        <p:txBody>
          <a:bodyPr>
            <a:normAutofit/>
          </a:bodyPr>
          <a:lstStyle/>
          <a:p>
            <a:r>
              <a:rPr lang="en-US" sz="1200" dirty="0">
                <a:latin typeface="Sora" pitchFamily="2" charset="0"/>
                <a:cs typeface="Sora" pitchFamily="2" charset="0"/>
              </a:rPr>
              <a:t>2D/3D gaming on a 2D screen to </a:t>
            </a:r>
            <a:r>
              <a:rPr lang="en-US" sz="1200" dirty="0">
                <a:solidFill>
                  <a:srgbClr val="448B91"/>
                </a:solidFill>
                <a:latin typeface="Sora" pitchFamily="2" charset="0"/>
                <a:cs typeface="Sora" pitchFamily="2" charset="0"/>
              </a:rPr>
              <a:t>AR</a:t>
            </a:r>
            <a:r>
              <a:rPr lang="en-US" sz="1200" dirty="0">
                <a:latin typeface="Sora" pitchFamily="2" charset="0"/>
                <a:cs typeface="Sora" pitchFamily="2" charset="0"/>
              </a:rPr>
              <a:t> + Online social life by reading data</a:t>
            </a:r>
          </a:p>
        </p:txBody>
      </p:sp>
      <p:sp>
        <p:nvSpPr>
          <p:cNvPr id="22" name="TextBox 21">
            <a:extLst>
              <a:ext uri="{FF2B5EF4-FFF2-40B4-BE49-F238E27FC236}">
                <a16:creationId xmlns:a16="http://schemas.microsoft.com/office/drawing/2014/main" id="{E72D40A8-E793-426A-9986-A331AB623D64}"/>
              </a:ext>
            </a:extLst>
          </p:cNvPr>
          <p:cNvSpPr txBox="1"/>
          <p:nvPr/>
        </p:nvSpPr>
        <p:spPr>
          <a:xfrm>
            <a:off x="1141413" y="4190998"/>
            <a:ext cx="3195240" cy="230832"/>
          </a:xfrm>
          <a:prstGeom prst="rect">
            <a:avLst/>
          </a:prstGeom>
          <a:noFill/>
        </p:spPr>
        <p:txBody>
          <a:bodyPr wrap="square" rtlCol="0">
            <a:spAutoFit/>
          </a:bodyPr>
          <a:lstStyle/>
          <a:p>
            <a:r>
              <a:rPr lang="en-US" sz="900">
                <a:hlinkClick r:id="rId4" tooltip="https://www.flickr.com/photos/40168038@N08/36005328171"/>
              </a:rPr>
              <a:t>This Photo</a:t>
            </a:r>
            <a:r>
              <a:rPr lang="en-US" sz="900"/>
              <a:t> by Unknown Author is licensed under </a:t>
            </a:r>
            <a:r>
              <a:rPr lang="en-US" sz="900">
                <a:hlinkClick r:id="rId8" tooltip="https://creativecommons.org/licenses/by-sa/3.0/"/>
              </a:rPr>
              <a:t>CC BY-SA</a:t>
            </a:r>
            <a:endParaRPr lang="en-US" sz="900"/>
          </a:p>
        </p:txBody>
      </p:sp>
      <p:sp>
        <p:nvSpPr>
          <p:cNvPr id="25" name="Arrow: Right 24">
            <a:extLst>
              <a:ext uri="{FF2B5EF4-FFF2-40B4-BE49-F238E27FC236}">
                <a16:creationId xmlns:a16="http://schemas.microsoft.com/office/drawing/2014/main" id="{0F029EBF-B44E-4C19-8FFE-4B1DAE3A44A3}"/>
              </a:ext>
            </a:extLst>
          </p:cNvPr>
          <p:cNvSpPr/>
          <p:nvPr/>
        </p:nvSpPr>
        <p:spPr>
          <a:xfrm>
            <a:off x="2148396" y="1768935"/>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Arrow: Right 25">
            <a:extLst>
              <a:ext uri="{FF2B5EF4-FFF2-40B4-BE49-F238E27FC236}">
                <a16:creationId xmlns:a16="http://schemas.microsoft.com/office/drawing/2014/main" id="{CE10364B-FEDA-477C-90FA-6919CD54BD09}"/>
              </a:ext>
            </a:extLst>
          </p:cNvPr>
          <p:cNvSpPr/>
          <p:nvPr/>
        </p:nvSpPr>
        <p:spPr>
          <a:xfrm>
            <a:off x="5434614" y="1743691"/>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Arrow: Right 26">
            <a:extLst>
              <a:ext uri="{FF2B5EF4-FFF2-40B4-BE49-F238E27FC236}">
                <a16:creationId xmlns:a16="http://schemas.microsoft.com/office/drawing/2014/main" id="{7A2A5D18-85D3-4213-9579-8CEB30F67045}"/>
              </a:ext>
            </a:extLst>
          </p:cNvPr>
          <p:cNvSpPr/>
          <p:nvPr/>
        </p:nvSpPr>
        <p:spPr>
          <a:xfrm>
            <a:off x="8888027" y="1774585"/>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extBox 29">
            <a:extLst>
              <a:ext uri="{FF2B5EF4-FFF2-40B4-BE49-F238E27FC236}">
                <a16:creationId xmlns:a16="http://schemas.microsoft.com/office/drawing/2014/main" id="{A7357E85-73E6-4DC7-8822-4440A9A1CD2B}"/>
              </a:ext>
            </a:extLst>
          </p:cNvPr>
          <p:cNvSpPr txBox="1"/>
          <p:nvPr/>
        </p:nvSpPr>
        <p:spPr>
          <a:xfrm>
            <a:off x="7852442" y="4190998"/>
            <a:ext cx="3194969" cy="230832"/>
          </a:xfrm>
          <a:prstGeom prst="rect">
            <a:avLst/>
          </a:prstGeom>
          <a:noFill/>
        </p:spPr>
        <p:txBody>
          <a:bodyPr wrap="square" rtlCol="0">
            <a:spAutoFit/>
          </a:bodyPr>
          <a:lstStyle/>
          <a:p>
            <a:r>
              <a:rPr lang="en-US" sz="900">
                <a:hlinkClick r:id="rId7" tooltip="https://netivist.org/debate/pokemon-go-pros-and-cons"/>
              </a:rPr>
              <a:t>This Photo</a:t>
            </a:r>
            <a:r>
              <a:rPr lang="en-US" sz="900"/>
              <a:t> by Unknown Author is licensed under </a:t>
            </a:r>
            <a:r>
              <a:rPr lang="en-US" sz="900">
                <a:hlinkClick r:id="rId9" tooltip="https://creativecommons.org/licenses/by-nc-sa/3.0/"/>
              </a:rPr>
              <a:t>CC BY-SA-NC</a:t>
            </a:r>
            <a:endParaRPr lang="en-US" sz="900"/>
          </a:p>
        </p:txBody>
      </p:sp>
      <p:graphicFrame>
        <p:nvGraphicFramePr>
          <p:cNvPr id="41" name="Diagram 40">
            <a:extLst>
              <a:ext uri="{FF2B5EF4-FFF2-40B4-BE49-F238E27FC236}">
                <a16:creationId xmlns:a16="http://schemas.microsoft.com/office/drawing/2014/main" id="{42DC0C6C-E985-4B37-9132-7CF756D09DB1}"/>
              </a:ext>
            </a:extLst>
          </p:cNvPr>
          <p:cNvGraphicFramePr/>
          <p:nvPr>
            <p:extLst>
              <p:ext uri="{D42A27DB-BD31-4B8C-83A1-F6EECF244321}">
                <p14:modId xmlns:p14="http://schemas.microsoft.com/office/powerpoint/2010/main" val="3261262709"/>
              </p:ext>
            </p:extLst>
          </p:nvPr>
        </p:nvGraphicFramePr>
        <p:xfrm>
          <a:off x="1148692" y="5644363"/>
          <a:ext cx="9901894" cy="918353"/>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sp>
        <p:nvSpPr>
          <p:cNvPr id="46" name="Google Shape;1373;p56">
            <a:extLst>
              <a:ext uri="{FF2B5EF4-FFF2-40B4-BE49-F238E27FC236}">
                <a16:creationId xmlns:a16="http://schemas.microsoft.com/office/drawing/2014/main" id="{6121E138-3F7A-42B6-A4C4-00F258075306}"/>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374;p56">
            <a:extLst>
              <a:ext uri="{FF2B5EF4-FFF2-40B4-BE49-F238E27FC236}">
                <a16:creationId xmlns:a16="http://schemas.microsoft.com/office/drawing/2014/main" id="{58DA82A5-1313-4FAC-ADC4-7AC06B4F5E16}"/>
              </a:ext>
            </a:extLst>
          </p:cNvPr>
          <p:cNvSpPr/>
          <p:nvPr/>
        </p:nvSpPr>
        <p:spPr>
          <a:xfrm>
            <a:off x="7040302" y="23457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375;p56">
            <a:extLst>
              <a:ext uri="{FF2B5EF4-FFF2-40B4-BE49-F238E27FC236}">
                <a16:creationId xmlns:a16="http://schemas.microsoft.com/office/drawing/2014/main" id="{A84DD289-F257-4F65-8EF2-02054589E1BD}"/>
              </a:ext>
            </a:extLst>
          </p:cNvPr>
          <p:cNvSpPr/>
          <p:nvPr/>
        </p:nvSpPr>
        <p:spPr>
          <a:xfrm>
            <a:off x="2681425" y="449210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9" name="Google Shape;1375;p56">
            <a:extLst>
              <a:ext uri="{FF2B5EF4-FFF2-40B4-BE49-F238E27FC236}">
                <a16:creationId xmlns:a16="http://schemas.microsoft.com/office/drawing/2014/main" id="{B4A5D491-A361-4B40-B8BE-370F0BB8ED1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0" name="Google Shape;1373;p56">
            <a:extLst>
              <a:ext uri="{FF2B5EF4-FFF2-40B4-BE49-F238E27FC236}">
                <a16:creationId xmlns:a16="http://schemas.microsoft.com/office/drawing/2014/main" id="{603C48C0-E68B-48D5-80C0-E7326CA4E383}"/>
              </a:ext>
            </a:extLst>
          </p:cNvPr>
          <p:cNvSpPr/>
          <p:nvPr/>
        </p:nvSpPr>
        <p:spPr>
          <a:xfrm>
            <a:off x="6549970" y="3876357"/>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375;p56">
            <a:extLst>
              <a:ext uri="{FF2B5EF4-FFF2-40B4-BE49-F238E27FC236}">
                <a16:creationId xmlns:a16="http://schemas.microsoft.com/office/drawing/2014/main" id="{2762DFF7-BE12-4181-BEDE-6FEB9812497B}"/>
              </a:ext>
            </a:extLst>
          </p:cNvPr>
          <p:cNvSpPr/>
          <p:nvPr/>
        </p:nvSpPr>
        <p:spPr>
          <a:xfrm>
            <a:off x="10760960" y="463107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8" name="Title 1">
            <a:extLst>
              <a:ext uri="{FF2B5EF4-FFF2-40B4-BE49-F238E27FC236}">
                <a16:creationId xmlns:a16="http://schemas.microsoft.com/office/drawing/2014/main" id="{B8E8170F-D016-4E94-8E25-006EA0B7A49C}"/>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Flow of gaming/Simulation evolution (1)</a:t>
            </a:r>
          </a:p>
        </p:txBody>
      </p:sp>
    </p:spTree>
    <p:extLst>
      <p:ext uri="{BB962C8B-B14F-4D97-AF65-F5344CB8AC3E}">
        <p14:creationId xmlns:p14="http://schemas.microsoft.com/office/powerpoint/2010/main" val="344764342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70A1FA2-5F43-4239-95BC-337A4B4E5AE0}"/>
              </a:ext>
            </a:extLst>
          </p:cNvPr>
          <p:cNvSpPr>
            <a:spLocks noGrp="1"/>
          </p:cNvSpPr>
          <p:nvPr>
            <p:ph type="body" idx="1"/>
          </p:nvPr>
        </p:nvSpPr>
        <p:spPr/>
        <p:txBody>
          <a:bodyPr/>
          <a:lstStyle/>
          <a:p>
            <a:r>
              <a:rPr lang="en-US" b="1" dirty="0">
                <a:latin typeface="Sora" pitchFamily="2" charset="0"/>
                <a:cs typeface="Sora" pitchFamily="2" charset="0"/>
              </a:rPr>
              <a:t>Virtual reality</a:t>
            </a:r>
          </a:p>
        </p:txBody>
      </p:sp>
      <p:pic>
        <p:nvPicPr>
          <p:cNvPr id="21" name="Picture Placeholder 20">
            <a:extLst>
              <a:ext uri="{FF2B5EF4-FFF2-40B4-BE49-F238E27FC236}">
                <a16:creationId xmlns:a16="http://schemas.microsoft.com/office/drawing/2014/main" id="{9C7C6DA4-2B78-413A-8393-5A0EF16F9615}"/>
              </a:ext>
            </a:extLst>
          </p:cNvPr>
          <p:cNvPicPr>
            <a:picLocks noGrp="1" noChangeAspect="1"/>
          </p:cNvPicPr>
          <p:nvPr>
            <p:ph type="pic" idx="15"/>
          </p:nvPr>
        </p:nvPicPr>
        <p:blipFill>
          <a:blip r:embed="rId3">
            <a:extLst>
              <a:ext uri="{837473B0-CC2E-450A-ABE3-18F120FF3D39}">
                <a1611:picAttrSrcUrl xmlns:a1611="http://schemas.microsoft.com/office/drawing/2016/11/main" r:id="rId4"/>
              </a:ext>
            </a:extLst>
          </a:blip>
          <a:srcRect t="7604" b="7604"/>
          <a:stretch/>
        </p:blipFill>
        <p:spPr>
          <a:xfrm>
            <a:off x="1141413" y="2666998"/>
            <a:ext cx="3195240" cy="1524000"/>
          </a:xfrm>
        </p:spPr>
      </p:pic>
      <p:sp>
        <p:nvSpPr>
          <p:cNvPr id="5" name="Text Placeholder 4">
            <a:extLst>
              <a:ext uri="{FF2B5EF4-FFF2-40B4-BE49-F238E27FC236}">
                <a16:creationId xmlns:a16="http://schemas.microsoft.com/office/drawing/2014/main" id="{2DE1A19D-7F90-4454-B880-807B56855BED}"/>
              </a:ext>
            </a:extLst>
          </p:cNvPr>
          <p:cNvSpPr>
            <a:spLocks noGrp="1"/>
          </p:cNvSpPr>
          <p:nvPr>
            <p:ph type="body" sz="half" idx="18"/>
          </p:nvPr>
        </p:nvSpPr>
        <p:spPr/>
        <p:txBody>
          <a:bodyPr/>
          <a:lstStyle/>
          <a:p>
            <a:r>
              <a:rPr lang="en-US" dirty="0">
                <a:latin typeface="Sora" pitchFamily="2" charset="0"/>
                <a:cs typeface="Sora" pitchFamily="2" charset="0"/>
              </a:rPr>
              <a:t>Entertainment + Simulations to Healthcare &amp; Sciences (STEM)</a:t>
            </a:r>
          </a:p>
        </p:txBody>
      </p:sp>
      <p:sp>
        <p:nvSpPr>
          <p:cNvPr id="6" name="Text Placeholder 5">
            <a:extLst>
              <a:ext uri="{FF2B5EF4-FFF2-40B4-BE49-F238E27FC236}">
                <a16:creationId xmlns:a16="http://schemas.microsoft.com/office/drawing/2014/main" id="{0D174BEC-5009-4C77-8817-D281BF019582}"/>
              </a:ext>
            </a:extLst>
          </p:cNvPr>
          <p:cNvSpPr>
            <a:spLocks noGrp="1"/>
          </p:cNvSpPr>
          <p:nvPr>
            <p:ph type="body" sz="quarter" idx="3"/>
          </p:nvPr>
        </p:nvSpPr>
        <p:spPr>
          <a:xfrm>
            <a:off x="4376708" y="4242055"/>
            <a:ext cx="3200400" cy="576262"/>
          </a:xfrm>
        </p:spPr>
        <p:txBody>
          <a:bodyPr/>
          <a:lstStyle/>
          <a:p>
            <a:r>
              <a:rPr lang="en-US" b="1" dirty="0">
                <a:latin typeface="Sora" pitchFamily="2" charset="0"/>
                <a:cs typeface="Sora" pitchFamily="2" charset="0"/>
              </a:rPr>
              <a:t>Metaverse/s</a:t>
            </a:r>
          </a:p>
        </p:txBody>
      </p:sp>
      <p:pic>
        <p:nvPicPr>
          <p:cNvPr id="24" name="Picture Placeholder 23">
            <a:extLst>
              <a:ext uri="{FF2B5EF4-FFF2-40B4-BE49-F238E27FC236}">
                <a16:creationId xmlns:a16="http://schemas.microsoft.com/office/drawing/2014/main" id="{54B5C7F5-F6EB-41A9-AD19-D2EA47E63CD3}"/>
              </a:ext>
            </a:extLst>
          </p:cNvPr>
          <p:cNvPicPr>
            <a:picLocks noGrp="1" noChangeAspect="1"/>
          </p:cNvPicPr>
          <p:nvPr>
            <p:ph type="pic" idx="21"/>
          </p:nvPr>
        </p:nvPicPr>
        <p:blipFill>
          <a:blip r:embed="rId5"/>
          <a:srcRect l="5716" r="5716"/>
          <a:stretch/>
        </p:blipFill>
        <p:spPr>
          <a:xfrm>
            <a:off x="4489053" y="2666998"/>
            <a:ext cx="3198940" cy="1524000"/>
          </a:xfrm>
        </p:spPr>
      </p:pic>
      <p:sp>
        <p:nvSpPr>
          <p:cNvPr id="9" name="Text Placeholder 8">
            <a:extLst>
              <a:ext uri="{FF2B5EF4-FFF2-40B4-BE49-F238E27FC236}">
                <a16:creationId xmlns:a16="http://schemas.microsoft.com/office/drawing/2014/main" id="{BE0E6B5E-3A5F-4584-88E5-54AA09D8AC75}"/>
              </a:ext>
            </a:extLst>
          </p:cNvPr>
          <p:cNvSpPr>
            <a:spLocks noGrp="1"/>
          </p:cNvSpPr>
          <p:nvPr>
            <p:ph type="body" sz="quarter" idx="13"/>
          </p:nvPr>
        </p:nvSpPr>
        <p:spPr/>
        <p:txBody>
          <a:bodyPr/>
          <a:lstStyle/>
          <a:p>
            <a:r>
              <a:rPr lang="en-US" b="1" dirty="0">
                <a:latin typeface="Sora" pitchFamily="2" charset="0"/>
                <a:cs typeface="Sora" pitchFamily="2" charset="0"/>
              </a:rPr>
              <a:t>Multi-verse</a:t>
            </a:r>
          </a:p>
        </p:txBody>
      </p:sp>
      <p:pic>
        <p:nvPicPr>
          <p:cNvPr id="29" name="Picture Placeholder 28">
            <a:extLst>
              <a:ext uri="{FF2B5EF4-FFF2-40B4-BE49-F238E27FC236}">
                <a16:creationId xmlns:a16="http://schemas.microsoft.com/office/drawing/2014/main" id="{28B6DD6B-ACF4-4F23-97ED-4CA0F95799D5}"/>
              </a:ext>
            </a:extLst>
          </p:cNvPr>
          <p:cNvPicPr>
            <a:picLocks noGrp="1" noChangeAspect="1"/>
          </p:cNvPicPr>
          <p:nvPr>
            <p:ph type="pic" idx="22"/>
          </p:nvPr>
        </p:nvPicPr>
        <p:blipFill>
          <a:blip r:embed="rId6">
            <a:extLst>
              <a:ext uri="{837473B0-CC2E-450A-ABE3-18F120FF3D39}">
                <a1611:picAttrSrcUrl xmlns:a1611="http://schemas.microsoft.com/office/drawing/2016/11/main" r:id="rId7"/>
              </a:ext>
            </a:extLst>
          </a:blip>
          <a:srcRect t="4571" b="4571"/>
          <a:stretch/>
        </p:blipFill>
        <p:spPr>
          <a:xfrm>
            <a:off x="7852442" y="2666998"/>
            <a:ext cx="3194969" cy="1524000"/>
          </a:xfrm>
        </p:spPr>
      </p:pic>
      <p:sp>
        <p:nvSpPr>
          <p:cNvPr id="11" name="Text Placeholder 10">
            <a:extLst>
              <a:ext uri="{FF2B5EF4-FFF2-40B4-BE49-F238E27FC236}">
                <a16:creationId xmlns:a16="http://schemas.microsoft.com/office/drawing/2014/main" id="{EA9F649A-19E6-4983-BAA8-F0CDC95B7ABA}"/>
              </a:ext>
            </a:extLst>
          </p:cNvPr>
          <p:cNvSpPr>
            <a:spLocks noGrp="1"/>
          </p:cNvSpPr>
          <p:nvPr>
            <p:ph type="body" sz="half" idx="20"/>
          </p:nvPr>
        </p:nvSpPr>
        <p:spPr/>
        <p:txBody>
          <a:bodyPr/>
          <a:lstStyle/>
          <a:p>
            <a:r>
              <a:rPr lang="en-US" dirty="0">
                <a:latin typeface="Sora" pitchFamily="2" charset="0"/>
                <a:cs typeface="Sora" pitchFamily="2" charset="0"/>
              </a:rPr>
              <a:t>X Life Simulations, Dimensions, Origin</a:t>
            </a:r>
          </a:p>
          <a:p>
            <a:endParaRPr lang="en-US" dirty="0"/>
          </a:p>
        </p:txBody>
      </p:sp>
      <p:sp>
        <p:nvSpPr>
          <p:cNvPr id="22" name="TextBox 21">
            <a:extLst>
              <a:ext uri="{FF2B5EF4-FFF2-40B4-BE49-F238E27FC236}">
                <a16:creationId xmlns:a16="http://schemas.microsoft.com/office/drawing/2014/main" id="{E72D40A8-E793-426A-9986-A331AB623D64}"/>
              </a:ext>
            </a:extLst>
          </p:cNvPr>
          <p:cNvSpPr txBox="1"/>
          <p:nvPr/>
        </p:nvSpPr>
        <p:spPr>
          <a:xfrm>
            <a:off x="1141413" y="4190998"/>
            <a:ext cx="3195240" cy="230832"/>
          </a:xfrm>
          <a:prstGeom prst="rect">
            <a:avLst/>
          </a:prstGeom>
          <a:noFill/>
        </p:spPr>
        <p:txBody>
          <a:bodyPr wrap="square" rtlCol="0">
            <a:spAutoFit/>
          </a:bodyPr>
          <a:lstStyle/>
          <a:p>
            <a:r>
              <a:rPr lang="en-US" sz="900">
                <a:hlinkClick r:id="rId4" tooltip="http://www.playstationblast.com.br/2017/02/playstation-vr-vendas.html"/>
              </a:rPr>
              <a:t>This Photo</a:t>
            </a:r>
            <a:r>
              <a:rPr lang="en-US" sz="900"/>
              <a:t> by Unknown Author is licensed under </a:t>
            </a:r>
            <a:r>
              <a:rPr lang="en-US" sz="900">
                <a:hlinkClick r:id="rId8" tooltip="https://creativecommons.org/licenses/by-sa/3.0/"/>
              </a:rPr>
              <a:t>CC BY-SA</a:t>
            </a:r>
            <a:endParaRPr lang="en-US" sz="900"/>
          </a:p>
        </p:txBody>
      </p:sp>
      <p:sp>
        <p:nvSpPr>
          <p:cNvPr id="25" name="Arrow: Right 24">
            <a:extLst>
              <a:ext uri="{FF2B5EF4-FFF2-40B4-BE49-F238E27FC236}">
                <a16:creationId xmlns:a16="http://schemas.microsoft.com/office/drawing/2014/main" id="{0F029EBF-B44E-4C19-8FFE-4B1DAE3A44A3}"/>
              </a:ext>
            </a:extLst>
          </p:cNvPr>
          <p:cNvSpPr/>
          <p:nvPr/>
        </p:nvSpPr>
        <p:spPr>
          <a:xfrm>
            <a:off x="2148396" y="1768935"/>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Arrow: Right 25">
            <a:extLst>
              <a:ext uri="{FF2B5EF4-FFF2-40B4-BE49-F238E27FC236}">
                <a16:creationId xmlns:a16="http://schemas.microsoft.com/office/drawing/2014/main" id="{CE10364B-FEDA-477C-90FA-6919CD54BD09}"/>
              </a:ext>
            </a:extLst>
          </p:cNvPr>
          <p:cNvSpPr/>
          <p:nvPr/>
        </p:nvSpPr>
        <p:spPr>
          <a:xfrm>
            <a:off x="5434614" y="1743691"/>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20A4CB61-5A5E-452E-8098-BC00D3AD5098}"/>
              </a:ext>
            </a:extLst>
          </p:cNvPr>
          <p:cNvSpPr txBox="1"/>
          <p:nvPr/>
        </p:nvSpPr>
        <p:spPr>
          <a:xfrm>
            <a:off x="7852442" y="4190998"/>
            <a:ext cx="3194969" cy="230832"/>
          </a:xfrm>
          <a:prstGeom prst="rect">
            <a:avLst/>
          </a:prstGeom>
          <a:noFill/>
        </p:spPr>
        <p:txBody>
          <a:bodyPr wrap="square" rtlCol="0">
            <a:spAutoFit/>
          </a:bodyPr>
          <a:lstStyle/>
          <a:p>
            <a:r>
              <a:rPr lang="en-US" sz="900">
                <a:hlinkClick r:id="rId7" tooltip="https://www.universetoday.com/77523/multiverse/"/>
              </a:rPr>
              <a:t>This Photo</a:t>
            </a:r>
            <a:r>
              <a:rPr lang="en-US" sz="900"/>
              <a:t> by Unknown Author is licensed under </a:t>
            </a:r>
            <a:r>
              <a:rPr lang="en-US" sz="900">
                <a:hlinkClick r:id="rId9" tooltip="https://creativecommons.org/licenses/by/3.0/"/>
              </a:rPr>
              <a:t>CC BY</a:t>
            </a:r>
            <a:endParaRPr lang="en-US" sz="900"/>
          </a:p>
        </p:txBody>
      </p:sp>
      <p:pic>
        <p:nvPicPr>
          <p:cNvPr id="10" name="Graphic 9" descr="Question mark with solid fill">
            <a:extLst>
              <a:ext uri="{FF2B5EF4-FFF2-40B4-BE49-F238E27FC236}">
                <a16:creationId xmlns:a16="http://schemas.microsoft.com/office/drawing/2014/main" id="{4BADF866-FC1B-4C18-907C-B0A061F30E8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065198" y="1495912"/>
            <a:ext cx="914400" cy="914400"/>
          </a:xfrm>
          <a:prstGeom prst="rect">
            <a:avLst/>
          </a:prstGeom>
        </p:spPr>
      </p:pic>
      <p:graphicFrame>
        <p:nvGraphicFramePr>
          <p:cNvPr id="31" name="Diagram 30">
            <a:extLst>
              <a:ext uri="{FF2B5EF4-FFF2-40B4-BE49-F238E27FC236}">
                <a16:creationId xmlns:a16="http://schemas.microsoft.com/office/drawing/2014/main" id="{19A7787D-8FA7-4826-B3CC-9C1993651DFA}"/>
              </a:ext>
            </a:extLst>
          </p:cNvPr>
          <p:cNvGraphicFramePr/>
          <p:nvPr>
            <p:extLst>
              <p:ext uri="{D42A27DB-BD31-4B8C-83A1-F6EECF244321}">
                <p14:modId xmlns:p14="http://schemas.microsoft.com/office/powerpoint/2010/main" val="3143389660"/>
              </p:ext>
            </p:extLst>
          </p:nvPr>
        </p:nvGraphicFramePr>
        <p:xfrm>
          <a:off x="1148692" y="5652509"/>
          <a:ext cx="9901894" cy="918353"/>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374;p56">
            <a:extLst>
              <a:ext uri="{FF2B5EF4-FFF2-40B4-BE49-F238E27FC236}">
                <a16:creationId xmlns:a16="http://schemas.microsoft.com/office/drawing/2014/main" id="{7470D08A-FB9C-483A-B9BD-C7BD9DB2C7F5}"/>
              </a:ext>
            </a:extLst>
          </p:cNvPr>
          <p:cNvSpPr/>
          <p:nvPr/>
        </p:nvSpPr>
        <p:spPr>
          <a:xfrm>
            <a:off x="7040302" y="23457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7" name="Google Shape;1375;p56">
            <a:extLst>
              <a:ext uri="{FF2B5EF4-FFF2-40B4-BE49-F238E27FC236}">
                <a16:creationId xmlns:a16="http://schemas.microsoft.com/office/drawing/2014/main" id="{85BD761D-E644-4984-B12C-BB0F9A0E5506}"/>
              </a:ext>
            </a:extLst>
          </p:cNvPr>
          <p:cNvSpPr/>
          <p:nvPr/>
        </p:nvSpPr>
        <p:spPr>
          <a:xfrm>
            <a:off x="10760960" y="463107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 name="Text Placeholder 7">
            <a:extLst>
              <a:ext uri="{FF2B5EF4-FFF2-40B4-BE49-F238E27FC236}">
                <a16:creationId xmlns:a16="http://schemas.microsoft.com/office/drawing/2014/main" id="{09462B87-F26D-488A-980F-C30858AE819E}"/>
              </a:ext>
            </a:extLst>
          </p:cNvPr>
          <p:cNvSpPr>
            <a:spLocks noGrp="1"/>
          </p:cNvSpPr>
          <p:nvPr>
            <p:ph type="body" sz="half" idx="19"/>
          </p:nvPr>
        </p:nvSpPr>
        <p:spPr>
          <a:xfrm>
            <a:off x="4376708" y="4655776"/>
            <a:ext cx="3852892" cy="970528"/>
          </a:xfrm>
        </p:spPr>
        <p:txBody>
          <a:bodyPr>
            <a:noAutofit/>
          </a:bodyPr>
          <a:lstStyle/>
          <a:p>
            <a:r>
              <a:rPr lang="en-US" sz="1300" dirty="0">
                <a:latin typeface="Sora" pitchFamily="2" charset="0"/>
                <a:cs typeface="Sora" pitchFamily="2" charset="0"/>
              </a:rPr>
              <a:t>Second Life of everything, Inside Data, Dematerialization of physical space, distances and objects not only a virtual 2D/3D world.</a:t>
            </a:r>
          </a:p>
        </p:txBody>
      </p:sp>
      <p:sp>
        <p:nvSpPr>
          <p:cNvPr id="27" name="Title 1">
            <a:extLst>
              <a:ext uri="{FF2B5EF4-FFF2-40B4-BE49-F238E27FC236}">
                <a16:creationId xmlns:a16="http://schemas.microsoft.com/office/drawing/2014/main" id="{86700653-4BEA-485F-9A29-D19E34EDD349}"/>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Flow of gaming/Simulation evolution (2)</a:t>
            </a:r>
          </a:p>
        </p:txBody>
      </p:sp>
    </p:spTree>
    <p:extLst>
      <p:ext uri="{BB962C8B-B14F-4D97-AF65-F5344CB8AC3E}">
        <p14:creationId xmlns:p14="http://schemas.microsoft.com/office/powerpoint/2010/main" val="423704949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5" name="Text Placeholder 4">
                <a:extLst>
                  <a:ext uri="{FF2B5EF4-FFF2-40B4-BE49-F238E27FC236}">
                    <a16:creationId xmlns:a16="http://schemas.microsoft.com/office/drawing/2014/main" id="{2DE1A19D-7F90-4454-B880-807B56855BED}"/>
                  </a:ext>
                </a:extLst>
              </p:cNvPr>
              <p:cNvSpPr>
                <a:spLocks noGrp="1"/>
              </p:cNvSpPr>
              <p:nvPr>
                <p:ph type="body" sz="half" idx="4294967295"/>
              </p:nvPr>
            </p:nvSpPr>
            <p:spPr>
              <a:xfrm>
                <a:off x="6530036" y="5960630"/>
                <a:ext cx="4294981" cy="603030"/>
              </a:xfrm>
            </p:spPr>
            <p:txBody>
              <a:bodyPr>
                <a:normAutofit/>
              </a:bodyPr>
              <a:lstStyle/>
              <a:p>
                <a:pPr algn="ctr"/>
                <a:r>
                  <a:rPr lang="en-US" sz="1200" dirty="0">
                    <a:latin typeface="Sora" pitchFamily="2" charset="0"/>
                    <a:cs typeface="Sora" pitchFamily="2" charset="0"/>
                  </a:rPr>
                  <a:t>XR = extended reality (XR </a:t>
                </a:r>
                <a14:m>
                  <m:oMath xmlns:m="http://schemas.openxmlformats.org/officeDocument/2006/math">
                    <m:r>
                      <a:rPr lang="en-US" sz="1200" i="1" smtClean="0">
                        <a:latin typeface="Cambria Math" panose="02040503050406030204" pitchFamily="18" charset="0"/>
                        <a:ea typeface="Cambria Math" panose="02040503050406030204" pitchFamily="18" charset="0"/>
                        <a:cs typeface="Sora" pitchFamily="2" charset="0"/>
                      </a:rPr>
                      <m:t>⊃</m:t>
                    </m:r>
                  </m:oMath>
                </a14:m>
                <a:r>
                  <a:rPr lang="en-US" sz="1200" dirty="0">
                    <a:latin typeface="Sora" pitchFamily="2" charset="0"/>
                    <a:cs typeface="Sora" pitchFamily="2" charset="0"/>
                  </a:rPr>
                  <a:t> AR,VR)</a:t>
                </a:r>
              </a:p>
            </p:txBody>
          </p:sp>
        </mc:Choice>
        <mc:Fallback xmlns="">
          <p:sp>
            <p:nvSpPr>
              <p:cNvPr id="5" name="Text Placeholder 4">
                <a:extLst>
                  <a:ext uri="{FF2B5EF4-FFF2-40B4-BE49-F238E27FC236}">
                    <a16:creationId xmlns:a16="http://schemas.microsoft.com/office/drawing/2014/main" id="{2DE1A19D-7F90-4454-B880-807B56855BED}"/>
                  </a:ext>
                </a:extLst>
              </p:cNvPr>
              <p:cNvSpPr>
                <a:spLocks noGrp="1" noRot="1" noChangeAspect="1" noMove="1" noResize="1" noEditPoints="1" noAdjustHandles="1" noChangeArrowheads="1" noChangeShapeType="1" noTextEdit="1"/>
              </p:cNvSpPr>
              <p:nvPr>
                <p:ph type="body" sz="half" idx="4294967295"/>
              </p:nvPr>
            </p:nvSpPr>
            <p:spPr>
              <a:xfrm>
                <a:off x="6530036" y="5960630"/>
                <a:ext cx="4294981" cy="603030"/>
              </a:xfrm>
              <a:blipFill>
                <a:blip r:embed="rId3"/>
                <a:stretch>
                  <a:fillRect t="-9091"/>
                </a:stretch>
              </a:blipFill>
            </p:spPr>
            <p:txBody>
              <a:bodyPr/>
              <a:lstStyle/>
              <a:p>
                <a:r>
                  <a:rPr lang="en-US">
                    <a:noFill/>
                  </a:rPr>
                  <a:t> </a:t>
                </a:r>
              </a:p>
            </p:txBody>
          </p:sp>
        </mc:Fallback>
      </mc:AlternateContent>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aphicFrame>
        <p:nvGraphicFramePr>
          <p:cNvPr id="44" name="Diagram 43">
            <a:extLst>
              <a:ext uri="{FF2B5EF4-FFF2-40B4-BE49-F238E27FC236}">
                <a16:creationId xmlns:a16="http://schemas.microsoft.com/office/drawing/2014/main" id="{5F9002B9-3071-42A5-BCEC-4876E369771A}"/>
              </a:ext>
            </a:extLst>
          </p:cNvPr>
          <p:cNvGraphicFramePr/>
          <p:nvPr>
            <p:extLst>
              <p:ext uri="{D42A27DB-BD31-4B8C-83A1-F6EECF244321}">
                <p14:modId xmlns:p14="http://schemas.microsoft.com/office/powerpoint/2010/main" val="390270435"/>
              </p:ext>
            </p:extLst>
          </p:nvPr>
        </p:nvGraphicFramePr>
        <p:xfrm>
          <a:off x="3048000" y="1698721"/>
          <a:ext cx="6096000" cy="426190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51" name="Title 1">
            <a:extLst>
              <a:ext uri="{FF2B5EF4-FFF2-40B4-BE49-F238E27FC236}">
                <a16:creationId xmlns:a16="http://schemas.microsoft.com/office/drawing/2014/main" id="{DDB72E9B-B8E9-4B0B-ADBD-4E2147CB4609}"/>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Flow of gaming/Simulation evolution (3)</a:t>
            </a:r>
          </a:p>
        </p:txBody>
      </p:sp>
    </p:spTree>
    <p:extLst>
      <p:ext uri="{BB962C8B-B14F-4D97-AF65-F5344CB8AC3E}">
        <p14:creationId xmlns:p14="http://schemas.microsoft.com/office/powerpoint/2010/main" val="364546283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1" name="Title 1">
            <a:extLst>
              <a:ext uri="{FF2B5EF4-FFF2-40B4-BE49-F238E27FC236}">
                <a16:creationId xmlns:a16="http://schemas.microsoft.com/office/drawing/2014/main" id="{DDB72E9B-B8E9-4B0B-ADBD-4E2147CB4609}"/>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Flow of gaming/Simulation evolution (4)</a:t>
            </a:r>
          </a:p>
        </p:txBody>
      </p:sp>
      <p:pic>
        <p:nvPicPr>
          <p:cNvPr id="1026" name="Picture 2" descr="The Metaverse Value-Chain. Trillions of dollars are pouring into… | by Jon  Radoff | Building the Metaverse | Medium">
            <a:extLst>
              <a:ext uri="{FF2B5EF4-FFF2-40B4-BE49-F238E27FC236}">
                <a16:creationId xmlns:a16="http://schemas.microsoft.com/office/drawing/2014/main" id="{4A60C9C8-096C-4D5D-8DDD-36748C8BE95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17747" y="1140880"/>
            <a:ext cx="7553325" cy="5143500"/>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09989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4595B39-E600-4717-B213-F955D2D88471}"/>
              </a:ext>
            </a:extLst>
          </p:cNvPr>
          <p:cNvSpPr txBox="1"/>
          <p:nvPr/>
        </p:nvSpPr>
        <p:spPr>
          <a:xfrm>
            <a:off x="1126837" y="573315"/>
            <a:ext cx="8153616" cy="523220"/>
          </a:xfrm>
          <a:prstGeom prst="rect">
            <a:avLst/>
          </a:prstGeom>
          <a:noFill/>
        </p:spPr>
        <p:txBody>
          <a:bodyPr wrap="square" rtlCol="0">
            <a:spAutoFit/>
          </a:bodyPr>
          <a:lstStyle/>
          <a:p>
            <a:r>
              <a:rPr lang="el-GR" sz="2800" b="1" dirty="0">
                <a:latin typeface="Arial" panose="020B0604020202020204" pitchFamily="34" charset="0"/>
                <a:cs typeface="Arial" panose="020B0604020202020204" pitchFamily="34" charset="0"/>
              </a:rPr>
              <a:t>Σχετικά με εμένα:</a:t>
            </a:r>
            <a:endParaRPr lang="en-US" sz="2800" b="1" dirty="0">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2E27E404-D380-4CC8-BF16-6894D1159FDF}"/>
              </a:ext>
            </a:extLst>
          </p:cNvPr>
          <p:cNvSpPr txBox="1"/>
          <p:nvPr/>
        </p:nvSpPr>
        <p:spPr>
          <a:xfrm>
            <a:off x="1126837" y="1307007"/>
            <a:ext cx="10812615" cy="3785652"/>
          </a:xfrm>
          <a:prstGeom prst="rect">
            <a:avLst/>
          </a:prstGeom>
          <a:noFill/>
        </p:spPr>
        <p:txBody>
          <a:bodyPr wrap="square" rtlCol="0">
            <a:spAutoFit/>
          </a:bodyPr>
          <a:lstStyle/>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3</a:t>
            </a:r>
            <a:r>
              <a:rPr lang="el-GR" sz="2400" baseline="30000" dirty="0">
                <a:latin typeface="Arial" panose="020B0604020202020204" pitchFamily="34" charset="0"/>
                <a:cs typeface="Arial" panose="020B0604020202020204" pitchFamily="34" charset="0"/>
              </a:rPr>
              <a:t>ο</a:t>
            </a:r>
            <a:r>
              <a:rPr lang="el-GR" sz="2400" dirty="0">
                <a:latin typeface="Arial" panose="020B0604020202020204" pitchFamily="34" charset="0"/>
                <a:cs typeface="Arial" panose="020B0604020202020204" pitchFamily="34" charset="0"/>
              </a:rPr>
              <a:t> έτος</a:t>
            </a:r>
            <a:r>
              <a:rPr lang="en-US" sz="2400" dirty="0">
                <a:latin typeface="Arial" panose="020B0604020202020204" pitchFamily="34" charset="0"/>
                <a:cs typeface="Arial" panose="020B0604020202020204" pitchFamily="34" charset="0"/>
              </a:rPr>
              <a:t> BSc Computer Science </a:t>
            </a:r>
            <a:r>
              <a:rPr lang="el-GR" sz="2400" dirty="0">
                <a:latin typeface="Arial" panose="020B0604020202020204" pitchFamily="34" charset="0"/>
                <a:cs typeface="Arial" panose="020B0604020202020204" pitchFamily="34" charset="0"/>
              </a:rPr>
              <a:t>στο Μητροπολιτικό κολλέγιο</a:t>
            </a:r>
            <a:endParaRPr lang="en-US"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Former internship </a:t>
            </a:r>
            <a:r>
              <a:rPr lang="el-GR" sz="2400" dirty="0">
                <a:latin typeface="Arial" panose="020B0604020202020204" pitchFamily="34" charset="0"/>
                <a:cs typeface="Arial" panose="020B0604020202020204" pitchFamily="34" charset="0"/>
              </a:rPr>
              <a:t>«</a:t>
            </a:r>
            <a:r>
              <a:rPr lang="en-US" sz="2400" dirty="0">
                <a:latin typeface="Arial" panose="020B0604020202020204" pitchFamily="34" charset="0"/>
                <a:cs typeface="Arial" panose="020B0604020202020204" pitchFamily="34" charset="0"/>
              </a:rPr>
              <a:t>Internet Service Provider Network Engineer</a:t>
            </a:r>
            <a:r>
              <a:rPr lang="el-GR" sz="2400" dirty="0">
                <a:latin typeface="Arial" panose="020B0604020202020204" pitchFamily="34" charset="0"/>
                <a:cs typeface="Arial" panose="020B0604020202020204" pitchFamily="34" charset="0"/>
              </a:rPr>
              <a:t>»</a:t>
            </a:r>
            <a:endParaRPr lang="en-US"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Unreal Engine Game Developer</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VR/AR</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Multiplayer driven</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Gameplay Mechanics</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Sound Effect Artist</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Visual Effect Artist</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3D Architectural Visualization &amp; modeling</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Producer &amp; Digital Content Creator </a:t>
            </a:r>
            <a:r>
              <a:rPr lang="en-US" dirty="0">
                <a:latin typeface="Arial" panose="020B0604020202020204" pitchFamily="34" charset="0"/>
                <a:cs typeface="Arial" panose="020B0604020202020204" pitchFamily="34" charset="0"/>
              </a:rPr>
              <a:t>(</a:t>
            </a:r>
            <a:r>
              <a:rPr lang="en-US" i="1" dirty="0">
                <a:latin typeface="Arial" panose="020B0604020202020204" pitchFamily="34" charset="0"/>
                <a:cs typeface="Arial" panose="020B0604020202020204" pitchFamily="34" charset="0"/>
              </a:rPr>
              <a:t>YouTube, Unreal Engine &amp; Google Play marketplace</a:t>
            </a:r>
            <a:r>
              <a:rPr lang="en-US" dirty="0">
                <a:latin typeface="Arial" panose="020B0604020202020204" pitchFamily="34" charset="0"/>
                <a:cs typeface="Arial" panose="020B0604020202020204" pitchFamily="34" charset="0"/>
              </a:rPr>
              <a:t>)</a:t>
            </a:r>
            <a:endParaRPr lang="en-US" sz="2400" dirty="0">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D78500E5-73B5-46F6-BD48-CBFD4C825C42}"/>
              </a:ext>
            </a:extLst>
          </p:cNvPr>
          <p:cNvSpPr txBox="1"/>
          <p:nvPr/>
        </p:nvSpPr>
        <p:spPr>
          <a:xfrm>
            <a:off x="1126837" y="5303131"/>
            <a:ext cx="7073537" cy="1200329"/>
          </a:xfrm>
          <a:prstGeom prst="rect">
            <a:avLst/>
          </a:prstGeom>
          <a:noFill/>
        </p:spPr>
        <p:txBody>
          <a:bodyPr wrap="square">
            <a:spAutoFit/>
          </a:bodyPr>
          <a:lstStyle/>
          <a:p>
            <a:r>
              <a:rPr lang="en-US" sz="2400" dirty="0">
                <a:latin typeface="Arial" panose="020B0604020202020204" pitchFamily="34" charset="0"/>
                <a:cs typeface="Arial" panose="020B0604020202020204" pitchFamily="34" charset="0"/>
              </a:rPr>
              <a:t>Portfolio: </a:t>
            </a:r>
            <a:r>
              <a:rPr lang="en-US" sz="2400" dirty="0">
                <a:latin typeface="Arial" panose="020B0604020202020204" pitchFamily="34" charset="0"/>
                <a:cs typeface="Arial" panose="020B0604020202020204" pitchFamily="34" charset="0"/>
                <a:hlinkClick r:id="rId3"/>
              </a:rPr>
              <a:t>https://github.com/michailmarkou1995</a:t>
            </a:r>
            <a:endParaRPr lang="en-US" sz="2400" dirty="0">
              <a:latin typeface="Arial" panose="020B0604020202020204" pitchFamily="34" charset="0"/>
              <a:cs typeface="Arial" panose="020B0604020202020204" pitchFamily="34" charset="0"/>
            </a:endParaRPr>
          </a:p>
          <a:p>
            <a:r>
              <a:rPr lang="en-US" sz="2400" dirty="0">
                <a:latin typeface="Arial" panose="020B0604020202020204" pitchFamily="34" charset="0"/>
                <a:cs typeface="Arial" panose="020B0604020202020204" pitchFamily="34" charset="0"/>
              </a:rPr>
              <a:t>E-mail: </a:t>
            </a:r>
            <a:r>
              <a:rPr lang="en-US" sz="2400" dirty="0">
                <a:latin typeface="Arial" panose="020B0604020202020204" pitchFamily="34" charset="0"/>
                <a:cs typeface="Arial" panose="020B0604020202020204" pitchFamily="34" charset="0"/>
                <a:hlinkClick r:id="rId4"/>
              </a:rPr>
              <a:t>mmarkou19b@amcstudent.edu.gr</a:t>
            </a:r>
            <a:endParaRPr lang="en-US" sz="2400" dirty="0">
              <a:latin typeface="Arial" panose="020B0604020202020204" pitchFamily="34" charset="0"/>
              <a:cs typeface="Arial" panose="020B0604020202020204" pitchFamily="34" charset="0"/>
            </a:endParaRPr>
          </a:p>
          <a:p>
            <a:endParaRPr lang="en-US" sz="2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1568713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1" name="Title 1">
            <a:extLst>
              <a:ext uri="{FF2B5EF4-FFF2-40B4-BE49-F238E27FC236}">
                <a16:creationId xmlns:a16="http://schemas.microsoft.com/office/drawing/2014/main" id="{DDB72E9B-B8E9-4B0B-ADBD-4E2147CB4609}"/>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Flow of gaming/Simulation evolution (5)</a:t>
            </a:r>
          </a:p>
        </p:txBody>
      </p:sp>
      <p:pic>
        <p:nvPicPr>
          <p:cNvPr id="2050" name="Picture 2">
            <a:extLst>
              <a:ext uri="{FF2B5EF4-FFF2-40B4-BE49-F238E27FC236}">
                <a16:creationId xmlns:a16="http://schemas.microsoft.com/office/drawing/2014/main" id="{CAA5264D-F95A-4B76-ABA2-8495718ED7C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72777" y="1186069"/>
            <a:ext cx="6046445" cy="5242440"/>
          </a:xfrm>
          <a:prstGeom prst="rect">
            <a:avLst/>
          </a:prstGeom>
          <a:ln w="88900" cap="sq" cmpd="thickThin">
            <a:solidFill>
              <a:srgbClr val="000000"/>
            </a:solidFill>
            <a:prstDash val="solid"/>
            <a:miter lim="800000"/>
          </a:ln>
          <a:effectLst>
            <a:innerShdw blurRad="76200">
              <a:srgbClr val="000000"/>
            </a:innerShdw>
          </a:effectLst>
          <a:extLst>
            <a:ext uri="{909E8E84-426E-40DD-AFC4-6F175D3DCCD1}">
              <a14:hiddenFill xmlns:a14="http://schemas.microsoft.com/office/drawing/2010/main">
                <a:solidFill>
                  <a:srgbClr val="FFFFFF"/>
                </a:solidFill>
              </a14:hiddenFill>
            </a:ext>
          </a:extLst>
        </p:spPr>
      </p:pic>
      <p:sp>
        <p:nvSpPr>
          <p:cNvPr id="8" name="Google Shape;2083;p69">
            <a:extLst>
              <a:ext uri="{FF2B5EF4-FFF2-40B4-BE49-F238E27FC236}">
                <a16:creationId xmlns:a16="http://schemas.microsoft.com/office/drawing/2014/main" id="{6702413D-F3B6-45DC-A4ED-8EAEB140DF20}"/>
              </a:ext>
            </a:extLst>
          </p:cNvPr>
          <p:cNvSpPr txBox="1">
            <a:spLocks/>
          </p:cNvSpPr>
          <p:nvPr/>
        </p:nvSpPr>
        <p:spPr>
          <a:xfrm flipH="1">
            <a:off x="1111156" y="3429000"/>
            <a:ext cx="1991877" cy="5670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indent="0" defTabSz="914400">
              <a:buClr>
                <a:schemeClr val="tx1"/>
              </a:buClr>
              <a:buSzPts val="1100"/>
            </a:pPr>
            <a:r>
              <a:rPr lang="en-US" b="1" kern="0" dirty="0">
                <a:solidFill>
                  <a:srgbClr val="D5FA68"/>
                </a:solidFill>
              </a:rPr>
              <a:t>Steps to Enable</a:t>
            </a:r>
            <a:endParaRPr kumimoji="0" lang="en-US" sz="1400" b="1" i="0" u="none" strike="noStrike" kern="0" cap="none" spc="0" normalizeH="0" baseline="0" noProof="0" dirty="0">
              <a:ln>
                <a:noFill/>
              </a:ln>
              <a:solidFill>
                <a:srgbClr val="D5FA68"/>
              </a:solidFill>
              <a:effectLst/>
              <a:uLnTx/>
              <a:uFillTx/>
              <a:latin typeface="Sora"/>
              <a:cs typeface="Sora"/>
              <a:sym typeface="Sora"/>
            </a:endParaRPr>
          </a:p>
        </p:txBody>
      </p:sp>
      <p:sp>
        <p:nvSpPr>
          <p:cNvPr id="9" name="Google Shape;2083;p69">
            <a:extLst>
              <a:ext uri="{FF2B5EF4-FFF2-40B4-BE49-F238E27FC236}">
                <a16:creationId xmlns:a16="http://schemas.microsoft.com/office/drawing/2014/main" id="{606C25DF-B1D6-4D97-BE19-478393B50CF5}"/>
              </a:ext>
            </a:extLst>
          </p:cNvPr>
          <p:cNvSpPr txBox="1">
            <a:spLocks/>
          </p:cNvSpPr>
          <p:nvPr/>
        </p:nvSpPr>
        <p:spPr>
          <a:xfrm flipH="1">
            <a:off x="9549899" y="3523766"/>
            <a:ext cx="1991877" cy="5670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indent="0" defTabSz="914400">
              <a:buClr>
                <a:schemeClr val="tx1"/>
              </a:buClr>
              <a:buSzPts val="1100"/>
            </a:pPr>
            <a:r>
              <a:rPr lang="en-US" b="1" kern="0" dirty="0">
                <a:solidFill>
                  <a:srgbClr val="D5FA68"/>
                </a:solidFill>
              </a:rPr>
              <a:t>Metaverses</a:t>
            </a:r>
            <a:endParaRPr kumimoji="0" lang="en-US" sz="1400" b="1" i="0" u="none" strike="noStrike" kern="0" cap="none" spc="0" normalizeH="0" baseline="0" noProof="0" dirty="0">
              <a:ln>
                <a:noFill/>
              </a:ln>
              <a:solidFill>
                <a:srgbClr val="D5FA68"/>
              </a:solidFill>
              <a:effectLst/>
              <a:uLnTx/>
              <a:uFillTx/>
              <a:latin typeface="Sora"/>
              <a:cs typeface="Sora"/>
              <a:sym typeface="Sora"/>
            </a:endParaRPr>
          </a:p>
        </p:txBody>
      </p:sp>
    </p:spTree>
    <p:extLst>
      <p:ext uri="{BB962C8B-B14F-4D97-AF65-F5344CB8AC3E}">
        <p14:creationId xmlns:p14="http://schemas.microsoft.com/office/powerpoint/2010/main" val="65597696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1" name="Title 1">
            <a:extLst>
              <a:ext uri="{FF2B5EF4-FFF2-40B4-BE49-F238E27FC236}">
                <a16:creationId xmlns:a16="http://schemas.microsoft.com/office/drawing/2014/main" id="{DDB72E9B-B8E9-4B0B-ADBD-4E2147CB4609}"/>
              </a:ext>
            </a:extLst>
          </p:cNvPr>
          <p:cNvSpPr txBox="1">
            <a:spLocks/>
          </p:cNvSpPr>
          <p:nvPr/>
        </p:nvSpPr>
        <p:spPr>
          <a:xfrm>
            <a:off x="1141411" y="609601"/>
            <a:ext cx="9905999" cy="533400"/>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l-GR" b="1" dirty="0">
                <a:solidFill>
                  <a:srgbClr val="F7743C"/>
                </a:solidFill>
                <a:latin typeface="Arial" panose="020B0604020202020204" pitchFamily="34" charset="0"/>
                <a:cs typeface="Arial" panose="020B0604020202020204" pitchFamily="34" charset="0"/>
              </a:rPr>
              <a:t>ΓΙΑΤΙ ΑΝΑΦΕΡΟΝΤΑΙ ΌΛΑ ΑΥΤΆ?</a:t>
            </a:r>
            <a:endParaRPr lang="en-US" b="1" dirty="0">
              <a:solidFill>
                <a:srgbClr val="F7743C"/>
              </a:solidFill>
              <a:latin typeface="Arial" panose="020B0604020202020204" pitchFamily="34" charset="0"/>
              <a:cs typeface="Arial" panose="020B0604020202020204" pitchFamily="34" charset="0"/>
            </a:endParaRPr>
          </a:p>
        </p:txBody>
      </p:sp>
      <p:sp>
        <p:nvSpPr>
          <p:cNvPr id="7" name="Title 1">
            <a:extLst>
              <a:ext uri="{FF2B5EF4-FFF2-40B4-BE49-F238E27FC236}">
                <a16:creationId xmlns:a16="http://schemas.microsoft.com/office/drawing/2014/main" id="{921A7986-EFB3-4AF6-9B26-951924F105BF}"/>
              </a:ext>
            </a:extLst>
          </p:cNvPr>
          <p:cNvSpPr txBox="1">
            <a:spLocks/>
          </p:cNvSpPr>
          <p:nvPr/>
        </p:nvSpPr>
        <p:spPr>
          <a:xfrm>
            <a:off x="1141410" y="1279973"/>
            <a:ext cx="9905999" cy="533400"/>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l-GR" sz="2800" b="1" dirty="0">
                <a:latin typeface="Arial" panose="020B0604020202020204" pitchFamily="34" charset="0"/>
                <a:cs typeface="Arial" panose="020B0604020202020204" pitchFamily="34" charset="0"/>
              </a:rPr>
              <a:t>ΠΡΕΠΕΙ ΝΑ ΛΗΦΘΟΥΝ ΥΠΟΨΗ για το</a:t>
            </a:r>
            <a:r>
              <a:rPr lang="en-US" sz="2800" b="1" dirty="0">
                <a:latin typeface="Arial" panose="020B0604020202020204" pitchFamily="34" charset="0"/>
                <a:cs typeface="Arial" panose="020B0604020202020204" pitchFamily="34" charset="0"/>
              </a:rPr>
              <a:t> cost/budget</a:t>
            </a:r>
          </a:p>
        </p:txBody>
      </p:sp>
      <p:sp>
        <p:nvSpPr>
          <p:cNvPr id="2" name="TextBox 1">
            <a:extLst>
              <a:ext uri="{FF2B5EF4-FFF2-40B4-BE49-F238E27FC236}">
                <a16:creationId xmlns:a16="http://schemas.microsoft.com/office/drawing/2014/main" id="{3A1B3406-65C1-4658-A5E1-19A34A7141FE}"/>
              </a:ext>
            </a:extLst>
          </p:cNvPr>
          <p:cNvSpPr txBox="1"/>
          <p:nvPr/>
        </p:nvSpPr>
        <p:spPr>
          <a:xfrm>
            <a:off x="1141410" y="2250910"/>
            <a:ext cx="2510816" cy="2677656"/>
          </a:xfrm>
          <a:prstGeom prst="rect">
            <a:avLst/>
          </a:prstGeom>
          <a:noFill/>
        </p:spPr>
        <p:txBody>
          <a:bodyPr wrap="none" rtlCol="0">
            <a:spAutoFit/>
          </a:bodyPr>
          <a:lstStyle/>
          <a:p>
            <a:pPr marL="457200" indent="-457200">
              <a:buFont typeface="Arial" panose="020B0604020202020204" pitchFamily="34" charset="0"/>
              <a:buChar char="•"/>
            </a:pPr>
            <a:r>
              <a:rPr lang="el-GR" sz="2800" dirty="0">
                <a:latin typeface="Arial" panose="020B0604020202020204" pitchFamily="34" charset="0"/>
                <a:cs typeface="Arial" panose="020B0604020202020204" pitchFamily="34" charset="0"/>
              </a:rPr>
              <a:t>Έρευνα</a:t>
            </a:r>
          </a:p>
          <a:p>
            <a:pPr marL="457200" indent="-457200">
              <a:buFont typeface="Arial" panose="020B0604020202020204" pitchFamily="34" charset="0"/>
              <a:buChar char="•"/>
            </a:pPr>
            <a:r>
              <a:rPr lang="el-GR" sz="2800" dirty="0">
                <a:latin typeface="Arial" panose="020B0604020202020204" pitchFamily="34" charset="0"/>
                <a:cs typeface="Arial" panose="020B0604020202020204" pitchFamily="34" charset="0"/>
              </a:rPr>
              <a:t>Προσωπικό</a:t>
            </a:r>
          </a:p>
          <a:p>
            <a:pPr marL="457200" indent="-457200">
              <a:buFont typeface="Arial" panose="020B0604020202020204" pitchFamily="34" charset="0"/>
              <a:buChar char="•"/>
            </a:pPr>
            <a:r>
              <a:rPr lang="el-GR" sz="2800" dirty="0">
                <a:latin typeface="Arial" panose="020B0604020202020204" pitchFamily="34" charset="0"/>
                <a:cs typeface="Arial" panose="020B0604020202020204" pitchFamily="34" charset="0"/>
              </a:rPr>
              <a:t>Σχεδίαση</a:t>
            </a:r>
          </a:p>
          <a:p>
            <a:pPr marL="457200" indent="-457200">
              <a:buFont typeface="Arial" panose="020B0604020202020204" pitchFamily="34" charset="0"/>
              <a:buChar char="•"/>
            </a:pPr>
            <a:r>
              <a:rPr lang="el-GR" sz="2800" dirty="0">
                <a:latin typeface="Arial" panose="020B0604020202020204" pitchFamily="34" charset="0"/>
                <a:cs typeface="Arial" panose="020B0604020202020204" pitchFamily="34" charset="0"/>
              </a:rPr>
              <a:t>Υποδομή</a:t>
            </a:r>
            <a:endParaRPr lang="en-US" sz="2800" dirty="0">
              <a:latin typeface="Arial" panose="020B0604020202020204" pitchFamily="34" charset="0"/>
              <a:cs typeface="Arial" panose="020B0604020202020204" pitchFamily="34" charset="0"/>
            </a:endParaRPr>
          </a:p>
          <a:p>
            <a:pPr marL="457200" indent="-457200">
              <a:buFont typeface="Arial" panose="020B0604020202020204" pitchFamily="34" charset="0"/>
              <a:buChar char="•"/>
            </a:pPr>
            <a:r>
              <a:rPr lang="el-GR" sz="2800" dirty="0">
                <a:latin typeface="Arial" panose="020B0604020202020204" pitchFamily="34" charset="0"/>
                <a:cs typeface="Arial" panose="020B0604020202020204" pitchFamily="34" charset="0"/>
              </a:rPr>
              <a:t>Συντήρηση</a:t>
            </a:r>
          </a:p>
          <a:p>
            <a:pPr marL="457200" indent="-457200">
              <a:buFont typeface="Arial" panose="020B0604020202020204" pitchFamily="34" charset="0"/>
              <a:buChar char="•"/>
            </a:pPr>
            <a:r>
              <a:rPr lang="el-GR" sz="2800" dirty="0">
                <a:latin typeface="Arial" panose="020B0604020202020204" pitchFamily="34" charset="0"/>
                <a:cs typeface="Arial" panose="020B0604020202020204" pitchFamily="34" charset="0"/>
              </a:rPr>
              <a:t>Βελτίωση</a:t>
            </a:r>
          </a:p>
        </p:txBody>
      </p:sp>
    </p:spTree>
    <p:extLst>
      <p:ext uri="{BB962C8B-B14F-4D97-AF65-F5344CB8AC3E}">
        <p14:creationId xmlns:p14="http://schemas.microsoft.com/office/powerpoint/2010/main" val="55955076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86" name="Group 85">
            <a:extLst>
              <a:ext uri="{FF2B5EF4-FFF2-40B4-BE49-F238E27FC236}">
                <a16:creationId xmlns:a16="http://schemas.microsoft.com/office/drawing/2014/main" id="{2BC1B670-9F6E-457B-991B-2D1075B07469}"/>
              </a:ext>
            </a:extLst>
          </p:cNvPr>
          <p:cNvGrpSpPr/>
          <p:nvPr/>
        </p:nvGrpSpPr>
        <p:grpSpPr>
          <a:xfrm>
            <a:off x="3152306" y="904895"/>
            <a:ext cx="6477740" cy="6408202"/>
            <a:chOff x="3152306" y="904895"/>
            <a:chExt cx="6477740" cy="6408202"/>
          </a:xfrm>
        </p:grpSpPr>
        <p:sp>
          <p:nvSpPr>
            <p:cNvPr id="87" name="Freeform: Shape 86">
              <a:extLst>
                <a:ext uri="{FF2B5EF4-FFF2-40B4-BE49-F238E27FC236}">
                  <a16:creationId xmlns:a16="http://schemas.microsoft.com/office/drawing/2014/main" id="{19AE882E-819D-43D5-9D56-91A66EC11AF6}"/>
                </a:ext>
              </a:extLst>
            </p:cNvPr>
            <p:cNvSpPr/>
            <p:nvPr/>
          </p:nvSpPr>
          <p:spPr>
            <a:xfrm>
              <a:off x="7213436" y="1379445"/>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b="1" kern="1200" dirty="0">
                  <a:latin typeface="Sora" pitchFamily="2" charset="0"/>
                  <a:cs typeface="Sora" pitchFamily="2" charset="0"/>
                </a:rPr>
                <a:t>Second Reality</a:t>
              </a:r>
            </a:p>
          </p:txBody>
        </p:sp>
        <p:sp>
          <p:nvSpPr>
            <p:cNvPr id="88" name="Arrow: Circular 87">
              <a:extLst>
                <a:ext uri="{FF2B5EF4-FFF2-40B4-BE49-F238E27FC236}">
                  <a16:creationId xmlns:a16="http://schemas.microsoft.com/office/drawing/2014/main" id="{6436BF9C-9409-4B9C-88BE-8B9CFD3479EC}"/>
                </a:ext>
              </a:extLst>
            </p:cNvPr>
            <p:cNvSpPr/>
            <p:nvPr/>
          </p:nvSpPr>
          <p:spPr>
            <a:xfrm>
              <a:off x="3535973" y="904895"/>
              <a:ext cx="5710407" cy="5710407"/>
            </a:xfrm>
            <a:prstGeom prst="circularArrow">
              <a:avLst>
                <a:gd name="adj1" fmla="val 8252"/>
                <a:gd name="adj2" fmla="val 576443"/>
                <a:gd name="adj3" fmla="val 2962362"/>
                <a:gd name="adj4" fmla="val 52723"/>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89" name="Freeform: Shape 88">
              <a:extLst>
                <a:ext uri="{FF2B5EF4-FFF2-40B4-BE49-F238E27FC236}">
                  <a16:creationId xmlns:a16="http://schemas.microsoft.com/office/drawing/2014/main" id="{336CB774-FF0B-4F0C-9AB9-721B8A08D4EE}"/>
                </a:ext>
              </a:extLst>
            </p:cNvPr>
            <p:cNvSpPr/>
            <p:nvPr/>
          </p:nvSpPr>
          <p:spPr>
            <a:xfrm>
              <a:off x="5182871" y="4896487"/>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b="1" kern="1200" dirty="0">
                  <a:latin typeface="Sora" pitchFamily="2" charset="0"/>
                  <a:cs typeface="Sora" pitchFamily="2" charset="0"/>
                </a:rPr>
                <a:t>Evolution</a:t>
              </a:r>
            </a:p>
          </p:txBody>
        </p:sp>
        <p:sp>
          <p:nvSpPr>
            <p:cNvPr id="90" name="Arrow: Circular 89">
              <a:extLst>
                <a:ext uri="{FF2B5EF4-FFF2-40B4-BE49-F238E27FC236}">
                  <a16:creationId xmlns:a16="http://schemas.microsoft.com/office/drawing/2014/main" id="{7CF0084A-3820-4F51-971C-4E145E9ACCBF}"/>
                </a:ext>
              </a:extLst>
            </p:cNvPr>
            <p:cNvSpPr/>
            <p:nvPr/>
          </p:nvSpPr>
          <p:spPr>
            <a:xfrm>
              <a:off x="3535973" y="904895"/>
              <a:ext cx="5710407" cy="5710407"/>
            </a:xfrm>
            <a:prstGeom prst="circularArrow">
              <a:avLst>
                <a:gd name="adj1" fmla="val 8252"/>
                <a:gd name="adj2" fmla="val 576443"/>
                <a:gd name="adj3" fmla="val 10170834"/>
                <a:gd name="adj4" fmla="val 7261195"/>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91" name="Freeform: Shape 90">
              <a:extLst>
                <a:ext uri="{FF2B5EF4-FFF2-40B4-BE49-F238E27FC236}">
                  <a16:creationId xmlns:a16="http://schemas.microsoft.com/office/drawing/2014/main" id="{8457BD78-C5CF-484C-A4AE-BF445700F3A0}"/>
                </a:ext>
              </a:extLst>
            </p:cNvPr>
            <p:cNvSpPr/>
            <p:nvPr/>
          </p:nvSpPr>
          <p:spPr>
            <a:xfrm>
              <a:off x="3152306" y="1379445"/>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b="1" kern="1200" dirty="0">
                  <a:latin typeface="Sora" pitchFamily="2" charset="0"/>
                  <a:cs typeface="Sora" pitchFamily="2" charset="0"/>
                </a:rPr>
                <a:t>Second Life</a:t>
              </a:r>
            </a:p>
          </p:txBody>
        </p:sp>
        <p:sp>
          <p:nvSpPr>
            <p:cNvPr id="92" name="Arrow: Circular 91">
              <a:extLst>
                <a:ext uri="{FF2B5EF4-FFF2-40B4-BE49-F238E27FC236}">
                  <a16:creationId xmlns:a16="http://schemas.microsoft.com/office/drawing/2014/main" id="{C66BF838-AE5A-4FD7-8766-E3AE560DAC28}"/>
                </a:ext>
              </a:extLst>
            </p:cNvPr>
            <p:cNvSpPr/>
            <p:nvPr/>
          </p:nvSpPr>
          <p:spPr>
            <a:xfrm>
              <a:off x="3535973" y="904895"/>
              <a:ext cx="5710407" cy="5710407"/>
            </a:xfrm>
            <a:prstGeom prst="circularArrow">
              <a:avLst>
                <a:gd name="adj1" fmla="val 8252"/>
                <a:gd name="adj2" fmla="val 576443"/>
                <a:gd name="adj3" fmla="val 16855326"/>
                <a:gd name="adj4" fmla="val 14968230"/>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2" name="Title 1">
            <a:extLst>
              <a:ext uri="{FF2B5EF4-FFF2-40B4-BE49-F238E27FC236}">
                <a16:creationId xmlns:a16="http://schemas.microsoft.com/office/drawing/2014/main" id="{889230FE-B431-4D09-8ADA-7A392C850036}"/>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Progress of evolution</a:t>
            </a:r>
          </a:p>
        </p:txBody>
      </p:sp>
      <p:graphicFrame>
        <p:nvGraphicFramePr>
          <p:cNvPr id="3" name="Diagram 2">
            <a:extLst>
              <a:ext uri="{FF2B5EF4-FFF2-40B4-BE49-F238E27FC236}">
                <a16:creationId xmlns:a16="http://schemas.microsoft.com/office/drawing/2014/main" id="{26B37231-A691-4905-AEE7-8D3997DD4AC2}"/>
              </a:ext>
            </a:extLst>
          </p:cNvPr>
          <p:cNvGraphicFramePr/>
          <p:nvPr>
            <p:extLst>
              <p:ext uri="{D42A27DB-BD31-4B8C-83A1-F6EECF244321}">
                <p14:modId xmlns:p14="http://schemas.microsoft.com/office/powerpoint/2010/main" val="1181817231"/>
              </p:ext>
            </p:extLst>
          </p:nvPr>
        </p:nvGraphicFramePr>
        <p:xfrm>
          <a:off x="4620402" y="2050436"/>
          <a:ext cx="3734189" cy="212398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33" name="Group 32">
            <a:extLst>
              <a:ext uri="{FF2B5EF4-FFF2-40B4-BE49-F238E27FC236}">
                <a16:creationId xmlns:a16="http://schemas.microsoft.com/office/drawing/2014/main" id="{70ED08D4-BC5A-4661-959C-0CE4603E2C87}"/>
              </a:ext>
            </a:extLst>
          </p:cNvPr>
          <p:cNvGrpSpPr/>
          <p:nvPr/>
        </p:nvGrpSpPr>
        <p:grpSpPr>
          <a:xfrm>
            <a:off x="4987334" y="4110506"/>
            <a:ext cx="2807685" cy="923589"/>
            <a:chOff x="5453012" y="3556971"/>
            <a:chExt cx="1878405" cy="617902"/>
          </a:xfrm>
        </p:grpSpPr>
        <p:sp>
          <p:nvSpPr>
            <p:cNvPr id="22" name="Teardrop 21">
              <a:extLst>
                <a:ext uri="{FF2B5EF4-FFF2-40B4-BE49-F238E27FC236}">
                  <a16:creationId xmlns:a16="http://schemas.microsoft.com/office/drawing/2014/main" id="{4CAE8C2B-5E32-4006-ABDD-1E33B2388A87}"/>
                </a:ext>
              </a:extLst>
            </p:cNvPr>
            <p:cNvSpPr/>
            <p:nvPr/>
          </p:nvSpPr>
          <p:spPr>
            <a:xfrm rot="2700000">
              <a:off x="6093174" y="3556971"/>
              <a:ext cx="617902" cy="617902"/>
            </a:xfrm>
            <a:prstGeom prst="teardrop">
              <a:avLst>
                <a:gd name="adj" fmla="val 10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4" name="Teardrop 23">
              <a:extLst>
                <a:ext uri="{FF2B5EF4-FFF2-40B4-BE49-F238E27FC236}">
                  <a16:creationId xmlns:a16="http://schemas.microsoft.com/office/drawing/2014/main" id="{7361E5C0-E2D8-479D-97F0-8D2B84143F57}"/>
                </a:ext>
              </a:extLst>
            </p:cNvPr>
            <p:cNvSpPr/>
            <p:nvPr/>
          </p:nvSpPr>
          <p:spPr>
            <a:xfrm rot="2700000">
              <a:off x="5453012" y="3556971"/>
              <a:ext cx="617902" cy="617902"/>
            </a:xfrm>
            <a:prstGeom prst="teardrop">
              <a:avLst>
                <a:gd name="adj" fmla="val 10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nvGrpSpPr>
            <p:cNvPr id="32" name="Group 31">
              <a:extLst>
                <a:ext uri="{FF2B5EF4-FFF2-40B4-BE49-F238E27FC236}">
                  <a16:creationId xmlns:a16="http://schemas.microsoft.com/office/drawing/2014/main" id="{3ACBD739-6FE7-40AB-A48B-BB156FDA0EE8}"/>
                </a:ext>
              </a:extLst>
            </p:cNvPr>
            <p:cNvGrpSpPr/>
            <p:nvPr/>
          </p:nvGrpSpPr>
          <p:grpSpPr>
            <a:xfrm>
              <a:off x="5472832" y="3576876"/>
              <a:ext cx="1858585" cy="578200"/>
              <a:chOff x="5472832" y="3576876"/>
              <a:chExt cx="1858585" cy="578200"/>
            </a:xfrm>
          </p:grpSpPr>
          <p:grpSp>
            <p:nvGrpSpPr>
              <p:cNvPr id="21" name="Group 20">
                <a:extLst>
                  <a:ext uri="{FF2B5EF4-FFF2-40B4-BE49-F238E27FC236}">
                    <a16:creationId xmlns:a16="http://schemas.microsoft.com/office/drawing/2014/main" id="{8F46B23F-3ABC-4543-BA0A-AE7323486A7D}"/>
                  </a:ext>
                </a:extLst>
              </p:cNvPr>
              <p:cNvGrpSpPr/>
              <p:nvPr/>
            </p:nvGrpSpPr>
            <p:grpSpPr>
              <a:xfrm>
                <a:off x="6753155" y="3576876"/>
                <a:ext cx="578262" cy="578200"/>
                <a:chOff x="1440485" y="309441"/>
                <a:chExt cx="578262" cy="578200"/>
              </a:xfrm>
            </p:grpSpPr>
            <p:sp>
              <p:nvSpPr>
                <p:cNvPr id="30" name="Oval 29">
                  <a:extLst>
                    <a:ext uri="{FF2B5EF4-FFF2-40B4-BE49-F238E27FC236}">
                      <a16:creationId xmlns:a16="http://schemas.microsoft.com/office/drawing/2014/main" id="{0E1EA5D8-B817-401C-AC72-45E7C5B4D266}"/>
                    </a:ext>
                  </a:extLst>
                </p:cNvPr>
                <p:cNvSpPr/>
                <p:nvPr/>
              </p:nvSpPr>
              <p:spPr>
                <a:xfrm>
                  <a:off x="1440485"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31" name="Oval 4">
                  <a:extLst>
                    <a:ext uri="{FF2B5EF4-FFF2-40B4-BE49-F238E27FC236}">
                      <a16:creationId xmlns:a16="http://schemas.microsoft.com/office/drawing/2014/main" id="{71BCB6F9-5246-424E-A228-5EDBD833ACF5}"/>
                    </a:ext>
                  </a:extLst>
                </p:cNvPr>
                <p:cNvSpPr txBox="1"/>
                <p:nvPr/>
              </p:nvSpPr>
              <p:spPr>
                <a:xfrm>
                  <a:off x="1523152"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US" sz="1000" kern="1200" dirty="0">
                      <a:latin typeface="Sora" pitchFamily="2" charset="0"/>
                      <a:cs typeface="Sora" pitchFamily="2" charset="0"/>
                    </a:rPr>
                    <a:t>Second Reality</a:t>
                  </a:r>
                </a:p>
              </p:txBody>
            </p:sp>
          </p:grpSp>
          <p:grpSp>
            <p:nvGrpSpPr>
              <p:cNvPr id="23" name="Group 22">
                <a:extLst>
                  <a:ext uri="{FF2B5EF4-FFF2-40B4-BE49-F238E27FC236}">
                    <a16:creationId xmlns:a16="http://schemas.microsoft.com/office/drawing/2014/main" id="{11700C28-21CD-409B-8ADE-4694F4BAF796}"/>
                  </a:ext>
                </a:extLst>
              </p:cNvPr>
              <p:cNvGrpSpPr/>
              <p:nvPr/>
            </p:nvGrpSpPr>
            <p:grpSpPr>
              <a:xfrm>
                <a:off x="6112994" y="3576876"/>
                <a:ext cx="578262" cy="578200"/>
                <a:chOff x="800324" y="309441"/>
                <a:chExt cx="578262" cy="578200"/>
              </a:xfrm>
            </p:grpSpPr>
            <p:sp>
              <p:nvSpPr>
                <p:cNvPr id="28" name="Oval 27">
                  <a:extLst>
                    <a:ext uri="{FF2B5EF4-FFF2-40B4-BE49-F238E27FC236}">
                      <a16:creationId xmlns:a16="http://schemas.microsoft.com/office/drawing/2014/main" id="{1F6A45EF-4062-4558-82D6-8281A8D21A5B}"/>
                    </a:ext>
                  </a:extLst>
                </p:cNvPr>
                <p:cNvSpPr/>
                <p:nvPr/>
              </p:nvSpPr>
              <p:spPr>
                <a:xfrm>
                  <a:off x="800324"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29" name="Oval 7">
                  <a:extLst>
                    <a:ext uri="{FF2B5EF4-FFF2-40B4-BE49-F238E27FC236}">
                      <a16:creationId xmlns:a16="http://schemas.microsoft.com/office/drawing/2014/main" id="{92A575C4-5433-413E-9447-939888DC584C}"/>
                    </a:ext>
                  </a:extLst>
                </p:cNvPr>
                <p:cNvSpPr txBox="1"/>
                <p:nvPr/>
              </p:nvSpPr>
              <p:spPr>
                <a:xfrm>
                  <a:off x="882990"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r" defTabSz="400050">
                    <a:lnSpc>
                      <a:spcPct val="90000"/>
                    </a:lnSpc>
                    <a:spcBef>
                      <a:spcPct val="0"/>
                    </a:spcBef>
                    <a:spcAft>
                      <a:spcPct val="35000"/>
                    </a:spcAft>
                    <a:buNone/>
                  </a:pPr>
                  <a:r>
                    <a:rPr lang="en-US" sz="1000" kern="1200" dirty="0">
                      <a:latin typeface="Sora" pitchFamily="2" charset="0"/>
                      <a:cs typeface="Sora" pitchFamily="2" charset="0"/>
                    </a:rPr>
                    <a:t>Science</a:t>
                  </a:r>
                </a:p>
              </p:txBody>
            </p:sp>
          </p:grpSp>
          <p:grpSp>
            <p:nvGrpSpPr>
              <p:cNvPr id="25" name="Group 24">
                <a:extLst>
                  <a:ext uri="{FF2B5EF4-FFF2-40B4-BE49-F238E27FC236}">
                    <a16:creationId xmlns:a16="http://schemas.microsoft.com/office/drawing/2014/main" id="{4CB22CE9-DDBD-4EA1-A3B5-F1A992F05DA0}"/>
                  </a:ext>
                </a:extLst>
              </p:cNvPr>
              <p:cNvGrpSpPr/>
              <p:nvPr/>
            </p:nvGrpSpPr>
            <p:grpSpPr>
              <a:xfrm>
                <a:off x="5472832" y="3576876"/>
                <a:ext cx="578262" cy="578200"/>
                <a:chOff x="160162" y="309441"/>
                <a:chExt cx="578262" cy="578200"/>
              </a:xfrm>
            </p:grpSpPr>
            <p:sp>
              <p:nvSpPr>
                <p:cNvPr id="26" name="Oval 25">
                  <a:extLst>
                    <a:ext uri="{FF2B5EF4-FFF2-40B4-BE49-F238E27FC236}">
                      <a16:creationId xmlns:a16="http://schemas.microsoft.com/office/drawing/2014/main" id="{256C2A72-B4A8-4AD7-91C0-A3A13012E6AD}"/>
                    </a:ext>
                  </a:extLst>
                </p:cNvPr>
                <p:cNvSpPr/>
                <p:nvPr/>
              </p:nvSpPr>
              <p:spPr>
                <a:xfrm>
                  <a:off x="160162"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27" name="Oval 10">
                  <a:extLst>
                    <a:ext uri="{FF2B5EF4-FFF2-40B4-BE49-F238E27FC236}">
                      <a16:creationId xmlns:a16="http://schemas.microsoft.com/office/drawing/2014/main" id="{2909C3C8-13DC-4414-B7F2-38BE3E1F0C1F}"/>
                    </a:ext>
                  </a:extLst>
                </p:cNvPr>
                <p:cNvSpPr txBox="1"/>
                <p:nvPr/>
              </p:nvSpPr>
              <p:spPr>
                <a:xfrm>
                  <a:off x="242829"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US" sz="1000" kern="1200" dirty="0">
                      <a:latin typeface="Sora" pitchFamily="2" charset="0"/>
                      <a:cs typeface="Sora" pitchFamily="2" charset="0"/>
                    </a:rPr>
                    <a:t>Second Life</a:t>
                  </a:r>
                </a:p>
              </p:txBody>
            </p:sp>
          </p:grpSp>
        </p:grpSp>
      </p:grpSp>
      <p:sp>
        <p:nvSpPr>
          <p:cNvPr id="45" name="Arrow: Right 44">
            <a:extLst>
              <a:ext uri="{FF2B5EF4-FFF2-40B4-BE49-F238E27FC236}">
                <a16:creationId xmlns:a16="http://schemas.microsoft.com/office/drawing/2014/main" id="{016E6A86-B153-4034-B971-33E199C7F73D}"/>
              </a:ext>
            </a:extLst>
          </p:cNvPr>
          <p:cNvSpPr/>
          <p:nvPr/>
        </p:nvSpPr>
        <p:spPr>
          <a:xfrm rot="10800000">
            <a:off x="3255264" y="5349240"/>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45">
            <a:extLst>
              <a:ext uri="{FF2B5EF4-FFF2-40B4-BE49-F238E27FC236}">
                <a16:creationId xmlns:a16="http://schemas.microsoft.com/office/drawing/2014/main" id="{FFA645F4-F9B2-4F32-A475-D22690A3A632}"/>
              </a:ext>
            </a:extLst>
          </p:cNvPr>
          <p:cNvSpPr/>
          <p:nvPr/>
        </p:nvSpPr>
        <p:spPr>
          <a:xfrm>
            <a:off x="666093" y="5349240"/>
            <a:ext cx="2589170" cy="461665"/>
          </a:xfrm>
          <a:prstGeom prst="rect">
            <a:avLst/>
          </a:prstGeom>
          <a:noFill/>
        </p:spPr>
        <p:txBody>
          <a:bodyPr wrap="none" lIns="91440" tIns="45720" rIns="91440" bIns="45720">
            <a:spAutoFit/>
          </a:bodyPr>
          <a:lstStyle/>
          <a:p>
            <a:pPr algn="ctr"/>
            <a:r>
              <a:rPr lang="en-US" sz="2400" b="1" cap="none" spc="0" dirty="0">
                <a:ln w="0"/>
                <a:solidFill>
                  <a:schemeClr val="tx1"/>
                </a:solidFill>
                <a:effectLst>
                  <a:outerShdw blurRad="38100" dist="19050" dir="2700000" algn="tl" rotWithShape="0">
                    <a:schemeClr val="dk1">
                      <a:alpha val="40000"/>
                    </a:schemeClr>
                  </a:outerShdw>
                </a:effectLst>
                <a:latin typeface="Sora" pitchFamily="2" charset="0"/>
                <a:cs typeface="Sora" pitchFamily="2" charset="0"/>
              </a:rPr>
              <a:t>Reality Change</a:t>
            </a:r>
            <a:endParaRPr lang="en-US" sz="2400" b="1" cap="none" spc="0" dirty="0">
              <a:ln w="0"/>
              <a:solidFill>
                <a:schemeClr val="tx1"/>
              </a:solidFill>
              <a:effectLst>
                <a:outerShdw blurRad="38100" dist="19050" dir="2700000" algn="tl" rotWithShape="0">
                  <a:schemeClr val="dk1">
                    <a:alpha val="40000"/>
                  </a:schemeClr>
                </a:outerShdw>
              </a:effectLst>
            </a:endParaRPr>
          </a:p>
        </p:txBody>
      </p:sp>
      <p:sp>
        <p:nvSpPr>
          <p:cNvPr id="49" name="Google Shape;11;p2">
            <a:extLst>
              <a:ext uri="{FF2B5EF4-FFF2-40B4-BE49-F238E27FC236}">
                <a16:creationId xmlns:a16="http://schemas.microsoft.com/office/drawing/2014/main" id="{3D98927B-A210-4831-B3D5-DB6763482E67}"/>
              </a:ext>
            </a:extLst>
          </p:cNvPr>
          <p:cNvSpPr/>
          <p:nvPr/>
        </p:nvSpPr>
        <p:spPr>
          <a:xfrm rot="20245234" flipH="1">
            <a:off x="9962126" y="-328558"/>
            <a:ext cx="3032610" cy="4010566"/>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0" name="Google Shape;1974;p67">
            <a:extLst>
              <a:ext uri="{FF2B5EF4-FFF2-40B4-BE49-F238E27FC236}">
                <a16:creationId xmlns:a16="http://schemas.microsoft.com/office/drawing/2014/main" id="{1BD3B601-0BD5-4863-A394-C96EF0B188E1}"/>
              </a:ext>
            </a:extLst>
          </p:cNvPr>
          <p:cNvGrpSpPr/>
          <p:nvPr/>
        </p:nvGrpSpPr>
        <p:grpSpPr>
          <a:xfrm>
            <a:off x="2060364" y="1047095"/>
            <a:ext cx="8096965" cy="4782518"/>
            <a:chOff x="410200" y="682776"/>
            <a:chExt cx="8096965" cy="4782518"/>
          </a:xfrm>
        </p:grpSpPr>
        <p:grpSp>
          <p:nvGrpSpPr>
            <p:cNvPr id="51" name="Google Shape;1975;p67">
              <a:extLst>
                <a:ext uri="{FF2B5EF4-FFF2-40B4-BE49-F238E27FC236}">
                  <a16:creationId xmlns:a16="http://schemas.microsoft.com/office/drawing/2014/main" id="{8C0132EB-666E-4CFE-8B3A-0D13D7B93227}"/>
                </a:ext>
              </a:extLst>
            </p:cNvPr>
            <p:cNvGrpSpPr/>
            <p:nvPr/>
          </p:nvGrpSpPr>
          <p:grpSpPr>
            <a:xfrm>
              <a:off x="6762220" y="682776"/>
              <a:ext cx="545147" cy="506901"/>
              <a:chOff x="4818730" y="3307263"/>
              <a:chExt cx="1827512" cy="1699300"/>
            </a:xfrm>
          </p:grpSpPr>
          <p:sp>
            <p:nvSpPr>
              <p:cNvPr id="61" name="Google Shape;1976;p67">
                <a:extLst>
                  <a:ext uri="{FF2B5EF4-FFF2-40B4-BE49-F238E27FC236}">
                    <a16:creationId xmlns:a16="http://schemas.microsoft.com/office/drawing/2014/main" id="{20449152-228A-478A-BFE9-C37568F9F4F3}"/>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1977;p67">
                <a:extLst>
                  <a:ext uri="{FF2B5EF4-FFF2-40B4-BE49-F238E27FC236}">
                    <a16:creationId xmlns:a16="http://schemas.microsoft.com/office/drawing/2014/main" id="{72008DB6-1E22-4286-B67E-E781FDA2AA64}"/>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1978;p67">
                <a:extLst>
                  <a:ext uri="{FF2B5EF4-FFF2-40B4-BE49-F238E27FC236}">
                    <a16:creationId xmlns:a16="http://schemas.microsoft.com/office/drawing/2014/main" id="{2F87826D-E4E2-4AAD-B148-E1D94C7E1764}"/>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979;p67">
                <a:extLst>
                  <a:ext uri="{FF2B5EF4-FFF2-40B4-BE49-F238E27FC236}">
                    <a16:creationId xmlns:a16="http://schemas.microsoft.com/office/drawing/2014/main" id="{D3286369-BA81-4786-AF2C-91863B4C3AD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980;p67">
                <a:extLst>
                  <a:ext uri="{FF2B5EF4-FFF2-40B4-BE49-F238E27FC236}">
                    <a16:creationId xmlns:a16="http://schemas.microsoft.com/office/drawing/2014/main" id="{D0975696-09E7-4CCC-B5C0-B643E0E6C51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981;p67">
                <a:extLst>
                  <a:ext uri="{FF2B5EF4-FFF2-40B4-BE49-F238E27FC236}">
                    <a16:creationId xmlns:a16="http://schemas.microsoft.com/office/drawing/2014/main" id="{5BF33A94-739B-43F0-ABC0-319C5671D89F}"/>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1982;p67">
                <a:extLst>
                  <a:ext uri="{FF2B5EF4-FFF2-40B4-BE49-F238E27FC236}">
                    <a16:creationId xmlns:a16="http://schemas.microsoft.com/office/drawing/2014/main" id="{CC37697D-D347-437D-AB30-DB45E81512F7}"/>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1983;p67">
                <a:extLst>
                  <a:ext uri="{FF2B5EF4-FFF2-40B4-BE49-F238E27FC236}">
                    <a16:creationId xmlns:a16="http://schemas.microsoft.com/office/drawing/2014/main" id="{299E18EC-D569-47E5-87A1-244D6339C82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1984;p67">
                <a:extLst>
                  <a:ext uri="{FF2B5EF4-FFF2-40B4-BE49-F238E27FC236}">
                    <a16:creationId xmlns:a16="http://schemas.microsoft.com/office/drawing/2014/main" id="{D06E473D-DA24-4795-AD31-7278E3039ADD}"/>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1985;p67">
                <a:extLst>
                  <a:ext uri="{FF2B5EF4-FFF2-40B4-BE49-F238E27FC236}">
                    <a16:creationId xmlns:a16="http://schemas.microsoft.com/office/drawing/2014/main" id="{C3941C77-A49E-4F1F-8F27-69C35479B38D}"/>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1986;p67">
                <a:extLst>
                  <a:ext uri="{FF2B5EF4-FFF2-40B4-BE49-F238E27FC236}">
                    <a16:creationId xmlns:a16="http://schemas.microsoft.com/office/drawing/2014/main" id="{F356E58E-A0C3-404C-9D51-A717E2135655}"/>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987;p67">
                <a:extLst>
                  <a:ext uri="{FF2B5EF4-FFF2-40B4-BE49-F238E27FC236}">
                    <a16:creationId xmlns:a16="http://schemas.microsoft.com/office/drawing/2014/main" id="{7B31971B-C607-4AFA-B797-A7AB8E3DC81D}"/>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1988;p67">
                <a:extLst>
                  <a:ext uri="{FF2B5EF4-FFF2-40B4-BE49-F238E27FC236}">
                    <a16:creationId xmlns:a16="http://schemas.microsoft.com/office/drawing/2014/main" id="{E989FCE6-DEB2-4273-BBC4-B64955104C25}"/>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1989;p67">
                <a:extLst>
                  <a:ext uri="{FF2B5EF4-FFF2-40B4-BE49-F238E27FC236}">
                    <a16:creationId xmlns:a16="http://schemas.microsoft.com/office/drawing/2014/main" id="{49B0031E-E7D2-455A-818D-E236F4DCE38B}"/>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1990;p67">
                <a:extLst>
                  <a:ext uri="{FF2B5EF4-FFF2-40B4-BE49-F238E27FC236}">
                    <a16:creationId xmlns:a16="http://schemas.microsoft.com/office/drawing/2014/main" id="{E918B826-F2C4-46DA-B3BC-69C1AE1B5A46}"/>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1991;p67">
                <a:extLst>
                  <a:ext uri="{FF2B5EF4-FFF2-40B4-BE49-F238E27FC236}">
                    <a16:creationId xmlns:a16="http://schemas.microsoft.com/office/drawing/2014/main" id="{BF71C942-B7C3-4889-8E44-52E4597CCF58}"/>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1992;p67">
                <a:extLst>
                  <a:ext uri="{FF2B5EF4-FFF2-40B4-BE49-F238E27FC236}">
                    <a16:creationId xmlns:a16="http://schemas.microsoft.com/office/drawing/2014/main" id="{644808DF-F06B-43F2-804F-BED8D4AACF72}"/>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1993;p67">
                <a:extLst>
                  <a:ext uri="{FF2B5EF4-FFF2-40B4-BE49-F238E27FC236}">
                    <a16:creationId xmlns:a16="http://schemas.microsoft.com/office/drawing/2014/main" id="{7EB950AF-3F88-475F-9710-A12E56FFC9FD}"/>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1994;p67">
                <a:extLst>
                  <a:ext uri="{FF2B5EF4-FFF2-40B4-BE49-F238E27FC236}">
                    <a16:creationId xmlns:a16="http://schemas.microsoft.com/office/drawing/2014/main" id="{B450D75D-3230-4867-ABB8-932065C8C34D}"/>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1995;p67">
                <a:extLst>
                  <a:ext uri="{FF2B5EF4-FFF2-40B4-BE49-F238E27FC236}">
                    <a16:creationId xmlns:a16="http://schemas.microsoft.com/office/drawing/2014/main" id="{7A86B8CE-8EAB-4FBF-B6E6-0ED9AF78CCD9}"/>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1996;p67">
                <a:extLst>
                  <a:ext uri="{FF2B5EF4-FFF2-40B4-BE49-F238E27FC236}">
                    <a16:creationId xmlns:a16="http://schemas.microsoft.com/office/drawing/2014/main" id="{E1A08302-90B0-413A-A33B-FF609C4424EF}"/>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1997;p67">
                <a:extLst>
                  <a:ext uri="{FF2B5EF4-FFF2-40B4-BE49-F238E27FC236}">
                    <a16:creationId xmlns:a16="http://schemas.microsoft.com/office/drawing/2014/main" id="{7F1E1A4F-0AD5-40D6-A60B-EEC4667256B8}"/>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1998;p67">
                <a:extLst>
                  <a:ext uri="{FF2B5EF4-FFF2-40B4-BE49-F238E27FC236}">
                    <a16:creationId xmlns:a16="http://schemas.microsoft.com/office/drawing/2014/main" id="{D61276FD-378A-4899-AA45-EF39D268B4DF}"/>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999;p67">
                <a:extLst>
                  <a:ext uri="{FF2B5EF4-FFF2-40B4-BE49-F238E27FC236}">
                    <a16:creationId xmlns:a16="http://schemas.microsoft.com/office/drawing/2014/main" id="{A7333F3C-217E-4774-B38A-CA3EE79A5075}"/>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2000;p67">
                <a:extLst>
                  <a:ext uri="{FF2B5EF4-FFF2-40B4-BE49-F238E27FC236}">
                    <a16:creationId xmlns:a16="http://schemas.microsoft.com/office/drawing/2014/main" id="{CC527874-22E1-4166-A7CE-0BB33BFF3FB6}"/>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 name="Google Shape;2001;p67">
              <a:extLst>
                <a:ext uri="{FF2B5EF4-FFF2-40B4-BE49-F238E27FC236}">
                  <a16:creationId xmlns:a16="http://schemas.microsoft.com/office/drawing/2014/main" id="{D3D7E6A0-3CCA-49F7-87B6-7187A977DBD5}"/>
                </a:ext>
              </a:extLst>
            </p:cNvPr>
            <p:cNvGrpSpPr/>
            <p:nvPr/>
          </p:nvGrpSpPr>
          <p:grpSpPr>
            <a:xfrm>
              <a:off x="410200" y="1252888"/>
              <a:ext cx="8096965" cy="4212406"/>
              <a:chOff x="410200" y="1252888"/>
              <a:chExt cx="8096965" cy="4212406"/>
            </a:xfrm>
          </p:grpSpPr>
          <p:sp>
            <p:nvSpPr>
              <p:cNvPr id="53" name="Google Shape;2002;p67">
                <a:extLst>
                  <a:ext uri="{FF2B5EF4-FFF2-40B4-BE49-F238E27FC236}">
                    <a16:creationId xmlns:a16="http://schemas.microsoft.com/office/drawing/2014/main" id="{89A966BF-28F2-4A91-99A8-9E03AC85A23A}"/>
                  </a:ext>
                </a:extLst>
              </p:cNvPr>
              <p:cNvSpPr/>
              <p:nvPr/>
            </p:nvSpPr>
            <p:spPr>
              <a:xfrm>
                <a:off x="410200" y="332362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2003;p67">
                <a:extLst>
                  <a:ext uri="{FF2B5EF4-FFF2-40B4-BE49-F238E27FC236}">
                    <a16:creationId xmlns:a16="http://schemas.microsoft.com/office/drawing/2014/main" id="{8B7B0642-CC71-42AC-9721-1D02BB9BC1D3}"/>
                  </a:ext>
                </a:extLst>
              </p:cNvPr>
              <p:cNvSpPr/>
              <p:nvPr/>
            </p:nvSpPr>
            <p:spPr>
              <a:xfrm>
                <a:off x="3526250" y="125288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5" name="Google Shape;2004;p67">
                <a:extLst>
                  <a:ext uri="{FF2B5EF4-FFF2-40B4-BE49-F238E27FC236}">
                    <a16:creationId xmlns:a16="http://schemas.microsoft.com/office/drawing/2014/main" id="{82611D08-0BE1-4D87-8EF1-32EF6D651E9F}"/>
                  </a:ext>
                </a:extLst>
              </p:cNvPr>
              <p:cNvGrpSpPr/>
              <p:nvPr/>
            </p:nvGrpSpPr>
            <p:grpSpPr>
              <a:xfrm rot="-7546048">
                <a:off x="8105322" y="3683393"/>
                <a:ext cx="161701" cy="641985"/>
                <a:chOff x="7004550" y="3676293"/>
                <a:chExt cx="161700" cy="641982"/>
              </a:xfrm>
            </p:grpSpPr>
            <p:sp>
              <p:nvSpPr>
                <p:cNvPr id="57" name="Google Shape;2005;p67">
                  <a:extLst>
                    <a:ext uri="{FF2B5EF4-FFF2-40B4-BE49-F238E27FC236}">
                      <a16:creationId xmlns:a16="http://schemas.microsoft.com/office/drawing/2014/main" id="{933F683E-F43F-45EA-A9D8-269647312144}"/>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2006;p67">
                  <a:extLst>
                    <a:ext uri="{FF2B5EF4-FFF2-40B4-BE49-F238E27FC236}">
                      <a16:creationId xmlns:a16="http://schemas.microsoft.com/office/drawing/2014/main" id="{452FBFC1-D68A-4B37-AFF3-959A677F24C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2007;p67">
                  <a:extLst>
                    <a:ext uri="{FF2B5EF4-FFF2-40B4-BE49-F238E27FC236}">
                      <a16:creationId xmlns:a16="http://schemas.microsoft.com/office/drawing/2014/main" id="{84B04627-73F5-4C73-B889-4F6C36A652AB}"/>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2008;p67">
                  <a:extLst>
                    <a:ext uri="{FF2B5EF4-FFF2-40B4-BE49-F238E27FC236}">
                      <a16:creationId xmlns:a16="http://schemas.microsoft.com/office/drawing/2014/main" id="{264A3045-5561-471B-851B-FB1CB56B8516}"/>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6" name="Google Shape;2009;p67">
                <a:extLst>
                  <a:ext uri="{FF2B5EF4-FFF2-40B4-BE49-F238E27FC236}">
                    <a16:creationId xmlns:a16="http://schemas.microsoft.com/office/drawing/2014/main" id="{BA915D47-4B9F-4D25-9FF8-7F13D1B41F95}"/>
                  </a:ext>
                </a:extLst>
              </p:cNvPr>
              <p:cNvSpPr/>
              <p:nvPr/>
            </p:nvSpPr>
            <p:spPr>
              <a:xfrm rot="10800000" flipH="1">
                <a:off x="8352582" y="532399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extLst>
      <p:ext uri="{BB962C8B-B14F-4D97-AF65-F5344CB8AC3E}">
        <p14:creationId xmlns:p14="http://schemas.microsoft.com/office/powerpoint/2010/main" val="106442411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3" name="Google Shape;1611;p62">
            <a:extLst>
              <a:ext uri="{FF2B5EF4-FFF2-40B4-BE49-F238E27FC236}">
                <a16:creationId xmlns:a16="http://schemas.microsoft.com/office/drawing/2014/main" id="{17556567-FC3E-48E0-91B1-6F68978B1340}"/>
              </a:ext>
            </a:extLst>
          </p:cNvPr>
          <p:cNvSpPr txBox="1">
            <a:spLocks/>
          </p:cNvSpPr>
          <p:nvPr/>
        </p:nvSpPr>
        <p:spPr>
          <a:xfrm flipH="1">
            <a:off x="8753369" y="2149785"/>
            <a:ext cx="2218200"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a:ln>
                  <a:noFill/>
                </a:ln>
                <a:solidFill>
                  <a:srgbClr val="FFFFFF"/>
                </a:solidFill>
                <a:effectLst/>
                <a:uLnTx/>
                <a:uFillTx/>
                <a:latin typeface="Saira SemiCondensed ExtraBold"/>
                <a:sym typeface="Saira SemiCondensed ExtraBold"/>
              </a:rPr>
              <a:t>02</a:t>
            </a:r>
            <a:endPar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endParaRPr>
          </a:p>
        </p:txBody>
      </p:sp>
      <p:cxnSp>
        <p:nvCxnSpPr>
          <p:cNvPr id="4" name="Google Shape;1670;p62">
            <a:extLst>
              <a:ext uri="{FF2B5EF4-FFF2-40B4-BE49-F238E27FC236}">
                <a16:creationId xmlns:a16="http://schemas.microsoft.com/office/drawing/2014/main" id="{14EEA2F5-4E0F-434D-837B-F766C8639EFF}"/>
              </a:ext>
            </a:extLst>
          </p:cNvPr>
          <p:cNvCxnSpPr>
            <a:cxnSpLocks/>
          </p:cNvCxnSpPr>
          <p:nvPr/>
        </p:nvCxnSpPr>
        <p:spPr>
          <a:xfrm>
            <a:off x="7288473" y="4273065"/>
            <a:ext cx="4903527" cy="0"/>
          </a:xfrm>
          <a:prstGeom prst="straightConnector1">
            <a:avLst/>
          </a:prstGeom>
          <a:noFill/>
          <a:ln w="19050" cap="flat" cmpd="sng">
            <a:solidFill>
              <a:schemeClr val="accent1"/>
            </a:solidFill>
            <a:prstDash val="solid"/>
            <a:round/>
            <a:headEnd type="none" w="med" len="med"/>
            <a:tailEnd type="none" w="med" len="med"/>
          </a:ln>
        </p:spPr>
      </p:cxnSp>
      <p:sp>
        <p:nvSpPr>
          <p:cNvPr id="5" name="Google Shape;1610;p62">
            <a:extLst>
              <a:ext uri="{FF2B5EF4-FFF2-40B4-BE49-F238E27FC236}">
                <a16:creationId xmlns:a16="http://schemas.microsoft.com/office/drawing/2014/main" id="{F691F059-F485-4619-B233-3FACDA1F607A}"/>
              </a:ext>
            </a:extLst>
          </p:cNvPr>
          <p:cNvSpPr txBox="1">
            <a:spLocks/>
          </p:cNvSpPr>
          <p:nvPr/>
        </p:nvSpPr>
        <p:spPr>
          <a:xfrm flipH="1">
            <a:off x="7371778" y="3439900"/>
            <a:ext cx="4820222" cy="684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36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Βασικές απαιτήσεις</a:t>
            </a:r>
            <a:endParaRPr kumimoji="0" lang="en-US" sz="36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endParaRPr>
          </a:p>
        </p:txBody>
      </p:sp>
      <p:sp>
        <p:nvSpPr>
          <p:cNvPr id="7" name="Google Shape;1673;p62">
            <a:extLst>
              <a:ext uri="{FF2B5EF4-FFF2-40B4-BE49-F238E27FC236}">
                <a16:creationId xmlns:a16="http://schemas.microsoft.com/office/drawing/2014/main" id="{C8166A63-D512-4504-8BD4-68D14009E3D2}"/>
              </a:ext>
            </a:extLst>
          </p:cNvPr>
          <p:cNvSpPr/>
          <p:nvPr/>
        </p:nvSpPr>
        <p:spPr>
          <a:xfrm rot="10800000" flipH="1">
            <a:off x="1003585" y="268943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674;p62">
            <a:extLst>
              <a:ext uri="{FF2B5EF4-FFF2-40B4-BE49-F238E27FC236}">
                <a16:creationId xmlns:a16="http://schemas.microsoft.com/office/drawing/2014/main" id="{B4302B65-794B-4E0C-88A5-BC5669A46285}"/>
              </a:ext>
            </a:extLst>
          </p:cNvPr>
          <p:cNvSpPr/>
          <p:nvPr/>
        </p:nvSpPr>
        <p:spPr>
          <a:xfrm>
            <a:off x="3533817" y="5873912"/>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675;p62">
            <a:extLst>
              <a:ext uri="{FF2B5EF4-FFF2-40B4-BE49-F238E27FC236}">
                <a16:creationId xmlns:a16="http://schemas.microsoft.com/office/drawing/2014/main" id="{A0B92FD0-96C7-45EC-A332-393F7DDCB44C}"/>
              </a:ext>
            </a:extLst>
          </p:cNvPr>
          <p:cNvSpPr/>
          <p:nvPr/>
        </p:nvSpPr>
        <p:spPr>
          <a:xfrm>
            <a:off x="4160623" y="180286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676;p62">
            <a:extLst>
              <a:ext uri="{FF2B5EF4-FFF2-40B4-BE49-F238E27FC236}">
                <a16:creationId xmlns:a16="http://schemas.microsoft.com/office/drawing/2014/main" id="{D1AB733D-E719-4461-A3E6-8E5F336E134E}"/>
              </a:ext>
            </a:extLst>
          </p:cNvPr>
          <p:cNvSpPr/>
          <p:nvPr/>
        </p:nvSpPr>
        <p:spPr>
          <a:xfrm>
            <a:off x="6639589" y="528274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677;p62">
            <a:extLst>
              <a:ext uri="{FF2B5EF4-FFF2-40B4-BE49-F238E27FC236}">
                <a16:creationId xmlns:a16="http://schemas.microsoft.com/office/drawing/2014/main" id="{FC14B0BA-7E5D-4C62-9774-7F7EA7377CA9}"/>
              </a:ext>
            </a:extLst>
          </p:cNvPr>
          <p:cNvSpPr/>
          <p:nvPr/>
        </p:nvSpPr>
        <p:spPr>
          <a:xfrm>
            <a:off x="7784127" y="228627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 name="Google Shape;1678;p62">
            <a:extLst>
              <a:ext uri="{FF2B5EF4-FFF2-40B4-BE49-F238E27FC236}">
                <a16:creationId xmlns:a16="http://schemas.microsoft.com/office/drawing/2014/main" id="{4FB998C2-08E2-439D-A3C4-C52F73376702}"/>
              </a:ext>
            </a:extLst>
          </p:cNvPr>
          <p:cNvGrpSpPr/>
          <p:nvPr/>
        </p:nvGrpSpPr>
        <p:grpSpPr>
          <a:xfrm rot="14053952">
            <a:off x="5700157" y="2097340"/>
            <a:ext cx="161701" cy="641985"/>
            <a:chOff x="7004550" y="3676293"/>
            <a:chExt cx="161700" cy="641982"/>
          </a:xfrm>
        </p:grpSpPr>
        <p:sp>
          <p:nvSpPr>
            <p:cNvPr id="39" name="Google Shape;1679;p62">
              <a:extLst>
                <a:ext uri="{FF2B5EF4-FFF2-40B4-BE49-F238E27FC236}">
                  <a16:creationId xmlns:a16="http://schemas.microsoft.com/office/drawing/2014/main" id="{C522821B-254F-43D6-9E79-8A25BB68D29D}"/>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680;p62">
              <a:extLst>
                <a:ext uri="{FF2B5EF4-FFF2-40B4-BE49-F238E27FC236}">
                  <a16:creationId xmlns:a16="http://schemas.microsoft.com/office/drawing/2014/main" id="{5CA6CC38-77CB-4421-B521-6D5C7E1EE744}"/>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681;p62">
              <a:extLst>
                <a:ext uri="{FF2B5EF4-FFF2-40B4-BE49-F238E27FC236}">
                  <a16:creationId xmlns:a16="http://schemas.microsoft.com/office/drawing/2014/main" id="{6461103A-B4DB-4BD1-87F0-FE9F7FCCD697}"/>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682;p62">
              <a:extLst>
                <a:ext uri="{FF2B5EF4-FFF2-40B4-BE49-F238E27FC236}">
                  <a16:creationId xmlns:a16="http://schemas.microsoft.com/office/drawing/2014/main" id="{7D8F0C6C-E582-4684-AA17-58AA26FC3B99}"/>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 name="Google Shape;1683;p62">
            <a:extLst>
              <a:ext uri="{FF2B5EF4-FFF2-40B4-BE49-F238E27FC236}">
                <a16:creationId xmlns:a16="http://schemas.microsoft.com/office/drawing/2014/main" id="{4F9E985A-1BB2-4576-9D3C-615A61A4D939}"/>
              </a:ext>
            </a:extLst>
          </p:cNvPr>
          <p:cNvGrpSpPr/>
          <p:nvPr/>
        </p:nvGrpSpPr>
        <p:grpSpPr>
          <a:xfrm>
            <a:off x="5999549" y="870939"/>
            <a:ext cx="779203" cy="750597"/>
            <a:chOff x="4818730" y="3307263"/>
            <a:chExt cx="1827512" cy="1699300"/>
          </a:xfrm>
        </p:grpSpPr>
        <p:sp>
          <p:nvSpPr>
            <p:cNvPr id="14" name="Google Shape;1684;p62">
              <a:extLst>
                <a:ext uri="{FF2B5EF4-FFF2-40B4-BE49-F238E27FC236}">
                  <a16:creationId xmlns:a16="http://schemas.microsoft.com/office/drawing/2014/main" id="{0926DFA3-FCEB-4BEF-915B-4DD93858393C}"/>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685;p62">
              <a:extLst>
                <a:ext uri="{FF2B5EF4-FFF2-40B4-BE49-F238E27FC236}">
                  <a16:creationId xmlns:a16="http://schemas.microsoft.com/office/drawing/2014/main" id="{4C09DB48-6164-4D93-99AA-94675E98DB04}"/>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686;p62">
              <a:extLst>
                <a:ext uri="{FF2B5EF4-FFF2-40B4-BE49-F238E27FC236}">
                  <a16:creationId xmlns:a16="http://schemas.microsoft.com/office/drawing/2014/main" id="{660C704B-8DEB-4BF9-9EAB-87DBE55774AE}"/>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687;p62">
              <a:extLst>
                <a:ext uri="{FF2B5EF4-FFF2-40B4-BE49-F238E27FC236}">
                  <a16:creationId xmlns:a16="http://schemas.microsoft.com/office/drawing/2014/main" id="{23FE34C4-6472-4EFE-9BE4-7127E4673CA7}"/>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688;p62">
              <a:extLst>
                <a:ext uri="{FF2B5EF4-FFF2-40B4-BE49-F238E27FC236}">
                  <a16:creationId xmlns:a16="http://schemas.microsoft.com/office/drawing/2014/main" id="{459FB61E-19A3-4853-8FE2-AA4CFF0E4558}"/>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689;p62">
              <a:extLst>
                <a:ext uri="{FF2B5EF4-FFF2-40B4-BE49-F238E27FC236}">
                  <a16:creationId xmlns:a16="http://schemas.microsoft.com/office/drawing/2014/main" id="{6121E1D0-D33C-4F28-AD71-5F0889033DDF}"/>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690;p62">
              <a:extLst>
                <a:ext uri="{FF2B5EF4-FFF2-40B4-BE49-F238E27FC236}">
                  <a16:creationId xmlns:a16="http://schemas.microsoft.com/office/drawing/2014/main" id="{DF8DA98E-1627-406F-B474-AF3E1B33F47F}"/>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691;p62">
              <a:extLst>
                <a:ext uri="{FF2B5EF4-FFF2-40B4-BE49-F238E27FC236}">
                  <a16:creationId xmlns:a16="http://schemas.microsoft.com/office/drawing/2014/main" id="{52E1BE7E-1066-4F57-860C-98443F845E3A}"/>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692;p62">
              <a:extLst>
                <a:ext uri="{FF2B5EF4-FFF2-40B4-BE49-F238E27FC236}">
                  <a16:creationId xmlns:a16="http://schemas.microsoft.com/office/drawing/2014/main" id="{CE8D619F-5F6D-436F-A33C-D5D2346E12E1}"/>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693;p62">
              <a:extLst>
                <a:ext uri="{FF2B5EF4-FFF2-40B4-BE49-F238E27FC236}">
                  <a16:creationId xmlns:a16="http://schemas.microsoft.com/office/drawing/2014/main" id="{1DC075CB-9E95-4E30-A640-46BC065A402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694;p62">
              <a:extLst>
                <a:ext uri="{FF2B5EF4-FFF2-40B4-BE49-F238E27FC236}">
                  <a16:creationId xmlns:a16="http://schemas.microsoft.com/office/drawing/2014/main" id="{77C69889-C92A-4EE4-9CDC-1566790865BE}"/>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695;p62">
              <a:extLst>
                <a:ext uri="{FF2B5EF4-FFF2-40B4-BE49-F238E27FC236}">
                  <a16:creationId xmlns:a16="http://schemas.microsoft.com/office/drawing/2014/main" id="{307673FC-0113-4018-9DE7-CEEF492838CA}"/>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696;p62">
              <a:extLst>
                <a:ext uri="{FF2B5EF4-FFF2-40B4-BE49-F238E27FC236}">
                  <a16:creationId xmlns:a16="http://schemas.microsoft.com/office/drawing/2014/main" id="{AD7A6676-1155-4997-B386-7FDAE3BD3784}"/>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697;p62">
              <a:extLst>
                <a:ext uri="{FF2B5EF4-FFF2-40B4-BE49-F238E27FC236}">
                  <a16:creationId xmlns:a16="http://schemas.microsoft.com/office/drawing/2014/main" id="{86F69FA1-58F2-4C3A-A55F-D850B1063FB9}"/>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698;p62">
              <a:extLst>
                <a:ext uri="{FF2B5EF4-FFF2-40B4-BE49-F238E27FC236}">
                  <a16:creationId xmlns:a16="http://schemas.microsoft.com/office/drawing/2014/main" id="{7D97A4C1-F4D5-435A-BD7D-AFD2D278CD83}"/>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699;p62">
              <a:extLst>
                <a:ext uri="{FF2B5EF4-FFF2-40B4-BE49-F238E27FC236}">
                  <a16:creationId xmlns:a16="http://schemas.microsoft.com/office/drawing/2014/main" id="{1183B43A-3B02-4730-B199-82F00AA656EC}"/>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00;p62">
              <a:extLst>
                <a:ext uri="{FF2B5EF4-FFF2-40B4-BE49-F238E27FC236}">
                  <a16:creationId xmlns:a16="http://schemas.microsoft.com/office/drawing/2014/main" id="{F028C3EF-2E3C-41BD-9CEC-AA02B4AF145E}"/>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01;p62">
              <a:extLst>
                <a:ext uri="{FF2B5EF4-FFF2-40B4-BE49-F238E27FC236}">
                  <a16:creationId xmlns:a16="http://schemas.microsoft.com/office/drawing/2014/main" id="{F628B6BC-FE90-4EEF-932B-E9F88D976DC1}"/>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02;p62">
              <a:extLst>
                <a:ext uri="{FF2B5EF4-FFF2-40B4-BE49-F238E27FC236}">
                  <a16:creationId xmlns:a16="http://schemas.microsoft.com/office/drawing/2014/main" id="{2A50CC03-21C3-42F9-B899-35E19CA3E987}"/>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03;p62">
              <a:extLst>
                <a:ext uri="{FF2B5EF4-FFF2-40B4-BE49-F238E27FC236}">
                  <a16:creationId xmlns:a16="http://schemas.microsoft.com/office/drawing/2014/main" id="{2CDE7EBF-A298-4BFC-91D6-E3E72EBAD5BC}"/>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04;p62">
              <a:extLst>
                <a:ext uri="{FF2B5EF4-FFF2-40B4-BE49-F238E27FC236}">
                  <a16:creationId xmlns:a16="http://schemas.microsoft.com/office/drawing/2014/main" id="{1F73DDB6-B9F7-4D4A-90C6-4C7389A022B9}"/>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05;p62">
              <a:extLst>
                <a:ext uri="{FF2B5EF4-FFF2-40B4-BE49-F238E27FC236}">
                  <a16:creationId xmlns:a16="http://schemas.microsoft.com/office/drawing/2014/main" id="{51CAE8DF-410D-47B7-B4AF-0EFB916614D5}"/>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06;p62">
              <a:extLst>
                <a:ext uri="{FF2B5EF4-FFF2-40B4-BE49-F238E27FC236}">
                  <a16:creationId xmlns:a16="http://schemas.microsoft.com/office/drawing/2014/main" id="{9533BF3E-A7C8-4137-9DC9-A6D297897B9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07;p62">
              <a:extLst>
                <a:ext uri="{FF2B5EF4-FFF2-40B4-BE49-F238E27FC236}">
                  <a16:creationId xmlns:a16="http://schemas.microsoft.com/office/drawing/2014/main" id="{856BFD31-6825-4135-B36A-01DCD2808C98}"/>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08;p62">
              <a:extLst>
                <a:ext uri="{FF2B5EF4-FFF2-40B4-BE49-F238E27FC236}">
                  <a16:creationId xmlns:a16="http://schemas.microsoft.com/office/drawing/2014/main" id="{F5EE2F7B-D4FC-4D9C-B607-7FF1EA8B63D9}"/>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3" name="Google Shape;1671;p62">
            <a:extLst>
              <a:ext uri="{FF2B5EF4-FFF2-40B4-BE49-F238E27FC236}">
                <a16:creationId xmlns:a16="http://schemas.microsoft.com/office/drawing/2014/main" id="{A0C27E5A-BE58-45F8-A580-8C2AE646AF63}"/>
              </a:ext>
            </a:extLst>
          </p:cNvPr>
          <p:cNvSpPr/>
          <p:nvPr/>
        </p:nvSpPr>
        <p:spPr>
          <a:xfrm rot="10800000">
            <a:off x="7147173" y="420241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5" name="Google Shape;1613;p62">
            <a:extLst>
              <a:ext uri="{FF2B5EF4-FFF2-40B4-BE49-F238E27FC236}">
                <a16:creationId xmlns:a16="http://schemas.microsoft.com/office/drawing/2014/main" id="{CB7A4EF3-34FA-4658-8EA3-49A4C3FCAD03}"/>
              </a:ext>
            </a:extLst>
          </p:cNvPr>
          <p:cNvGrpSpPr/>
          <p:nvPr/>
        </p:nvGrpSpPr>
        <p:grpSpPr>
          <a:xfrm>
            <a:off x="1563284" y="2513135"/>
            <a:ext cx="3941066" cy="2690998"/>
            <a:chOff x="369650" y="1783400"/>
            <a:chExt cx="3941066" cy="2690998"/>
          </a:xfrm>
        </p:grpSpPr>
        <p:sp>
          <p:nvSpPr>
            <p:cNvPr id="46" name="Google Shape;1614;p62">
              <a:extLst>
                <a:ext uri="{FF2B5EF4-FFF2-40B4-BE49-F238E27FC236}">
                  <a16:creationId xmlns:a16="http://schemas.microsoft.com/office/drawing/2014/main" id="{874B2B29-3465-4135-97C1-3A45851B4915}"/>
                </a:ext>
              </a:extLst>
            </p:cNvPr>
            <p:cNvSpPr/>
            <p:nvPr/>
          </p:nvSpPr>
          <p:spPr>
            <a:xfrm>
              <a:off x="369650" y="4194302"/>
              <a:ext cx="3941066" cy="280096"/>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rgbClr val="F7743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615;p62">
              <a:extLst>
                <a:ext uri="{FF2B5EF4-FFF2-40B4-BE49-F238E27FC236}">
                  <a16:creationId xmlns:a16="http://schemas.microsoft.com/office/drawing/2014/main" id="{C91AFBA9-8CCC-455C-B259-D9494CA53143}"/>
                </a:ext>
              </a:extLst>
            </p:cNvPr>
            <p:cNvSpPr/>
            <p:nvPr/>
          </p:nvSpPr>
          <p:spPr>
            <a:xfrm>
              <a:off x="1919150" y="2415625"/>
              <a:ext cx="456725" cy="518250"/>
            </a:xfrm>
            <a:custGeom>
              <a:avLst/>
              <a:gdLst/>
              <a:ahLst/>
              <a:cxnLst/>
              <a:rect l="l" t="t" r="r" b="b"/>
              <a:pathLst>
                <a:path w="18269" h="20730" extrusionOk="0">
                  <a:moveTo>
                    <a:pt x="1" y="0"/>
                  </a:moveTo>
                  <a:lnTo>
                    <a:pt x="1" y="760"/>
                  </a:lnTo>
                  <a:lnTo>
                    <a:pt x="11156" y="760"/>
                  </a:lnTo>
                  <a:cubicBezTo>
                    <a:pt x="14652" y="760"/>
                    <a:pt x="17509" y="3617"/>
                    <a:pt x="17509" y="7143"/>
                  </a:cubicBezTo>
                  <a:lnTo>
                    <a:pt x="17509" y="13587"/>
                  </a:lnTo>
                  <a:cubicBezTo>
                    <a:pt x="17509" y="17113"/>
                    <a:pt x="14652" y="19970"/>
                    <a:pt x="11156" y="19970"/>
                  </a:cubicBezTo>
                  <a:lnTo>
                    <a:pt x="1" y="19970"/>
                  </a:lnTo>
                  <a:lnTo>
                    <a:pt x="1" y="20730"/>
                  </a:lnTo>
                  <a:lnTo>
                    <a:pt x="11156" y="20730"/>
                  </a:lnTo>
                  <a:cubicBezTo>
                    <a:pt x="15077" y="20730"/>
                    <a:pt x="18269" y="17538"/>
                    <a:pt x="18269" y="13587"/>
                  </a:cubicBezTo>
                  <a:lnTo>
                    <a:pt x="18269" y="7143"/>
                  </a:lnTo>
                  <a:cubicBezTo>
                    <a:pt x="18269" y="3192"/>
                    <a:pt x="15077" y="0"/>
                    <a:pt x="11156"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616;p62">
              <a:extLst>
                <a:ext uri="{FF2B5EF4-FFF2-40B4-BE49-F238E27FC236}">
                  <a16:creationId xmlns:a16="http://schemas.microsoft.com/office/drawing/2014/main" id="{BB5A5077-6805-4F49-B217-9285A451ADCB}"/>
                </a:ext>
              </a:extLst>
            </p:cNvPr>
            <p:cNvSpPr/>
            <p:nvPr/>
          </p:nvSpPr>
          <p:spPr>
            <a:xfrm>
              <a:off x="1274000" y="1783400"/>
              <a:ext cx="1342775" cy="817650"/>
            </a:xfrm>
            <a:custGeom>
              <a:avLst/>
              <a:gdLst/>
              <a:ahLst/>
              <a:cxnLst/>
              <a:rect l="l" t="t" r="r" b="b"/>
              <a:pathLst>
                <a:path w="53711" h="32706" extrusionOk="0">
                  <a:moveTo>
                    <a:pt x="1" y="0"/>
                  </a:moveTo>
                  <a:lnTo>
                    <a:pt x="1" y="32706"/>
                  </a:lnTo>
                  <a:lnTo>
                    <a:pt x="53710" y="32706"/>
                  </a:lnTo>
                  <a:lnTo>
                    <a:pt x="53710"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617;p62">
              <a:extLst>
                <a:ext uri="{FF2B5EF4-FFF2-40B4-BE49-F238E27FC236}">
                  <a16:creationId xmlns:a16="http://schemas.microsoft.com/office/drawing/2014/main" id="{B2C9329E-0648-4457-AEE6-30B34AC3AFA4}"/>
                </a:ext>
              </a:extLst>
            </p:cNvPr>
            <p:cNvSpPr/>
            <p:nvPr/>
          </p:nvSpPr>
          <p:spPr>
            <a:xfrm>
              <a:off x="1247425" y="1783400"/>
              <a:ext cx="1342750" cy="818425"/>
            </a:xfrm>
            <a:custGeom>
              <a:avLst/>
              <a:gdLst/>
              <a:ahLst/>
              <a:cxnLst/>
              <a:rect l="l" t="t" r="r" b="b"/>
              <a:pathLst>
                <a:path w="53710" h="32737" extrusionOk="0">
                  <a:moveTo>
                    <a:pt x="0" y="0"/>
                  </a:moveTo>
                  <a:lnTo>
                    <a:pt x="0" y="32736"/>
                  </a:lnTo>
                  <a:lnTo>
                    <a:pt x="53709" y="32736"/>
                  </a:lnTo>
                  <a:lnTo>
                    <a:pt x="5370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618;p62">
              <a:extLst>
                <a:ext uri="{FF2B5EF4-FFF2-40B4-BE49-F238E27FC236}">
                  <a16:creationId xmlns:a16="http://schemas.microsoft.com/office/drawing/2014/main" id="{5DDD6FE1-A530-4F8D-B031-CEA21001191E}"/>
                </a:ext>
              </a:extLst>
            </p:cNvPr>
            <p:cNvSpPr/>
            <p:nvPr/>
          </p:nvSpPr>
          <p:spPr>
            <a:xfrm>
              <a:off x="1324925" y="1860900"/>
              <a:ext cx="1187725" cy="663400"/>
            </a:xfrm>
            <a:custGeom>
              <a:avLst/>
              <a:gdLst/>
              <a:ahLst/>
              <a:cxnLst/>
              <a:rect l="l" t="t" r="r" b="b"/>
              <a:pathLst>
                <a:path w="47509" h="26536" extrusionOk="0">
                  <a:moveTo>
                    <a:pt x="0" y="0"/>
                  </a:moveTo>
                  <a:lnTo>
                    <a:pt x="0" y="26536"/>
                  </a:lnTo>
                  <a:lnTo>
                    <a:pt x="47509" y="26536"/>
                  </a:lnTo>
                  <a:lnTo>
                    <a:pt x="47509"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619;p62">
              <a:extLst>
                <a:ext uri="{FF2B5EF4-FFF2-40B4-BE49-F238E27FC236}">
                  <a16:creationId xmlns:a16="http://schemas.microsoft.com/office/drawing/2014/main" id="{16D5CCA8-BED6-4121-997E-0D7B543558FA}"/>
                </a:ext>
              </a:extLst>
            </p:cNvPr>
            <p:cNvSpPr/>
            <p:nvPr/>
          </p:nvSpPr>
          <p:spPr>
            <a:xfrm>
              <a:off x="1324925" y="1860900"/>
              <a:ext cx="1187725" cy="663400"/>
            </a:xfrm>
            <a:custGeom>
              <a:avLst/>
              <a:gdLst/>
              <a:ahLst/>
              <a:cxnLst/>
              <a:rect l="l" t="t" r="r" b="b"/>
              <a:pathLst>
                <a:path w="47509" h="26536" extrusionOk="0">
                  <a:moveTo>
                    <a:pt x="0" y="0"/>
                  </a:moveTo>
                  <a:lnTo>
                    <a:pt x="0" y="26536"/>
                  </a:lnTo>
                  <a:lnTo>
                    <a:pt x="47509"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620;p62">
              <a:extLst>
                <a:ext uri="{FF2B5EF4-FFF2-40B4-BE49-F238E27FC236}">
                  <a16:creationId xmlns:a16="http://schemas.microsoft.com/office/drawing/2014/main" id="{2196565A-2BC9-41C0-9A57-302CFAD18A44}"/>
                </a:ext>
              </a:extLst>
            </p:cNvPr>
            <p:cNvSpPr/>
            <p:nvPr/>
          </p:nvSpPr>
          <p:spPr>
            <a:xfrm>
              <a:off x="3419175" y="1783400"/>
              <a:ext cx="262200" cy="162625"/>
            </a:xfrm>
            <a:custGeom>
              <a:avLst/>
              <a:gdLst/>
              <a:ahLst/>
              <a:cxnLst/>
              <a:rect l="l" t="t" r="r" b="b"/>
              <a:pathLst>
                <a:path w="10488" h="6505" extrusionOk="0">
                  <a:moveTo>
                    <a:pt x="1885" y="0"/>
                  </a:moveTo>
                  <a:cubicBezTo>
                    <a:pt x="852" y="0"/>
                    <a:pt x="1" y="851"/>
                    <a:pt x="1" y="1915"/>
                  </a:cubicBezTo>
                  <a:lnTo>
                    <a:pt x="1" y="4620"/>
                  </a:lnTo>
                  <a:cubicBezTo>
                    <a:pt x="1" y="5654"/>
                    <a:pt x="852" y="6505"/>
                    <a:pt x="1885" y="6505"/>
                  </a:cubicBezTo>
                  <a:lnTo>
                    <a:pt x="8603" y="6505"/>
                  </a:lnTo>
                  <a:cubicBezTo>
                    <a:pt x="9667" y="6505"/>
                    <a:pt x="10487" y="5654"/>
                    <a:pt x="10487" y="4620"/>
                  </a:cubicBezTo>
                  <a:lnTo>
                    <a:pt x="10487" y="1915"/>
                  </a:lnTo>
                  <a:cubicBezTo>
                    <a:pt x="10487" y="851"/>
                    <a:pt x="9667" y="0"/>
                    <a:pt x="860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1621;p62">
              <a:extLst>
                <a:ext uri="{FF2B5EF4-FFF2-40B4-BE49-F238E27FC236}">
                  <a16:creationId xmlns:a16="http://schemas.microsoft.com/office/drawing/2014/main" id="{0D508F5D-01A8-4FCA-B605-1EEF4CEC2639}"/>
                </a:ext>
              </a:extLst>
            </p:cNvPr>
            <p:cNvSpPr/>
            <p:nvPr/>
          </p:nvSpPr>
          <p:spPr>
            <a:xfrm>
              <a:off x="3381200" y="1783400"/>
              <a:ext cx="262950" cy="162625"/>
            </a:xfrm>
            <a:custGeom>
              <a:avLst/>
              <a:gdLst/>
              <a:ahLst/>
              <a:cxnLst/>
              <a:rect l="l" t="t" r="r" b="b"/>
              <a:pathLst>
                <a:path w="10518" h="6505" extrusionOk="0">
                  <a:moveTo>
                    <a:pt x="1915" y="0"/>
                  </a:moveTo>
                  <a:cubicBezTo>
                    <a:pt x="851" y="0"/>
                    <a:pt x="0" y="851"/>
                    <a:pt x="0" y="1885"/>
                  </a:cubicBezTo>
                  <a:lnTo>
                    <a:pt x="0" y="4620"/>
                  </a:lnTo>
                  <a:cubicBezTo>
                    <a:pt x="0" y="5654"/>
                    <a:pt x="851" y="6505"/>
                    <a:pt x="1915" y="6505"/>
                  </a:cubicBezTo>
                  <a:lnTo>
                    <a:pt x="8602" y="6505"/>
                  </a:lnTo>
                  <a:cubicBezTo>
                    <a:pt x="9666" y="6505"/>
                    <a:pt x="10517" y="5654"/>
                    <a:pt x="10517" y="4620"/>
                  </a:cubicBezTo>
                  <a:lnTo>
                    <a:pt x="10517" y="1885"/>
                  </a:lnTo>
                  <a:cubicBezTo>
                    <a:pt x="10517" y="851"/>
                    <a:pt x="9666" y="0"/>
                    <a:pt x="860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1622;p62">
              <a:extLst>
                <a:ext uri="{FF2B5EF4-FFF2-40B4-BE49-F238E27FC236}">
                  <a16:creationId xmlns:a16="http://schemas.microsoft.com/office/drawing/2014/main" id="{12B9E174-6F6D-4A52-A14D-081EDCA7F3D3}"/>
                </a:ext>
              </a:extLst>
            </p:cNvPr>
            <p:cNvSpPr/>
            <p:nvPr/>
          </p:nvSpPr>
          <p:spPr>
            <a:xfrm>
              <a:off x="3468575" y="1832025"/>
              <a:ext cx="77550" cy="65850"/>
            </a:xfrm>
            <a:custGeom>
              <a:avLst/>
              <a:gdLst/>
              <a:ahLst/>
              <a:cxnLst/>
              <a:rect l="l" t="t" r="r" b="b"/>
              <a:pathLst>
                <a:path w="3102" h="2634" extrusionOk="0">
                  <a:moveTo>
                    <a:pt x="1794" y="0"/>
                  </a:moveTo>
                  <a:cubicBezTo>
                    <a:pt x="609" y="0"/>
                    <a:pt x="1" y="1399"/>
                    <a:pt x="852" y="2250"/>
                  </a:cubicBezTo>
                  <a:cubicBezTo>
                    <a:pt x="1117" y="2515"/>
                    <a:pt x="1445" y="2634"/>
                    <a:pt x="1768" y="2634"/>
                  </a:cubicBezTo>
                  <a:cubicBezTo>
                    <a:pt x="2446" y="2634"/>
                    <a:pt x="3101" y="2110"/>
                    <a:pt x="3101" y="1307"/>
                  </a:cubicBezTo>
                  <a:cubicBezTo>
                    <a:pt x="3101" y="578"/>
                    <a:pt x="2524" y="0"/>
                    <a:pt x="179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1623;p62">
              <a:extLst>
                <a:ext uri="{FF2B5EF4-FFF2-40B4-BE49-F238E27FC236}">
                  <a16:creationId xmlns:a16="http://schemas.microsoft.com/office/drawing/2014/main" id="{2ED83897-D417-45FE-93D4-8BCBCC32D337}"/>
                </a:ext>
              </a:extLst>
            </p:cNvPr>
            <p:cNvSpPr/>
            <p:nvPr/>
          </p:nvSpPr>
          <p:spPr>
            <a:xfrm>
              <a:off x="3490625" y="1847975"/>
              <a:ext cx="38775" cy="33525"/>
            </a:xfrm>
            <a:custGeom>
              <a:avLst/>
              <a:gdLst/>
              <a:ahLst/>
              <a:cxnLst/>
              <a:rect l="l" t="t" r="r" b="b"/>
              <a:pathLst>
                <a:path w="1551" h="1341" extrusionOk="0">
                  <a:moveTo>
                    <a:pt x="882" y="1"/>
                  </a:moveTo>
                  <a:cubicBezTo>
                    <a:pt x="304" y="1"/>
                    <a:pt x="0" y="730"/>
                    <a:pt x="426" y="1156"/>
                  </a:cubicBezTo>
                  <a:cubicBezTo>
                    <a:pt x="553" y="1283"/>
                    <a:pt x="714" y="1341"/>
                    <a:pt x="875" y="1341"/>
                  </a:cubicBezTo>
                  <a:cubicBezTo>
                    <a:pt x="1214" y="1341"/>
                    <a:pt x="1550" y="1082"/>
                    <a:pt x="1550" y="669"/>
                  </a:cubicBezTo>
                  <a:cubicBezTo>
                    <a:pt x="1550" y="305"/>
                    <a:pt x="1246" y="1"/>
                    <a:pt x="882"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1624;p62">
              <a:extLst>
                <a:ext uri="{FF2B5EF4-FFF2-40B4-BE49-F238E27FC236}">
                  <a16:creationId xmlns:a16="http://schemas.microsoft.com/office/drawing/2014/main" id="{3F914952-E88E-40CC-BF0F-45FCE67FC71D}"/>
                </a:ext>
              </a:extLst>
            </p:cNvPr>
            <p:cNvSpPr/>
            <p:nvPr/>
          </p:nvSpPr>
          <p:spPr>
            <a:xfrm>
              <a:off x="3253500" y="2404988"/>
              <a:ext cx="457475" cy="518250"/>
            </a:xfrm>
            <a:custGeom>
              <a:avLst/>
              <a:gdLst/>
              <a:ahLst/>
              <a:cxnLst/>
              <a:rect l="l" t="t" r="r" b="b"/>
              <a:pathLst>
                <a:path w="18299" h="20730" extrusionOk="0">
                  <a:moveTo>
                    <a:pt x="0" y="0"/>
                  </a:moveTo>
                  <a:lnTo>
                    <a:pt x="0" y="760"/>
                  </a:lnTo>
                  <a:lnTo>
                    <a:pt x="11155" y="760"/>
                  </a:lnTo>
                  <a:cubicBezTo>
                    <a:pt x="14681" y="760"/>
                    <a:pt x="17508" y="3617"/>
                    <a:pt x="17538" y="7143"/>
                  </a:cubicBezTo>
                  <a:lnTo>
                    <a:pt x="17538" y="13587"/>
                  </a:lnTo>
                  <a:cubicBezTo>
                    <a:pt x="17508" y="17113"/>
                    <a:pt x="14681" y="19970"/>
                    <a:pt x="11155" y="19970"/>
                  </a:cubicBezTo>
                  <a:lnTo>
                    <a:pt x="0" y="19970"/>
                  </a:lnTo>
                  <a:lnTo>
                    <a:pt x="0" y="20730"/>
                  </a:lnTo>
                  <a:lnTo>
                    <a:pt x="11155" y="20730"/>
                  </a:lnTo>
                  <a:cubicBezTo>
                    <a:pt x="15076" y="20730"/>
                    <a:pt x="18268" y="17538"/>
                    <a:pt x="18298" y="13587"/>
                  </a:cubicBezTo>
                  <a:lnTo>
                    <a:pt x="18298" y="7143"/>
                  </a:lnTo>
                  <a:cubicBezTo>
                    <a:pt x="18268" y="3192"/>
                    <a:pt x="15076" y="0"/>
                    <a:pt x="1115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1625;p62">
              <a:extLst>
                <a:ext uri="{FF2B5EF4-FFF2-40B4-BE49-F238E27FC236}">
                  <a16:creationId xmlns:a16="http://schemas.microsoft.com/office/drawing/2014/main" id="{32C91F41-4D2C-46AA-819A-9DFCF8E8AC68}"/>
                </a:ext>
              </a:extLst>
            </p:cNvPr>
            <p:cNvSpPr/>
            <p:nvPr/>
          </p:nvSpPr>
          <p:spPr>
            <a:xfrm>
              <a:off x="2274025" y="2928550"/>
              <a:ext cx="738650" cy="1414925"/>
            </a:xfrm>
            <a:custGeom>
              <a:avLst/>
              <a:gdLst/>
              <a:ahLst/>
              <a:cxnLst/>
              <a:rect l="l" t="t" r="r" b="b"/>
              <a:pathLst>
                <a:path w="29546" h="56597" extrusionOk="0">
                  <a:moveTo>
                    <a:pt x="1" y="0"/>
                  </a:moveTo>
                  <a:lnTo>
                    <a:pt x="1" y="34621"/>
                  </a:lnTo>
                  <a:cubicBezTo>
                    <a:pt x="31" y="46749"/>
                    <a:pt x="9849" y="56566"/>
                    <a:pt x="21977" y="56597"/>
                  </a:cubicBezTo>
                  <a:lnTo>
                    <a:pt x="29545" y="56597"/>
                  </a:lnTo>
                  <a:lnTo>
                    <a:pt x="29545" y="55837"/>
                  </a:lnTo>
                  <a:lnTo>
                    <a:pt x="21977" y="55837"/>
                  </a:lnTo>
                  <a:cubicBezTo>
                    <a:pt x="10274" y="55806"/>
                    <a:pt x="791" y="46323"/>
                    <a:pt x="761" y="34621"/>
                  </a:cubicBezTo>
                  <a:lnTo>
                    <a:pt x="7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1626;p62">
              <a:extLst>
                <a:ext uri="{FF2B5EF4-FFF2-40B4-BE49-F238E27FC236}">
                  <a16:creationId xmlns:a16="http://schemas.microsoft.com/office/drawing/2014/main" id="{DECB4C9C-CDBB-4100-9120-AB8BF71789F5}"/>
                </a:ext>
              </a:extLst>
            </p:cNvPr>
            <p:cNvSpPr/>
            <p:nvPr/>
          </p:nvSpPr>
          <p:spPr>
            <a:xfrm>
              <a:off x="2192725" y="2928550"/>
              <a:ext cx="738625" cy="1414925"/>
            </a:xfrm>
            <a:custGeom>
              <a:avLst/>
              <a:gdLst/>
              <a:ahLst/>
              <a:cxnLst/>
              <a:rect l="l" t="t" r="r" b="b"/>
              <a:pathLst>
                <a:path w="29545" h="56597" extrusionOk="0">
                  <a:moveTo>
                    <a:pt x="0" y="0"/>
                  </a:moveTo>
                  <a:lnTo>
                    <a:pt x="0" y="34621"/>
                  </a:lnTo>
                  <a:cubicBezTo>
                    <a:pt x="31" y="46749"/>
                    <a:pt x="9848" y="56566"/>
                    <a:pt x="21976" y="56597"/>
                  </a:cubicBezTo>
                  <a:lnTo>
                    <a:pt x="29545" y="56597"/>
                  </a:lnTo>
                  <a:lnTo>
                    <a:pt x="29545" y="55837"/>
                  </a:lnTo>
                  <a:lnTo>
                    <a:pt x="21976" y="55837"/>
                  </a:lnTo>
                  <a:cubicBezTo>
                    <a:pt x="10274" y="55806"/>
                    <a:pt x="791" y="46323"/>
                    <a:pt x="760" y="34621"/>
                  </a:cubicBezTo>
                  <a:lnTo>
                    <a:pt x="760"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1627;p62">
              <a:extLst>
                <a:ext uri="{FF2B5EF4-FFF2-40B4-BE49-F238E27FC236}">
                  <a16:creationId xmlns:a16="http://schemas.microsoft.com/office/drawing/2014/main" id="{CF01AD25-1C33-41BF-977D-AD14B6CABC8F}"/>
                </a:ext>
              </a:extLst>
            </p:cNvPr>
            <p:cNvSpPr/>
            <p:nvPr/>
          </p:nvSpPr>
          <p:spPr>
            <a:xfrm>
              <a:off x="2310500" y="2928550"/>
              <a:ext cx="738650" cy="1414925"/>
            </a:xfrm>
            <a:custGeom>
              <a:avLst/>
              <a:gdLst/>
              <a:ahLst/>
              <a:cxnLst/>
              <a:rect l="l" t="t" r="r" b="b"/>
              <a:pathLst>
                <a:path w="29546" h="56597" extrusionOk="0">
                  <a:moveTo>
                    <a:pt x="1" y="0"/>
                  </a:moveTo>
                  <a:lnTo>
                    <a:pt x="1" y="34621"/>
                  </a:lnTo>
                  <a:cubicBezTo>
                    <a:pt x="1" y="46749"/>
                    <a:pt x="9849" y="56566"/>
                    <a:pt x="21977" y="56597"/>
                  </a:cubicBezTo>
                  <a:lnTo>
                    <a:pt x="29545" y="56597"/>
                  </a:lnTo>
                  <a:lnTo>
                    <a:pt x="29545" y="55837"/>
                  </a:lnTo>
                  <a:lnTo>
                    <a:pt x="21977" y="55837"/>
                  </a:lnTo>
                  <a:cubicBezTo>
                    <a:pt x="10244" y="55806"/>
                    <a:pt x="761" y="46323"/>
                    <a:pt x="761" y="34621"/>
                  </a:cubicBezTo>
                  <a:lnTo>
                    <a:pt x="7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628;p62">
              <a:extLst>
                <a:ext uri="{FF2B5EF4-FFF2-40B4-BE49-F238E27FC236}">
                  <a16:creationId xmlns:a16="http://schemas.microsoft.com/office/drawing/2014/main" id="{61454E29-764B-4F00-A2F6-80BC7A1771DF}"/>
                </a:ext>
              </a:extLst>
            </p:cNvPr>
            <p:cNvSpPr/>
            <p:nvPr/>
          </p:nvSpPr>
          <p:spPr>
            <a:xfrm>
              <a:off x="2039975" y="2928550"/>
              <a:ext cx="738650" cy="1414925"/>
            </a:xfrm>
            <a:custGeom>
              <a:avLst/>
              <a:gdLst/>
              <a:ahLst/>
              <a:cxnLst/>
              <a:rect l="l" t="t" r="r" b="b"/>
              <a:pathLst>
                <a:path w="29546" h="56597" extrusionOk="0">
                  <a:moveTo>
                    <a:pt x="1" y="0"/>
                  </a:moveTo>
                  <a:lnTo>
                    <a:pt x="1" y="34621"/>
                  </a:lnTo>
                  <a:cubicBezTo>
                    <a:pt x="31" y="46749"/>
                    <a:pt x="9849" y="56566"/>
                    <a:pt x="21977" y="56597"/>
                  </a:cubicBezTo>
                  <a:lnTo>
                    <a:pt x="29545" y="56597"/>
                  </a:lnTo>
                  <a:lnTo>
                    <a:pt x="29545" y="55837"/>
                  </a:lnTo>
                  <a:lnTo>
                    <a:pt x="21977" y="55837"/>
                  </a:lnTo>
                  <a:cubicBezTo>
                    <a:pt x="10274" y="55806"/>
                    <a:pt x="791" y="46323"/>
                    <a:pt x="761" y="34621"/>
                  </a:cubicBezTo>
                  <a:lnTo>
                    <a:pt x="7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629;p62">
              <a:extLst>
                <a:ext uri="{FF2B5EF4-FFF2-40B4-BE49-F238E27FC236}">
                  <a16:creationId xmlns:a16="http://schemas.microsoft.com/office/drawing/2014/main" id="{BD45FC84-A2E5-4E4B-AB09-27452664A3CE}"/>
                </a:ext>
              </a:extLst>
            </p:cNvPr>
            <p:cNvSpPr/>
            <p:nvPr/>
          </p:nvSpPr>
          <p:spPr>
            <a:xfrm>
              <a:off x="1775550" y="2601025"/>
              <a:ext cx="357175" cy="203675"/>
            </a:xfrm>
            <a:custGeom>
              <a:avLst/>
              <a:gdLst/>
              <a:ahLst/>
              <a:cxnLst/>
              <a:rect l="l" t="t" r="r" b="b"/>
              <a:pathLst>
                <a:path w="14287" h="8147" extrusionOk="0">
                  <a:moveTo>
                    <a:pt x="0" y="1"/>
                  </a:moveTo>
                  <a:lnTo>
                    <a:pt x="0" y="8147"/>
                  </a:lnTo>
                  <a:lnTo>
                    <a:pt x="14286" y="8147"/>
                  </a:lnTo>
                  <a:lnTo>
                    <a:pt x="14286"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1630;p62">
              <a:extLst>
                <a:ext uri="{FF2B5EF4-FFF2-40B4-BE49-F238E27FC236}">
                  <a16:creationId xmlns:a16="http://schemas.microsoft.com/office/drawing/2014/main" id="{9F810344-3AA3-4FFD-8177-E4D80AEEF957}"/>
                </a:ext>
              </a:extLst>
            </p:cNvPr>
            <p:cNvSpPr/>
            <p:nvPr/>
          </p:nvSpPr>
          <p:spPr>
            <a:xfrm>
              <a:off x="1671425" y="2804675"/>
              <a:ext cx="565400" cy="31175"/>
            </a:xfrm>
            <a:custGeom>
              <a:avLst/>
              <a:gdLst/>
              <a:ahLst/>
              <a:cxnLst/>
              <a:rect l="l" t="t" r="r" b="b"/>
              <a:pathLst>
                <a:path w="22616" h="1247" extrusionOk="0">
                  <a:moveTo>
                    <a:pt x="1" y="1"/>
                  </a:moveTo>
                  <a:lnTo>
                    <a:pt x="1" y="1247"/>
                  </a:lnTo>
                  <a:lnTo>
                    <a:pt x="22615" y="1247"/>
                  </a:lnTo>
                  <a:lnTo>
                    <a:pt x="22615"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1631;p62">
              <a:extLst>
                <a:ext uri="{FF2B5EF4-FFF2-40B4-BE49-F238E27FC236}">
                  <a16:creationId xmlns:a16="http://schemas.microsoft.com/office/drawing/2014/main" id="{59717EBC-9D9B-4C30-A9F4-F4FEAFC79C13}"/>
                </a:ext>
              </a:extLst>
            </p:cNvPr>
            <p:cNvSpPr/>
            <p:nvPr/>
          </p:nvSpPr>
          <p:spPr>
            <a:xfrm>
              <a:off x="2728450" y="1962725"/>
              <a:ext cx="1124650" cy="715075"/>
            </a:xfrm>
            <a:custGeom>
              <a:avLst/>
              <a:gdLst/>
              <a:ahLst/>
              <a:cxnLst/>
              <a:rect l="l" t="t" r="r" b="b"/>
              <a:pathLst>
                <a:path w="44986" h="28603" extrusionOk="0">
                  <a:moveTo>
                    <a:pt x="0" y="0"/>
                  </a:moveTo>
                  <a:lnTo>
                    <a:pt x="0" y="28603"/>
                  </a:lnTo>
                  <a:lnTo>
                    <a:pt x="44986" y="28603"/>
                  </a:lnTo>
                  <a:lnTo>
                    <a:pt x="4498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632;p62">
              <a:extLst>
                <a:ext uri="{FF2B5EF4-FFF2-40B4-BE49-F238E27FC236}">
                  <a16:creationId xmlns:a16="http://schemas.microsoft.com/office/drawing/2014/main" id="{3776BDE8-DBB5-412D-A1E6-8E819081CE7E}"/>
                </a:ext>
              </a:extLst>
            </p:cNvPr>
            <p:cNvSpPr/>
            <p:nvPr/>
          </p:nvSpPr>
          <p:spPr>
            <a:xfrm>
              <a:off x="2704875" y="1962725"/>
              <a:ext cx="1125450" cy="715075"/>
            </a:xfrm>
            <a:custGeom>
              <a:avLst/>
              <a:gdLst/>
              <a:ahLst/>
              <a:cxnLst/>
              <a:rect l="l" t="t" r="r" b="b"/>
              <a:pathLst>
                <a:path w="45018" h="28603" extrusionOk="0">
                  <a:moveTo>
                    <a:pt x="1" y="0"/>
                  </a:moveTo>
                  <a:lnTo>
                    <a:pt x="1" y="28603"/>
                  </a:lnTo>
                  <a:lnTo>
                    <a:pt x="45017" y="28603"/>
                  </a:lnTo>
                  <a:lnTo>
                    <a:pt x="45017"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633;p62">
              <a:extLst>
                <a:ext uri="{FF2B5EF4-FFF2-40B4-BE49-F238E27FC236}">
                  <a16:creationId xmlns:a16="http://schemas.microsoft.com/office/drawing/2014/main" id="{A745F66A-81FC-4A3F-A545-7DB995B04123}"/>
                </a:ext>
              </a:extLst>
            </p:cNvPr>
            <p:cNvSpPr/>
            <p:nvPr/>
          </p:nvSpPr>
          <p:spPr>
            <a:xfrm>
              <a:off x="2772525" y="2030350"/>
              <a:ext cx="989400" cy="579825"/>
            </a:xfrm>
            <a:custGeom>
              <a:avLst/>
              <a:gdLst/>
              <a:ahLst/>
              <a:cxnLst/>
              <a:rect l="l" t="t" r="r" b="b"/>
              <a:pathLst>
                <a:path w="39576" h="23193" extrusionOk="0">
                  <a:moveTo>
                    <a:pt x="0" y="1"/>
                  </a:moveTo>
                  <a:lnTo>
                    <a:pt x="0" y="23192"/>
                  </a:lnTo>
                  <a:lnTo>
                    <a:pt x="39575" y="23192"/>
                  </a:lnTo>
                  <a:lnTo>
                    <a:pt x="39575"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634;p62">
              <a:extLst>
                <a:ext uri="{FF2B5EF4-FFF2-40B4-BE49-F238E27FC236}">
                  <a16:creationId xmlns:a16="http://schemas.microsoft.com/office/drawing/2014/main" id="{16B1CF15-A3DA-47BD-AF6A-2F30AEE6206B}"/>
                </a:ext>
              </a:extLst>
            </p:cNvPr>
            <p:cNvSpPr/>
            <p:nvPr/>
          </p:nvSpPr>
          <p:spPr>
            <a:xfrm>
              <a:off x="2772525" y="2030350"/>
              <a:ext cx="990150" cy="579825"/>
            </a:xfrm>
            <a:custGeom>
              <a:avLst/>
              <a:gdLst/>
              <a:ahLst/>
              <a:cxnLst/>
              <a:rect l="l" t="t" r="r" b="b"/>
              <a:pathLst>
                <a:path w="39606" h="23193" extrusionOk="0">
                  <a:moveTo>
                    <a:pt x="0" y="1"/>
                  </a:moveTo>
                  <a:lnTo>
                    <a:pt x="0" y="23192"/>
                  </a:lnTo>
                  <a:lnTo>
                    <a:pt x="39606"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1635;p62">
              <a:extLst>
                <a:ext uri="{FF2B5EF4-FFF2-40B4-BE49-F238E27FC236}">
                  <a16:creationId xmlns:a16="http://schemas.microsoft.com/office/drawing/2014/main" id="{A1F11470-D6A4-46E2-881A-8BB47085A906}"/>
                </a:ext>
              </a:extLst>
            </p:cNvPr>
            <p:cNvSpPr/>
            <p:nvPr/>
          </p:nvSpPr>
          <p:spPr>
            <a:xfrm>
              <a:off x="3141825" y="2677775"/>
              <a:ext cx="312350" cy="130725"/>
            </a:xfrm>
            <a:custGeom>
              <a:avLst/>
              <a:gdLst/>
              <a:ahLst/>
              <a:cxnLst/>
              <a:rect l="l" t="t" r="r" b="b"/>
              <a:pathLst>
                <a:path w="12494" h="5229" extrusionOk="0">
                  <a:moveTo>
                    <a:pt x="1" y="1"/>
                  </a:moveTo>
                  <a:lnTo>
                    <a:pt x="1" y="5229"/>
                  </a:lnTo>
                  <a:lnTo>
                    <a:pt x="12493" y="5229"/>
                  </a:lnTo>
                  <a:lnTo>
                    <a:pt x="1249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1636;p62">
              <a:extLst>
                <a:ext uri="{FF2B5EF4-FFF2-40B4-BE49-F238E27FC236}">
                  <a16:creationId xmlns:a16="http://schemas.microsoft.com/office/drawing/2014/main" id="{3DD1A885-798C-47B1-A69B-4F0188FF3B5F}"/>
                </a:ext>
              </a:extLst>
            </p:cNvPr>
            <p:cNvSpPr/>
            <p:nvPr/>
          </p:nvSpPr>
          <p:spPr>
            <a:xfrm>
              <a:off x="3051400" y="2808475"/>
              <a:ext cx="493950" cy="27375"/>
            </a:xfrm>
            <a:custGeom>
              <a:avLst/>
              <a:gdLst/>
              <a:ahLst/>
              <a:cxnLst/>
              <a:rect l="l" t="t" r="r" b="b"/>
              <a:pathLst>
                <a:path w="19758" h="1095" extrusionOk="0">
                  <a:moveTo>
                    <a:pt x="0" y="1"/>
                  </a:moveTo>
                  <a:lnTo>
                    <a:pt x="0" y="1095"/>
                  </a:lnTo>
                  <a:lnTo>
                    <a:pt x="19758" y="1095"/>
                  </a:lnTo>
                  <a:lnTo>
                    <a:pt x="19758"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1637;p62">
              <a:extLst>
                <a:ext uri="{FF2B5EF4-FFF2-40B4-BE49-F238E27FC236}">
                  <a16:creationId xmlns:a16="http://schemas.microsoft.com/office/drawing/2014/main" id="{160870CA-2CCA-4CC3-80C7-F277A6C8BADE}"/>
                </a:ext>
              </a:extLst>
            </p:cNvPr>
            <p:cNvSpPr/>
            <p:nvPr/>
          </p:nvSpPr>
          <p:spPr>
            <a:xfrm>
              <a:off x="2807475" y="3151950"/>
              <a:ext cx="788025" cy="1191525"/>
            </a:xfrm>
            <a:custGeom>
              <a:avLst/>
              <a:gdLst/>
              <a:ahLst/>
              <a:cxnLst/>
              <a:rect l="l" t="t" r="r" b="b"/>
              <a:pathLst>
                <a:path w="31521" h="47661" extrusionOk="0">
                  <a:moveTo>
                    <a:pt x="0" y="1"/>
                  </a:moveTo>
                  <a:lnTo>
                    <a:pt x="0" y="47661"/>
                  </a:lnTo>
                  <a:lnTo>
                    <a:pt x="31521" y="47661"/>
                  </a:lnTo>
                  <a:lnTo>
                    <a:pt x="3152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1638;p62">
              <a:extLst>
                <a:ext uri="{FF2B5EF4-FFF2-40B4-BE49-F238E27FC236}">
                  <a16:creationId xmlns:a16="http://schemas.microsoft.com/office/drawing/2014/main" id="{3337FE48-C6FC-4562-8C3D-BFBC88F1DCBC}"/>
                </a:ext>
              </a:extLst>
            </p:cNvPr>
            <p:cNvSpPr/>
            <p:nvPr/>
          </p:nvSpPr>
          <p:spPr>
            <a:xfrm>
              <a:off x="2467050" y="3151950"/>
              <a:ext cx="544100" cy="1191525"/>
            </a:xfrm>
            <a:custGeom>
              <a:avLst/>
              <a:gdLst/>
              <a:ahLst/>
              <a:cxnLst/>
              <a:rect l="l" t="t" r="r" b="b"/>
              <a:pathLst>
                <a:path w="21764" h="47661" extrusionOk="0">
                  <a:moveTo>
                    <a:pt x="0" y="1"/>
                  </a:moveTo>
                  <a:lnTo>
                    <a:pt x="0" y="47661"/>
                  </a:lnTo>
                  <a:lnTo>
                    <a:pt x="21763" y="47661"/>
                  </a:lnTo>
                  <a:lnTo>
                    <a:pt x="21763"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1639;p62">
              <a:extLst>
                <a:ext uri="{FF2B5EF4-FFF2-40B4-BE49-F238E27FC236}">
                  <a16:creationId xmlns:a16="http://schemas.microsoft.com/office/drawing/2014/main" id="{75AA5915-A7DC-4B30-BE17-793F7E1FB9CC}"/>
                </a:ext>
              </a:extLst>
            </p:cNvPr>
            <p:cNvSpPr/>
            <p:nvPr/>
          </p:nvSpPr>
          <p:spPr>
            <a:xfrm>
              <a:off x="2917650" y="3082050"/>
              <a:ext cx="718900" cy="69925"/>
            </a:xfrm>
            <a:custGeom>
              <a:avLst/>
              <a:gdLst/>
              <a:ahLst/>
              <a:cxnLst/>
              <a:rect l="l" t="t" r="r" b="b"/>
              <a:pathLst>
                <a:path w="28756" h="2797" extrusionOk="0">
                  <a:moveTo>
                    <a:pt x="1429" y="0"/>
                  </a:moveTo>
                  <a:cubicBezTo>
                    <a:pt x="639" y="0"/>
                    <a:pt x="1" y="608"/>
                    <a:pt x="1" y="1398"/>
                  </a:cubicBezTo>
                  <a:cubicBezTo>
                    <a:pt x="1" y="2158"/>
                    <a:pt x="639" y="2797"/>
                    <a:pt x="1429" y="2797"/>
                  </a:cubicBezTo>
                  <a:lnTo>
                    <a:pt x="27327" y="2797"/>
                  </a:lnTo>
                  <a:cubicBezTo>
                    <a:pt x="28117" y="2797"/>
                    <a:pt x="28755" y="2158"/>
                    <a:pt x="28755" y="1398"/>
                  </a:cubicBezTo>
                  <a:cubicBezTo>
                    <a:pt x="28755" y="608"/>
                    <a:pt x="28117" y="0"/>
                    <a:pt x="2732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640;p62">
              <a:extLst>
                <a:ext uri="{FF2B5EF4-FFF2-40B4-BE49-F238E27FC236}">
                  <a16:creationId xmlns:a16="http://schemas.microsoft.com/office/drawing/2014/main" id="{BEBE14AD-CB0D-4C10-AAA9-5ADB38FBD38F}"/>
                </a:ext>
              </a:extLst>
            </p:cNvPr>
            <p:cNvSpPr/>
            <p:nvPr/>
          </p:nvSpPr>
          <p:spPr>
            <a:xfrm>
              <a:off x="2428275" y="3082050"/>
              <a:ext cx="614025" cy="69925"/>
            </a:xfrm>
            <a:custGeom>
              <a:avLst/>
              <a:gdLst/>
              <a:ahLst/>
              <a:cxnLst/>
              <a:rect l="l" t="t" r="r" b="b"/>
              <a:pathLst>
                <a:path w="24561" h="2797" extrusionOk="0">
                  <a:moveTo>
                    <a:pt x="1399" y="0"/>
                  </a:moveTo>
                  <a:cubicBezTo>
                    <a:pt x="639" y="0"/>
                    <a:pt x="1" y="608"/>
                    <a:pt x="1" y="1398"/>
                  </a:cubicBezTo>
                  <a:cubicBezTo>
                    <a:pt x="1" y="2158"/>
                    <a:pt x="639" y="2797"/>
                    <a:pt x="1399" y="2797"/>
                  </a:cubicBezTo>
                  <a:lnTo>
                    <a:pt x="23162" y="2797"/>
                  </a:lnTo>
                  <a:cubicBezTo>
                    <a:pt x="23922" y="2797"/>
                    <a:pt x="24561" y="2158"/>
                    <a:pt x="24561" y="1398"/>
                  </a:cubicBezTo>
                  <a:cubicBezTo>
                    <a:pt x="24561" y="608"/>
                    <a:pt x="23953" y="0"/>
                    <a:pt x="23162"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1641;p62">
              <a:extLst>
                <a:ext uri="{FF2B5EF4-FFF2-40B4-BE49-F238E27FC236}">
                  <a16:creationId xmlns:a16="http://schemas.microsoft.com/office/drawing/2014/main" id="{63848B4E-CAC1-4041-ACCF-12EA41867C6E}"/>
                </a:ext>
              </a:extLst>
            </p:cNvPr>
            <p:cNvSpPr/>
            <p:nvPr/>
          </p:nvSpPr>
          <p:spPr>
            <a:xfrm>
              <a:off x="2467050" y="3151950"/>
              <a:ext cx="544100" cy="9900"/>
            </a:xfrm>
            <a:custGeom>
              <a:avLst/>
              <a:gdLst/>
              <a:ahLst/>
              <a:cxnLst/>
              <a:rect l="l" t="t" r="r" b="b"/>
              <a:pathLst>
                <a:path w="21764" h="396" extrusionOk="0">
                  <a:moveTo>
                    <a:pt x="0" y="1"/>
                  </a:moveTo>
                  <a:lnTo>
                    <a:pt x="0" y="396"/>
                  </a:lnTo>
                  <a:lnTo>
                    <a:pt x="21763" y="396"/>
                  </a:lnTo>
                  <a:lnTo>
                    <a:pt x="21763"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1642;p62">
              <a:extLst>
                <a:ext uri="{FF2B5EF4-FFF2-40B4-BE49-F238E27FC236}">
                  <a16:creationId xmlns:a16="http://schemas.microsoft.com/office/drawing/2014/main" id="{CC86F27B-8944-4C7D-BD0F-1DAB7261CD32}"/>
                </a:ext>
              </a:extLst>
            </p:cNvPr>
            <p:cNvSpPr/>
            <p:nvPr/>
          </p:nvSpPr>
          <p:spPr>
            <a:xfrm>
              <a:off x="2634975" y="3161825"/>
              <a:ext cx="208225" cy="31950"/>
            </a:xfrm>
            <a:custGeom>
              <a:avLst/>
              <a:gdLst/>
              <a:ahLst/>
              <a:cxnLst/>
              <a:rect l="l" t="t" r="r" b="b"/>
              <a:pathLst>
                <a:path w="8329" h="1278" extrusionOk="0">
                  <a:moveTo>
                    <a:pt x="1" y="1"/>
                  </a:moveTo>
                  <a:lnTo>
                    <a:pt x="973" y="1277"/>
                  </a:lnTo>
                  <a:lnTo>
                    <a:pt x="7356" y="1277"/>
                  </a:lnTo>
                  <a:lnTo>
                    <a:pt x="8329"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1643;p62">
              <a:extLst>
                <a:ext uri="{FF2B5EF4-FFF2-40B4-BE49-F238E27FC236}">
                  <a16:creationId xmlns:a16="http://schemas.microsoft.com/office/drawing/2014/main" id="{2864357C-E43D-408A-B6B1-40694DD08FA2}"/>
                </a:ext>
              </a:extLst>
            </p:cNvPr>
            <p:cNvSpPr/>
            <p:nvPr/>
          </p:nvSpPr>
          <p:spPr>
            <a:xfrm>
              <a:off x="2467050" y="3393600"/>
              <a:ext cx="544100" cy="9900"/>
            </a:xfrm>
            <a:custGeom>
              <a:avLst/>
              <a:gdLst/>
              <a:ahLst/>
              <a:cxnLst/>
              <a:rect l="l" t="t" r="r" b="b"/>
              <a:pathLst>
                <a:path w="21764" h="396" extrusionOk="0">
                  <a:moveTo>
                    <a:pt x="0" y="0"/>
                  </a:moveTo>
                  <a:lnTo>
                    <a:pt x="0" y="395"/>
                  </a:lnTo>
                  <a:lnTo>
                    <a:pt x="21763" y="39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1644;p62">
              <a:extLst>
                <a:ext uri="{FF2B5EF4-FFF2-40B4-BE49-F238E27FC236}">
                  <a16:creationId xmlns:a16="http://schemas.microsoft.com/office/drawing/2014/main" id="{86D9B2FB-FC07-4AAD-A530-B1A248A76D43}"/>
                </a:ext>
              </a:extLst>
            </p:cNvPr>
            <p:cNvSpPr/>
            <p:nvPr/>
          </p:nvSpPr>
          <p:spPr>
            <a:xfrm>
              <a:off x="2634975" y="3403475"/>
              <a:ext cx="208225" cy="32700"/>
            </a:xfrm>
            <a:custGeom>
              <a:avLst/>
              <a:gdLst/>
              <a:ahLst/>
              <a:cxnLst/>
              <a:rect l="l" t="t" r="r" b="b"/>
              <a:pathLst>
                <a:path w="8329" h="1308" extrusionOk="0">
                  <a:moveTo>
                    <a:pt x="1" y="0"/>
                  </a:moveTo>
                  <a:lnTo>
                    <a:pt x="973" y="1307"/>
                  </a:lnTo>
                  <a:lnTo>
                    <a:pt x="7356" y="130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1645;p62">
              <a:extLst>
                <a:ext uri="{FF2B5EF4-FFF2-40B4-BE49-F238E27FC236}">
                  <a16:creationId xmlns:a16="http://schemas.microsoft.com/office/drawing/2014/main" id="{8AB39F2E-5608-474D-89A2-89A6913D7107}"/>
                </a:ext>
              </a:extLst>
            </p:cNvPr>
            <p:cNvSpPr/>
            <p:nvPr/>
          </p:nvSpPr>
          <p:spPr>
            <a:xfrm>
              <a:off x="2467050" y="3635250"/>
              <a:ext cx="544100" cy="9900"/>
            </a:xfrm>
            <a:custGeom>
              <a:avLst/>
              <a:gdLst/>
              <a:ahLst/>
              <a:cxnLst/>
              <a:rect l="l" t="t" r="r" b="b"/>
              <a:pathLst>
                <a:path w="21764" h="396" extrusionOk="0">
                  <a:moveTo>
                    <a:pt x="0" y="0"/>
                  </a:moveTo>
                  <a:lnTo>
                    <a:pt x="0" y="395"/>
                  </a:lnTo>
                  <a:lnTo>
                    <a:pt x="21763" y="39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1646;p62">
              <a:extLst>
                <a:ext uri="{FF2B5EF4-FFF2-40B4-BE49-F238E27FC236}">
                  <a16:creationId xmlns:a16="http://schemas.microsoft.com/office/drawing/2014/main" id="{B222674C-1BDE-43CD-8FBB-5FA16F3E2F5B}"/>
                </a:ext>
              </a:extLst>
            </p:cNvPr>
            <p:cNvSpPr/>
            <p:nvPr/>
          </p:nvSpPr>
          <p:spPr>
            <a:xfrm>
              <a:off x="2634975" y="3645125"/>
              <a:ext cx="208225" cy="32700"/>
            </a:xfrm>
            <a:custGeom>
              <a:avLst/>
              <a:gdLst/>
              <a:ahLst/>
              <a:cxnLst/>
              <a:rect l="l" t="t" r="r" b="b"/>
              <a:pathLst>
                <a:path w="8329" h="1308" extrusionOk="0">
                  <a:moveTo>
                    <a:pt x="1" y="0"/>
                  </a:moveTo>
                  <a:lnTo>
                    <a:pt x="973" y="1307"/>
                  </a:lnTo>
                  <a:lnTo>
                    <a:pt x="7356" y="130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1647;p62">
              <a:extLst>
                <a:ext uri="{FF2B5EF4-FFF2-40B4-BE49-F238E27FC236}">
                  <a16:creationId xmlns:a16="http://schemas.microsoft.com/office/drawing/2014/main" id="{8D2AC2F9-FBF9-43B7-9EF7-1093493457CE}"/>
                </a:ext>
              </a:extLst>
            </p:cNvPr>
            <p:cNvSpPr/>
            <p:nvPr/>
          </p:nvSpPr>
          <p:spPr>
            <a:xfrm>
              <a:off x="2467050" y="3877650"/>
              <a:ext cx="544100" cy="9150"/>
            </a:xfrm>
            <a:custGeom>
              <a:avLst/>
              <a:gdLst/>
              <a:ahLst/>
              <a:cxnLst/>
              <a:rect l="l" t="t" r="r" b="b"/>
              <a:pathLst>
                <a:path w="21764" h="366" extrusionOk="0">
                  <a:moveTo>
                    <a:pt x="0" y="0"/>
                  </a:moveTo>
                  <a:lnTo>
                    <a:pt x="0" y="365"/>
                  </a:lnTo>
                  <a:lnTo>
                    <a:pt x="21763" y="36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1648;p62">
              <a:extLst>
                <a:ext uri="{FF2B5EF4-FFF2-40B4-BE49-F238E27FC236}">
                  <a16:creationId xmlns:a16="http://schemas.microsoft.com/office/drawing/2014/main" id="{44860DFB-0237-4852-BD01-2EC3DCBEB0D8}"/>
                </a:ext>
              </a:extLst>
            </p:cNvPr>
            <p:cNvSpPr/>
            <p:nvPr/>
          </p:nvSpPr>
          <p:spPr>
            <a:xfrm>
              <a:off x="2634975" y="3886775"/>
              <a:ext cx="208225" cy="32700"/>
            </a:xfrm>
            <a:custGeom>
              <a:avLst/>
              <a:gdLst/>
              <a:ahLst/>
              <a:cxnLst/>
              <a:rect l="l" t="t" r="r" b="b"/>
              <a:pathLst>
                <a:path w="8329" h="1308" extrusionOk="0">
                  <a:moveTo>
                    <a:pt x="1" y="0"/>
                  </a:moveTo>
                  <a:lnTo>
                    <a:pt x="973" y="1307"/>
                  </a:lnTo>
                  <a:lnTo>
                    <a:pt x="7356" y="130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1649;p62">
              <a:extLst>
                <a:ext uri="{FF2B5EF4-FFF2-40B4-BE49-F238E27FC236}">
                  <a16:creationId xmlns:a16="http://schemas.microsoft.com/office/drawing/2014/main" id="{17A69AE0-D775-48D1-872A-9E3F169C07D7}"/>
                </a:ext>
              </a:extLst>
            </p:cNvPr>
            <p:cNvSpPr/>
            <p:nvPr/>
          </p:nvSpPr>
          <p:spPr>
            <a:xfrm>
              <a:off x="2467050" y="4119300"/>
              <a:ext cx="544100" cy="9125"/>
            </a:xfrm>
            <a:custGeom>
              <a:avLst/>
              <a:gdLst/>
              <a:ahLst/>
              <a:cxnLst/>
              <a:rect l="l" t="t" r="r" b="b"/>
              <a:pathLst>
                <a:path w="21764" h="365" extrusionOk="0">
                  <a:moveTo>
                    <a:pt x="0" y="0"/>
                  </a:moveTo>
                  <a:lnTo>
                    <a:pt x="0" y="365"/>
                  </a:lnTo>
                  <a:lnTo>
                    <a:pt x="21763" y="36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1650;p62">
              <a:extLst>
                <a:ext uri="{FF2B5EF4-FFF2-40B4-BE49-F238E27FC236}">
                  <a16:creationId xmlns:a16="http://schemas.microsoft.com/office/drawing/2014/main" id="{C90BD393-3278-4D18-B818-CBB3E4E8B535}"/>
                </a:ext>
              </a:extLst>
            </p:cNvPr>
            <p:cNvSpPr/>
            <p:nvPr/>
          </p:nvSpPr>
          <p:spPr>
            <a:xfrm>
              <a:off x="2634975" y="4129175"/>
              <a:ext cx="208225" cy="31925"/>
            </a:xfrm>
            <a:custGeom>
              <a:avLst/>
              <a:gdLst/>
              <a:ahLst/>
              <a:cxnLst/>
              <a:rect l="l" t="t" r="r" b="b"/>
              <a:pathLst>
                <a:path w="8329" h="1277" extrusionOk="0">
                  <a:moveTo>
                    <a:pt x="1" y="0"/>
                  </a:moveTo>
                  <a:lnTo>
                    <a:pt x="973" y="1277"/>
                  </a:lnTo>
                  <a:lnTo>
                    <a:pt x="7356" y="127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1651;p62">
              <a:extLst>
                <a:ext uri="{FF2B5EF4-FFF2-40B4-BE49-F238E27FC236}">
                  <a16:creationId xmlns:a16="http://schemas.microsoft.com/office/drawing/2014/main" id="{76226410-98B7-48BF-BF75-60AB2FBF612F}"/>
                </a:ext>
              </a:extLst>
            </p:cNvPr>
            <p:cNvSpPr/>
            <p:nvPr/>
          </p:nvSpPr>
          <p:spPr>
            <a:xfrm>
              <a:off x="1144075" y="2836600"/>
              <a:ext cx="2823025" cy="100325"/>
            </a:xfrm>
            <a:custGeom>
              <a:avLst/>
              <a:gdLst/>
              <a:ahLst/>
              <a:cxnLst/>
              <a:rect l="l" t="t" r="r" b="b"/>
              <a:pathLst>
                <a:path w="112921" h="4013" extrusionOk="0">
                  <a:moveTo>
                    <a:pt x="2006" y="0"/>
                  </a:moveTo>
                  <a:cubicBezTo>
                    <a:pt x="912" y="0"/>
                    <a:pt x="0" y="882"/>
                    <a:pt x="31" y="2006"/>
                  </a:cubicBezTo>
                  <a:cubicBezTo>
                    <a:pt x="31" y="3101"/>
                    <a:pt x="912" y="4013"/>
                    <a:pt x="2006" y="4013"/>
                  </a:cubicBezTo>
                  <a:lnTo>
                    <a:pt x="110945" y="4013"/>
                  </a:lnTo>
                  <a:cubicBezTo>
                    <a:pt x="112039" y="3982"/>
                    <a:pt x="112920" y="3101"/>
                    <a:pt x="112920" y="2006"/>
                  </a:cubicBezTo>
                  <a:cubicBezTo>
                    <a:pt x="112920" y="882"/>
                    <a:pt x="112039" y="0"/>
                    <a:pt x="11094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652;p62">
              <a:extLst>
                <a:ext uri="{FF2B5EF4-FFF2-40B4-BE49-F238E27FC236}">
                  <a16:creationId xmlns:a16="http://schemas.microsoft.com/office/drawing/2014/main" id="{5A29ABC9-F866-47C1-98F9-3A22BF4D150D}"/>
                </a:ext>
              </a:extLst>
            </p:cNvPr>
            <p:cNvSpPr/>
            <p:nvPr/>
          </p:nvSpPr>
          <p:spPr>
            <a:xfrm>
              <a:off x="634975" y="2836600"/>
              <a:ext cx="3013000" cy="100325"/>
            </a:xfrm>
            <a:custGeom>
              <a:avLst/>
              <a:gdLst/>
              <a:ahLst/>
              <a:cxnLst/>
              <a:rect l="l" t="t" r="r" b="b"/>
              <a:pathLst>
                <a:path w="120520" h="4013" extrusionOk="0">
                  <a:moveTo>
                    <a:pt x="2007" y="0"/>
                  </a:moveTo>
                  <a:cubicBezTo>
                    <a:pt x="882" y="0"/>
                    <a:pt x="1" y="882"/>
                    <a:pt x="1" y="2006"/>
                  </a:cubicBezTo>
                  <a:cubicBezTo>
                    <a:pt x="1" y="3101"/>
                    <a:pt x="882" y="3982"/>
                    <a:pt x="2007" y="4013"/>
                  </a:cubicBezTo>
                  <a:lnTo>
                    <a:pt x="118513" y="4013"/>
                  </a:lnTo>
                  <a:cubicBezTo>
                    <a:pt x="119608" y="4013"/>
                    <a:pt x="120520" y="3101"/>
                    <a:pt x="120520" y="2006"/>
                  </a:cubicBezTo>
                  <a:cubicBezTo>
                    <a:pt x="120520" y="882"/>
                    <a:pt x="119608" y="0"/>
                    <a:pt x="118513"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1653;p62">
              <a:extLst>
                <a:ext uri="{FF2B5EF4-FFF2-40B4-BE49-F238E27FC236}">
                  <a16:creationId xmlns:a16="http://schemas.microsoft.com/office/drawing/2014/main" id="{D2356E48-E7CE-4833-9E0B-D1F120BB795E}"/>
                </a:ext>
              </a:extLst>
            </p:cNvPr>
            <p:cNvSpPr/>
            <p:nvPr/>
          </p:nvSpPr>
          <p:spPr>
            <a:xfrm>
              <a:off x="2691200" y="2936150"/>
              <a:ext cx="1224225" cy="1407325"/>
            </a:xfrm>
            <a:custGeom>
              <a:avLst/>
              <a:gdLst/>
              <a:ahLst/>
              <a:cxnLst/>
              <a:rect l="l" t="t" r="r" b="b"/>
              <a:pathLst>
                <a:path w="48969" h="56293" extrusionOk="0">
                  <a:moveTo>
                    <a:pt x="6506" y="0"/>
                  </a:moveTo>
                  <a:cubicBezTo>
                    <a:pt x="5928" y="0"/>
                    <a:pt x="5442" y="456"/>
                    <a:pt x="5381" y="1034"/>
                  </a:cubicBezTo>
                  <a:lnTo>
                    <a:pt x="62" y="55047"/>
                  </a:lnTo>
                  <a:cubicBezTo>
                    <a:pt x="1" y="55654"/>
                    <a:pt x="457" y="56232"/>
                    <a:pt x="1095" y="56293"/>
                  </a:cubicBezTo>
                  <a:lnTo>
                    <a:pt x="1186" y="56293"/>
                  </a:lnTo>
                  <a:cubicBezTo>
                    <a:pt x="1764" y="56293"/>
                    <a:pt x="2281" y="55837"/>
                    <a:pt x="2341" y="55259"/>
                  </a:cubicBezTo>
                  <a:lnTo>
                    <a:pt x="7539" y="2310"/>
                  </a:lnTo>
                  <a:lnTo>
                    <a:pt x="46689" y="2310"/>
                  </a:lnTo>
                  <a:lnTo>
                    <a:pt x="46689" y="55138"/>
                  </a:lnTo>
                  <a:cubicBezTo>
                    <a:pt x="46689" y="55898"/>
                    <a:pt x="47259" y="56278"/>
                    <a:pt x="47829" y="56278"/>
                  </a:cubicBezTo>
                  <a:cubicBezTo>
                    <a:pt x="48398" y="56278"/>
                    <a:pt x="48968" y="55898"/>
                    <a:pt x="48968" y="55138"/>
                  </a:cubicBezTo>
                  <a:lnTo>
                    <a:pt x="48968" y="1155"/>
                  </a:lnTo>
                  <a:cubicBezTo>
                    <a:pt x="48968" y="517"/>
                    <a:pt x="48452" y="0"/>
                    <a:pt x="4781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1654;p62">
              <a:extLst>
                <a:ext uri="{FF2B5EF4-FFF2-40B4-BE49-F238E27FC236}">
                  <a16:creationId xmlns:a16="http://schemas.microsoft.com/office/drawing/2014/main" id="{ACB2E1BD-6DFF-42D2-91B7-512B3001C516}"/>
                </a:ext>
              </a:extLst>
            </p:cNvPr>
            <p:cNvSpPr/>
            <p:nvPr/>
          </p:nvSpPr>
          <p:spPr>
            <a:xfrm>
              <a:off x="580275" y="2936150"/>
              <a:ext cx="1224200" cy="1407325"/>
            </a:xfrm>
            <a:custGeom>
              <a:avLst/>
              <a:gdLst/>
              <a:ahLst/>
              <a:cxnLst/>
              <a:rect l="l" t="t" r="r" b="b"/>
              <a:pathLst>
                <a:path w="48968" h="56293" extrusionOk="0">
                  <a:moveTo>
                    <a:pt x="6505" y="0"/>
                  </a:moveTo>
                  <a:cubicBezTo>
                    <a:pt x="5927" y="0"/>
                    <a:pt x="5441" y="456"/>
                    <a:pt x="5380" y="1034"/>
                  </a:cubicBezTo>
                  <a:lnTo>
                    <a:pt x="61" y="55047"/>
                  </a:lnTo>
                  <a:cubicBezTo>
                    <a:pt x="0" y="55654"/>
                    <a:pt x="456" y="56232"/>
                    <a:pt x="1064" y="56293"/>
                  </a:cubicBezTo>
                  <a:lnTo>
                    <a:pt x="1186" y="56293"/>
                  </a:lnTo>
                  <a:cubicBezTo>
                    <a:pt x="1763" y="56293"/>
                    <a:pt x="2280" y="55837"/>
                    <a:pt x="2310" y="55259"/>
                  </a:cubicBezTo>
                  <a:lnTo>
                    <a:pt x="7538" y="2310"/>
                  </a:lnTo>
                  <a:lnTo>
                    <a:pt x="46688" y="2310"/>
                  </a:lnTo>
                  <a:lnTo>
                    <a:pt x="46688" y="55138"/>
                  </a:lnTo>
                  <a:cubicBezTo>
                    <a:pt x="46688" y="55898"/>
                    <a:pt x="47258" y="56278"/>
                    <a:pt x="47828" y="56278"/>
                  </a:cubicBezTo>
                  <a:cubicBezTo>
                    <a:pt x="48398" y="56278"/>
                    <a:pt x="48968" y="55898"/>
                    <a:pt x="48968" y="55138"/>
                  </a:cubicBezTo>
                  <a:lnTo>
                    <a:pt x="48968" y="1155"/>
                  </a:lnTo>
                  <a:cubicBezTo>
                    <a:pt x="48968" y="517"/>
                    <a:pt x="48451" y="0"/>
                    <a:pt x="4781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1655;p62">
              <a:extLst>
                <a:ext uri="{FF2B5EF4-FFF2-40B4-BE49-F238E27FC236}">
                  <a16:creationId xmlns:a16="http://schemas.microsoft.com/office/drawing/2014/main" id="{B18358A7-B00B-400C-8B31-8C690FA6CF24}"/>
                </a:ext>
              </a:extLst>
            </p:cNvPr>
            <p:cNvSpPr/>
            <p:nvPr/>
          </p:nvSpPr>
          <p:spPr>
            <a:xfrm>
              <a:off x="3473900" y="3382200"/>
              <a:ext cx="636050" cy="961275"/>
            </a:xfrm>
            <a:custGeom>
              <a:avLst/>
              <a:gdLst/>
              <a:ahLst/>
              <a:cxnLst/>
              <a:rect l="l" t="t" r="r" b="b"/>
              <a:pathLst>
                <a:path w="25442" h="38451" extrusionOk="0">
                  <a:moveTo>
                    <a:pt x="0" y="0"/>
                  </a:moveTo>
                  <a:lnTo>
                    <a:pt x="0" y="38451"/>
                  </a:lnTo>
                  <a:lnTo>
                    <a:pt x="25442" y="38451"/>
                  </a:lnTo>
                  <a:lnTo>
                    <a:pt x="25442"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1656;p62">
              <a:extLst>
                <a:ext uri="{FF2B5EF4-FFF2-40B4-BE49-F238E27FC236}">
                  <a16:creationId xmlns:a16="http://schemas.microsoft.com/office/drawing/2014/main" id="{28DF421B-B197-455F-856D-00AE5F0D1453}"/>
                </a:ext>
              </a:extLst>
            </p:cNvPr>
            <p:cNvSpPr/>
            <p:nvPr/>
          </p:nvSpPr>
          <p:spPr>
            <a:xfrm>
              <a:off x="3692000" y="3429300"/>
              <a:ext cx="370075" cy="866300"/>
            </a:xfrm>
            <a:custGeom>
              <a:avLst/>
              <a:gdLst/>
              <a:ahLst/>
              <a:cxnLst/>
              <a:rect l="l" t="t" r="r" b="b"/>
              <a:pathLst>
                <a:path w="14803" h="34652" extrusionOk="0">
                  <a:moveTo>
                    <a:pt x="0" y="1"/>
                  </a:moveTo>
                  <a:lnTo>
                    <a:pt x="0" y="34652"/>
                  </a:lnTo>
                  <a:lnTo>
                    <a:pt x="14803" y="34652"/>
                  </a:lnTo>
                  <a:lnTo>
                    <a:pt x="14803"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1657;p62">
              <a:extLst>
                <a:ext uri="{FF2B5EF4-FFF2-40B4-BE49-F238E27FC236}">
                  <a16:creationId xmlns:a16="http://schemas.microsoft.com/office/drawing/2014/main" id="{6834B8B8-F757-4B5C-BA74-E5CECE493AA0}"/>
                </a:ext>
              </a:extLst>
            </p:cNvPr>
            <p:cNvSpPr/>
            <p:nvPr/>
          </p:nvSpPr>
          <p:spPr>
            <a:xfrm>
              <a:off x="3710975" y="3448300"/>
              <a:ext cx="332100" cy="828300"/>
            </a:xfrm>
            <a:custGeom>
              <a:avLst/>
              <a:gdLst/>
              <a:ahLst/>
              <a:cxnLst/>
              <a:rect l="l" t="t" r="r" b="b"/>
              <a:pathLst>
                <a:path w="13284" h="33132" extrusionOk="0">
                  <a:moveTo>
                    <a:pt x="1" y="1"/>
                  </a:moveTo>
                  <a:lnTo>
                    <a:pt x="1" y="33132"/>
                  </a:lnTo>
                  <a:lnTo>
                    <a:pt x="13284" y="33132"/>
                  </a:lnTo>
                  <a:lnTo>
                    <a:pt x="13284"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1658;p62">
              <a:extLst>
                <a:ext uri="{FF2B5EF4-FFF2-40B4-BE49-F238E27FC236}">
                  <a16:creationId xmlns:a16="http://schemas.microsoft.com/office/drawing/2014/main" id="{490389EB-3645-4DBF-9275-712D45372CFD}"/>
                </a:ext>
              </a:extLst>
            </p:cNvPr>
            <p:cNvSpPr/>
            <p:nvPr/>
          </p:nvSpPr>
          <p:spPr>
            <a:xfrm>
              <a:off x="3198825" y="3382200"/>
              <a:ext cx="439225" cy="961275"/>
            </a:xfrm>
            <a:custGeom>
              <a:avLst/>
              <a:gdLst/>
              <a:ahLst/>
              <a:cxnLst/>
              <a:rect l="l" t="t" r="r" b="b"/>
              <a:pathLst>
                <a:path w="17569" h="38451" extrusionOk="0">
                  <a:moveTo>
                    <a:pt x="0" y="0"/>
                  </a:moveTo>
                  <a:lnTo>
                    <a:pt x="0" y="38451"/>
                  </a:lnTo>
                  <a:lnTo>
                    <a:pt x="17569" y="38451"/>
                  </a:lnTo>
                  <a:lnTo>
                    <a:pt x="1756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1659;p62">
              <a:extLst>
                <a:ext uri="{FF2B5EF4-FFF2-40B4-BE49-F238E27FC236}">
                  <a16:creationId xmlns:a16="http://schemas.microsoft.com/office/drawing/2014/main" id="{FA037B05-DC2C-4FEB-ADA5-A31A5F504CA5}"/>
                </a:ext>
              </a:extLst>
            </p:cNvPr>
            <p:cNvSpPr/>
            <p:nvPr/>
          </p:nvSpPr>
          <p:spPr>
            <a:xfrm>
              <a:off x="3246700" y="3429300"/>
              <a:ext cx="343475" cy="866300"/>
            </a:xfrm>
            <a:custGeom>
              <a:avLst/>
              <a:gdLst/>
              <a:ahLst/>
              <a:cxnLst/>
              <a:rect l="l" t="t" r="r" b="b"/>
              <a:pathLst>
                <a:path w="13739" h="34652" extrusionOk="0">
                  <a:moveTo>
                    <a:pt x="0" y="1"/>
                  </a:moveTo>
                  <a:lnTo>
                    <a:pt x="0" y="34652"/>
                  </a:lnTo>
                  <a:lnTo>
                    <a:pt x="13739" y="34652"/>
                  </a:lnTo>
                  <a:lnTo>
                    <a:pt x="13739"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1660;p62">
              <a:extLst>
                <a:ext uri="{FF2B5EF4-FFF2-40B4-BE49-F238E27FC236}">
                  <a16:creationId xmlns:a16="http://schemas.microsoft.com/office/drawing/2014/main" id="{0A03531A-AC0D-4E12-948A-A641E8BC6BB3}"/>
                </a:ext>
              </a:extLst>
            </p:cNvPr>
            <p:cNvSpPr/>
            <p:nvPr/>
          </p:nvSpPr>
          <p:spPr>
            <a:xfrm>
              <a:off x="3280125" y="3512900"/>
              <a:ext cx="276625" cy="16750"/>
            </a:xfrm>
            <a:custGeom>
              <a:avLst/>
              <a:gdLst/>
              <a:ahLst/>
              <a:cxnLst/>
              <a:rect l="l" t="t" r="r" b="b"/>
              <a:pathLst>
                <a:path w="11065" h="670" extrusionOk="0">
                  <a:moveTo>
                    <a:pt x="1" y="0"/>
                  </a:moveTo>
                  <a:lnTo>
                    <a:pt x="1" y="669"/>
                  </a:lnTo>
                  <a:lnTo>
                    <a:pt x="11065" y="669"/>
                  </a:lnTo>
                  <a:lnTo>
                    <a:pt x="11065"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1661;p62">
              <a:extLst>
                <a:ext uri="{FF2B5EF4-FFF2-40B4-BE49-F238E27FC236}">
                  <a16:creationId xmlns:a16="http://schemas.microsoft.com/office/drawing/2014/main" id="{8BE1D8F4-1AB2-4431-B9CF-69F9033B90BA}"/>
                </a:ext>
              </a:extLst>
            </p:cNvPr>
            <p:cNvSpPr/>
            <p:nvPr/>
          </p:nvSpPr>
          <p:spPr>
            <a:xfrm>
              <a:off x="3280125" y="3575200"/>
              <a:ext cx="276625" cy="16750"/>
            </a:xfrm>
            <a:custGeom>
              <a:avLst/>
              <a:gdLst/>
              <a:ahLst/>
              <a:cxnLst/>
              <a:rect l="l" t="t" r="r" b="b"/>
              <a:pathLst>
                <a:path w="11065" h="670" extrusionOk="0">
                  <a:moveTo>
                    <a:pt x="1" y="1"/>
                  </a:moveTo>
                  <a:lnTo>
                    <a:pt x="1" y="670"/>
                  </a:lnTo>
                  <a:lnTo>
                    <a:pt x="11065" y="670"/>
                  </a:lnTo>
                  <a:lnTo>
                    <a:pt x="11065"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1662;p62">
              <a:extLst>
                <a:ext uri="{FF2B5EF4-FFF2-40B4-BE49-F238E27FC236}">
                  <a16:creationId xmlns:a16="http://schemas.microsoft.com/office/drawing/2014/main" id="{9751937C-2CFF-4B1E-B694-B01A207931A8}"/>
                </a:ext>
              </a:extLst>
            </p:cNvPr>
            <p:cNvSpPr/>
            <p:nvPr/>
          </p:nvSpPr>
          <p:spPr>
            <a:xfrm>
              <a:off x="3362200" y="3686900"/>
              <a:ext cx="98800" cy="84800"/>
            </a:xfrm>
            <a:custGeom>
              <a:avLst/>
              <a:gdLst/>
              <a:ahLst/>
              <a:cxnLst/>
              <a:rect l="l" t="t" r="r" b="b"/>
              <a:pathLst>
                <a:path w="3952" h="3392" extrusionOk="0">
                  <a:moveTo>
                    <a:pt x="2250" y="1"/>
                  </a:moveTo>
                  <a:cubicBezTo>
                    <a:pt x="730" y="1"/>
                    <a:pt x="0" y="1825"/>
                    <a:pt x="1064" y="2889"/>
                  </a:cubicBezTo>
                  <a:cubicBezTo>
                    <a:pt x="1401" y="3236"/>
                    <a:pt x="1823" y="3392"/>
                    <a:pt x="2239" y="3392"/>
                  </a:cubicBezTo>
                  <a:cubicBezTo>
                    <a:pt x="3097" y="3392"/>
                    <a:pt x="3931" y="2727"/>
                    <a:pt x="3952" y="1703"/>
                  </a:cubicBezTo>
                  <a:cubicBezTo>
                    <a:pt x="3952" y="761"/>
                    <a:pt x="3192" y="1"/>
                    <a:pt x="225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 name="Google Shape;1663;p62">
              <a:extLst>
                <a:ext uri="{FF2B5EF4-FFF2-40B4-BE49-F238E27FC236}">
                  <a16:creationId xmlns:a16="http://schemas.microsoft.com/office/drawing/2014/main" id="{02873AEE-B7D0-4EE3-BC3A-29CE884EA34A}"/>
                </a:ext>
              </a:extLst>
            </p:cNvPr>
            <p:cNvSpPr/>
            <p:nvPr/>
          </p:nvSpPr>
          <p:spPr>
            <a:xfrm>
              <a:off x="3397150" y="3708200"/>
              <a:ext cx="42575" cy="42575"/>
            </a:xfrm>
            <a:custGeom>
              <a:avLst/>
              <a:gdLst/>
              <a:ahLst/>
              <a:cxnLst/>
              <a:rect l="l" t="t" r="r" b="b"/>
              <a:pathLst>
                <a:path w="1703" h="1703" extrusionOk="0">
                  <a:moveTo>
                    <a:pt x="852" y="0"/>
                  </a:moveTo>
                  <a:cubicBezTo>
                    <a:pt x="365" y="0"/>
                    <a:pt x="0" y="395"/>
                    <a:pt x="0" y="851"/>
                  </a:cubicBezTo>
                  <a:cubicBezTo>
                    <a:pt x="0" y="1337"/>
                    <a:pt x="365" y="1702"/>
                    <a:pt x="852" y="1702"/>
                  </a:cubicBezTo>
                  <a:cubicBezTo>
                    <a:pt x="1338" y="1702"/>
                    <a:pt x="1703" y="1337"/>
                    <a:pt x="1703" y="851"/>
                  </a:cubicBezTo>
                  <a:cubicBezTo>
                    <a:pt x="1703" y="395"/>
                    <a:pt x="1338" y="0"/>
                    <a:pt x="852"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1664;p62">
              <a:extLst>
                <a:ext uri="{FF2B5EF4-FFF2-40B4-BE49-F238E27FC236}">
                  <a16:creationId xmlns:a16="http://schemas.microsoft.com/office/drawing/2014/main" id="{F077A5C8-3DF9-4F30-A210-58A90A6A7F8D}"/>
                </a:ext>
              </a:extLst>
            </p:cNvPr>
            <p:cNvSpPr/>
            <p:nvPr/>
          </p:nvSpPr>
          <p:spPr>
            <a:xfrm>
              <a:off x="867500" y="3384475"/>
              <a:ext cx="508400" cy="959000"/>
            </a:xfrm>
            <a:custGeom>
              <a:avLst/>
              <a:gdLst/>
              <a:ahLst/>
              <a:cxnLst/>
              <a:rect l="l" t="t" r="r" b="b"/>
              <a:pathLst>
                <a:path w="20336" h="38360" extrusionOk="0">
                  <a:moveTo>
                    <a:pt x="1" y="1"/>
                  </a:moveTo>
                  <a:lnTo>
                    <a:pt x="1" y="38360"/>
                  </a:lnTo>
                  <a:lnTo>
                    <a:pt x="20335" y="38360"/>
                  </a:lnTo>
                  <a:lnTo>
                    <a:pt x="2033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1665;p62">
              <a:extLst>
                <a:ext uri="{FF2B5EF4-FFF2-40B4-BE49-F238E27FC236}">
                  <a16:creationId xmlns:a16="http://schemas.microsoft.com/office/drawing/2014/main" id="{2D8B883A-7192-4EC5-95DD-1D268D8955B9}"/>
                </a:ext>
              </a:extLst>
            </p:cNvPr>
            <p:cNvSpPr/>
            <p:nvPr/>
          </p:nvSpPr>
          <p:spPr>
            <a:xfrm>
              <a:off x="1057475" y="3437675"/>
              <a:ext cx="265225" cy="852625"/>
            </a:xfrm>
            <a:custGeom>
              <a:avLst/>
              <a:gdLst/>
              <a:ahLst/>
              <a:cxnLst/>
              <a:rect l="l" t="t" r="r" b="b"/>
              <a:pathLst>
                <a:path w="10609" h="34105" extrusionOk="0">
                  <a:moveTo>
                    <a:pt x="1" y="0"/>
                  </a:moveTo>
                  <a:lnTo>
                    <a:pt x="1" y="34104"/>
                  </a:lnTo>
                  <a:lnTo>
                    <a:pt x="10609" y="34104"/>
                  </a:lnTo>
                  <a:lnTo>
                    <a:pt x="1060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1666;p62">
              <a:extLst>
                <a:ext uri="{FF2B5EF4-FFF2-40B4-BE49-F238E27FC236}">
                  <a16:creationId xmlns:a16="http://schemas.microsoft.com/office/drawing/2014/main" id="{83E1868D-27FA-434D-B1B2-0F336DB07F73}"/>
                </a:ext>
              </a:extLst>
            </p:cNvPr>
            <p:cNvSpPr/>
            <p:nvPr/>
          </p:nvSpPr>
          <p:spPr>
            <a:xfrm>
              <a:off x="647900" y="3384475"/>
              <a:ext cx="350325" cy="959000"/>
            </a:xfrm>
            <a:custGeom>
              <a:avLst/>
              <a:gdLst/>
              <a:ahLst/>
              <a:cxnLst/>
              <a:rect l="l" t="t" r="r" b="b"/>
              <a:pathLst>
                <a:path w="14013" h="38360" extrusionOk="0">
                  <a:moveTo>
                    <a:pt x="0" y="1"/>
                  </a:moveTo>
                  <a:lnTo>
                    <a:pt x="0" y="38360"/>
                  </a:lnTo>
                  <a:lnTo>
                    <a:pt x="14013" y="38360"/>
                  </a:lnTo>
                  <a:lnTo>
                    <a:pt x="1401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1667;p62">
              <a:extLst>
                <a:ext uri="{FF2B5EF4-FFF2-40B4-BE49-F238E27FC236}">
                  <a16:creationId xmlns:a16="http://schemas.microsoft.com/office/drawing/2014/main" id="{5B83DF05-A3CA-4947-8C62-A6E91E80BB39}"/>
                </a:ext>
              </a:extLst>
            </p:cNvPr>
            <p:cNvSpPr/>
            <p:nvPr/>
          </p:nvSpPr>
          <p:spPr>
            <a:xfrm>
              <a:off x="685125" y="3422475"/>
              <a:ext cx="275100" cy="883000"/>
            </a:xfrm>
            <a:custGeom>
              <a:avLst/>
              <a:gdLst/>
              <a:ahLst/>
              <a:cxnLst/>
              <a:rect l="l" t="t" r="r" b="b"/>
              <a:pathLst>
                <a:path w="11004" h="35320" extrusionOk="0">
                  <a:moveTo>
                    <a:pt x="1" y="0"/>
                  </a:moveTo>
                  <a:lnTo>
                    <a:pt x="1" y="35320"/>
                  </a:lnTo>
                  <a:lnTo>
                    <a:pt x="11004" y="35320"/>
                  </a:lnTo>
                  <a:lnTo>
                    <a:pt x="11004"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1668;p62">
              <a:extLst>
                <a:ext uri="{FF2B5EF4-FFF2-40B4-BE49-F238E27FC236}">
                  <a16:creationId xmlns:a16="http://schemas.microsoft.com/office/drawing/2014/main" id="{C0F52F0D-1659-496B-81D8-4AD1A7D1533A}"/>
                </a:ext>
              </a:extLst>
            </p:cNvPr>
            <p:cNvSpPr/>
            <p:nvPr/>
          </p:nvSpPr>
          <p:spPr>
            <a:xfrm>
              <a:off x="712475" y="3422475"/>
              <a:ext cx="221175" cy="41825"/>
            </a:xfrm>
            <a:custGeom>
              <a:avLst/>
              <a:gdLst/>
              <a:ahLst/>
              <a:cxnLst/>
              <a:rect l="l" t="t" r="r" b="b"/>
              <a:pathLst>
                <a:path w="8847" h="1673" extrusionOk="0">
                  <a:moveTo>
                    <a:pt x="1" y="0"/>
                  </a:moveTo>
                  <a:cubicBezTo>
                    <a:pt x="1" y="912"/>
                    <a:pt x="730" y="1672"/>
                    <a:pt x="1673" y="1672"/>
                  </a:cubicBezTo>
                  <a:lnTo>
                    <a:pt x="7174" y="1672"/>
                  </a:lnTo>
                  <a:cubicBezTo>
                    <a:pt x="8117" y="1672"/>
                    <a:pt x="8846" y="912"/>
                    <a:pt x="884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1669;p62">
              <a:extLst>
                <a:ext uri="{FF2B5EF4-FFF2-40B4-BE49-F238E27FC236}">
                  <a16:creationId xmlns:a16="http://schemas.microsoft.com/office/drawing/2014/main" id="{8BC76995-B1A4-41E8-8D90-FCC640827A34}"/>
                </a:ext>
              </a:extLst>
            </p:cNvPr>
            <p:cNvSpPr/>
            <p:nvPr/>
          </p:nvSpPr>
          <p:spPr>
            <a:xfrm>
              <a:off x="2065050" y="2803925"/>
              <a:ext cx="245475" cy="31925"/>
            </a:xfrm>
            <a:custGeom>
              <a:avLst/>
              <a:gdLst/>
              <a:ahLst/>
              <a:cxnLst/>
              <a:rect l="l" t="t" r="r" b="b"/>
              <a:pathLst>
                <a:path w="9819" h="1125" extrusionOk="0">
                  <a:moveTo>
                    <a:pt x="1" y="0"/>
                  </a:moveTo>
                  <a:lnTo>
                    <a:pt x="1" y="1125"/>
                  </a:lnTo>
                  <a:lnTo>
                    <a:pt x="9819" y="1125"/>
                  </a:lnTo>
                  <a:lnTo>
                    <a:pt x="981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2" name="Google Shape;11;p2">
            <a:extLst>
              <a:ext uri="{FF2B5EF4-FFF2-40B4-BE49-F238E27FC236}">
                <a16:creationId xmlns:a16="http://schemas.microsoft.com/office/drawing/2014/main" id="{781693FC-1D74-419D-8713-8905E809E971}"/>
              </a:ext>
            </a:extLst>
          </p:cNvPr>
          <p:cNvSpPr/>
          <p:nvPr/>
        </p:nvSpPr>
        <p:spPr>
          <a:xfrm rot="2900725" flipH="1">
            <a:off x="8720234" y="4513925"/>
            <a:ext cx="3493975" cy="4013859"/>
          </a:xfrm>
          <a:prstGeom prst="lightningBolt">
            <a:avLst/>
          </a:prstGeom>
          <a:ln/>
          <a:effectLst>
            <a:glow rad="152400">
              <a:schemeClr val="accent1">
                <a:alpha val="28000"/>
              </a:schemeClr>
            </a:glow>
            <a:softEdge rad="0"/>
          </a:effectLst>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06" name="Picture 105">
            <a:extLst>
              <a:ext uri="{FF2B5EF4-FFF2-40B4-BE49-F238E27FC236}">
                <a16:creationId xmlns:a16="http://schemas.microsoft.com/office/drawing/2014/main" id="{2621DB03-956E-47A4-A1C6-423D5B6F2F09}"/>
              </a:ext>
            </a:extLst>
          </p:cNvPr>
          <p:cNvPicPr>
            <a:picLocks noChangeAspect="1"/>
          </p:cNvPicPr>
          <p:nvPr/>
        </p:nvPicPr>
        <p:blipFill>
          <a:blip r:embed="rId4"/>
          <a:stretch>
            <a:fillRect/>
          </a:stretch>
        </p:blipFill>
        <p:spPr>
          <a:xfrm>
            <a:off x="2516335" y="2589812"/>
            <a:ext cx="1189950" cy="670339"/>
          </a:xfrm>
          <a:prstGeom prst="rect">
            <a:avLst/>
          </a:prstGeom>
        </p:spPr>
      </p:pic>
      <p:pic>
        <p:nvPicPr>
          <p:cNvPr id="108" name="Picture 107">
            <a:extLst>
              <a:ext uri="{FF2B5EF4-FFF2-40B4-BE49-F238E27FC236}">
                <a16:creationId xmlns:a16="http://schemas.microsoft.com/office/drawing/2014/main" id="{127BDC44-DC92-4291-BAA3-3AA58D802161}"/>
              </a:ext>
            </a:extLst>
          </p:cNvPr>
          <p:cNvPicPr>
            <a:picLocks noChangeAspect="1"/>
          </p:cNvPicPr>
          <p:nvPr/>
        </p:nvPicPr>
        <p:blipFill>
          <a:blip r:embed="rId5"/>
          <a:stretch>
            <a:fillRect/>
          </a:stretch>
        </p:blipFill>
        <p:spPr>
          <a:xfrm>
            <a:off x="3957342" y="2753044"/>
            <a:ext cx="998217" cy="594465"/>
          </a:xfrm>
          <a:prstGeom prst="rect">
            <a:avLst/>
          </a:prstGeom>
        </p:spPr>
      </p:pic>
      <p:pic>
        <p:nvPicPr>
          <p:cNvPr id="104" name="Graphic 103" descr="Skull with solid fill">
            <a:extLst>
              <a:ext uri="{FF2B5EF4-FFF2-40B4-BE49-F238E27FC236}">
                <a16:creationId xmlns:a16="http://schemas.microsoft.com/office/drawing/2014/main" id="{55487088-98D9-4191-A1E0-1C01DBAF0E6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295924" y="2740089"/>
            <a:ext cx="302420" cy="302420"/>
          </a:xfrm>
          <a:prstGeom prst="rect">
            <a:avLst/>
          </a:prstGeom>
        </p:spPr>
      </p:pic>
      <p:sp>
        <p:nvSpPr>
          <p:cNvPr id="111" name="Google Shape;12;p2">
            <a:extLst>
              <a:ext uri="{FF2B5EF4-FFF2-40B4-BE49-F238E27FC236}">
                <a16:creationId xmlns:a16="http://schemas.microsoft.com/office/drawing/2014/main" id="{BB650F12-801A-49AD-8D70-8B9422F57B34}"/>
              </a:ext>
            </a:extLst>
          </p:cNvPr>
          <p:cNvSpPr/>
          <p:nvPr/>
        </p:nvSpPr>
        <p:spPr>
          <a:xfrm rot="14523056" flipH="1">
            <a:off x="-541940" y="-1731389"/>
            <a:ext cx="3622467" cy="4425954"/>
          </a:xfrm>
          <a:prstGeom prst="lightningBolt">
            <a:avLst/>
          </a:prstGeom>
          <a:solidFill>
            <a:srgbClr val="212111"/>
          </a:solidFill>
          <a:ln>
            <a:solidFill>
              <a:srgbClr val="41592C"/>
            </a:solidFill>
          </a:ln>
          <a:effectLst>
            <a:glow rad="177800">
              <a:schemeClr val="accent1">
                <a:alpha val="40000"/>
              </a:schemeClr>
            </a:glow>
            <a:softEdge rad="76200"/>
          </a:effectLst>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789;p51">
            <a:extLst>
              <a:ext uri="{FF2B5EF4-FFF2-40B4-BE49-F238E27FC236}">
                <a16:creationId xmlns:a16="http://schemas.microsoft.com/office/drawing/2014/main" id="{5B8E886F-4E5D-4B06-96E2-9902DE1F2A70}"/>
              </a:ext>
            </a:extLst>
          </p:cNvPr>
          <p:cNvSpPr txBox="1">
            <a:spLocks/>
          </p:cNvSpPr>
          <p:nvPr/>
        </p:nvSpPr>
        <p:spPr>
          <a:xfrm>
            <a:off x="7640751" y="4321684"/>
            <a:ext cx="4551249" cy="112791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indent="-285750" defTabSz="914400">
              <a:buClr>
                <a:schemeClr val="tx1"/>
              </a:buClr>
              <a:buSzPts val="1100"/>
              <a:buFont typeface="Arial" panose="020B0604020202020204" pitchFamily="34" charset="0"/>
              <a:buChar char="•"/>
              <a:defRPr/>
            </a:pPr>
            <a:r>
              <a:rPr kumimoji="0" lang="el-GR"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έρευνα σε διαφορετικά χρονικά ορόσημα – χρήση τεχνολογίας</a:t>
            </a:r>
          </a:p>
          <a:p>
            <a:pPr marL="285750" indent="-285750" defTabSz="914400">
              <a:buClr>
                <a:schemeClr val="tx1"/>
              </a:buClr>
              <a:buSzPts val="1100"/>
              <a:buFont typeface="Arial" panose="020B0604020202020204" pitchFamily="34" charset="0"/>
              <a:buChar char="•"/>
              <a:defRPr/>
            </a:pPr>
            <a:r>
              <a:rPr kumimoji="0" lang="el-GR"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Συγκρίσεις προϊόντων</a:t>
            </a:r>
          </a:p>
          <a:p>
            <a:pPr marL="285750" indent="-285750" defTabSz="914400">
              <a:buClr>
                <a:schemeClr val="tx1"/>
              </a:buClr>
              <a:buSzPts val="1100"/>
              <a:buFont typeface="Arial" panose="020B0604020202020204" pitchFamily="34" charset="0"/>
              <a:buChar char="•"/>
              <a:defRPr/>
            </a:pPr>
            <a:r>
              <a:rPr kumimoji="0" lang="el-GR"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Αντίστροφη μηχανική προϊόντων</a:t>
            </a:r>
            <a:endParaRPr kumimoji="0" lang="en-US"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sp>
        <p:nvSpPr>
          <p:cNvPr id="105" name="Google Shape;5593;p92">
            <a:extLst>
              <a:ext uri="{FF2B5EF4-FFF2-40B4-BE49-F238E27FC236}">
                <a16:creationId xmlns:a16="http://schemas.microsoft.com/office/drawing/2014/main" id="{CE6F521E-F78B-45EA-9943-193DD86760D4}"/>
              </a:ext>
            </a:extLst>
          </p:cNvPr>
          <p:cNvSpPr/>
          <p:nvPr/>
        </p:nvSpPr>
        <p:spPr>
          <a:xfrm>
            <a:off x="7605831" y="434519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5593;p92">
            <a:extLst>
              <a:ext uri="{FF2B5EF4-FFF2-40B4-BE49-F238E27FC236}">
                <a16:creationId xmlns:a16="http://schemas.microsoft.com/office/drawing/2014/main" id="{7F6DA7C4-8A5F-4B9C-84B9-3563E4EF16FD}"/>
              </a:ext>
            </a:extLst>
          </p:cNvPr>
          <p:cNvSpPr/>
          <p:nvPr/>
        </p:nvSpPr>
        <p:spPr>
          <a:xfrm>
            <a:off x="7605831" y="5240394"/>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 name="Google Shape;5593;p92">
            <a:extLst>
              <a:ext uri="{FF2B5EF4-FFF2-40B4-BE49-F238E27FC236}">
                <a16:creationId xmlns:a16="http://schemas.microsoft.com/office/drawing/2014/main" id="{FA2010D8-344A-43A7-AE89-3872FD166CA9}"/>
              </a:ext>
            </a:extLst>
          </p:cNvPr>
          <p:cNvSpPr/>
          <p:nvPr/>
        </p:nvSpPr>
        <p:spPr>
          <a:xfrm>
            <a:off x="7599354" y="4903444"/>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02041696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Google Shape;1713;p63">
            <a:extLst>
              <a:ext uri="{FF2B5EF4-FFF2-40B4-BE49-F238E27FC236}">
                <a16:creationId xmlns:a16="http://schemas.microsoft.com/office/drawing/2014/main" id="{0423E415-798A-42EF-B50E-42F427348E5E}"/>
              </a:ext>
            </a:extLst>
          </p:cNvPr>
          <p:cNvSpPr txBox="1">
            <a:spLocks/>
          </p:cNvSpPr>
          <p:nvPr/>
        </p:nvSpPr>
        <p:spPr>
          <a:xfrm>
            <a:off x="2275217" y="429285"/>
            <a:ext cx="7641565"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35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Παραδοσιακός τρόπος </a:t>
            </a:r>
            <a:r>
              <a:rPr kumimoji="0" lang="en-US" sz="35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rendering</a:t>
            </a:r>
          </a:p>
        </p:txBody>
      </p:sp>
      <p:sp>
        <p:nvSpPr>
          <p:cNvPr id="3" name="Google Shape;1713;p63">
            <a:extLst>
              <a:ext uri="{FF2B5EF4-FFF2-40B4-BE49-F238E27FC236}">
                <a16:creationId xmlns:a16="http://schemas.microsoft.com/office/drawing/2014/main" id="{F1BB5F79-6707-4C84-BCC8-A36D21665A52}"/>
              </a:ext>
            </a:extLst>
          </p:cNvPr>
          <p:cNvSpPr txBox="1">
            <a:spLocks/>
          </p:cNvSpPr>
          <p:nvPr/>
        </p:nvSpPr>
        <p:spPr>
          <a:xfrm>
            <a:off x="2275217" y="974286"/>
            <a:ext cx="7641565"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n-US" b="1" kern="0" dirty="0" err="1">
                <a:solidFill>
                  <a:schemeClr val="tx1"/>
                </a:solidFill>
                <a:latin typeface="Arial" panose="020B0604020202020204" pitchFamily="34" charset="0"/>
                <a:cs typeface="Arial" panose="020B0604020202020204" pitchFamily="34" charset="0"/>
              </a:rPr>
              <a:t>Raycasting</a:t>
            </a:r>
            <a:endParaRPr kumimoji="0" lang="en-US" sz="3500" b="1"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endParaRPr>
          </a:p>
        </p:txBody>
      </p:sp>
      <p:pic>
        <p:nvPicPr>
          <p:cNvPr id="4" name="Picture 3">
            <a:extLst>
              <a:ext uri="{FF2B5EF4-FFF2-40B4-BE49-F238E27FC236}">
                <a16:creationId xmlns:a16="http://schemas.microsoft.com/office/drawing/2014/main" id="{F5D400F1-1D38-49D0-BAEF-617C74D05EC4}"/>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681778" y="1600740"/>
            <a:ext cx="4828443" cy="2462506"/>
          </a:xfrm>
          <a:prstGeom prst="rect">
            <a:avLst/>
          </a:prstGeom>
          <a:noFill/>
          <a:ln>
            <a:noFill/>
          </a:ln>
        </p:spPr>
      </p:pic>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8B3ED1C9-9019-4249-B4CE-472673235F37}"/>
                  </a:ext>
                </a:extLst>
              </p:cNvPr>
              <p:cNvSpPr txBox="1"/>
              <p:nvPr/>
            </p:nvSpPr>
            <p:spPr>
              <a:xfrm>
                <a:off x="3043310" y="4407653"/>
                <a:ext cx="6105378" cy="1172757"/>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mtClean="0">
                          <a:latin typeface="Cambria Math" panose="02040503050406030204" pitchFamily="18" charset="0"/>
                        </a:rPr>
                        <m:t>∀</m:t>
                      </m:r>
                      <m:r>
                        <a:rPr lang="en-US" i="1">
                          <a:latin typeface="Cambria Math" panose="02040503050406030204" pitchFamily="18" charset="0"/>
                        </a:rPr>
                        <m:t>𝑦</m:t>
                      </m:r>
                      <m:r>
                        <a:rPr lang="en-US" i="0">
                          <a:latin typeface="Cambria Math" panose="02040503050406030204" pitchFamily="18" charset="0"/>
                        </a:rPr>
                        <m:t>&lt;</m:t>
                      </m:r>
                      <m:r>
                        <m:rPr>
                          <m:sty m:val="p"/>
                        </m:rPr>
                        <a:rPr lang="en-US" i="0">
                          <a:latin typeface="Cambria Math" panose="02040503050406030204" pitchFamily="18" charset="0"/>
                        </a:rPr>
                        <m:t>height</m:t>
                      </m:r>
                      <m:r>
                        <a:rPr lang="en-US" i="0">
                          <a:latin typeface="Cambria Math" panose="02040503050406030204" pitchFamily="18" charset="0"/>
                        </a:rPr>
                        <m:t> ∃ </m:t>
                      </m:r>
                      <m:d>
                        <m:dPr>
                          <m:ctrlPr>
                            <a:rPr lang="en-US" i="1">
                              <a:solidFill>
                                <a:srgbClr val="836967"/>
                              </a:solidFill>
                              <a:latin typeface="Cambria Math" panose="02040503050406030204" pitchFamily="18" charset="0"/>
                            </a:rPr>
                          </m:ctrlPr>
                        </m:dPr>
                        <m:e>
                          <m:r>
                            <a:rPr lang="en-US" i="1">
                              <a:latin typeface="Cambria Math" panose="02040503050406030204" pitchFamily="18" charset="0"/>
                            </a:rPr>
                            <m:t>𝑦𝐷𝑒𝑝𝑡h𝐶𝑒𝑖𝑙𝑖𝑛𝑔</m:t>
                          </m:r>
                          <m:r>
                            <a:rPr lang="en-US" i="0">
                              <a:latin typeface="Cambria Math" panose="02040503050406030204" pitchFamily="18" charset="0"/>
                            </a:rPr>
                            <m:t>∈</m:t>
                          </m:r>
                          <m:r>
                            <a:rPr lang="en-US" i="0">
                              <a:latin typeface="Cambria Math" panose="02040503050406030204" pitchFamily="18" charset="0"/>
                            </a:rPr>
                            <m:t>ℝ</m:t>
                          </m:r>
                        </m:e>
                      </m:d>
                      <m:r>
                        <a:rPr lang="en-US" i="0">
                          <a:latin typeface="Cambria Math" panose="02040503050406030204" pitchFamily="18" charset="0"/>
                        </a:rPr>
                        <m:t>=</m:t>
                      </m:r>
                      <m:f>
                        <m:fPr>
                          <m:ctrlPr>
                            <a:rPr lang="en-US" i="1">
                              <a:solidFill>
                                <a:srgbClr val="836967"/>
                              </a:solidFill>
                              <a:latin typeface="Cambria Math" panose="02040503050406030204" pitchFamily="18" charset="0"/>
                            </a:rPr>
                          </m:ctrlPr>
                        </m:fPr>
                        <m:num>
                          <m:d>
                            <m:dPr>
                              <m:ctrlPr>
                                <a:rPr lang="en-US" i="1">
                                  <a:solidFill>
                                    <a:srgbClr val="836967"/>
                                  </a:solidFill>
                                  <a:latin typeface="Cambria Math" panose="02040503050406030204" pitchFamily="18" charset="0"/>
                                </a:rPr>
                              </m:ctrlPr>
                            </m:dPr>
                            <m:e>
                              <m:f>
                                <m:fPr>
                                  <m:ctrlPr>
                                    <a:rPr lang="en-US" i="1">
                                      <a:solidFill>
                                        <a:srgbClr val="836967"/>
                                      </a:solidFill>
                                      <a:latin typeface="Cambria Math" panose="02040503050406030204" pitchFamily="18" charset="0"/>
                                    </a:rPr>
                                  </m:ctrlPr>
                                </m:fPr>
                                <m:num>
                                  <m:r>
                                    <a:rPr lang="en-US" i="1">
                                      <a:latin typeface="Cambria Math" panose="02040503050406030204" pitchFamily="18" charset="0"/>
                                    </a:rPr>
                                    <m:t>𝑦</m:t>
                                  </m:r>
                                  <m:r>
                                    <a:rPr lang="en-US" i="0">
                                      <a:latin typeface="Cambria Math" panose="02040503050406030204" pitchFamily="18" charset="0"/>
                                    </a:rPr>
                                    <m:t>−</m:t>
                                  </m:r>
                                  <m:r>
                                    <a:rPr lang="en-US" i="1">
                                      <a:latin typeface="Cambria Math" panose="02040503050406030204" pitchFamily="18" charset="0"/>
                                    </a:rPr>
                                    <m:t>h𝑒𝑖𝑔h𝑡</m:t>
                                  </m:r>
                                </m:num>
                                <m:den>
                                  <m:r>
                                    <a:rPr lang="en-US" i="0">
                                      <a:latin typeface="Cambria Math" panose="02040503050406030204" pitchFamily="18" charset="0"/>
                                    </a:rPr>
                                    <m:t>2.0</m:t>
                                  </m:r>
                                </m:den>
                              </m:f>
                            </m:e>
                          </m:d>
                        </m:num>
                        <m:den>
                          <m:r>
                            <a:rPr lang="en-US" i="1">
                              <a:latin typeface="Cambria Math" panose="02040503050406030204" pitchFamily="18" charset="0"/>
                            </a:rPr>
                            <m:t>h𝑒𝑖𝑔h𝑡</m:t>
                          </m:r>
                        </m:den>
                      </m:f>
                      <m:r>
                        <a:rPr lang="en-US" i="0">
                          <a:latin typeface="Cambria Math" panose="02040503050406030204" pitchFamily="18" charset="0"/>
                        </a:rPr>
                        <m:t>∴</m:t>
                      </m:r>
                      <m:r>
                        <a:rPr lang="en-US" i="1">
                          <a:latin typeface="Cambria Math" panose="02040503050406030204" pitchFamily="18" charset="0"/>
                        </a:rPr>
                        <m:t>𝑥𝐷𝑒𝑝𝑡h</m:t>
                      </m:r>
                      <m:r>
                        <a:rPr lang="en-US" i="0">
                          <a:latin typeface="Cambria Math" panose="02040503050406030204" pitchFamily="18" charset="0"/>
                        </a:rPr>
                        <m:t>∗=</m:t>
                      </m:r>
                      <m:r>
                        <a:rPr lang="en-US" i="1">
                          <a:latin typeface="Cambria Math" panose="02040503050406030204" pitchFamily="18" charset="0"/>
                        </a:rPr>
                        <m:t>𝑧</m:t>
                      </m:r>
                    </m:oMath>
                  </m:oMathPara>
                </a14:m>
                <a:endParaRPr lang="en-US" dirty="0"/>
              </a:p>
            </p:txBody>
          </p:sp>
        </mc:Choice>
        <mc:Fallback xmlns="">
          <p:sp>
            <p:nvSpPr>
              <p:cNvPr id="6" name="TextBox 5">
                <a:extLst>
                  <a:ext uri="{FF2B5EF4-FFF2-40B4-BE49-F238E27FC236}">
                    <a16:creationId xmlns:a16="http://schemas.microsoft.com/office/drawing/2014/main" id="{8B3ED1C9-9019-4249-B4CE-472673235F37}"/>
                  </a:ext>
                </a:extLst>
              </p:cNvPr>
              <p:cNvSpPr txBox="1">
                <a:spLocks noRot="1" noChangeAspect="1" noMove="1" noResize="1" noEditPoints="1" noAdjustHandles="1" noChangeArrowheads="1" noChangeShapeType="1" noTextEdit="1"/>
              </p:cNvSpPr>
              <p:nvPr/>
            </p:nvSpPr>
            <p:spPr>
              <a:xfrm>
                <a:off x="3043310" y="4407653"/>
                <a:ext cx="6105378" cy="1172757"/>
              </a:xfrm>
              <a:prstGeom prst="rect">
                <a:avLst/>
              </a:prstGeom>
              <a:blipFill>
                <a:blip r:embed="rId4"/>
                <a:stretch>
                  <a:fillRect b="-416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4B3283B3-94F4-4BDA-A0E6-CBFFB7316085}"/>
                  </a:ext>
                </a:extLst>
              </p:cNvPr>
              <p:cNvSpPr txBox="1"/>
              <p:nvPr/>
            </p:nvSpPr>
            <p:spPr>
              <a:xfrm>
                <a:off x="3199427" y="5257260"/>
                <a:ext cx="6105378" cy="1439818"/>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mtClean="0">
                          <a:latin typeface="Cambria Math" panose="02040503050406030204" pitchFamily="18" charset="0"/>
                        </a:rPr>
                        <m:t>∀</m:t>
                      </m:r>
                      <m:r>
                        <a:rPr lang="en-US" i="1">
                          <a:latin typeface="Cambria Math" panose="02040503050406030204" pitchFamily="18" charset="0"/>
                        </a:rPr>
                        <m:t>𝑥</m:t>
                      </m:r>
                      <m:r>
                        <a:rPr lang="en-US" i="0">
                          <a:latin typeface="Cambria Math" panose="02040503050406030204" pitchFamily="18" charset="0"/>
                        </a:rPr>
                        <m:t>&lt;</m:t>
                      </m:r>
                      <m:r>
                        <m:rPr>
                          <m:sty m:val="p"/>
                        </m:rPr>
                        <a:rPr lang="en-US" i="0">
                          <a:latin typeface="Cambria Math" panose="02040503050406030204" pitchFamily="18" charset="0"/>
                        </a:rPr>
                        <m:t>width</m:t>
                      </m:r>
                      <m:r>
                        <a:rPr lang="en-US" i="0">
                          <a:latin typeface="Cambria Math" panose="02040503050406030204" pitchFamily="18" charset="0"/>
                        </a:rPr>
                        <m:t> ∃ </m:t>
                      </m:r>
                      <m:d>
                        <m:dPr>
                          <m:ctrlPr>
                            <a:rPr lang="en-US" i="1">
                              <a:solidFill>
                                <a:srgbClr val="836967"/>
                              </a:solidFill>
                              <a:latin typeface="Cambria Math" panose="02040503050406030204" pitchFamily="18" charset="0"/>
                            </a:rPr>
                          </m:ctrlPr>
                        </m:dPr>
                        <m:e>
                          <m:r>
                            <a:rPr lang="en-US" i="1">
                              <a:latin typeface="Cambria Math" panose="02040503050406030204" pitchFamily="18" charset="0"/>
                            </a:rPr>
                            <m:t>𝑥𝐷𝑒𝑝𝑡h</m:t>
                          </m:r>
                          <m:r>
                            <a:rPr lang="en-US" i="0">
                              <a:latin typeface="Cambria Math" panose="02040503050406030204" pitchFamily="18" charset="0"/>
                            </a:rPr>
                            <m:t>∈</m:t>
                          </m:r>
                          <m:r>
                            <a:rPr lang="en-US" i="0">
                              <a:latin typeface="Cambria Math" panose="02040503050406030204" pitchFamily="18" charset="0"/>
                            </a:rPr>
                            <m:t>ℝ</m:t>
                          </m:r>
                        </m:e>
                      </m:d>
                      <m:r>
                        <a:rPr lang="en-US" i="0">
                          <a:latin typeface="Cambria Math" panose="02040503050406030204" pitchFamily="18" charset="0"/>
                        </a:rPr>
                        <m:t>=</m:t>
                      </m:r>
                      <m:f>
                        <m:fPr>
                          <m:ctrlPr>
                            <a:rPr lang="en-US" i="1">
                              <a:solidFill>
                                <a:srgbClr val="836967"/>
                              </a:solidFill>
                              <a:latin typeface="Cambria Math" panose="02040503050406030204" pitchFamily="18" charset="0"/>
                            </a:rPr>
                          </m:ctrlPr>
                        </m:fPr>
                        <m:num>
                          <m:d>
                            <m:dPr>
                              <m:ctrlPr>
                                <a:rPr lang="en-US" i="1">
                                  <a:solidFill>
                                    <a:srgbClr val="836967"/>
                                  </a:solidFill>
                                  <a:latin typeface="Cambria Math" panose="02040503050406030204" pitchFamily="18" charset="0"/>
                                </a:rPr>
                              </m:ctrlPr>
                            </m:dPr>
                            <m:e>
                              <m:f>
                                <m:fPr>
                                  <m:ctrlPr>
                                    <a:rPr lang="en-US" i="1">
                                      <a:solidFill>
                                        <a:srgbClr val="836967"/>
                                      </a:solidFill>
                                      <a:latin typeface="Cambria Math" panose="02040503050406030204" pitchFamily="18" charset="0"/>
                                    </a:rPr>
                                  </m:ctrlPr>
                                </m:fPr>
                                <m:num>
                                  <m:r>
                                    <a:rPr lang="en-US" i="1">
                                      <a:latin typeface="Cambria Math" panose="02040503050406030204" pitchFamily="18" charset="0"/>
                                    </a:rPr>
                                    <m:t>𝑥</m:t>
                                  </m:r>
                                  <m:r>
                                    <a:rPr lang="en-US" i="0">
                                      <a:latin typeface="Cambria Math" panose="02040503050406030204" pitchFamily="18" charset="0"/>
                                    </a:rPr>
                                    <m:t>−</m:t>
                                  </m:r>
                                  <m:r>
                                    <a:rPr lang="en-US" i="1">
                                      <a:latin typeface="Cambria Math" panose="02040503050406030204" pitchFamily="18" charset="0"/>
                                    </a:rPr>
                                    <m:t>𝑤𝑖𝑑𝑡h</m:t>
                                  </m:r>
                                </m:num>
                                <m:den>
                                  <m:r>
                                    <a:rPr lang="en-US" i="0">
                                      <a:latin typeface="Cambria Math" panose="02040503050406030204" pitchFamily="18" charset="0"/>
                                    </a:rPr>
                                    <m:t>2.0</m:t>
                                  </m:r>
                                </m:den>
                              </m:f>
                            </m:e>
                          </m:d>
                        </m:num>
                        <m:den>
                          <m:r>
                            <a:rPr lang="en-US" i="1">
                              <a:latin typeface="Cambria Math" panose="02040503050406030204" pitchFamily="18" charset="0"/>
                            </a:rPr>
                            <m:t>h𝑒𝑖𝑔h𝑡</m:t>
                          </m:r>
                        </m:den>
                      </m:f>
                      <m:r>
                        <a:rPr lang="en-US" i="0">
                          <a:latin typeface="Cambria Math" panose="02040503050406030204" pitchFamily="18" charset="0"/>
                        </a:rPr>
                        <m:t>∴</m:t>
                      </m:r>
                      <m:r>
                        <a:rPr lang="en-US" i="1">
                          <a:latin typeface="Cambria Math" panose="02040503050406030204" pitchFamily="18" charset="0"/>
                        </a:rPr>
                        <m:t>𝑥𝐷𝑒𝑝𝑡h</m:t>
                      </m:r>
                      <m:r>
                        <a:rPr lang="en-US" i="0">
                          <a:latin typeface="Cambria Math" panose="02040503050406030204" pitchFamily="18" charset="0"/>
                        </a:rPr>
                        <m:t>∗=</m:t>
                      </m:r>
                      <m:r>
                        <a:rPr lang="en-US" i="1">
                          <a:latin typeface="Cambria Math" panose="02040503050406030204" pitchFamily="18" charset="0"/>
                        </a:rPr>
                        <m:t>𝑧</m:t>
                      </m:r>
                      <m:r>
                        <a:rPr lang="en-US" i="0">
                          <a:latin typeface="Cambria Math" panose="02040503050406030204" pitchFamily="18" charset="0"/>
                        </a:rPr>
                        <m:t> ∙</m:t>
                      </m:r>
                      <m:d>
                        <m:dPr>
                          <m:ctrlPr>
                            <a:rPr lang="en-US" i="1">
                              <a:solidFill>
                                <a:srgbClr val="836967"/>
                              </a:solidFill>
                              <a:latin typeface="Cambria Math" panose="02040503050406030204" pitchFamily="18" charset="0"/>
                            </a:rPr>
                          </m:ctrlPr>
                        </m:dPr>
                        <m:e>
                          <m:r>
                            <a:rPr lang="en-US" i="1">
                              <a:latin typeface="Cambria Math" panose="02040503050406030204" pitchFamily="18" charset="0"/>
                            </a:rPr>
                            <m:t>𝑥𝑥</m:t>
                          </m:r>
                          <m:r>
                            <a:rPr lang="en-US" i="0">
                              <a:latin typeface="Cambria Math" panose="02040503050406030204" pitchFamily="18" charset="0"/>
                            </a:rPr>
                            <m:t>∈</m:t>
                          </m:r>
                          <m:r>
                            <a:rPr lang="en-US" i="0">
                              <a:latin typeface="Cambria Math" panose="02040503050406030204" pitchFamily="18" charset="0"/>
                            </a:rPr>
                            <m:t>ℝ</m:t>
                          </m:r>
                        </m:e>
                      </m:d>
                      <m:r>
                        <a:rPr lang="en-US" i="0">
                          <a:latin typeface="Cambria Math" panose="02040503050406030204" pitchFamily="18" charset="0"/>
                        </a:rPr>
                        <m:t>=</m:t>
                      </m:r>
                      <m:r>
                        <a:rPr lang="en-US" i="1">
                          <a:latin typeface="Cambria Math" panose="02040503050406030204" pitchFamily="18" charset="0"/>
                        </a:rPr>
                        <m:t>𝑥𝐷𝑒𝑝𝑡h</m:t>
                      </m:r>
                      <m:r>
                        <a:rPr lang="en-US" i="0">
                          <a:latin typeface="Cambria Math" panose="02040503050406030204" pitchFamily="18" charset="0"/>
                        </a:rPr>
                        <m:t> ∙</m:t>
                      </m:r>
                      <m:d>
                        <m:dPr>
                          <m:ctrlPr>
                            <a:rPr lang="en-US" i="1">
                              <a:solidFill>
                                <a:srgbClr val="836967"/>
                              </a:solidFill>
                              <a:latin typeface="Cambria Math" panose="02040503050406030204" pitchFamily="18" charset="0"/>
                            </a:rPr>
                          </m:ctrlPr>
                        </m:dPr>
                        <m:e>
                          <m:r>
                            <a:rPr lang="en-US" i="1">
                              <a:latin typeface="Cambria Math" panose="02040503050406030204" pitchFamily="18" charset="0"/>
                            </a:rPr>
                            <m:t>𝑦𝑦</m:t>
                          </m:r>
                          <m:r>
                            <a:rPr lang="en-US" i="0">
                              <a:latin typeface="Cambria Math" panose="02040503050406030204" pitchFamily="18" charset="0"/>
                            </a:rPr>
                            <m:t>∈</m:t>
                          </m:r>
                          <m:r>
                            <a:rPr lang="en-US" i="0">
                              <a:latin typeface="Cambria Math" panose="02040503050406030204" pitchFamily="18" charset="0"/>
                            </a:rPr>
                            <m:t>ℝ</m:t>
                          </m:r>
                        </m:e>
                      </m:d>
                      <m:r>
                        <a:rPr lang="en-US" i="0">
                          <a:latin typeface="Cambria Math" panose="02040503050406030204" pitchFamily="18" charset="0"/>
                        </a:rPr>
                        <m:t>=</m:t>
                      </m:r>
                      <m:r>
                        <a:rPr lang="en-US" i="1">
                          <a:latin typeface="Cambria Math" panose="02040503050406030204" pitchFamily="18" charset="0"/>
                        </a:rPr>
                        <m:t>𝑧</m:t>
                      </m:r>
                      <m:r>
                        <a:rPr lang="en-US" i="0">
                          <a:latin typeface="Cambria Math" panose="02040503050406030204" pitchFamily="18" charset="0"/>
                        </a:rPr>
                        <m:t>⇒</m:t>
                      </m:r>
                      <m:r>
                        <a:rPr lang="en-US" i="1">
                          <a:latin typeface="Cambria Math" panose="02040503050406030204" pitchFamily="18" charset="0"/>
                        </a:rPr>
                        <m:t>𝑥𝑃𝑖𝑥𝑒𝑙</m:t>
                      </m:r>
                      <m:r>
                        <a:rPr lang="en-US" i="0">
                          <a:latin typeface="Cambria Math" panose="02040503050406030204" pitchFamily="18" charset="0"/>
                        </a:rPr>
                        <m:t>=</m:t>
                      </m:r>
                      <m:r>
                        <a:rPr lang="en-US" i="1">
                          <a:latin typeface="Cambria Math" panose="02040503050406030204" pitchFamily="18" charset="0"/>
                        </a:rPr>
                        <m:t>𝑥𝑥</m:t>
                      </m:r>
                      <m:r>
                        <a:rPr lang="en-US" i="0">
                          <a:latin typeface="Cambria Math" panose="02040503050406030204" pitchFamily="18" charset="0"/>
                        </a:rPr>
                        <m:t> ∙</m:t>
                      </m:r>
                      <m:r>
                        <a:rPr lang="en-US" i="1">
                          <a:latin typeface="Cambria Math" panose="02040503050406030204" pitchFamily="18" charset="0"/>
                        </a:rPr>
                        <m:t>𝑦𝑃𝑖𝑥𝑒𝑙</m:t>
                      </m:r>
                      <m:r>
                        <a:rPr lang="en-US" i="0">
                          <a:latin typeface="Cambria Math" panose="02040503050406030204" pitchFamily="18" charset="0"/>
                        </a:rPr>
                        <m:t>=</m:t>
                      </m:r>
                      <m:r>
                        <a:rPr lang="en-US" i="1">
                          <a:latin typeface="Cambria Math" panose="02040503050406030204" pitchFamily="18" charset="0"/>
                        </a:rPr>
                        <m:t>𝑦𝑦</m:t>
                      </m:r>
                    </m:oMath>
                  </m:oMathPara>
                </a14:m>
                <a:endParaRPr lang="en-US" dirty="0"/>
              </a:p>
            </p:txBody>
          </p:sp>
        </mc:Choice>
        <mc:Fallback xmlns="">
          <p:sp>
            <p:nvSpPr>
              <p:cNvPr id="8" name="TextBox 7">
                <a:extLst>
                  <a:ext uri="{FF2B5EF4-FFF2-40B4-BE49-F238E27FC236}">
                    <a16:creationId xmlns:a16="http://schemas.microsoft.com/office/drawing/2014/main" id="{4B3283B3-94F4-4BDA-A0E6-CBFFB7316085}"/>
                  </a:ext>
                </a:extLst>
              </p:cNvPr>
              <p:cNvSpPr txBox="1">
                <a:spLocks noRot="1" noChangeAspect="1" noMove="1" noResize="1" noEditPoints="1" noAdjustHandles="1" noChangeArrowheads="1" noChangeShapeType="1" noTextEdit="1"/>
              </p:cNvSpPr>
              <p:nvPr/>
            </p:nvSpPr>
            <p:spPr>
              <a:xfrm>
                <a:off x="3199427" y="5257260"/>
                <a:ext cx="6105378" cy="1439818"/>
              </a:xfrm>
              <a:prstGeom prst="rect">
                <a:avLst/>
              </a:prstGeom>
              <a:blipFill>
                <a:blip r:embed="rId5"/>
                <a:stretch>
                  <a:fillRect b="-2532"/>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0" name="TextBox 9">
                <a:extLst>
                  <a:ext uri="{FF2B5EF4-FFF2-40B4-BE49-F238E27FC236}">
                    <a16:creationId xmlns:a16="http://schemas.microsoft.com/office/drawing/2014/main" id="{A5D5A8E7-B567-402C-A219-74E3EF98CC8B}"/>
                  </a:ext>
                </a:extLst>
              </p:cNvPr>
              <p:cNvSpPr txBox="1"/>
              <p:nvPr/>
            </p:nvSpPr>
            <p:spPr>
              <a:xfrm>
                <a:off x="2997150" y="4050784"/>
                <a:ext cx="6105378" cy="36933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i="1" smtClean="0">
                          <a:latin typeface="Cambria Math" panose="02040503050406030204" pitchFamily="18" charset="0"/>
                        </a:rPr>
                        <m:t>𝑥</m:t>
                      </m:r>
                      <m:r>
                        <a:rPr lang="en-US" i="0">
                          <a:latin typeface="Cambria Math" panose="02040503050406030204" pitchFamily="18" charset="0"/>
                        </a:rPr>
                        <m:t>⋅</m:t>
                      </m:r>
                      <m:r>
                        <a:rPr lang="en-US" i="1">
                          <a:latin typeface="Cambria Math" panose="02040503050406030204" pitchFamily="18" charset="0"/>
                        </a:rPr>
                        <m:t>𝑦</m:t>
                      </m:r>
                      <m:r>
                        <a:rPr lang="en-US" i="0">
                          <a:latin typeface="Cambria Math" panose="02040503050406030204" pitchFamily="18" charset="0"/>
                        </a:rPr>
                        <m:t>⋅</m:t>
                      </m:r>
                      <m:r>
                        <m:rPr>
                          <m:sty m:val="p"/>
                        </m:rPr>
                        <a:rPr lang="en-US" i="0">
                          <a:latin typeface="Cambria Math" panose="02040503050406030204" pitchFamily="18" charset="0"/>
                        </a:rPr>
                        <m:t>z</m:t>
                      </m:r>
                      <m:r>
                        <a:rPr lang="en-US" i="0">
                          <a:latin typeface="Cambria Math" panose="02040503050406030204" pitchFamily="18" charset="0"/>
                        </a:rPr>
                        <m:t>⋅</m:t>
                      </m:r>
                      <m:r>
                        <m:rPr>
                          <m:sty m:val="p"/>
                        </m:rPr>
                        <a:rPr lang="en-US" i="0">
                          <a:latin typeface="Cambria Math" panose="02040503050406030204" pitchFamily="18" charset="0"/>
                        </a:rPr>
                        <m:t>xPixel</m:t>
                      </m:r>
                      <m:r>
                        <a:rPr lang="en-US" i="0">
                          <a:latin typeface="Cambria Math" panose="02040503050406030204" pitchFamily="18" charset="0"/>
                        </a:rPr>
                        <m:t>⋅</m:t>
                      </m:r>
                      <m:r>
                        <m:rPr>
                          <m:sty m:val="p"/>
                        </m:rPr>
                        <a:rPr lang="en-US" i="0">
                          <a:latin typeface="Cambria Math" panose="02040503050406030204" pitchFamily="18" charset="0"/>
                        </a:rPr>
                        <m:t>yPixel</m:t>
                      </m:r>
                      <m:r>
                        <a:rPr lang="en-US" i="0">
                          <a:latin typeface="Cambria Math" panose="02040503050406030204" pitchFamily="18" charset="0"/>
                        </a:rPr>
                        <m:t> ∈ </m:t>
                      </m:r>
                      <m:r>
                        <a:rPr lang="en-US" i="0">
                          <a:latin typeface="Cambria Math" panose="02040503050406030204" pitchFamily="18" charset="0"/>
                        </a:rPr>
                        <m:t>𝕫</m:t>
                      </m:r>
                    </m:oMath>
                  </m:oMathPara>
                </a14:m>
                <a:endParaRPr lang="en-US" dirty="0"/>
              </a:p>
            </p:txBody>
          </p:sp>
        </mc:Choice>
        <mc:Fallback xmlns="">
          <p:sp>
            <p:nvSpPr>
              <p:cNvPr id="10" name="TextBox 9">
                <a:extLst>
                  <a:ext uri="{FF2B5EF4-FFF2-40B4-BE49-F238E27FC236}">
                    <a16:creationId xmlns:a16="http://schemas.microsoft.com/office/drawing/2014/main" id="{A5D5A8E7-B567-402C-A219-74E3EF98CC8B}"/>
                  </a:ext>
                </a:extLst>
              </p:cNvPr>
              <p:cNvSpPr txBox="1">
                <a:spLocks noRot="1" noChangeAspect="1" noMove="1" noResize="1" noEditPoints="1" noAdjustHandles="1" noChangeArrowheads="1" noChangeShapeType="1" noTextEdit="1"/>
              </p:cNvSpPr>
              <p:nvPr/>
            </p:nvSpPr>
            <p:spPr>
              <a:xfrm>
                <a:off x="2997150" y="4050784"/>
                <a:ext cx="6105378" cy="369332"/>
              </a:xfrm>
              <a:prstGeom prst="rect">
                <a:avLst/>
              </a:prstGeom>
              <a:blipFill>
                <a:blip r:embed="rId6"/>
                <a:stretch>
                  <a:fillRect b="-13115"/>
                </a:stretch>
              </a:blipFill>
            </p:spPr>
            <p:txBody>
              <a:bodyPr/>
              <a:lstStyle/>
              <a:p>
                <a:r>
                  <a:rPr lang="en-US">
                    <a:noFill/>
                  </a:rPr>
                  <a:t> </a:t>
                </a:r>
              </a:p>
            </p:txBody>
          </p:sp>
        </mc:Fallback>
      </mc:AlternateContent>
    </p:spTree>
    <p:extLst>
      <p:ext uri="{BB962C8B-B14F-4D97-AF65-F5344CB8AC3E}">
        <p14:creationId xmlns:p14="http://schemas.microsoft.com/office/powerpoint/2010/main" val="119219950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3076" name="Picture 4" descr="Unreal Engine Branding Guidelines and Trademark Usage - Unreal Engine">
            <a:extLst>
              <a:ext uri="{FF2B5EF4-FFF2-40B4-BE49-F238E27FC236}">
                <a16:creationId xmlns:a16="http://schemas.microsoft.com/office/drawing/2014/main" id="{949CFE88-C92C-40CF-B8D7-64309C3C068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04414" y="230846"/>
            <a:ext cx="2376597" cy="1913213"/>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descr="What is Ray Tracing? - Vention">
            <a:extLst>
              <a:ext uri="{FF2B5EF4-FFF2-40B4-BE49-F238E27FC236}">
                <a16:creationId xmlns:a16="http://schemas.microsoft.com/office/drawing/2014/main" id="{222AD8A7-7D6A-44D3-9ADA-92F5BABEA7C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59248" y="2055183"/>
            <a:ext cx="6937599" cy="2927667"/>
          </a:xfrm>
          <a:prstGeom prst="roundRect">
            <a:avLst>
              <a:gd name="adj" fmla="val 16667"/>
            </a:avLst>
          </a:prstGeom>
          <a:ln>
            <a:noFill/>
          </a:ln>
          <a:effectLst>
            <a:outerShdw blurRad="152400" dist="12000" dir="900000" sy="98000" kx="110000" ky="200000" algn="tl" rotWithShape="0">
              <a:srgbClr val="000000">
                <a:alpha val="30000"/>
              </a:srgbClr>
            </a:outerShdw>
          </a:effectLst>
          <a:scene3d>
            <a:camera prst="perspectiveRelaxed">
              <a:rot lat="19800000" lon="1200000" rev="20820000"/>
            </a:camera>
            <a:lightRig rig="threePt" dir="t"/>
          </a:scene3d>
          <a:sp3d contourW="6350" prstMaterial="matte">
            <a:bevelT w="101600" h="101600"/>
            <a:contourClr>
              <a:srgbClr val="969696"/>
            </a:contourClr>
          </a:sp3d>
          <a:extLst>
            <a:ext uri="{909E8E84-426E-40DD-AFC4-6F175D3DCCD1}">
              <a14:hiddenFill xmlns:a14="http://schemas.microsoft.com/office/drawing/2010/main">
                <a:solidFill>
                  <a:srgbClr val="FFFFFF"/>
                </a:solidFill>
              </a14:hiddenFill>
            </a:ext>
          </a:extLst>
        </p:spPr>
      </p:pic>
      <p:sp>
        <p:nvSpPr>
          <p:cNvPr id="2" name="Google Shape;1713;p63">
            <a:extLst>
              <a:ext uri="{FF2B5EF4-FFF2-40B4-BE49-F238E27FC236}">
                <a16:creationId xmlns:a16="http://schemas.microsoft.com/office/drawing/2014/main" id="{4DE19E70-98E5-490E-8802-6C222EF03054}"/>
              </a:ext>
            </a:extLst>
          </p:cNvPr>
          <p:cNvSpPr txBox="1">
            <a:spLocks/>
          </p:cNvSpPr>
          <p:nvPr/>
        </p:nvSpPr>
        <p:spPr>
          <a:xfrm>
            <a:off x="1197185" y="2567573"/>
            <a:ext cx="40512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l-GR" b="1" kern="0" dirty="0">
                <a:solidFill>
                  <a:srgbClr val="F7743C"/>
                </a:solidFill>
                <a:latin typeface="Arial" panose="020B0604020202020204" pitchFamily="34" charset="0"/>
                <a:cs typeface="Arial" panose="020B0604020202020204" pitchFamily="34" charset="0"/>
              </a:rPr>
              <a:t>Παρόν</a:t>
            </a:r>
            <a:r>
              <a:rPr lang="en-US" b="1" kern="0" dirty="0">
                <a:solidFill>
                  <a:srgbClr val="F7743C"/>
                </a:solidFill>
                <a:latin typeface="Arial" panose="020B0604020202020204" pitchFamily="34" charset="0"/>
                <a:cs typeface="Arial" panose="020B0604020202020204" pitchFamily="34" charset="0"/>
              </a:rPr>
              <a:t> (ray trace)</a:t>
            </a:r>
            <a:endParaRPr kumimoji="0" lang="en-US" sz="35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endParaRPr>
          </a:p>
        </p:txBody>
      </p:sp>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25641" y="53606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714;p63">
            <a:extLst>
              <a:ext uri="{FF2B5EF4-FFF2-40B4-BE49-F238E27FC236}">
                <a16:creationId xmlns:a16="http://schemas.microsoft.com/office/drawing/2014/main" id="{4FBAAB35-53BE-4B40-B901-E04B3BBC19EF}"/>
              </a:ext>
            </a:extLst>
          </p:cNvPr>
          <p:cNvSpPr txBox="1">
            <a:spLocks/>
          </p:cNvSpPr>
          <p:nvPr/>
        </p:nvSpPr>
        <p:spPr>
          <a:xfrm>
            <a:off x="1197185" y="3205555"/>
            <a:ext cx="4051200" cy="9813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Το ισχυρότερο υλικό είχε ως αποτέλεσμα το </a:t>
            </a:r>
            <a:r>
              <a:rPr kumimoji="0" lang="el-GR" sz="1600" b="0" i="0" u="none" strike="noStrike" kern="0" cap="none" spc="0" normalizeH="0" baseline="0" noProof="0" dirty="0" err="1">
                <a:ln>
                  <a:noFill/>
                </a:ln>
                <a:solidFill>
                  <a:srgbClr val="FFFFFF"/>
                </a:solidFill>
                <a:effectLst/>
                <a:uLnTx/>
                <a:uFillTx/>
                <a:latin typeface="Arial" panose="020B0604020202020204" pitchFamily="34" charset="0"/>
                <a:cs typeface="Arial" panose="020B0604020202020204" pitchFamily="34" charset="0"/>
                <a:sym typeface="Sora"/>
              </a:rPr>
              <a:t>Raytracing</a:t>
            </a:r>
            <a:r>
              <a:rPr kumimoji="0" lang="el-GR"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να είναι εφικτός στόχος</a:t>
            </a:r>
            <a:endPar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sp>
        <p:nvSpPr>
          <p:cNvPr id="43" name="Google Shape;1714;p63">
            <a:extLst>
              <a:ext uri="{FF2B5EF4-FFF2-40B4-BE49-F238E27FC236}">
                <a16:creationId xmlns:a16="http://schemas.microsoft.com/office/drawing/2014/main" id="{22645D54-80A6-45AE-B71A-EF5AC067F008}"/>
              </a:ext>
            </a:extLst>
          </p:cNvPr>
          <p:cNvSpPr txBox="1">
            <a:spLocks/>
          </p:cNvSpPr>
          <p:nvPr/>
        </p:nvSpPr>
        <p:spPr>
          <a:xfrm>
            <a:off x="1197185" y="4167103"/>
            <a:ext cx="4051200" cy="9813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1600" b="0"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rPr>
              <a:t>Οι αλγόριθμοι έχουν βελτιωθεί κάνοντας δυνατή την εικονική γεωμετρία και εξαλείφοντας το γεγονός της σύνθετης απόδοσης πολυγώνων (UE5)</a:t>
            </a:r>
            <a:endParaRPr kumimoji="0" lang="en-US" sz="1600" b="0"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6" name="Google Shape;5253;p86">
            <a:extLst>
              <a:ext uri="{FF2B5EF4-FFF2-40B4-BE49-F238E27FC236}">
                <a16:creationId xmlns:a16="http://schemas.microsoft.com/office/drawing/2014/main" id="{AD9C93F9-A832-40DF-A084-7DD6C21905BE}"/>
              </a:ext>
            </a:extLst>
          </p:cNvPr>
          <p:cNvGrpSpPr/>
          <p:nvPr/>
        </p:nvGrpSpPr>
        <p:grpSpPr>
          <a:xfrm>
            <a:off x="720969" y="4167103"/>
            <a:ext cx="480412" cy="433980"/>
            <a:chOff x="1165500" y="492700"/>
            <a:chExt cx="5233250" cy="4727450"/>
          </a:xfrm>
        </p:grpSpPr>
        <p:sp>
          <p:nvSpPr>
            <p:cNvPr id="47" name="Google Shape;5254;p86">
              <a:extLst>
                <a:ext uri="{FF2B5EF4-FFF2-40B4-BE49-F238E27FC236}">
                  <a16:creationId xmlns:a16="http://schemas.microsoft.com/office/drawing/2014/main" id="{E0BB0F32-1F68-4EA2-A941-3F99DD65680A}"/>
                </a:ext>
              </a:extLst>
            </p:cNvPr>
            <p:cNvSpPr/>
            <p:nvPr/>
          </p:nvSpPr>
          <p:spPr>
            <a:xfrm>
              <a:off x="3851050" y="2687300"/>
              <a:ext cx="990775" cy="960475"/>
            </a:xfrm>
            <a:custGeom>
              <a:avLst/>
              <a:gdLst/>
              <a:ahLst/>
              <a:cxnLst/>
              <a:rect l="l" t="t" r="r" b="b"/>
              <a:pathLst>
                <a:path w="39631" h="38419" extrusionOk="0">
                  <a:moveTo>
                    <a:pt x="32912" y="1"/>
                  </a:moveTo>
                  <a:cubicBezTo>
                    <a:pt x="31347" y="1"/>
                    <a:pt x="29778" y="595"/>
                    <a:pt x="28577" y="1784"/>
                  </a:cubicBezTo>
                  <a:lnTo>
                    <a:pt x="2377" y="27984"/>
                  </a:lnTo>
                  <a:cubicBezTo>
                    <a:pt x="0" y="30361"/>
                    <a:pt x="0" y="34233"/>
                    <a:pt x="2377" y="36635"/>
                  </a:cubicBezTo>
                  <a:cubicBezTo>
                    <a:pt x="3578" y="37824"/>
                    <a:pt x="5147" y="38418"/>
                    <a:pt x="6712" y="38418"/>
                  </a:cubicBezTo>
                  <a:cubicBezTo>
                    <a:pt x="8278" y="38418"/>
                    <a:pt x="9840" y="37824"/>
                    <a:pt x="11029" y="36635"/>
                  </a:cubicBezTo>
                  <a:lnTo>
                    <a:pt x="37229" y="10435"/>
                  </a:lnTo>
                  <a:cubicBezTo>
                    <a:pt x="39631" y="8033"/>
                    <a:pt x="39631" y="4161"/>
                    <a:pt x="37229" y="1784"/>
                  </a:cubicBezTo>
                  <a:cubicBezTo>
                    <a:pt x="36040" y="595"/>
                    <a:pt x="34478" y="1"/>
                    <a:pt x="32912"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5255;p86">
              <a:extLst>
                <a:ext uri="{FF2B5EF4-FFF2-40B4-BE49-F238E27FC236}">
                  <a16:creationId xmlns:a16="http://schemas.microsoft.com/office/drawing/2014/main" id="{27F10D3C-70AB-4232-869B-6957554E1906}"/>
                </a:ext>
              </a:extLst>
            </p:cNvPr>
            <p:cNvSpPr/>
            <p:nvPr/>
          </p:nvSpPr>
          <p:spPr>
            <a:xfrm>
              <a:off x="4124925" y="2946325"/>
              <a:ext cx="2273825" cy="2273825"/>
            </a:xfrm>
            <a:custGeom>
              <a:avLst/>
              <a:gdLst/>
              <a:ahLst/>
              <a:cxnLst/>
              <a:rect l="l" t="t" r="r" b="b"/>
              <a:pathLst>
                <a:path w="90953" h="90953" extrusionOk="0">
                  <a:moveTo>
                    <a:pt x="54459" y="12231"/>
                  </a:moveTo>
                  <a:cubicBezTo>
                    <a:pt x="62130" y="12231"/>
                    <a:pt x="68355" y="18456"/>
                    <a:pt x="68355" y="26127"/>
                  </a:cubicBezTo>
                  <a:cubicBezTo>
                    <a:pt x="68355" y="33798"/>
                    <a:pt x="62130" y="40048"/>
                    <a:pt x="54459" y="40048"/>
                  </a:cubicBezTo>
                  <a:cubicBezTo>
                    <a:pt x="46788" y="40048"/>
                    <a:pt x="40538" y="33798"/>
                    <a:pt x="40538" y="26127"/>
                  </a:cubicBezTo>
                  <a:cubicBezTo>
                    <a:pt x="40538" y="18456"/>
                    <a:pt x="46788" y="12231"/>
                    <a:pt x="54459" y="12231"/>
                  </a:cubicBezTo>
                  <a:close/>
                  <a:moveTo>
                    <a:pt x="26127" y="40538"/>
                  </a:moveTo>
                  <a:cubicBezTo>
                    <a:pt x="33798" y="40538"/>
                    <a:pt x="40048" y="46788"/>
                    <a:pt x="40048" y="54459"/>
                  </a:cubicBezTo>
                  <a:cubicBezTo>
                    <a:pt x="40048" y="62106"/>
                    <a:pt x="33798" y="68356"/>
                    <a:pt x="26127" y="68356"/>
                  </a:cubicBezTo>
                  <a:cubicBezTo>
                    <a:pt x="18480" y="68356"/>
                    <a:pt x="12230" y="62106"/>
                    <a:pt x="12230" y="54459"/>
                  </a:cubicBezTo>
                  <a:cubicBezTo>
                    <a:pt x="12230" y="46788"/>
                    <a:pt x="18480" y="40538"/>
                    <a:pt x="26127" y="40538"/>
                  </a:cubicBezTo>
                  <a:close/>
                  <a:moveTo>
                    <a:pt x="64826" y="50905"/>
                  </a:moveTo>
                  <a:cubicBezTo>
                    <a:pt x="72497" y="50905"/>
                    <a:pt x="78723" y="57155"/>
                    <a:pt x="78723" y="64802"/>
                  </a:cubicBezTo>
                  <a:cubicBezTo>
                    <a:pt x="78723" y="72473"/>
                    <a:pt x="72497" y="78723"/>
                    <a:pt x="64826" y="78723"/>
                  </a:cubicBezTo>
                  <a:cubicBezTo>
                    <a:pt x="57155" y="78723"/>
                    <a:pt x="50905" y="72473"/>
                    <a:pt x="50905" y="64802"/>
                  </a:cubicBezTo>
                  <a:cubicBezTo>
                    <a:pt x="50905" y="57155"/>
                    <a:pt x="57155" y="50905"/>
                    <a:pt x="64826" y="50905"/>
                  </a:cubicBezTo>
                  <a:close/>
                  <a:moveTo>
                    <a:pt x="54459" y="1"/>
                  </a:moveTo>
                  <a:cubicBezTo>
                    <a:pt x="47253" y="1"/>
                    <a:pt x="40710" y="2942"/>
                    <a:pt x="35979" y="7672"/>
                  </a:cubicBezTo>
                  <a:lnTo>
                    <a:pt x="7672" y="35980"/>
                  </a:lnTo>
                  <a:cubicBezTo>
                    <a:pt x="2942" y="40710"/>
                    <a:pt x="1" y="47229"/>
                    <a:pt x="1" y="54459"/>
                  </a:cubicBezTo>
                  <a:cubicBezTo>
                    <a:pt x="1" y="68870"/>
                    <a:pt x="11716" y="80586"/>
                    <a:pt x="26127" y="80586"/>
                  </a:cubicBezTo>
                  <a:cubicBezTo>
                    <a:pt x="31715" y="80586"/>
                    <a:pt x="36886" y="78821"/>
                    <a:pt x="41126" y="75831"/>
                  </a:cubicBezTo>
                  <a:cubicBezTo>
                    <a:pt x="45293" y="84752"/>
                    <a:pt x="54336" y="90953"/>
                    <a:pt x="64826" y="90953"/>
                  </a:cubicBezTo>
                  <a:cubicBezTo>
                    <a:pt x="79237" y="90953"/>
                    <a:pt x="90953" y="79213"/>
                    <a:pt x="90953" y="64802"/>
                  </a:cubicBezTo>
                  <a:cubicBezTo>
                    <a:pt x="90953" y="54337"/>
                    <a:pt x="84752" y="45293"/>
                    <a:pt x="75855" y="41126"/>
                  </a:cubicBezTo>
                  <a:cubicBezTo>
                    <a:pt x="78845" y="36886"/>
                    <a:pt x="80585" y="31715"/>
                    <a:pt x="80585" y="26127"/>
                  </a:cubicBezTo>
                  <a:cubicBezTo>
                    <a:pt x="80585" y="11716"/>
                    <a:pt x="68870" y="1"/>
                    <a:pt x="5445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56;p86">
              <a:extLst>
                <a:ext uri="{FF2B5EF4-FFF2-40B4-BE49-F238E27FC236}">
                  <a16:creationId xmlns:a16="http://schemas.microsoft.com/office/drawing/2014/main" id="{D877CD23-2C03-4749-9FE2-7F8E5FFB7C02}"/>
                </a:ext>
              </a:extLst>
            </p:cNvPr>
            <p:cNvSpPr/>
            <p:nvPr/>
          </p:nvSpPr>
          <p:spPr>
            <a:xfrm>
              <a:off x="1165500" y="1189675"/>
              <a:ext cx="1425200" cy="1246600"/>
            </a:xfrm>
            <a:custGeom>
              <a:avLst/>
              <a:gdLst/>
              <a:ahLst/>
              <a:cxnLst/>
              <a:rect l="l" t="t" r="r" b="b"/>
              <a:pathLst>
                <a:path w="57008" h="49864" extrusionOk="0">
                  <a:moveTo>
                    <a:pt x="22156" y="0"/>
                  </a:moveTo>
                  <a:lnTo>
                    <a:pt x="2377" y="19779"/>
                  </a:lnTo>
                  <a:cubicBezTo>
                    <a:pt x="0" y="22156"/>
                    <a:pt x="0" y="26028"/>
                    <a:pt x="2377" y="28430"/>
                  </a:cubicBezTo>
                  <a:cubicBezTo>
                    <a:pt x="3578" y="29619"/>
                    <a:pt x="5147" y="30213"/>
                    <a:pt x="6712" y="30213"/>
                  </a:cubicBezTo>
                  <a:cubicBezTo>
                    <a:pt x="8278" y="30213"/>
                    <a:pt x="9840" y="29619"/>
                    <a:pt x="11029" y="28430"/>
                  </a:cubicBezTo>
                  <a:lnTo>
                    <a:pt x="19803" y="19632"/>
                  </a:lnTo>
                  <a:lnTo>
                    <a:pt x="37376" y="37204"/>
                  </a:lnTo>
                  <a:lnTo>
                    <a:pt x="35146" y="39410"/>
                  </a:lnTo>
                  <a:cubicBezTo>
                    <a:pt x="32744" y="41812"/>
                    <a:pt x="32744" y="45684"/>
                    <a:pt x="35146" y="48062"/>
                  </a:cubicBezTo>
                  <a:cubicBezTo>
                    <a:pt x="36334" y="49263"/>
                    <a:pt x="37897" y="49863"/>
                    <a:pt x="39462" y="49863"/>
                  </a:cubicBezTo>
                  <a:cubicBezTo>
                    <a:pt x="41028" y="49863"/>
                    <a:pt x="42596" y="49263"/>
                    <a:pt x="43797" y="48062"/>
                  </a:cubicBezTo>
                  <a:lnTo>
                    <a:pt x="57008" y="34852"/>
                  </a:lnTo>
                  <a:lnTo>
                    <a:pt x="2215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57;p86">
              <a:extLst>
                <a:ext uri="{FF2B5EF4-FFF2-40B4-BE49-F238E27FC236}">
                  <a16:creationId xmlns:a16="http://schemas.microsoft.com/office/drawing/2014/main" id="{1C900D3A-86E5-4F37-927B-1AF99DDFB430}"/>
                </a:ext>
              </a:extLst>
            </p:cNvPr>
            <p:cNvSpPr/>
            <p:nvPr/>
          </p:nvSpPr>
          <p:spPr>
            <a:xfrm>
              <a:off x="1656900" y="492700"/>
              <a:ext cx="2472950" cy="2458550"/>
            </a:xfrm>
            <a:custGeom>
              <a:avLst/>
              <a:gdLst/>
              <a:ahLst/>
              <a:cxnLst/>
              <a:rect l="l" t="t" r="r" b="b"/>
              <a:pathLst>
                <a:path w="98918" h="98342" extrusionOk="0">
                  <a:moveTo>
                    <a:pt x="6713" y="0"/>
                  </a:moveTo>
                  <a:cubicBezTo>
                    <a:pt x="5147" y="0"/>
                    <a:pt x="3578" y="601"/>
                    <a:pt x="2378" y="1802"/>
                  </a:cubicBezTo>
                  <a:cubicBezTo>
                    <a:pt x="0" y="4179"/>
                    <a:pt x="0" y="8052"/>
                    <a:pt x="2378" y="10453"/>
                  </a:cubicBezTo>
                  <a:lnTo>
                    <a:pt x="90290" y="98342"/>
                  </a:lnTo>
                  <a:lnTo>
                    <a:pt x="98918" y="89690"/>
                  </a:lnTo>
                  <a:lnTo>
                    <a:pt x="11029" y="1802"/>
                  </a:lnTo>
                  <a:cubicBezTo>
                    <a:pt x="9840" y="601"/>
                    <a:pt x="8278" y="0"/>
                    <a:pt x="6713"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34423490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713;p63">
            <a:extLst>
              <a:ext uri="{FF2B5EF4-FFF2-40B4-BE49-F238E27FC236}">
                <a16:creationId xmlns:a16="http://schemas.microsoft.com/office/drawing/2014/main" id="{4DE19E70-98E5-490E-8802-6C222EF03054}"/>
              </a:ext>
            </a:extLst>
          </p:cNvPr>
          <p:cNvSpPr txBox="1">
            <a:spLocks/>
          </p:cNvSpPr>
          <p:nvPr/>
        </p:nvSpPr>
        <p:spPr>
          <a:xfrm>
            <a:off x="5217081" y="878662"/>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l-GR" b="1" kern="0" dirty="0">
                <a:solidFill>
                  <a:srgbClr val="F7743C"/>
                </a:solidFill>
                <a:latin typeface="Arial" panose="020B0604020202020204" pitchFamily="34" charset="0"/>
                <a:cs typeface="Arial" panose="020B0604020202020204" pitchFamily="34" charset="0"/>
              </a:rPr>
              <a:t>Επιλέχτηκε ή</a:t>
            </a:r>
            <a:endParaRPr kumimoji="0" lang="en-US" sz="35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endParaRPr>
          </a:p>
        </p:txBody>
      </p:sp>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25641" y="53606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714;p63">
            <a:extLst>
              <a:ext uri="{FF2B5EF4-FFF2-40B4-BE49-F238E27FC236}">
                <a16:creationId xmlns:a16="http://schemas.microsoft.com/office/drawing/2014/main" id="{CDCE8F03-2942-4DAD-B7D2-72AFD430B9FD}"/>
              </a:ext>
            </a:extLst>
          </p:cNvPr>
          <p:cNvSpPr txBox="1">
            <a:spLocks/>
          </p:cNvSpPr>
          <p:nvPr/>
        </p:nvSpPr>
        <p:spPr>
          <a:xfrm>
            <a:off x="7689247" y="2735520"/>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l-GR" sz="1600" kern="0" dirty="0">
                <a:solidFill>
                  <a:srgbClr val="D5FA68"/>
                </a:solidFill>
                <a:latin typeface="Arial" panose="020B0604020202020204" pitchFamily="34" charset="0"/>
                <a:cs typeface="Arial" panose="020B0604020202020204" pitchFamily="34" charset="0"/>
              </a:rPr>
              <a:t>Αντί να παλεύουν πολλές Μηχανές Παιχνιδιού στην αγορά, γιατί να μην έχουμε 1 κύρια μηχανή και να συνεισφέρουμε σε αυτό παγκοσμίως για να κάνουμε το όνειρο του αύριο δυνατό;</a:t>
            </a:r>
            <a:endParaRPr kumimoji="0" lang="en-US" sz="1600" b="0"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endParaRPr>
          </a:p>
        </p:txBody>
      </p:sp>
      <p:grpSp>
        <p:nvGrpSpPr>
          <p:cNvPr id="47" name="Google Shape;5291;p86">
            <a:extLst>
              <a:ext uri="{FF2B5EF4-FFF2-40B4-BE49-F238E27FC236}">
                <a16:creationId xmlns:a16="http://schemas.microsoft.com/office/drawing/2014/main" id="{53A9D2E9-293B-405D-8D9F-010D48FBB667}"/>
              </a:ext>
            </a:extLst>
          </p:cNvPr>
          <p:cNvGrpSpPr/>
          <p:nvPr/>
        </p:nvGrpSpPr>
        <p:grpSpPr>
          <a:xfrm>
            <a:off x="9234884" y="2194305"/>
            <a:ext cx="479963" cy="479963"/>
            <a:chOff x="1190625" y="238125"/>
            <a:chExt cx="5228350" cy="5228350"/>
          </a:xfrm>
        </p:grpSpPr>
        <p:sp>
          <p:nvSpPr>
            <p:cNvPr id="48" name="Google Shape;5292;p86">
              <a:extLst>
                <a:ext uri="{FF2B5EF4-FFF2-40B4-BE49-F238E27FC236}">
                  <a16:creationId xmlns:a16="http://schemas.microsoft.com/office/drawing/2014/main" id="{71BE03AB-C814-42EE-9D90-4BD49FCE9072}"/>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93;p86">
              <a:extLst>
                <a:ext uri="{FF2B5EF4-FFF2-40B4-BE49-F238E27FC236}">
                  <a16:creationId xmlns:a16="http://schemas.microsoft.com/office/drawing/2014/main" id="{27B37AE1-54CD-4045-942C-2B07F5FFAB0D}"/>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94;p86">
              <a:extLst>
                <a:ext uri="{FF2B5EF4-FFF2-40B4-BE49-F238E27FC236}">
                  <a16:creationId xmlns:a16="http://schemas.microsoft.com/office/drawing/2014/main" id="{325693D7-E15E-4ED9-BA91-D54A7488837F}"/>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95;p86">
              <a:extLst>
                <a:ext uri="{FF2B5EF4-FFF2-40B4-BE49-F238E27FC236}">
                  <a16:creationId xmlns:a16="http://schemas.microsoft.com/office/drawing/2014/main" id="{57AE1B19-2B00-47DE-BDD0-B600F8DA317B}"/>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96;p86">
              <a:extLst>
                <a:ext uri="{FF2B5EF4-FFF2-40B4-BE49-F238E27FC236}">
                  <a16:creationId xmlns:a16="http://schemas.microsoft.com/office/drawing/2014/main" id="{1A9AFFDA-E927-45CD-8A24-7BFFF014669B}"/>
                </a:ext>
              </a:extLst>
            </p:cNvPr>
            <p:cNvSpPr/>
            <p:nvPr/>
          </p:nvSpPr>
          <p:spPr>
            <a:xfrm>
              <a:off x="2891525" y="2841550"/>
              <a:ext cx="1827150" cy="1979725"/>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5297;p86">
              <a:extLst>
                <a:ext uri="{FF2B5EF4-FFF2-40B4-BE49-F238E27FC236}">
                  <a16:creationId xmlns:a16="http://schemas.microsoft.com/office/drawing/2014/main" id="{E90215A5-2072-43BA-8F05-C6B801FBB0BF}"/>
                </a:ext>
              </a:extLst>
            </p:cNvPr>
            <p:cNvSpPr/>
            <p:nvPr/>
          </p:nvSpPr>
          <p:spPr>
            <a:xfrm>
              <a:off x="4271375" y="2841550"/>
              <a:ext cx="1569800"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5298;p86">
              <a:extLst>
                <a:ext uri="{FF2B5EF4-FFF2-40B4-BE49-F238E27FC236}">
                  <a16:creationId xmlns:a16="http://schemas.microsoft.com/office/drawing/2014/main" id="{2A0292F1-A1D6-49EE-ADAC-0170C14E67DD}"/>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299;p86">
              <a:extLst>
                <a:ext uri="{FF2B5EF4-FFF2-40B4-BE49-F238E27FC236}">
                  <a16:creationId xmlns:a16="http://schemas.microsoft.com/office/drawing/2014/main" id="{EA8F3B83-D7E9-4992-8DA6-AAA692EC7994}"/>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300;p86">
              <a:extLst>
                <a:ext uri="{FF2B5EF4-FFF2-40B4-BE49-F238E27FC236}">
                  <a16:creationId xmlns:a16="http://schemas.microsoft.com/office/drawing/2014/main" id="{4B925806-6FFF-4CA2-9B41-870405DC739F}"/>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5301;p86">
              <a:extLst>
                <a:ext uri="{FF2B5EF4-FFF2-40B4-BE49-F238E27FC236}">
                  <a16:creationId xmlns:a16="http://schemas.microsoft.com/office/drawing/2014/main" id="{B46234A3-BB5A-4A57-AC43-843191638DE5}"/>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8" name="Google Shape;1714;p63">
            <a:extLst>
              <a:ext uri="{FF2B5EF4-FFF2-40B4-BE49-F238E27FC236}">
                <a16:creationId xmlns:a16="http://schemas.microsoft.com/office/drawing/2014/main" id="{3C402B98-AFD6-4C0C-AEEE-39CCCB76049C}"/>
              </a:ext>
            </a:extLst>
          </p:cNvPr>
          <p:cNvSpPr txBox="1">
            <a:spLocks/>
          </p:cNvSpPr>
          <p:nvPr/>
        </p:nvSpPr>
        <p:spPr>
          <a:xfrm>
            <a:off x="8140800" y="3897669"/>
            <a:ext cx="4051200" cy="9813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Αυτό στην πραγματικότητα συμβαίνει ήδη</a:t>
            </a:r>
            <a:endPar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pic>
        <p:nvPicPr>
          <p:cNvPr id="60" name="Picture 4" descr="Unreal Engine Branding Guidelines and Trademark Usage - Unreal Engine">
            <a:extLst>
              <a:ext uri="{FF2B5EF4-FFF2-40B4-BE49-F238E27FC236}">
                <a16:creationId xmlns:a16="http://schemas.microsoft.com/office/drawing/2014/main" id="{94DF2E51-EBB1-41F7-BB9E-0C7CF7BF1C54}"/>
              </a:ext>
            </a:extLst>
          </p:cNvPr>
          <p:cNvPicPr>
            <a:picLocks noChangeAspect="1" noChangeArrowheads="1"/>
          </p:cNvPicPr>
          <p:nvPr/>
        </p:nvPicPr>
        <p:blipFill>
          <a:blip r:embed="rId3">
            <a:alphaModFix/>
            <a:extLst>
              <a:ext uri="{28A0092B-C50C-407E-A947-70E740481C1C}">
                <a14:useLocalDpi xmlns:a14="http://schemas.microsoft.com/office/drawing/2010/main" val="0"/>
              </a:ext>
            </a:extLst>
          </a:blip>
          <a:srcRect/>
          <a:stretch>
            <a:fillRect/>
          </a:stretch>
        </p:blipFill>
        <p:spPr bwMode="auto">
          <a:xfrm>
            <a:off x="3930481" y="2091721"/>
            <a:ext cx="4163552" cy="33517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319433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65" name="Picture 4" descr="Unreal Engine Branding Guidelines and Trademark Usage - Unreal Engine">
            <a:extLst>
              <a:ext uri="{FF2B5EF4-FFF2-40B4-BE49-F238E27FC236}">
                <a16:creationId xmlns:a16="http://schemas.microsoft.com/office/drawing/2014/main" id="{9C760690-BCD1-419B-8330-6E189D850091}"/>
              </a:ext>
            </a:extLst>
          </p:cNvPr>
          <p:cNvPicPr>
            <a:picLocks noChangeAspect="1" noChangeArrowheads="1"/>
          </p:cNvPicPr>
          <p:nvPr/>
        </p:nvPicPr>
        <p:blipFill>
          <a:blip r:embed="rId3">
            <a:alphaModFix amt="20000"/>
            <a:extLst>
              <a:ext uri="{28A0092B-C50C-407E-A947-70E740481C1C}">
                <a14:useLocalDpi xmlns:a14="http://schemas.microsoft.com/office/drawing/2010/main" val="0"/>
              </a:ext>
            </a:extLst>
          </a:blip>
          <a:srcRect/>
          <a:stretch>
            <a:fillRect/>
          </a:stretch>
        </p:blipFill>
        <p:spPr bwMode="auto">
          <a:xfrm>
            <a:off x="3930481" y="2091721"/>
            <a:ext cx="4163552" cy="3351751"/>
          </a:xfrm>
          <a:prstGeom prst="rect">
            <a:avLst/>
          </a:prstGeom>
          <a:noFill/>
          <a:extLst>
            <a:ext uri="{909E8E84-426E-40DD-AFC4-6F175D3DCCD1}">
              <a14:hiddenFill xmlns:a14="http://schemas.microsoft.com/office/drawing/2010/main">
                <a:solidFill>
                  <a:srgbClr val="FFFFFF"/>
                </a:solidFill>
              </a14:hiddenFill>
            </a:ext>
          </a:extLst>
        </p:spPr>
      </p:pic>
      <p:grpSp>
        <p:nvGrpSpPr>
          <p:cNvPr id="72" name="Group 71">
            <a:extLst>
              <a:ext uri="{FF2B5EF4-FFF2-40B4-BE49-F238E27FC236}">
                <a16:creationId xmlns:a16="http://schemas.microsoft.com/office/drawing/2014/main" id="{B9C54B32-05B1-4F9C-BA4F-7D27BC38A248}"/>
              </a:ext>
            </a:extLst>
          </p:cNvPr>
          <p:cNvGrpSpPr/>
          <p:nvPr/>
        </p:nvGrpSpPr>
        <p:grpSpPr>
          <a:xfrm>
            <a:off x="2414006" y="2520282"/>
            <a:ext cx="8114293" cy="3382062"/>
            <a:chOff x="2493903" y="2380319"/>
            <a:chExt cx="8114293" cy="3382062"/>
          </a:xfrm>
        </p:grpSpPr>
        <p:sp>
          <p:nvSpPr>
            <p:cNvPr id="62" name="Google Shape;5593;p92">
              <a:extLst>
                <a:ext uri="{FF2B5EF4-FFF2-40B4-BE49-F238E27FC236}">
                  <a16:creationId xmlns:a16="http://schemas.microsoft.com/office/drawing/2014/main" id="{C35164A5-1C4A-431F-B6B3-73B1A7F2167C}"/>
                </a:ext>
              </a:extLst>
            </p:cNvPr>
            <p:cNvSpPr/>
            <p:nvPr/>
          </p:nvSpPr>
          <p:spPr>
            <a:xfrm>
              <a:off x="2495921" y="262861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5593;p92">
              <a:extLst>
                <a:ext uri="{FF2B5EF4-FFF2-40B4-BE49-F238E27FC236}">
                  <a16:creationId xmlns:a16="http://schemas.microsoft.com/office/drawing/2014/main" id="{ED3E2045-A3A8-4490-9DF8-F05AC2070F75}"/>
                </a:ext>
              </a:extLst>
            </p:cNvPr>
            <p:cNvSpPr/>
            <p:nvPr/>
          </p:nvSpPr>
          <p:spPr>
            <a:xfrm>
              <a:off x="2495921" y="338994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5593;p92">
              <a:extLst>
                <a:ext uri="{FF2B5EF4-FFF2-40B4-BE49-F238E27FC236}">
                  <a16:creationId xmlns:a16="http://schemas.microsoft.com/office/drawing/2014/main" id="{6180D21E-D7DB-442D-AECC-342308BC4111}"/>
                </a:ext>
              </a:extLst>
            </p:cNvPr>
            <p:cNvSpPr/>
            <p:nvPr/>
          </p:nvSpPr>
          <p:spPr>
            <a:xfrm>
              <a:off x="2495921" y="388395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5593;p92">
              <a:extLst>
                <a:ext uri="{FF2B5EF4-FFF2-40B4-BE49-F238E27FC236}">
                  <a16:creationId xmlns:a16="http://schemas.microsoft.com/office/drawing/2014/main" id="{79C5531D-EAF4-4CD9-AB52-984D36EBE44B}"/>
                </a:ext>
              </a:extLst>
            </p:cNvPr>
            <p:cNvSpPr/>
            <p:nvPr/>
          </p:nvSpPr>
          <p:spPr>
            <a:xfrm>
              <a:off x="2493903" y="5336110"/>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9" name="Google Shape;5593;p92">
              <a:extLst>
                <a:ext uri="{FF2B5EF4-FFF2-40B4-BE49-F238E27FC236}">
                  <a16:creationId xmlns:a16="http://schemas.microsoft.com/office/drawing/2014/main" id="{3B5F5359-C4E4-4829-80F3-087283B8C37E}"/>
                </a:ext>
              </a:extLst>
            </p:cNvPr>
            <p:cNvSpPr/>
            <p:nvPr/>
          </p:nvSpPr>
          <p:spPr>
            <a:xfrm>
              <a:off x="2495921" y="4370327"/>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6" name="Google Shape;1714;p63">
              <a:extLst>
                <a:ext uri="{FF2B5EF4-FFF2-40B4-BE49-F238E27FC236}">
                  <a16:creationId xmlns:a16="http://schemas.microsoft.com/office/drawing/2014/main" id="{CDCE8F03-2942-4DAD-B7D2-72AFD430B9FD}"/>
                </a:ext>
              </a:extLst>
            </p:cNvPr>
            <p:cNvSpPr txBox="1">
              <a:spLocks/>
            </p:cNvSpPr>
            <p:nvPr/>
          </p:nvSpPr>
          <p:spPr>
            <a:xfrm>
              <a:off x="2738980" y="3167943"/>
              <a:ext cx="5583944"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2000" b="1" kern="0" dirty="0">
                  <a:solidFill>
                    <a:srgbClr val="D5FA68"/>
                  </a:solidFill>
                </a:rPr>
                <a:t>Believable Physics System out of the box</a:t>
              </a:r>
              <a:endParaRPr kumimoji="0" lang="en-US" sz="2000" b="1" i="0" u="none" strike="noStrike" kern="0" cap="none" spc="0" normalizeH="0" baseline="0" noProof="0" dirty="0">
                <a:ln>
                  <a:noFill/>
                </a:ln>
                <a:solidFill>
                  <a:srgbClr val="D5FA68"/>
                </a:solidFill>
                <a:effectLst/>
                <a:uLnTx/>
                <a:uFillTx/>
                <a:latin typeface="Sora"/>
                <a:cs typeface="Sora"/>
                <a:sym typeface="Sora"/>
              </a:endParaRPr>
            </a:p>
          </p:txBody>
        </p:sp>
        <p:sp>
          <p:nvSpPr>
            <p:cNvPr id="58" name="Google Shape;1714;p63">
              <a:extLst>
                <a:ext uri="{FF2B5EF4-FFF2-40B4-BE49-F238E27FC236}">
                  <a16:creationId xmlns:a16="http://schemas.microsoft.com/office/drawing/2014/main" id="{3C402B98-AFD6-4C0C-AEEE-39CCCB76049C}"/>
                </a:ext>
              </a:extLst>
            </p:cNvPr>
            <p:cNvSpPr txBox="1">
              <a:spLocks/>
            </p:cNvSpPr>
            <p:nvPr/>
          </p:nvSpPr>
          <p:spPr>
            <a:xfrm>
              <a:off x="2715236" y="2380319"/>
              <a:ext cx="7127433" cy="985919"/>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2000" b="1" kern="0" dirty="0">
                  <a:solidFill>
                    <a:srgbClr val="FFFFFF"/>
                  </a:solidFill>
                </a:rPr>
                <a:t>Complex Scene Real-time Graphics/Shaders Rendering for Global illumination and Reflections</a:t>
              </a:r>
              <a:endParaRPr kumimoji="0" lang="en-US" sz="2000" b="1" i="0" u="none" strike="noStrike" kern="0" cap="none" spc="0" normalizeH="0" baseline="0" noProof="0" dirty="0">
                <a:ln>
                  <a:noFill/>
                </a:ln>
                <a:solidFill>
                  <a:srgbClr val="FFFFFF"/>
                </a:solidFill>
                <a:effectLst/>
                <a:uLnTx/>
                <a:uFillTx/>
                <a:latin typeface="Sora"/>
                <a:cs typeface="Sora"/>
                <a:sym typeface="Sora"/>
              </a:endParaRPr>
            </a:p>
          </p:txBody>
        </p:sp>
        <p:sp>
          <p:nvSpPr>
            <p:cNvPr id="61" name="Google Shape;1714;p63">
              <a:extLst>
                <a:ext uri="{FF2B5EF4-FFF2-40B4-BE49-F238E27FC236}">
                  <a16:creationId xmlns:a16="http://schemas.microsoft.com/office/drawing/2014/main" id="{8C93DC3C-B7BA-48E6-86EA-CBEBD775B6BD}"/>
                </a:ext>
              </a:extLst>
            </p:cNvPr>
            <p:cNvSpPr txBox="1">
              <a:spLocks/>
            </p:cNvSpPr>
            <p:nvPr/>
          </p:nvSpPr>
          <p:spPr>
            <a:xfrm>
              <a:off x="2736963" y="3639709"/>
              <a:ext cx="7477534" cy="707376"/>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2000" b="1" kern="0" dirty="0">
                  <a:solidFill>
                    <a:srgbClr val="FFFFFF"/>
                  </a:solidFill>
                </a:rPr>
                <a:t>Easier Workflow and collaboration for same asset edit</a:t>
              </a:r>
              <a:endParaRPr kumimoji="0" lang="en-US" sz="2000" b="1" i="0" u="none" strike="noStrike" kern="0" cap="none" spc="0" normalizeH="0" baseline="0" noProof="0" dirty="0">
                <a:ln>
                  <a:noFill/>
                </a:ln>
                <a:solidFill>
                  <a:srgbClr val="FFFFFF"/>
                </a:solidFill>
                <a:effectLst/>
                <a:uLnTx/>
                <a:uFillTx/>
                <a:latin typeface="Sora"/>
                <a:cs typeface="Sora"/>
                <a:sym typeface="Sora"/>
              </a:endParaRPr>
            </a:p>
          </p:txBody>
        </p:sp>
        <p:sp>
          <p:nvSpPr>
            <p:cNvPr id="66" name="Google Shape;1714;p63">
              <a:extLst>
                <a:ext uri="{FF2B5EF4-FFF2-40B4-BE49-F238E27FC236}">
                  <a16:creationId xmlns:a16="http://schemas.microsoft.com/office/drawing/2014/main" id="{5C9B9736-AB5C-4324-977E-96750ACBF70B}"/>
                </a:ext>
              </a:extLst>
            </p:cNvPr>
            <p:cNvSpPr txBox="1">
              <a:spLocks/>
            </p:cNvSpPr>
            <p:nvPr/>
          </p:nvSpPr>
          <p:spPr>
            <a:xfrm>
              <a:off x="2709851" y="5092320"/>
              <a:ext cx="7898345"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2000" b="1" kern="0" dirty="0">
                  <a:solidFill>
                    <a:srgbClr val="D5FA68"/>
                  </a:solidFill>
                </a:rPr>
                <a:t>Large Ecosystem of Support, Ideas, Assets &amp; collaboration</a:t>
              </a:r>
              <a:endParaRPr kumimoji="0" lang="en-US" sz="2000" b="1" i="0" u="none" strike="noStrike" kern="0" cap="none" spc="0" normalizeH="0" baseline="0" noProof="0" dirty="0">
                <a:ln>
                  <a:noFill/>
                </a:ln>
                <a:solidFill>
                  <a:srgbClr val="D5FA68"/>
                </a:solidFill>
                <a:effectLst/>
                <a:uLnTx/>
                <a:uFillTx/>
                <a:latin typeface="Sora"/>
                <a:cs typeface="Sora"/>
                <a:sym typeface="Sora"/>
              </a:endParaRPr>
            </a:p>
          </p:txBody>
        </p:sp>
        <p:sp>
          <p:nvSpPr>
            <p:cNvPr id="68" name="Google Shape;1714;p63">
              <a:extLst>
                <a:ext uri="{FF2B5EF4-FFF2-40B4-BE49-F238E27FC236}">
                  <a16:creationId xmlns:a16="http://schemas.microsoft.com/office/drawing/2014/main" id="{D03BAD38-A361-4302-804B-DA8EADAB94EB}"/>
                </a:ext>
              </a:extLst>
            </p:cNvPr>
            <p:cNvSpPr txBox="1">
              <a:spLocks/>
            </p:cNvSpPr>
            <p:nvPr/>
          </p:nvSpPr>
          <p:spPr>
            <a:xfrm>
              <a:off x="2720619" y="4148790"/>
              <a:ext cx="6020677"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indent="0" defTabSz="914400">
                <a:buClr>
                  <a:srgbClr val="000000"/>
                </a:buClr>
                <a:buSzPts val="1100"/>
                <a:defRPr/>
              </a:pPr>
              <a:r>
                <a:rPr lang="en-US" sz="2000" b="1" kern="0" dirty="0">
                  <a:solidFill>
                    <a:srgbClr val="D5FA68"/>
                  </a:solidFill>
                </a:rPr>
                <a:t>Animation Support </a:t>
              </a:r>
              <a:r>
                <a:rPr lang="en-US" sz="2000" b="1" kern="0" dirty="0">
                  <a:solidFill>
                    <a:srgbClr val="448B91"/>
                  </a:solidFill>
                </a:rPr>
                <a:t>&amp;</a:t>
              </a:r>
              <a:r>
                <a:rPr lang="en-US" sz="2000" b="1" kern="0" dirty="0">
                  <a:solidFill>
                    <a:srgbClr val="D5FA68"/>
                  </a:solidFill>
                </a:rPr>
                <a:t> </a:t>
              </a:r>
              <a:r>
                <a:rPr kumimoji="0" lang="en-US" sz="2000" b="1" i="0" u="none" strike="noStrike" kern="0" cap="none" spc="0" normalizeH="0" baseline="0" noProof="0" dirty="0">
                  <a:ln>
                    <a:noFill/>
                  </a:ln>
                  <a:solidFill>
                    <a:schemeClr val="tx1"/>
                  </a:solidFill>
                  <a:effectLst/>
                  <a:uLnTx/>
                  <a:uFillTx/>
                  <a:latin typeface="Sora"/>
                  <a:cs typeface="Sora"/>
                  <a:sym typeface="Sora"/>
                </a:rPr>
                <a:t>Character Modeling</a:t>
              </a:r>
            </a:p>
          </p:txBody>
        </p:sp>
        <p:sp>
          <p:nvSpPr>
            <p:cNvPr id="70" name="Google Shape;1714;p63">
              <a:extLst>
                <a:ext uri="{FF2B5EF4-FFF2-40B4-BE49-F238E27FC236}">
                  <a16:creationId xmlns:a16="http://schemas.microsoft.com/office/drawing/2014/main" id="{0222DF66-B5FD-4B9D-9762-C84DCCF877AF}"/>
                </a:ext>
              </a:extLst>
            </p:cNvPr>
            <p:cNvSpPr txBox="1">
              <a:spLocks/>
            </p:cNvSpPr>
            <p:nvPr/>
          </p:nvSpPr>
          <p:spPr>
            <a:xfrm>
              <a:off x="2715236" y="4620556"/>
              <a:ext cx="5583944"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2000" b="1" i="0" u="none" strike="noStrike" kern="0" cap="none" spc="0" normalizeH="0" baseline="0" noProof="0" dirty="0">
                  <a:ln>
                    <a:noFill/>
                  </a:ln>
                  <a:solidFill>
                    <a:schemeClr val="tx1"/>
                  </a:solidFill>
                  <a:effectLst/>
                  <a:uLnTx/>
                  <a:uFillTx/>
                  <a:latin typeface="Sora"/>
                  <a:cs typeface="Sora"/>
                  <a:sym typeface="Sora"/>
                </a:rPr>
                <a:t>Visual Effects (VFX Niagara System)</a:t>
              </a:r>
            </a:p>
          </p:txBody>
        </p:sp>
        <p:sp>
          <p:nvSpPr>
            <p:cNvPr id="71" name="Google Shape;5593;p92">
              <a:extLst>
                <a:ext uri="{FF2B5EF4-FFF2-40B4-BE49-F238E27FC236}">
                  <a16:creationId xmlns:a16="http://schemas.microsoft.com/office/drawing/2014/main" id="{DD97017D-EB07-4B03-AB24-A1864CB48A73}"/>
                </a:ext>
              </a:extLst>
            </p:cNvPr>
            <p:cNvSpPr/>
            <p:nvPr/>
          </p:nvSpPr>
          <p:spPr>
            <a:xfrm>
              <a:off x="2493904" y="4842093"/>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5FA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sp>
        <p:nvSpPr>
          <p:cNvPr id="2" name="Google Shape;1713;p63">
            <a:extLst>
              <a:ext uri="{FF2B5EF4-FFF2-40B4-BE49-F238E27FC236}">
                <a16:creationId xmlns:a16="http://schemas.microsoft.com/office/drawing/2014/main" id="{4DE19E70-98E5-490E-8802-6C222EF03054}"/>
              </a:ext>
            </a:extLst>
          </p:cNvPr>
          <p:cNvSpPr txBox="1">
            <a:spLocks/>
          </p:cNvSpPr>
          <p:nvPr/>
        </p:nvSpPr>
        <p:spPr>
          <a:xfrm>
            <a:off x="3380057" y="981359"/>
            <a:ext cx="5431887"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n-US" b="1" kern="0" dirty="0">
                <a:solidFill>
                  <a:srgbClr val="F7743C"/>
                </a:solidFill>
                <a:effectLst>
                  <a:outerShdw blurRad="38100" dist="38100" dir="2700000" algn="tl">
                    <a:srgbClr val="000000">
                      <a:alpha val="43137"/>
                    </a:srgbClr>
                  </a:outerShdw>
                </a:effectLst>
              </a:rPr>
              <a:t>WHAT HAS BEEN ACHIEVED</a:t>
            </a:r>
            <a:endParaRPr kumimoji="0" lang="en-US" sz="3500" b="1" i="0" u="none" strike="noStrike" kern="0" cap="none" spc="0" normalizeH="0" baseline="0" noProof="0" dirty="0">
              <a:ln>
                <a:noFill/>
              </a:ln>
              <a:solidFill>
                <a:srgbClr val="F7743C"/>
              </a:solidFill>
              <a:effectLst>
                <a:outerShdw blurRad="38100" dist="38100" dir="2700000" algn="tl">
                  <a:srgbClr val="000000">
                    <a:alpha val="43137"/>
                  </a:srgbClr>
                </a:outerShdw>
              </a:effectLst>
              <a:uLnTx/>
              <a:uFillTx/>
              <a:latin typeface="Saira SemiCondensed ExtraBold"/>
              <a:sym typeface="Saira SemiCondensed ExtraBold"/>
            </a:endParaRPr>
          </a:p>
        </p:txBody>
      </p:sp>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77031" y="522049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7" name="Google Shape;5291;p86">
            <a:extLst>
              <a:ext uri="{FF2B5EF4-FFF2-40B4-BE49-F238E27FC236}">
                <a16:creationId xmlns:a16="http://schemas.microsoft.com/office/drawing/2014/main" id="{53A9D2E9-293B-405D-8D9F-010D48FBB667}"/>
              </a:ext>
            </a:extLst>
          </p:cNvPr>
          <p:cNvGrpSpPr/>
          <p:nvPr/>
        </p:nvGrpSpPr>
        <p:grpSpPr>
          <a:xfrm>
            <a:off x="5747276" y="1516545"/>
            <a:ext cx="479963" cy="479963"/>
            <a:chOff x="1190625" y="238125"/>
            <a:chExt cx="5228350" cy="5228350"/>
          </a:xfrm>
        </p:grpSpPr>
        <p:sp>
          <p:nvSpPr>
            <p:cNvPr id="48" name="Google Shape;5292;p86">
              <a:extLst>
                <a:ext uri="{FF2B5EF4-FFF2-40B4-BE49-F238E27FC236}">
                  <a16:creationId xmlns:a16="http://schemas.microsoft.com/office/drawing/2014/main" id="{71BE03AB-C814-42EE-9D90-4BD49FCE9072}"/>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93;p86">
              <a:extLst>
                <a:ext uri="{FF2B5EF4-FFF2-40B4-BE49-F238E27FC236}">
                  <a16:creationId xmlns:a16="http://schemas.microsoft.com/office/drawing/2014/main" id="{27B37AE1-54CD-4045-942C-2B07F5FFAB0D}"/>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94;p86">
              <a:extLst>
                <a:ext uri="{FF2B5EF4-FFF2-40B4-BE49-F238E27FC236}">
                  <a16:creationId xmlns:a16="http://schemas.microsoft.com/office/drawing/2014/main" id="{325693D7-E15E-4ED9-BA91-D54A7488837F}"/>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95;p86">
              <a:extLst>
                <a:ext uri="{FF2B5EF4-FFF2-40B4-BE49-F238E27FC236}">
                  <a16:creationId xmlns:a16="http://schemas.microsoft.com/office/drawing/2014/main" id="{57AE1B19-2B00-47DE-BDD0-B600F8DA317B}"/>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96;p86">
              <a:extLst>
                <a:ext uri="{FF2B5EF4-FFF2-40B4-BE49-F238E27FC236}">
                  <a16:creationId xmlns:a16="http://schemas.microsoft.com/office/drawing/2014/main" id="{1A9AFFDA-E927-45CD-8A24-7BFFF014669B}"/>
                </a:ext>
              </a:extLst>
            </p:cNvPr>
            <p:cNvSpPr/>
            <p:nvPr/>
          </p:nvSpPr>
          <p:spPr>
            <a:xfrm>
              <a:off x="2891525" y="2841550"/>
              <a:ext cx="1827150" cy="1979725"/>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5297;p86">
              <a:extLst>
                <a:ext uri="{FF2B5EF4-FFF2-40B4-BE49-F238E27FC236}">
                  <a16:creationId xmlns:a16="http://schemas.microsoft.com/office/drawing/2014/main" id="{E90215A5-2072-43BA-8F05-C6B801FBB0BF}"/>
                </a:ext>
              </a:extLst>
            </p:cNvPr>
            <p:cNvSpPr/>
            <p:nvPr/>
          </p:nvSpPr>
          <p:spPr>
            <a:xfrm>
              <a:off x="4271375" y="2841550"/>
              <a:ext cx="1569800"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5298;p86">
              <a:extLst>
                <a:ext uri="{FF2B5EF4-FFF2-40B4-BE49-F238E27FC236}">
                  <a16:creationId xmlns:a16="http://schemas.microsoft.com/office/drawing/2014/main" id="{2A0292F1-A1D6-49EE-ADAC-0170C14E67DD}"/>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299;p86">
              <a:extLst>
                <a:ext uri="{FF2B5EF4-FFF2-40B4-BE49-F238E27FC236}">
                  <a16:creationId xmlns:a16="http://schemas.microsoft.com/office/drawing/2014/main" id="{EA8F3B83-D7E9-4992-8DA6-AAA692EC7994}"/>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300;p86">
              <a:extLst>
                <a:ext uri="{FF2B5EF4-FFF2-40B4-BE49-F238E27FC236}">
                  <a16:creationId xmlns:a16="http://schemas.microsoft.com/office/drawing/2014/main" id="{4B925806-6FFF-4CA2-9B41-870405DC739F}"/>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5301;p86">
              <a:extLst>
                <a:ext uri="{FF2B5EF4-FFF2-40B4-BE49-F238E27FC236}">
                  <a16:creationId xmlns:a16="http://schemas.microsoft.com/office/drawing/2014/main" id="{B46234A3-BB5A-4A57-AC43-843191638DE5}"/>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9" name="Title 1">
            <a:extLst>
              <a:ext uri="{FF2B5EF4-FFF2-40B4-BE49-F238E27FC236}">
                <a16:creationId xmlns:a16="http://schemas.microsoft.com/office/drawing/2014/main" id="{81194855-2B10-4294-A2E2-0E25C80F5CD6}"/>
              </a:ext>
            </a:extLst>
          </p:cNvPr>
          <p:cNvSpPr txBox="1">
            <a:spLocks/>
          </p:cNvSpPr>
          <p:nvPr/>
        </p:nvSpPr>
        <p:spPr>
          <a:xfrm>
            <a:off x="7061503" y="1361813"/>
            <a:ext cx="4210442" cy="404713"/>
          </a:xfrm>
          <a:prstGeom prst="rect">
            <a:avLst/>
          </a:prstGeom>
        </p:spPr>
        <p:txBody>
          <a:bodyPr vert="horz" lIns="91440" tIns="45720" rIns="91440" bIns="45720" rtlCol="0" anchor="b">
            <a:normAutofit fontScale="85000" lnSpcReduction="10000"/>
          </a:bodyPr>
          <a:lstStyle>
            <a:lvl1pPr algn="l" defTabSz="914400" rtl="0" eaLnBrk="1" latinLnBrk="0" hangingPunct="1">
              <a:lnSpc>
                <a:spcPct val="90000"/>
              </a:lnSpc>
              <a:spcBef>
                <a:spcPct val="0"/>
              </a:spcBef>
              <a:buNone/>
              <a:defRPr sz="32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sz="2000" b="1" dirty="0">
                <a:solidFill>
                  <a:srgbClr val="448B91"/>
                </a:solidFill>
                <a:latin typeface="Saira SemiCondensed ExtraBold" panose="00000906000000000000" pitchFamily="2" charset="0"/>
              </a:rPr>
              <a:t>And its in good way for perfection</a:t>
            </a:r>
          </a:p>
        </p:txBody>
      </p:sp>
      <p:sp>
        <p:nvSpPr>
          <p:cNvPr id="73" name="Google Shape;5593;p92">
            <a:extLst>
              <a:ext uri="{FF2B5EF4-FFF2-40B4-BE49-F238E27FC236}">
                <a16:creationId xmlns:a16="http://schemas.microsoft.com/office/drawing/2014/main" id="{63778931-BB7F-49D7-90CD-E8707E9CFCB1}"/>
              </a:ext>
            </a:extLst>
          </p:cNvPr>
          <p:cNvSpPr/>
          <p:nvPr/>
        </p:nvSpPr>
        <p:spPr>
          <a:xfrm>
            <a:off x="2414007" y="2298165"/>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1714;p63">
            <a:extLst>
              <a:ext uri="{FF2B5EF4-FFF2-40B4-BE49-F238E27FC236}">
                <a16:creationId xmlns:a16="http://schemas.microsoft.com/office/drawing/2014/main" id="{30D2FFF8-E508-469C-A040-7C6F5ADCD446}"/>
              </a:ext>
            </a:extLst>
          </p:cNvPr>
          <p:cNvSpPr txBox="1">
            <a:spLocks/>
          </p:cNvSpPr>
          <p:nvPr/>
        </p:nvSpPr>
        <p:spPr>
          <a:xfrm>
            <a:off x="2657066" y="2076167"/>
            <a:ext cx="7644716"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2000" b="1" kern="0" dirty="0">
                <a:solidFill>
                  <a:srgbClr val="D5FA68"/>
                </a:solidFill>
              </a:rPr>
              <a:t>Virtualized Geometry (Super Level of detail optimization)</a:t>
            </a:r>
            <a:endParaRPr kumimoji="0" lang="en-US" sz="2000" b="1" i="0" u="none" strike="noStrike" kern="0" cap="none" spc="0" normalizeH="0" baseline="0" noProof="0" dirty="0">
              <a:ln>
                <a:noFill/>
              </a:ln>
              <a:solidFill>
                <a:srgbClr val="D5FA68"/>
              </a:solidFill>
              <a:effectLst/>
              <a:uLnTx/>
              <a:uFillTx/>
              <a:latin typeface="Sora"/>
              <a:cs typeface="Sora"/>
              <a:sym typeface="Sora"/>
            </a:endParaRPr>
          </a:p>
        </p:txBody>
      </p:sp>
    </p:spTree>
    <p:extLst>
      <p:ext uri="{BB962C8B-B14F-4D97-AF65-F5344CB8AC3E}">
        <p14:creationId xmlns:p14="http://schemas.microsoft.com/office/powerpoint/2010/main" val="54544188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84" name="Google Shape;5593;p92">
            <a:extLst>
              <a:ext uri="{FF2B5EF4-FFF2-40B4-BE49-F238E27FC236}">
                <a16:creationId xmlns:a16="http://schemas.microsoft.com/office/drawing/2014/main" id="{926D6630-5E6C-4AEA-9010-2496C8CA9098}"/>
              </a:ext>
            </a:extLst>
          </p:cNvPr>
          <p:cNvSpPr/>
          <p:nvPr/>
        </p:nvSpPr>
        <p:spPr>
          <a:xfrm>
            <a:off x="2416024" y="262861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5593;p92">
            <a:extLst>
              <a:ext uri="{FF2B5EF4-FFF2-40B4-BE49-F238E27FC236}">
                <a16:creationId xmlns:a16="http://schemas.microsoft.com/office/drawing/2014/main" id="{8DB8DFCE-5E7C-4E41-A87F-D4B190024BB8}"/>
              </a:ext>
            </a:extLst>
          </p:cNvPr>
          <p:cNvSpPr/>
          <p:nvPr/>
        </p:nvSpPr>
        <p:spPr>
          <a:xfrm>
            <a:off x="2416024" y="338994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1714;p63">
            <a:extLst>
              <a:ext uri="{FF2B5EF4-FFF2-40B4-BE49-F238E27FC236}">
                <a16:creationId xmlns:a16="http://schemas.microsoft.com/office/drawing/2014/main" id="{018136F1-2F2B-4365-8645-E8072CF0CCBF}"/>
              </a:ext>
            </a:extLst>
          </p:cNvPr>
          <p:cNvSpPr txBox="1">
            <a:spLocks/>
          </p:cNvSpPr>
          <p:nvPr/>
        </p:nvSpPr>
        <p:spPr>
          <a:xfrm>
            <a:off x="2659989" y="3347739"/>
            <a:ext cx="6897578"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2000" b="1" kern="0" dirty="0">
                <a:solidFill>
                  <a:srgbClr val="D5FA68"/>
                </a:solidFill>
                <a:latin typeface="Sora" pitchFamily="2" charset="0"/>
                <a:cs typeface="Sora" pitchFamily="2" charset="0"/>
              </a:rPr>
              <a:t>100% Agnostic/Blur line for Film/Game workflow </a:t>
            </a:r>
            <a:r>
              <a:rPr lang="en-US" sz="2000" b="1" kern="0" dirty="0">
                <a:solidFill>
                  <a:srgbClr val="D5FA68"/>
                </a:solidFill>
                <a:latin typeface="Arial" panose="020B0604020202020204" pitchFamily="34" charset="0"/>
                <a:cs typeface="Sora" pitchFamily="2" charset="0"/>
              </a:rPr>
              <a:t>but not yet for </a:t>
            </a:r>
            <a:r>
              <a:rPr lang="en-US" sz="2000" b="1" kern="0" dirty="0">
                <a:solidFill>
                  <a:srgbClr val="D5FA68"/>
                </a:solidFill>
                <a:latin typeface="Sora" pitchFamily="2" charset="0"/>
                <a:cs typeface="Sora" pitchFamily="2" charset="0"/>
              </a:rPr>
              <a:t>AR/VR</a:t>
            </a:r>
            <a:endParaRPr kumimoji="0" lang="en-US" sz="2000" b="1" i="0" u="none" strike="noStrike" kern="0" cap="none" spc="0" normalizeH="0" baseline="0" noProof="0" dirty="0">
              <a:ln>
                <a:noFill/>
              </a:ln>
              <a:solidFill>
                <a:srgbClr val="D5FA68"/>
              </a:solidFill>
              <a:effectLst/>
              <a:uLnTx/>
              <a:uFillTx/>
              <a:latin typeface="Sora" pitchFamily="2" charset="0"/>
              <a:cs typeface="Sora" pitchFamily="2" charset="0"/>
              <a:sym typeface="Sora"/>
            </a:endParaRPr>
          </a:p>
        </p:txBody>
      </p:sp>
      <p:sp>
        <p:nvSpPr>
          <p:cNvPr id="90" name="Google Shape;1714;p63">
            <a:extLst>
              <a:ext uri="{FF2B5EF4-FFF2-40B4-BE49-F238E27FC236}">
                <a16:creationId xmlns:a16="http://schemas.microsoft.com/office/drawing/2014/main" id="{F34B53DD-2ECA-4462-817A-832B18CFA5AB}"/>
              </a:ext>
            </a:extLst>
          </p:cNvPr>
          <p:cNvSpPr txBox="1">
            <a:spLocks/>
          </p:cNvSpPr>
          <p:nvPr/>
        </p:nvSpPr>
        <p:spPr>
          <a:xfrm>
            <a:off x="2635339" y="2380319"/>
            <a:ext cx="7127433" cy="755049"/>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2000" b="1" kern="0" dirty="0">
                <a:solidFill>
                  <a:srgbClr val="FFFFFF"/>
                </a:solidFill>
                <a:latin typeface="Arial" panose="020B0604020202020204" pitchFamily="34" charset="0"/>
                <a:cs typeface="Sora" pitchFamily="2" charset="0"/>
              </a:rPr>
              <a:t>revolutionary</a:t>
            </a:r>
            <a:r>
              <a:rPr lang="en-US" sz="2000" b="1" kern="0" dirty="0">
                <a:solidFill>
                  <a:srgbClr val="FFFFFF"/>
                </a:solidFill>
                <a:latin typeface="Sora" pitchFamily="2" charset="0"/>
                <a:cs typeface="Sora" pitchFamily="2" charset="0"/>
              </a:rPr>
              <a:t> AI System</a:t>
            </a:r>
            <a:endParaRPr kumimoji="0" lang="en-US" sz="2000" b="1" i="0" u="none" strike="noStrike" kern="0" cap="none" spc="0" normalizeH="0" baseline="0" noProof="0" dirty="0">
              <a:ln>
                <a:noFill/>
              </a:ln>
              <a:solidFill>
                <a:srgbClr val="FFFFFF"/>
              </a:solidFill>
              <a:effectLst/>
              <a:uLnTx/>
              <a:uFillTx/>
              <a:latin typeface="Sora" pitchFamily="2" charset="0"/>
              <a:cs typeface="Sora" pitchFamily="2" charset="0"/>
              <a:sym typeface="Sora"/>
            </a:endParaRPr>
          </a:p>
        </p:txBody>
      </p:sp>
      <p:pic>
        <p:nvPicPr>
          <p:cNvPr id="65" name="Picture 4" descr="Unreal Engine Branding Guidelines and Trademark Usage - Unreal Engine">
            <a:extLst>
              <a:ext uri="{FF2B5EF4-FFF2-40B4-BE49-F238E27FC236}">
                <a16:creationId xmlns:a16="http://schemas.microsoft.com/office/drawing/2014/main" id="{9C760690-BCD1-419B-8330-6E189D850091}"/>
              </a:ext>
            </a:extLst>
          </p:cNvPr>
          <p:cNvPicPr>
            <a:picLocks noChangeAspect="1" noChangeArrowheads="1"/>
          </p:cNvPicPr>
          <p:nvPr/>
        </p:nvPicPr>
        <p:blipFill>
          <a:blip r:embed="rId3">
            <a:alphaModFix amt="20000"/>
            <a:extLst>
              <a:ext uri="{28A0092B-C50C-407E-A947-70E740481C1C}">
                <a14:useLocalDpi xmlns:a14="http://schemas.microsoft.com/office/drawing/2010/main" val="0"/>
              </a:ext>
            </a:extLst>
          </a:blip>
          <a:srcRect/>
          <a:stretch>
            <a:fillRect/>
          </a:stretch>
        </p:blipFill>
        <p:spPr bwMode="auto">
          <a:xfrm>
            <a:off x="3930481" y="2091721"/>
            <a:ext cx="4163552" cy="3351751"/>
          </a:xfrm>
          <a:prstGeom prst="rect">
            <a:avLst/>
          </a:prstGeom>
          <a:noFill/>
          <a:extLst>
            <a:ext uri="{909E8E84-426E-40DD-AFC4-6F175D3DCCD1}">
              <a14:hiddenFill xmlns:a14="http://schemas.microsoft.com/office/drawing/2010/main">
                <a:solidFill>
                  <a:srgbClr val="FFFFFF"/>
                </a:solidFill>
              </a14:hiddenFill>
            </a:ext>
          </a:extLst>
        </p:spPr>
      </p:pic>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25641" y="53606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0" name="Google Shape;5291;p86">
            <a:extLst>
              <a:ext uri="{FF2B5EF4-FFF2-40B4-BE49-F238E27FC236}">
                <a16:creationId xmlns:a16="http://schemas.microsoft.com/office/drawing/2014/main" id="{1643562A-6257-4D87-AE43-E0B34F401FD9}"/>
              </a:ext>
            </a:extLst>
          </p:cNvPr>
          <p:cNvGrpSpPr/>
          <p:nvPr/>
        </p:nvGrpSpPr>
        <p:grpSpPr>
          <a:xfrm>
            <a:off x="5747276" y="1516545"/>
            <a:ext cx="479963" cy="479963"/>
            <a:chOff x="1190625" y="238125"/>
            <a:chExt cx="5228350" cy="5228350"/>
          </a:xfrm>
        </p:grpSpPr>
        <p:sp>
          <p:nvSpPr>
            <p:cNvPr id="71" name="Google Shape;5292;p86">
              <a:extLst>
                <a:ext uri="{FF2B5EF4-FFF2-40B4-BE49-F238E27FC236}">
                  <a16:creationId xmlns:a16="http://schemas.microsoft.com/office/drawing/2014/main" id="{ABF1B882-8664-4F20-A58B-38C286E5E68C}"/>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5293;p86">
              <a:extLst>
                <a:ext uri="{FF2B5EF4-FFF2-40B4-BE49-F238E27FC236}">
                  <a16:creationId xmlns:a16="http://schemas.microsoft.com/office/drawing/2014/main" id="{1C762329-4E91-425E-884F-2B957B289DBC}"/>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5294;p86">
              <a:extLst>
                <a:ext uri="{FF2B5EF4-FFF2-40B4-BE49-F238E27FC236}">
                  <a16:creationId xmlns:a16="http://schemas.microsoft.com/office/drawing/2014/main" id="{743666F0-D69D-48F9-B984-6989A6B2F2B3}"/>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5295;p86">
              <a:extLst>
                <a:ext uri="{FF2B5EF4-FFF2-40B4-BE49-F238E27FC236}">
                  <a16:creationId xmlns:a16="http://schemas.microsoft.com/office/drawing/2014/main" id="{308FEE33-74DA-490C-B43B-A6FA9DFA09EF}"/>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5296;p86">
              <a:extLst>
                <a:ext uri="{FF2B5EF4-FFF2-40B4-BE49-F238E27FC236}">
                  <a16:creationId xmlns:a16="http://schemas.microsoft.com/office/drawing/2014/main" id="{2AA012A4-65F7-4BF6-978F-0D66BF01BD8F}"/>
                </a:ext>
              </a:extLst>
            </p:cNvPr>
            <p:cNvSpPr/>
            <p:nvPr/>
          </p:nvSpPr>
          <p:spPr>
            <a:xfrm>
              <a:off x="2891525" y="2841550"/>
              <a:ext cx="1827150" cy="1979725"/>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5297;p86">
              <a:extLst>
                <a:ext uri="{FF2B5EF4-FFF2-40B4-BE49-F238E27FC236}">
                  <a16:creationId xmlns:a16="http://schemas.microsoft.com/office/drawing/2014/main" id="{FD41BF42-BA4E-4FDC-A45D-02B8BB360266}"/>
                </a:ext>
              </a:extLst>
            </p:cNvPr>
            <p:cNvSpPr/>
            <p:nvPr/>
          </p:nvSpPr>
          <p:spPr>
            <a:xfrm>
              <a:off x="4271375" y="2841550"/>
              <a:ext cx="1569800"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5298;p86">
              <a:extLst>
                <a:ext uri="{FF2B5EF4-FFF2-40B4-BE49-F238E27FC236}">
                  <a16:creationId xmlns:a16="http://schemas.microsoft.com/office/drawing/2014/main" id="{73D80217-7490-442C-9003-4FB5C150E6B5}"/>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5299;p86">
              <a:extLst>
                <a:ext uri="{FF2B5EF4-FFF2-40B4-BE49-F238E27FC236}">
                  <a16:creationId xmlns:a16="http://schemas.microsoft.com/office/drawing/2014/main" id="{DA63F66B-5877-486B-93D5-7A40B7021709}"/>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5300;p86">
              <a:extLst>
                <a:ext uri="{FF2B5EF4-FFF2-40B4-BE49-F238E27FC236}">
                  <a16:creationId xmlns:a16="http://schemas.microsoft.com/office/drawing/2014/main" id="{9B129915-3526-49AE-820E-B7E9146FA79A}"/>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5301;p86">
              <a:extLst>
                <a:ext uri="{FF2B5EF4-FFF2-40B4-BE49-F238E27FC236}">
                  <a16:creationId xmlns:a16="http://schemas.microsoft.com/office/drawing/2014/main" id="{5F62B1BA-A766-4BA2-80D1-D75E4BDFFC22}"/>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1" name="Google Shape;1713;p63">
            <a:extLst>
              <a:ext uri="{FF2B5EF4-FFF2-40B4-BE49-F238E27FC236}">
                <a16:creationId xmlns:a16="http://schemas.microsoft.com/office/drawing/2014/main" id="{EAF1ABCE-3436-425C-95FE-274602BE65AA}"/>
              </a:ext>
            </a:extLst>
          </p:cNvPr>
          <p:cNvSpPr txBox="1">
            <a:spLocks/>
          </p:cNvSpPr>
          <p:nvPr/>
        </p:nvSpPr>
        <p:spPr>
          <a:xfrm>
            <a:off x="3380057" y="981359"/>
            <a:ext cx="636957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n-US" b="1" kern="0" dirty="0">
                <a:solidFill>
                  <a:srgbClr val="F7743C"/>
                </a:solidFill>
                <a:effectLst>
                  <a:outerShdw blurRad="38100" dist="38100" dir="2700000" algn="tl">
                    <a:srgbClr val="000000">
                      <a:alpha val="43137"/>
                    </a:srgbClr>
                  </a:outerShdw>
                </a:effectLst>
              </a:rPr>
              <a:t>WHAT HAS </a:t>
            </a:r>
            <a:r>
              <a:rPr lang="en-US" b="1" kern="0" dirty="0">
                <a:solidFill>
                  <a:srgbClr val="448B91"/>
                </a:solidFill>
                <a:effectLst>
                  <a:outerShdw blurRad="38100" dist="38100" dir="2700000" algn="tl">
                    <a:srgbClr val="000000">
                      <a:alpha val="43137"/>
                    </a:srgbClr>
                  </a:outerShdw>
                </a:effectLst>
              </a:rPr>
              <a:t>NOT</a:t>
            </a:r>
            <a:r>
              <a:rPr lang="en-US" b="1" kern="0" dirty="0">
                <a:solidFill>
                  <a:srgbClr val="F7743C"/>
                </a:solidFill>
                <a:effectLst>
                  <a:outerShdw blurRad="38100" dist="38100" dir="2700000" algn="tl">
                    <a:srgbClr val="000000">
                      <a:alpha val="43137"/>
                    </a:srgbClr>
                  </a:outerShdw>
                </a:effectLst>
              </a:rPr>
              <a:t> BEEN ACHIEVED</a:t>
            </a:r>
            <a:endParaRPr kumimoji="0" lang="en-US" sz="3500" b="1" i="0" u="none" strike="noStrike" kern="0" cap="none" spc="0" normalizeH="0" baseline="0" noProof="0" dirty="0">
              <a:ln>
                <a:noFill/>
              </a:ln>
              <a:solidFill>
                <a:srgbClr val="F7743C"/>
              </a:solidFill>
              <a:effectLst>
                <a:outerShdw blurRad="38100" dist="38100" dir="2700000" algn="tl">
                  <a:srgbClr val="000000">
                    <a:alpha val="43137"/>
                  </a:srgbClr>
                </a:outerShdw>
              </a:effectLst>
              <a:uLnTx/>
              <a:uFillTx/>
              <a:latin typeface="Saira SemiCondensed ExtraBold"/>
              <a:sym typeface="Saira SemiCondensed ExtraBold"/>
            </a:endParaRPr>
          </a:p>
        </p:txBody>
      </p:sp>
    </p:spTree>
    <p:extLst>
      <p:ext uri="{BB962C8B-B14F-4D97-AF65-F5344CB8AC3E}">
        <p14:creationId xmlns:p14="http://schemas.microsoft.com/office/powerpoint/2010/main" val="348280102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38F22650-6DA8-4AEC-884F-E2E88B1D8EE7}"/>
              </a:ext>
            </a:extLst>
          </p:cNvPr>
          <p:cNvGrpSpPr/>
          <p:nvPr/>
        </p:nvGrpSpPr>
        <p:grpSpPr>
          <a:xfrm>
            <a:off x="9687728" y="5239065"/>
            <a:ext cx="1187582" cy="1104265"/>
            <a:chOff x="9379963" y="4497336"/>
            <a:chExt cx="1187582" cy="1104265"/>
          </a:xfrm>
        </p:grpSpPr>
        <p:grpSp>
          <p:nvGrpSpPr>
            <p:cNvPr id="10" name="Google Shape;802;p51">
              <a:extLst>
                <a:ext uri="{FF2B5EF4-FFF2-40B4-BE49-F238E27FC236}">
                  <a16:creationId xmlns:a16="http://schemas.microsoft.com/office/drawing/2014/main" id="{D4720F74-9087-4C22-A4A0-A2F7E50E0D5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7" name="Google Shape;803;p51">
                <a:extLst>
                  <a:ext uri="{FF2B5EF4-FFF2-40B4-BE49-F238E27FC236}">
                    <a16:creationId xmlns:a16="http://schemas.microsoft.com/office/drawing/2014/main" id="{AE25A543-49E9-4B4A-9329-7FC698B4B87E}"/>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4;p51">
                <a:extLst>
                  <a:ext uri="{FF2B5EF4-FFF2-40B4-BE49-F238E27FC236}">
                    <a16:creationId xmlns:a16="http://schemas.microsoft.com/office/drawing/2014/main" id="{876AC29F-BA9E-4E01-9DD9-5475FDB96B68}"/>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5;p51">
                <a:extLst>
                  <a:ext uri="{FF2B5EF4-FFF2-40B4-BE49-F238E27FC236}">
                    <a16:creationId xmlns:a16="http://schemas.microsoft.com/office/drawing/2014/main" id="{4A29C4E0-F688-48F2-8A6D-E815FFDA847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06;p51">
                <a:extLst>
                  <a:ext uri="{FF2B5EF4-FFF2-40B4-BE49-F238E27FC236}">
                    <a16:creationId xmlns:a16="http://schemas.microsoft.com/office/drawing/2014/main" id="{6A24CF41-C3A3-420B-809E-06FF87A1A5D5}"/>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07;p51">
                <a:extLst>
                  <a:ext uri="{FF2B5EF4-FFF2-40B4-BE49-F238E27FC236}">
                    <a16:creationId xmlns:a16="http://schemas.microsoft.com/office/drawing/2014/main" id="{27D3589A-A6F4-4018-828C-07E2476190CA}"/>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08;p51">
                <a:extLst>
                  <a:ext uri="{FF2B5EF4-FFF2-40B4-BE49-F238E27FC236}">
                    <a16:creationId xmlns:a16="http://schemas.microsoft.com/office/drawing/2014/main" id="{05D0C272-410A-4CAB-A311-F29F3231EEEF}"/>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9;p51">
                <a:extLst>
                  <a:ext uri="{FF2B5EF4-FFF2-40B4-BE49-F238E27FC236}">
                    <a16:creationId xmlns:a16="http://schemas.microsoft.com/office/drawing/2014/main" id="{B0F62E77-E46A-4F5A-8A24-73C921756C19}"/>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0;p51">
                <a:extLst>
                  <a:ext uri="{FF2B5EF4-FFF2-40B4-BE49-F238E27FC236}">
                    <a16:creationId xmlns:a16="http://schemas.microsoft.com/office/drawing/2014/main" id="{9A58366C-6F81-4BD3-8346-7E8553C83AA1}"/>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1;p51">
                <a:extLst>
                  <a:ext uri="{FF2B5EF4-FFF2-40B4-BE49-F238E27FC236}">
                    <a16:creationId xmlns:a16="http://schemas.microsoft.com/office/drawing/2014/main" id="{02C4616D-036C-4540-938C-9DDA0214F9A1}"/>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2;p51">
                <a:extLst>
                  <a:ext uri="{FF2B5EF4-FFF2-40B4-BE49-F238E27FC236}">
                    <a16:creationId xmlns:a16="http://schemas.microsoft.com/office/drawing/2014/main" id="{BEC8767B-21F1-4F87-BBE4-C49BF802C57B}"/>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3;p51">
                <a:extLst>
                  <a:ext uri="{FF2B5EF4-FFF2-40B4-BE49-F238E27FC236}">
                    <a16:creationId xmlns:a16="http://schemas.microsoft.com/office/drawing/2014/main" id="{995DC8C8-6DBB-4C3C-9127-2D761B2D209E}"/>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4;p51">
                <a:extLst>
                  <a:ext uri="{FF2B5EF4-FFF2-40B4-BE49-F238E27FC236}">
                    <a16:creationId xmlns:a16="http://schemas.microsoft.com/office/drawing/2014/main" id="{3F727ECB-813A-40BA-A01E-19EC92F4E956}"/>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5;p51">
                <a:extLst>
                  <a:ext uri="{FF2B5EF4-FFF2-40B4-BE49-F238E27FC236}">
                    <a16:creationId xmlns:a16="http://schemas.microsoft.com/office/drawing/2014/main" id="{953434BF-9C86-42DD-93B7-748F728486C6}"/>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6;p51">
                <a:extLst>
                  <a:ext uri="{FF2B5EF4-FFF2-40B4-BE49-F238E27FC236}">
                    <a16:creationId xmlns:a16="http://schemas.microsoft.com/office/drawing/2014/main" id="{7F58780D-B5BC-4C82-AD18-B6FE34C011A0}"/>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7;p51">
                <a:extLst>
                  <a:ext uri="{FF2B5EF4-FFF2-40B4-BE49-F238E27FC236}">
                    <a16:creationId xmlns:a16="http://schemas.microsoft.com/office/drawing/2014/main" id="{5CEE2A2F-F549-4D2F-AC36-D4B676274CE8}"/>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8;p51">
                <a:extLst>
                  <a:ext uri="{FF2B5EF4-FFF2-40B4-BE49-F238E27FC236}">
                    <a16:creationId xmlns:a16="http://schemas.microsoft.com/office/drawing/2014/main" id="{A07C2243-4494-483E-91E3-1168A73836D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9;p51">
                <a:extLst>
                  <a:ext uri="{FF2B5EF4-FFF2-40B4-BE49-F238E27FC236}">
                    <a16:creationId xmlns:a16="http://schemas.microsoft.com/office/drawing/2014/main" id="{DC86DD3F-685D-4172-9DBD-1970B678ED2C}"/>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0;p51">
                <a:extLst>
                  <a:ext uri="{FF2B5EF4-FFF2-40B4-BE49-F238E27FC236}">
                    <a16:creationId xmlns:a16="http://schemas.microsoft.com/office/drawing/2014/main" id="{0C796B4E-A4B9-448E-A267-49CD115D9DAC}"/>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1;p51">
                <a:extLst>
                  <a:ext uri="{FF2B5EF4-FFF2-40B4-BE49-F238E27FC236}">
                    <a16:creationId xmlns:a16="http://schemas.microsoft.com/office/drawing/2014/main" id="{AB50D7F3-130E-4D4C-8AED-A1AF7EB024D7}"/>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2;p51">
                <a:extLst>
                  <a:ext uri="{FF2B5EF4-FFF2-40B4-BE49-F238E27FC236}">
                    <a16:creationId xmlns:a16="http://schemas.microsoft.com/office/drawing/2014/main" id="{B3D86472-DF8F-4E61-80BC-4E53BCC27680}"/>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3;p51">
                <a:extLst>
                  <a:ext uri="{FF2B5EF4-FFF2-40B4-BE49-F238E27FC236}">
                    <a16:creationId xmlns:a16="http://schemas.microsoft.com/office/drawing/2014/main" id="{E59A4105-D512-4982-8B71-F235685F468A}"/>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24;p51">
                <a:extLst>
                  <a:ext uri="{FF2B5EF4-FFF2-40B4-BE49-F238E27FC236}">
                    <a16:creationId xmlns:a16="http://schemas.microsoft.com/office/drawing/2014/main" id="{8571BCF0-065F-4992-AD0D-CD6307EFD134}"/>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5;p51">
                <a:extLst>
                  <a:ext uri="{FF2B5EF4-FFF2-40B4-BE49-F238E27FC236}">
                    <a16:creationId xmlns:a16="http://schemas.microsoft.com/office/drawing/2014/main" id="{56BD6AC7-D871-4280-98CC-DD2D9F4180C5}"/>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6;p51">
                <a:extLst>
                  <a:ext uri="{FF2B5EF4-FFF2-40B4-BE49-F238E27FC236}">
                    <a16:creationId xmlns:a16="http://schemas.microsoft.com/office/drawing/2014/main" id="{9AAA1AA9-18D7-450C-BD3B-3D41B302434B}"/>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7;p51">
                <a:extLst>
                  <a:ext uri="{FF2B5EF4-FFF2-40B4-BE49-F238E27FC236}">
                    <a16:creationId xmlns:a16="http://schemas.microsoft.com/office/drawing/2014/main" id="{C3ACAAE4-FC7F-4732-800E-66EBDC9FEEC9}"/>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1" name="Group 10">
              <a:extLst>
                <a:ext uri="{FF2B5EF4-FFF2-40B4-BE49-F238E27FC236}">
                  <a16:creationId xmlns:a16="http://schemas.microsoft.com/office/drawing/2014/main" id="{4DC66122-E88E-4A99-BDCF-DAA9FA1E3F70}"/>
                </a:ext>
              </a:extLst>
            </p:cNvPr>
            <p:cNvGrpSpPr/>
            <p:nvPr/>
          </p:nvGrpSpPr>
          <p:grpSpPr>
            <a:xfrm>
              <a:off x="9459173" y="4651735"/>
              <a:ext cx="965465" cy="814701"/>
              <a:chOff x="2122052" y="4430998"/>
              <a:chExt cx="516998" cy="436265"/>
            </a:xfrm>
          </p:grpSpPr>
          <p:sp>
            <p:nvSpPr>
              <p:cNvPr id="12" name="Google Shape;663;p48">
                <a:extLst>
                  <a:ext uri="{FF2B5EF4-FFF2-40B4-BE49-F238E27FC236}">
                    <a16:creationId xmlns:a16="http://schemas.microsoft.com/office/drawing/2014/main" id="{2AD3FA82-AAF8-4AC7-B8B0-7D22CBE1B409}"/>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64;p48">
                <a:extLst>
                  <a:ext uri="{FF2B5EF4-FFF2-40B4-BE49-F238E27FC236}">
                    <a16:creationId xmlns:a16="http://schemas.microsoft.com/office/drawing/2014/main" id="{429515C4-973F-477D-9CE9-31EC27BE4F22}"/>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65;p48">
                <a:extLst>
                  <a:ext uri="{FF2B5EF4-FFF2-40B4-BE49-F238E27FC236}">
                    <a16:creationId xmlns:a16="http://schemas.microsoft.com/office/drawing/2014/main" id="{01C0C4E4-B4F2-4A07-B28A-78CF54C39520}"/>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66;p48">
                <a:extLst>
                  <a:ext uri="{FF2B5EF4-FFF2-40B4-BE49-F238E27FC236}">
                    <a16:creationId xmlns:a16="http://schemas.microsoft.com/office/drawing/2014/main" id="{934AFBCC-DE85-4063-A2D7-6FF4D5BCFAEA}"/>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67;p48">
                <a:extLst>
                  <a:ext uri="{FF2B5EF4-FFF2-40B4-BE49-F238E27FC236}">
                    <a16:creationId xmlns:a16="http://schemas.microsoft.com/office/drawing/2014/main" id="{7CFD1982-65A8-4882-A3B3-CD652AA7D5D0}"/>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68;p48">
                <a:extLst>
                  <a:ext uri="{FF2B5EF4-FFF2-40B4-BE49-F238E27FC236}">
                    <a16:creationId xmlns:a16="http://schemas.microsoft.com/office/drawing/2014/main" id="{41BFC1FD-6EC6-475B-8AFC-6645E21F166D}"/>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8" name="Google Shape;669;p48">
                <a:extLst>
                  <a:ext uri="{FF2B5EF4-FFF2-40B4-BE49-F238E27FC236}">
                    <a16:creationId xmlns:a16="http://schemas.microsoft.com/office/drawing/2014/main" id="{866AA931-FA2F-44A4-8BA8-514DAB5F3240}"/>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0;p48">
                <a:extLst>
                  <a:ext uri="{FF2B5EF4-FFF2-40B4-BE49-F238E27FC236}">
                    <a16:creationId xmlns:a16="http://schemas.microsoft.com/office/drawing/2014/main" id="{6D2476FF-796D-4801-B1DB-20B09084D06E}"/>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1;p48">
                <a:extLst>
                  <a:ext uri="{FF2B5EF4-FFF2-40B4-BE49-F238E27FC236}">
                    <a16:creationId xmlns:a16="http://schemas.microsoft.com/office/drawing/2014/main" id="{26215DCD-EA85-46C2-9355-4F90FC0CB23C}"/>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2;p48">
                <a:extLst>
                  <a:ext uri="{FF2B5EF4-FFF2-40B4-BE49-F238E27FC236}">
                    <a16:creationId xmlns:a16="http://schemas.microsoft.com/office/drawing/2014/main" id="{4ED74C1B-FE8F-40EF-A837-A1B5845C2906}"/>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3;p48">
                <a:extLst>
                  <a:ext uri="{FF2B5EF4-FFF2-40B4-BE49-F238E27FC236}">
                    <a16:creationId xmlns:a16="http://schemas.microsoft.com/office/drawing/2014/main" id="{4197CB9A-D3C6-4D7E-A686-13AA3AB8BDBD}"/>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4;p48">
                <a:extLst>
                  <a:ext uri="{FF2B5EF4-FFF2-40B4-BE49-F238E27FC236}">
                    <a16:creationId xmlns:a16="http://schemas.microsoft.com/office/drawing/2014/main" id="{AB5A9CB3-7470-4883-B399-1D709A03C85F}"/>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5;p48">
                <a:extLst>
                  <a:ext uri="{FF2B5EF4-FFF2-40B4-BE49-F238E27FC236}">
                    <a16:creationId xmlns:a16="http://schemas.microsoft.com/office/drawing/2014/main" id="{BB3EEC67-2EE4-4B3B-9EE8-8983F75719B7}"/>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6;p48">
                <a:extLst>
                  <a:ext uri="{FF2B5EF4-FFF2-40B4-BE49-F238E27FC236}">
                    <a16:creationId xmlns:a16="http://schemas.microsoft.com/office/drawing/2014/main" id="{A91C2816-BCA2-4554-8462-E824FAF04494}"/>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7;p48">
                <a:extLst>
                  <a:ext uri="{FF2B5EF4-FFF2-40B4-BE49-F238E27FC236}">
                    <a16:creationId xmlns:a16="http://schemas.microsoft.com/office/drawing/2014/main" id="{E5B14A04-1722-496A-836C-6C4D56B9A1F6}"/>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8;p48">
                <a:extLst>
                  <a:ext uri="{FF2B5EF4-FFF2-40B4-BE49-F238E27FC236}">
                    <a16:creationId xmlns:a16="http://schemas.microsoft.com/office/drawing/2014/main" id="{77A9096F-B868-4B7D-A6A4-F638EC6D1312}"/>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9;p48">
                <a:extLst>
                  <a:ext uri="{FF2B5EF4-FFF2-40B4-BE49-F238E27FC236}">
                    <a16:creationId xmlns:a16="http://schemas.microsoft.com/office/drawing/2014/main" id="{A64AE929-3F65-4BA9-B86C-0CEF0A746481}"/>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0;p48">
                <a:extLst>
                  <a:ext uri="{FF2B5EF4-FFF2-40B4-BE49-F238E27FC236}">
                    <a16:creationId xmlns:a16="http://schemas.microsoft.com/office/drawing/2014/main" id="{8CCCB127-877F-4CB1-9523-B44DF854DC8E}"/>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1;p48">
                <a:extLst>
                  <a:ext uri="{FF2B5EF4-FFF2-40B4-BE49-F238E27FC236}">
                    <a16:creationId xmlns:a16="http://schemas.microsoft.com/office/drawing/2014/main" id="{3B85167B-840D-4E9C-BAE2-6FCB2358AC5F}"/>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2;p48">
                <a:extLst>
                  <a:ext uri="{FF2B5EF4-FFF2-40B4-BE49-F238E27FC236}">
                    <a16:creationId xmlns:a16="http://schemas.microsoft.com/office/drawing/2014/main" id="{13F52EF9-A8F4-4E60-A73B-E6EAF96213E0}"/>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3;p48">
                <a:extLst>
                  <a:ext uri="{FF2B5EF4-FFF2-40B4-BE49-F238E27FC236}">
                    <a16:creationId xmlns:a16="http://schemas.microsoft.com/office/drawing/2014/main" id="{5193444B-9803-4C20-93D4-3E549851E24A}"/>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3" name="Google Shape;684;p48">
                <a:extLst>
                  <a:ext uri="{FF2B5EF4-FFF2-40B4-BE49-F238E27FC236}">
                    <a16:creationId xmlns:a16="http://schemas.microsoft.com/office/drawing/2014/main" id="{A6636B86-5301-4CF6-A686-1A322528AB1E}"/>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85;p48">
                <a:extLst>
                  <a:ext uri="{FF2B5EF4-FFF2-40B4-BE49-F238E27FC236}">
                    <a16:creationId xmlns:a16="http://schemas.microsoft.com/office/drawing/2014/main" id="{652CB2A6-754C-499E-9B2A-BE6F5539A3CC}"/>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6;p48">
                <a:extLst>
                  <a:ext uri="{FF2B5EF4-FFF2-40B4-BE49-F238E27FC236}">
                    <a16:creationId xmlns:a16="http://schemas.microsoft.com/office/drawing/2014/main" id="{C8C4CED6-180D-45D0-A1DD-D00A2487C8F8}"/>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7;p48">
                <a:extLst>
                  <a:ext uri="{FF2B5EF4-FFF2-40B4-BE49-F238E27FC236}">
                    <a16:creationId xmlns:a16="http://schemas.microsoft.com/office/drawing/2014/main" id="{EC96C764-DB1D-428C-8B02-FF5E8779B8FB}"/>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Metaverse concept (1)</a:t>
            </a:r>
          </a:p>
        </p:txBody>
      </p:sp>
      <p:sp>
        <p:nvSpPr>
          <p:cNvPr id="3" name="Text Placeholder 2">
            <a:extLst>
              <a:ext uri="{FF2B5EF4-FFF2-40B4-BE49-F238E27FC236}">
                <a16:creationId xmlns:a16="http://schemas.microsoft.com/office/drawing/2014/main" id="{A316B16C-D386-4D96-ACB6-325A0BCCA34B}"/>
              </a:ext>
            </a:extLst>
          </p:cNvPr>
          <p:cNvSpPr>
            <a:spLocks noGrp="1"/>
          </p:cNvSpPr>
          <p:nvPr>
            <p:ph type="body" idx="1"/>
          </p:nvPr>
        </p:nvSpPr>
        <p:spPr/>
        <p:txBody>
          <a:bodyPr/>
          <a:lstStyle/>
          <a:p>
            <a:r>
              <a:rPr lang="en-US" b="1" dirty="0">
                <a:latin typeface="Sora" pitchFamily="2" charset="0"/>
                <a:cs typeface="Sora" pitchFamily="2" charset="0"/>
              </a:rPr>
              <a:t>Fortnite</a:t>
            </a:r>
          </a:p>
        </p:txBody>
      </p:sp>
      <p:sp>
        <p:nvSpPr>
          <p:cNvPr id="4" name="Content Placeholder 3">
            <a:extLst>
              <a:ext uri="{FF2B5EF4-FFF2-40B4-BE49-F238E27FC236}">
                <a16:creationId xmlns:a16="http://schemas.microsoft.com/office/drawing/2014/main" id="{88717FD9-742C-440A-B729-E1EC813A1EBB}"/>
              </a:ext>
            </a:extLst>
          </p:cNvPr>
          <p:cNvSpPr>
            <a:spLocks noGrp="1"/>
          </p:cNvSpPr>
          <p:nvPr>
            <p:ph sz="half" idx="2"/>
          </p:nvPr>
        </p:nvSpPr>
        <p:spPr>
          <a:xfrm>
            <a:off x="1141410" y="3073397"/>
            <a:ext cx="4878391" cy="3165477"/>
          </a:xfrm>
        </p:spPr>
        <p:txBody>
          <a:bodyPr>
            <a:normAutofit fontScale="85000" lnSpcReduction="20000"/>
          </a:bodyPr>
          <a:lstStyle/>
          <a:p>
            <a:r>
              <a:rPr lang="en-US" dirty="0"/>
              <a:t>Open-World</a:t>
            </a:r>
          </a:p>
          <a:p>
            <a:r>
              <a:rPr lang="en-US" dirty="0"/>
              <a:t>Free-to-play</a:t>
            </a:r>
          </a:p>
          <a:p>
            <a:r>
              <a:rPr lang="en-US" dirty="0"/>
              <a:t>Battle Royale PVP</a:t>
            </a:r>
          </a:p>
          <a:p>
            <a:r>
              <a:rPr lang="en-US" dirty="0"/>
              <a:t>Multiplayer Cooperative TPP</a:t>
            </a:r>
          </a:p>
          <a:p>
            <a:r>
              <a:rPr lang="en-US" dirty="0"/>
              <a:t>Achievements/rewards</a:t>
            </a:r>
          </a:p>
          <a:p>
            <a:r>
              <a:rPr lang="en-US" dirty="0"/>
              <a:t>Learn</a:t>
            </a:r>
          </a:p>
          <a:p>
            <a:r>
              <a:rPr lang="en-US" dirty="0"/>
              <a:t>Entertainment</a:t>
            </a:r>
          </a:p>
        </p:txBody>
      </p:sp>
      <p:sp>
        <p:nvSpPr>
          <p:cNvPr id="5" name="Text Placeholder 4">
            <a:extLst>
              <a:ext uri="{FF2B5EF4-FFF2-40B4-BE49-F238E27FC236}">
                <a16:creationId xmlns:a16="http://schemas.microsoft.com/office/drawing/2014/main" id="{6B1767A5-90D5-46DB-BAD8-98F8DD0936A6}"/>
              </a:ext>
            </a:extLst>
          </p:cNvPr>
          <p:cNvSpPr>
            <a:spLocks noGrp="1"/>
          </p:cNvSpPr>
          <p:nvPr>
            <p:ph type="body" sz="quarter" idx="3"/>
          </p:nvPr>
        </p:nvSpPr>
        <p:spPr/>
        <p:txBody>
          <a:bodyPr/>
          <a:lstStyle/>
          <a:p>
            <a:r>
              <a:rPr lang="en-US" b="1" dirty="0" err="1">
                <a:latin typeface="Sora" pitchFamily="2" charset="0"/>
                <a:cs typeface="Sora" pitchFamily="2" charset="0"/>
              </a:rPr>
              <a:t>SUBNautica</a:t>
            </a:r>
            <a:endParaRPr lang="en-US" b="1" dirty="0">
              <a:latin typeface="Sora" pitchFamily="2" charset="0"/>
              <a:cs typeface="Sora" pitchFamily="2" charset="0"/>
            </a:endParaRPr>
          </a:p>
        </p:txBody>
      </p:sp>
      <p:sp>
        <p:nvSpPr>
          <p:cNvPr id="6" name="Content Placeholder 5">
            <a:extLst>
              <a:ext uri="{FF2B5EF4-FFF2-40B4-BE49-F238E27FC236}">
                <a16:creationId xmlns:a16="http://schemas.microsoft.com/office/drawing/2014/main" id="{317138FF-B752-469D-8759-A14849F8C556}"/>
              </a:ext>
            </a:extLst>
          </p:cNvPr>
          <p:cNvSpPr>
            <a:spLocks noGrp="1"/>
          </p:cNvSpPr>
          <p:nvPr>
            <p:ph sz="quarter" idx="4"/>
          </p:nvPr>
        </p:nvSpPr>
        <p:spPr/>
        <p:txBody>
          <a:bodyPr>
            <a:normAutofit fontScale="85000" lnSpcReduction="20000"/>
          </a:bodyPr>
          <a:lstStyle/>
          <a:p>
            <a:r>
              <a:rPr lang="en-US" dirty="0"/>
              <a:t>Open-World</a:t>
            </a:r>
          </a:p>
          <a:p>
            <a:r>
              <a:rPr lang="en-US" dirty="0"/>
              <a:t>Solo</a:t>
            </a:r>
          </a:p>
          <a:p>
            <a:r>
              <a:rPr lang="en-US" dirty="0"/>
              <a:t>Survival Action-Adventure FPP</a:t>
            </a:r>
          </a:p>
          <a:p>
            <a:r>
              <a:rPr lang="en-US" dirty="0"/>
              <a:t>Achievements/rewards</a:t>
            </a:r>
          </a:p>
          <a:p>
            <a:r>
              <a:rPr lang="en-US" dirty="0"/>
              <a:t>Learn</a:t>
            </a:r>
          </a:p>
          <a:p>
            <a:r>
              <a:rPr lang="en-US" dirty="0"/>
              <a:t>Entertainment</a:t>
            </a:r>
          </a:p>
          <a:p>
            <a:pPr marL="0" indent="0">
              <a:buNone/>
            </a:pPr>
            <a:endParaRPr lang="en-US" dirty="0"/>
          </a:p>
        </p:txBody>
      </p:sp>
      <p:sp>
        <p:nvSpPr>
          <p:cNvPr id="7" name="Google Shape;12;p2">
            <a:extLst>
              <a:ext uri="{FF2B5EF4-FFF2-40B4-BE49-F238E27FC236}">
                <a16:creationId xmlns:a16="http://schemas.microsoft.com/office/drawing/2014/main" id="{DC1C22D9-2F54-42AC-BE0F-AE84C4F9B116}"/>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2;p2">
            <a:extLst>
              <a:ext uri="{FF2B5EF4-FFF2-40B4-BE49-F238E27FC236}">
                <a16:creationId xmlns:a16="http://schemas.microsoft.com/office/drawing/2014/main" id="{D96C41BA-E524-47E7-A21F-2483A9956486}"/>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2103;p69">
            <a:extLst>
              <a:ext uri="{FF2B5EF4-FFF2-40B4-BE49-F238E27FC236}">
                <a16:creationId xmlns:a16="http://schemas.microsoft.com/office/drawing/2014/main" id="{B7A33C48-E538-4952-903B-84DF357165BE}"/>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04;p69">
            <a:extLst>
              <a:ext uri="{FF2B5EF4-FFF2-40B4-BE49-F238E27FC236}">
                <a16:creationId xmlns:a16="http://schemas.microsoft.com/office/drawing/2014/main" id="{ED48E71D-719A-4E7A-A89A-DACBECDAC7E1}"/>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05;p69">
            <a:extLst>
              <a:ext uri="{FF2B5EF4-FFF2-40B4-BE49-F238E27FC236}">
                <a16:creationId xmlns:a16="http://schemas.microsoft.com/office/drawing/2014/main" id="{0E6E357A-B1C5-49E7-B026-753F947D3483}"/>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2106;p69">
            <a:extLst>
              <a:ext uri="{FF2B5EF4-FFF2-40B4-BE49-F238E27FC236}">
                <a16:creationId xmlns:a16="http://schemas.microsoft.com/office/drawing/2014/main" id="{0AB59711-E502-477A-807C-F1C173547439}"/>
              </a:ext>
            </a:extLst>
          </p:cNvPr>
          <p:cNvSpPr/>
          <p:nvPr/>
        </p:nvSpPr>
        <p:spPr>
          <a:xfrm>
            <a:off x="7763853" y="563135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2107;p69">
            <a:extLst>
              <a:ext uri="{FF2B5EF4-FFF2-40B4-BE49-F238E27FC236}">
                <a16:creationId xmlns:a16="http://schemas.microsoft.com/office/drawing/2014/main" id="{C7307C51-43C6-4CA7-9A60-BDC87BBA065D}"/>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39;p69">
            <a:extLst>
              <a:ext uri="{FF2B5EF4-FFF2-40B4-BE49-F238E27FC236}">
                <a16:creationId xmlns:a16="http://schemas.microsoft.com/office/drawing/2014/main" id="{177CBF80-0B53-4996-9A74-1F4BFF311A58}"/>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8" name="Group 67">
            <a:extLst>
              <a:ext uri="{FF2B5EF4-FFF2-40B4-BE49-F238E27FC236}">
                <a16:creationId xmlns:a16="http://schemas.microsoft.com/office/drawing/2014/main" id="{5698C605-5B0A-417B-86AA-9E16F282FE22}"/>
              </a:ext>
            </a:extLst>
          </p:cNvPr>
          <p:cNvGrpSpPr/>
          <p:nvPr/>
        </p:nvGrpSpPr>
        <p:grpSpPr>
          <a:xfrm>
            <a:off x="9701069" y="1518980"/>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69" name="Group 68">
              <a:extLst>
                <a:ext uri="{FF2B5EF4-FFF2-40B4-BE49-F238E27FC236}">
                  <a16:creationId xmlns:a16="http://schemas.microsoft.com/office/drawing/2014/main" id="{CA23DA89-3BCD-469B-A7A7-424839A941B3}"/>
                </a:ext>
              </a:extLst>
            </p:cNvPr>
            <p:cNvGrpSpPr/>
            <p:nvPr/>
          </p:nvGrpSpPr>
          <p:grpSpPr>
            <a:xfrm>
              <a:off x="5241585" y="4198069"/>
              <a:ext cx="411449" cy="357382"/>
              <a:chOff x="5241585" y="4198069"/>
              <a:chExt cx="411449" cy="357382"/>
            </a:xfrm>
          </p:grpSpPr>
          <p:sp>
            <p:nvSpPr>
              <p:cNvPr id="71" name="Google Shape;658;p48">
                <a:extLst>
                  <a:ext uri="{FF2B5EF4-FFF2-40B4-BE49-F238E27FC236}">
                    <a16:creationId xmlns:a16="http://schemas.microsoft.com/office/drawing/2014/main" id="{DBA92482-D79B-4FCB-95A0-44DCB48E8843}"/>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659;p48">
                <a:extLst>
                  <a:ext uri="{FF2B5EF4-FFF2-40B4-BE49-F238E27FC236}">
                    <a16:creationId xmlns:a16="http://schemas.microsoft.com/office/drawing/2014/main" id="{38012FEE-8D16-4CA3-B35B-EF6A90F67D48}"/>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3" name="Google Shape;660;p48">
                <a:extLst>
                  <a:ext uri="{FF2B5EF4-FFF2-40B4-BE49-F238E27FC236}">
                    <a16:creationId xmlns:a16="http://schemas.microsoft.com/office/drawing/2014/main" id="{B077DDF1-FFDE-4C52-8A46-A3FF3CBF03E7}"/>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0" name="Google Shape;661;p48">
              <a:extLst>
                <a:ext uri="{FF2B5EF4-FFF2-40B4-BE49-F238E27FC236}">
                  <a16:creationId xmlns:a16="http://schemas.microsoft.com/office/drawing/2014/main" id="{16FAC38F-F6B3-4F73-A5F5-93BF06884C02}"/>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4176224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048A1596-E3D9-4AA8-87EB-44C0417EA514}"/>
              </a:ext>
            </a:extLst>
          </p:cNvPr>
          <p:cNvSpPr txBox="1"/>
          <p:nvPr/>
        </p:nvSpPr>
        <p:spPr>
          <a:xfrm>
            <a:off x="1126837" y="1123240"/>
            <a:ext cx="9280525" cy="4611519"/>
          </a:xfrm>
          <a:prstGeom prst="rect">
            <a:avLst/>
          </a:prstGeom>
          <a:noFill/>
        </p:spPr>
        <p:txBody>
          <a:bodyPr wrap="square">
            <a:spAutoFit/>
          </a:bodyPr>
          <a:lstStyle/>
          <a:p>
            <a:pPr marL="0" marR="0" algn="just">
              <a:lnSpc>
                <a:spcPct val="150000"/>
              </a:lnSpc>
              <a:spcBef>
                <a:spcPts val="0"/>
              </a:spcBef>
              <a:spcAft>
                <a:spcPts val="800"/>
              </a:spcAft>
            </a:pPr>
            <a:r>
              <a:rPr lang="el-GR" sz="1800" dirty="0">
                <a:effectLst/>
                <a:latin typeface="Arial" panose="020B0604020202020204" pitchFamily="34" charset="0"/>
                <a:ea typeface="Calibri" panose="020F0502020204030204" pitchFamily="34" charset="0"/>
                <a:cs typeface="Arial" panose="020B0604020202020204" pitchFamily="34" charset="0"/>
              </a:rPr>
              <a:t>Θα ήθελα να ευχαριστήσω θερμά όλους όσους συνέβαλαν με τον τρόπο τους στην επιτυχή εκπόνηση της διπλωματικής μου εργασίας, και ιδιαιτέρως τον υπεύθυνο καθηγητή για την διπλωματική μου εργασία Δρ.</a:t>
            </a:r>
            <a:r>
              <a:rPr lang="en-US" sz="1800" dirty="0">
                <a:effectLst/>
                <a:latin typeface="Arial" panose="020B0604020202020204" pitchFamily="34" charset="0"/>
                <a:ea typeface="Calibri" panose="020F0502020204030204" pitchFamily="34" charset="0"/>
                <a:cs typeface="Arial" panose="020B0604020202020204" pitchFamily="34" charset="0"/>
              </a:rPr>
              <a:t> </a:t>
            </a:r>
            <a:r>
              <a:rPr lang="el-GR" sz="1800" dirty="0" err="1">
                <a:effectLst/>
                <a:latin typeface="Arial" panose="020B0604020202020204" pitchFamily="34" charset="0"/>
                <a:ea typeface="Calibri" panose="020F0502020204030204" pitchFamily="34" charset="0"/>
                <a:cs typeface="Arial" panose="020B0604020202020204" pitchFamily="34" charset="0"/>
              </a:rPr>
              <a:t>Φραντζίδη</a:t>
            </a:r>
            <a:r>
              <a:rPr lang="el-GR" sz="1800" dirty="0">
                <a:effectLst/>
                <a:latin typeface="Arial" panose="020B0604020202020204" pitchFamily="34" charset="0"/>
                <a:ea typeface="Calibri" panose="020F0502020204030204" pitchFamily="34" charset="0"/>
                <a:cs typeface="Arial" panose="020B0604020202020204" pitchFamily="34" charset="0"/>
              </a:rPr>
              <a:t> Χρήστο ήταν πάντοτε πρόθυμος και διαθέσιμος να μου λύσει οποιαδήποτε απορία, ενώ παράλληλα με καθοδήγησε με τις πολύτιμες συμβουλές του στην σωστή συγγραφή της εργασίας αλλά και άλλους καθηγητές/υπεύθυνους του προγράμματος της σχολής μου με παροχή σεμιναρίων/</a:t>
            </a:r>
            <a:r>
              <a:rPr lang="en-US" sz="1800" dirty="0">
                <a:effectLst/>
                <a:latin typeface="Arial" panose="020B0604020202020204" pitchFamily="34" charset="0"/>
                <a:ea typeface="Calibri" panose="020F0502020204030204" pitchFamily="34" charset="0"/>
                <a:cs typeface="Arial" panose="020B0604020202020204" pitchFamily="34" charset="0"/>
              </a:rPr>
              <a:t>workshops</a:t>
            </a:r>
            <a:r>
              <a:rPr lang="el-GR" sz="1800" dirty="0">
                <a:effectLst/>
                <a:latin typeface="Arial" panose="020B0604020202020204" pitchFamily="34" charset="0"/>
                <a:ea typeface="Calibri" panose="020F0502020204030204" pitchFamily="34" charset="0"/>
                <a:cs typeface="Arial" panose="020B0604020202020204" pitchFamily="34" charset="0"/>
              </a:rPr>
              <a:t> ενημερώσεων δεξιοτήτων και νέας γνώσεις αλλά και υποστήριξη διαδικτυακών </a:t>
            </a:r>
            <a:r>
              <a:rPr lang="el-GR" sz="1800" dirty="0" err="1">
                <a:effectLst/>
                <a:latin typeface="Arial" panose="020B0604020202020204" pitchFamily="34" charset="0"/>
                <a:ea typeface="Calibri" panose="020F0502020204030204" pitchFamily="34" charset="0"/>
                <a:cs typeface="Arial" panose="020B0604020202020204" pitchFamily="34" charset="0"/>
              </a:rPr>
              <a:t>πλατφόρμων</a:t>
            </a:r>
            <a:r>
              <a:rPr lang="el-GR" sz="1800" dirty="0">
                <a:effectLst/>
                <a:latin typeface="Arial" panose="020B0604020202020204" pitchFamily="34" charset="0"/>
                <a:ea typeface="Calibri" panose="020F0502020204030204" pitchFamily="34" charset="0"/>
                <a:cs typeface="Arial" panose="020B0604020202020204" pitchFamily="34" charset="0"/>
              </a:rPr>
              <a:t> του κολλεγίου και πληθώρα υλικού της βιβλιοθήκη του </a:t>
            </a:r>
            <a:r>
              <a:rPr lang="en-US" sz="1800" dirty="0">
                <a:effectLst/>
                <a:latin typeface="Arial" panose="020B0604020202020204" pitchFamily="34" charset="0"/>
                <a:ea typeface="Calibri" panose="020F0502020204030204" pitchFamily="34" charset="0"/>
                <a:cs typeface="Arial" panose="020B0604020202020204" pitchFamily="34" charset="0"/>
              </a:rPr>
              <a:t>AMC</a:t>
            </a:r>
            <a:r>
              <a:rPr lang="el-GR" sz="1800" dirty="0">
                <a:effectLst/>
                <a:latin typeface="Arial" panose="020B0604020202020204" pitchFamily="34" charset="0"/>
                <a:ea typeface="Calibri" panose="020F0502020204030204" pitchFamily="34" charset="0"/>
                <a:cs typeface="Arial" panose="020B0604020202020204" pitchFamily="34" charset="0"/>
              </a:rPr>
              <a:t> Μητροπολιτικού για την διεκπεραίωση της εργασίας αυτής. Επιπλέον, θα ήθελα να πω και ένα μεγάλο ευχαριστώ στην οικογένεια μου και τα ζωάκια μου (</a:t>
            </a:r>
            <a:r>
              <a:rPr lang="en-US" sz="1800" i="1" dirty="0">
                <a:effectLst/>
                <a:latin typeface="Arial" panose="020B0604020202020204" pitchFamily="34" charset="0"/>
                <a:ea typeface="Calibri" panose="020F0502020204030204" pitchFamily="34" charset="0"/>
                <a:cs typeface="Arial" panose="020B0604020202020204" pitchFamily="34" charset="0"/>
              </a:rPr>
              <a:t>dogs</a:t>
            </a:r>
            <a:r>
              <a:rPr lang="el-GR" sz="1800" dirty="0">
                <a:effectLst/>
                <a:latin typeface="Arial" panose="020B0604020202020204" pitchFamily="34" charset="0"/>
                <a:ea typeface="Calibri" panose="020F0502020204030204" pitchFamily="34" charset="0"/>
                <a:cs typeface="Arial" panose="020B0604020202020204" pitchFamily="34" charset="0"/>
              </a:rPr>
              <a:t>), οι οποίοι με στήριξαν και με ενθάρρυναν καθ’ όλη τη διάρκεια.</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p:txBody>
      </p:sp>
      <p:sp>
        <p:nvSpPr>
          <p:cNvPr id="4" name="TextBox 3">
            <a:extLst>
              <a:ext uri="{FF2B5EF4-FFF2-40B4-BE49-F238E27FC236}">
                <a16:creationId xmlns:a16="http://schemas.microsoft.com/office/drawing/2014/main" id="{5EF09222-4F8D-4825-9E4F-F45890C99082}"/>
              </a:ext>
            </a:extLst>
          </p:cNvPr>
          <p:cNvSpPr txBox="1"/>
          <p:nvPr/>
        </p:nvSpPr>
        <p:spPr>
          <a:xfrm>
            <a:off x="1126837" y="573315"/>
            <a:ext cx="8153616" cy="523220"/>
          </a:xfrm>
          <a:prstGeom prst="rect">
            <a:avLst/>
          </a:prstGeom>
          <a:noFill/>
        </p:spPr>
        <p:txBody>
          <a:bodyPr wrap="square" rtlCol="0">
            <a:spAutoFit/>
          </a:bodyPr>
          <a:lstStyle/>
          <a:p>
            <a:r>
              <a:rPr lang="el-GR" sz="2800" b="1" dirty="0">
                <a:latin typeface="Arial" panose="020B0604020202020204" pitchFamily="34" charset="0"/>
                <a:cs typeface="Arial" panose="020B0604020202020204" pitchFamily="34" charset="0"/>
              </a:rPr>
              <a:t>ΕΥΧΑΡΙΣΤΙΕΣ</a:t>
            </a:r>
            <a:endParaRPr lang="en-US" sz="28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5708733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B16B5F8B-3925-4037-8FF2-21E705CAD4F3}"/>
              </a:ext>
            </a:extLst>
          </p:cNvPr>
          <p:cNvGrpSpPr/>
          <p:nvPr/>
        </p:nvGrpSpPr>
        <p:grpSpPr>
          <a:xfrm>
            <a:off x="9687728" y="5239065"/>
            <a:ext cx="1187582" cy="1104265"/>
            <a:chOff x="9379963" y="4497336"/>
            <a:chExt cx="1187582" cy="1104265"/>
          </a:xfrm>
        </p:grpSpPr>
        <p:grpSp>
          <p:nvGrpSpPr>
            <p:cNvPr id="18" name="Google Shape;802;p51">
              <a:extLst>
                <a:ext uri="{FF2B5EF4-FFF2-40B4-BE49-F238E27FC236}">
                  <a16:creationId xmlns:a16="http://schemas.microsoft.com/office/drawing/2014/main" id="{79CA3058-A5BD-4DF2-8E34-0281A741D4A2}"/>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45" name="Google Shape;803;p51">
                <a:extLst>
                  <a:ext uri="{FF2B5EF4-FFF2-40B4-BE49-F238E27FC236}">
                    <a16:creationId xmlns:a16="http://schemas.microsoft.com/office/drawing/2014/main" id="{A90902F5-C530-4AF0-BEBA-57197847772C}"/>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04;p51">
                <a:extLst>
                  <a:ext uri="{FF2B5EF4-FFF2-40B4-BE49-F238E27FC236}">
                    <a16:creationId xmlns:a16="http://schemas.microsoft.com/office/drawing/2014/main" id="{63083D56-56A0-4628-9262-A14BF02D310F}"/>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05;p51">
                <a:extLst>
                  <a:ext uri="{FF2B5EF4-FFF2-40B4-BE49-F238E27FC236}">
                    <a16:creationId xmlns:a16="http://schemas.microsoft.com/office/drawing/2014/main" id="{4F731BAE-BBD1-4EB7-B70F-1298D6D99D0E}"/>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06;p51">
                <a:extLst>
                  <a:ext uri="{FF2B5EF4-FFF2-40B4-BE49-F238E27FC236}">
                    <a16:creationId xmlns:a16="http://schemas.microsoft.com/office/drawing/2014/main" id="{3E49F361-F29F-4B80-8174-CE11A3F9BBAD}"/>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07;p51">
                <a:extLst>
                  <a:ext uri="{FF2B5EF4-FFF2-40B4-BE49-F238E27FC236}">
                    <a16:creationId xmlns:a16="http://schemas.microsoft.com/office/drawing/2014/main" id="{A3C42555-0B20-46AD-A462-59A89BFF57AC}"/>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08;p51">
                <a:extLst>
                  <a:ext uri="{FF2B5EF4-FFF2-40B4-BE49-F238E27FC236}">
                    <a16:creationId xmlns:a16="http://schemas.microsoft.com/office/drawing/2014/main" id="{A1A8A4B8-CFDA-45E6-A887-F73953D74448}"/>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09;p51">
                <a:extLst>
                  <a:ext uri="{FF2B5EF4-FFF2-40B4-BE49-F238E27FC236}">
                    <a16:creationId xmlns:a16="http://schemas.microsoft.com/office/drawing/2014/main" id="{CAA85AAC-BB4F-48D9-9314-D1B631345143}"/>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0;p51">
                <a:extLst>
                  <a:ext uri="{FF2B5EF4-FFF2-40B4-BE49-F238E27FC236}">
                    <a16:creationId xmlns:a16="http://schemas.microsoft.com/office/drawing/2014/main" id="{C8D442F5-871C-4DA3-AC38-BAAAD946CCA4}"/>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1;p51">
                <a:extLst>
                  <a:ext uri="{FF2B5EF4-FFF2-40B4-BE49-F238E27FC236}">
                    <a16:creationId xmlns:a16="http://schemas.microsoft.com/office/drawing/2014/main" id="{B0C9834C-4C74-4E99-B04D-4C274D67BBF8}"/>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2;p51">
                <a:extLst>
                  <a:ext uri="{FF2B5EF4-FFF2-40B4-BE49-F238E27FC236}">
                    <a16:creationId xmlns:a16="http://schemas.microsoft.com/office/drawing/2014/main" id="{BF7E7C6F-2A50-40DA-B960-51D69A968540}"/>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13;p51">
                <a:extLst>
                  <a:ext uri="{FF2B5EF4-FFF2-40B4-BE49-F238E27FC236}">
                    <a16:creationId xmlns:a16="http://schemas.microsoft.com/office/drawing/2014/main" id="{32DB3D6D-32CF-4543-B46F-C17D77A4CEF8}"/>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14;p51">
                <a:extLst>
                  <a:ext uri="{FF2B5EF4-FFF2-40B4-BE49-F238E27FC236}">
                    <a16:creationId xmlns:a16="http://schemas.microsoft.com/office/drawing/2014/main" id="{04B85F2B-8497-4331-B19E-D810411CE821}"/>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15;p51">
                <a:extLst>
                  <a:ext uri="{FF2B5EF4-FFF2-40B4-BE49-F238E27FC236}">
                    <a16:creationId xmlns:a16="http://schemas.microsoft.com/office/drawing/2014/main" id="{7E377BB5-4341-4B4D-9972-7E51F93CD4C1}"/>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6;p51">
                <a:extLst>
                  <a:ext uri="{FF2B5EF4-FFF2-40B4-BE49-F238E27FC236}">
                    <a16:creationId xmlns:a16="http://schemas.microsoft.com/office/drawing/2014/main" id="{DAA80321-1EE0-4AB4-9B28-EDBDAB352CCC}"/>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17;p51">
                <a:extLst>
                  <a:ext uri="{FF2B5EF4-FFF2-40B4-BE49-F238E27FC236}">
                    <a16:creationId xmlns:a16="http://schemas.microsoft.com/office/drawing/2014/main" id="{39551DBD-A198-45F3-B30B-15F9E0A1A8A6}"/>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18;p51">
                <a:extLst>
                  <a:ext uri="{FF2B5EF4-FFF2-40B4-BE49-F238E27FC236}">
                    <a16:creationId xmlns:a16="http://schemas.microsoft.com/office/drawing/2014/main" id="{8DC8BC2F-C0D9-42BE-AA8D-361E7C3CA37F}"/>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19;p51">
                <a:extLst>
                  <a:ext uri="{FF2B5EF4-FFF2-40B4-BE49-F238E27FC236}">
                    <a16:creationId xmlns:a16="http://schemas.microsoft.com/office/drawing/2014/main" id="{0EE24757-596F-4868-BA7D-C7BC5013D6F0}"/>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20;p51">
                <a:extLst>
                  <a:ext uri="{FF2B5EF4-FFF2-40B4-BE49-F238E27FC236}">
                    <a16:creationId xmlns:a16="http://schemas.microsoft.com/office/drawing/2014/main" id="{1F202E0F-1F00-4AE7-A4D3-1E055D878B77}"/>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21;p51">
                <a:extLst>
                  <a:ext uri="{FF2B5EF4-FFF2-40B4-BE49-F238E27FC236}">
                    <a16:creationId xmlns:a16="http://schemas.microsoft.com/office/drawing/2014/main" id="{9E9232B7-534B-4D18-A1A3-3F251EE2F8D1}"/>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22;p51">
                <a:extLst>
                  <a:ext uri="{FF2B5EF4-FFF2-40B4-BE49-F238E27FC236}">
                    <a16:creationId xmlns:a16="http://schemas.microsoft.com/office/drawing/2014/main" id="{C663CEBD-C2EC-41A5-9E4F-F6F60C92F1C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23;p51">
                <a:extLst>
                  <a:ext uri="{FF2B5EF4-FFF2-40B4-BE49-F238E27FC236}">
                    <a16:creationId xmlns:a16="http://schemas.microsoft.com/office/drawing/2014/main" id="{B85EAF27-787C-490A-8A3F-82885ADCC0A4}"/>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24;p51">
                <a:extLst>
                  <a:ext uri="{FF2B5EF4-FFF2-40B4-BE49-F238E27FC236}">
                    <a16:creationId xmlns:a16="http://schemas.microsoft.com/office/drawing/2014/main" id="{EBE5B63C-DEE2-48D4-84CB-1B5FD1280FD3}"/>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25;p51">
                <a:extLst>
                  <a:ext uri="{FF2B5EF4-FFF2-40B4-BE49-F238E27FC236}">
                    <a16:creationId xmlns:a16="http://schemas.microsoft.com/office/drawing/2014/main" id="{B6F4704E-9DCE-4CEC-9E08-516934C6F5D6}"/>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26;p51">
                <a:extLst>
                  <a:ext uri="{FF2B5EF4-FFF2-40B4-BE49-F238E27FC236}">
                    <a16:creationId xmlns:a16="http://schemas.microsoft.com/office/drawing/2014/main" id="{7ABF9946-EE09-4459-935D-EBF0AB418C91}"/>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27;p51">
                <a:extLst>
                  <a:ext uri="{FF2B5EF4-FFF2-40B4-BE49-F238E27FC236}">
                    <a16:creationId xmlns:a16="http://schemas.microsoft.com/office/drawing/2014/main" id="{205A24BC-568A-4558-82C0-8488FDE4A0E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9" name="Group 18">
              <a:extLst>
                <a:ext uri="{FF2B5EF4-FFF2-40B4-BE49-F238E27FC236}">
                  <a16:creationId xmlns:a16="http://schemas.microsoft.com/office/drawing/2014/main" id="{AEC2D205-DF1C-4EC0-8AA6-831910807BF8}"/>
                </a:ext>
              </a:extLst>
            </p:cNvPr>
            <p:cNvGrpSpPr/>
            <p:nvPr/>
          </p:nvGrpSpPr>
          <p:grpSpPr>
            <a:xfrm>
              <a:off x="9459173" y="4651735"/>
              <a:ext cx="965465" cy="814701"/>
              <a:chOff x="2122052" y="4430998"/>
              <a:chExt cx="516998" cy="436265"/>
            </a:xfrm>
          </p:grpSpPr>
          <p:sp>
            <p:nvSpPr>
              <p:cNvPr id="20" name="Google Shape;663;p48">
                <a:extLst>
                  <a:ext uri="{FF2B5EF4-FFF2-40B4-BE49-F238E27FC236}">
                    <a16:creationId xmlns:a16="http://schemas.microsoft.com/office/drawing/2014/main" id="{101711B9-797E-4DFA-8BC2-4383178ACAA5}"/>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64;p48">
                <a:extLst>
                  <a:ext uri="{FF2B5EF4-FFF2-40B4-BE49-F238E27FC236}">
                    <a16:creationId xmlns:a16="http://schemas.microsoft.com/office/drawing/2014/main" id="{813F9F5C-E0EB-4BF5-8BD1-A8BEAC5ED53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5;p48">
                <a:extLst>
                  <a:ext uri="{FF2B5EF4-FFF2-40B4-BE49-F238E27FC236}">
                    <a16:creationId xmlns:a16="http://schemas.microsoft.com/office/drawing/2014/main" id="{F85E4EE0-CB66-43C7-9FD3-23A8FF42C515}"/>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66;p48">
                <a:extLst>
                  <a:ext uri="{FF2B5EF4-FFF2-40B4-BE49-F238E27FC236}">
                    <a16:creationId xmlns:a16="http://schemas.microsoft.com/office/drawing/2014/main" id="{D7E65E64-3443-41F4-879E-A794423593CB}"/>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67;p48">
                <a:extLst>
                  <a:ext uri="{FF2B5EF4-FFF2-40B4-BE49-F238E27FC236}">
                    <a16:creationId xmlns:a16="http://schemas.microsoft.com/office/drawing/2014/main" id="{5E0FF82D-7AE4-4CB1-8B9F-38FBE4B10507}"/>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68;p48">
                <a:extLst>
                  <a:ext uri="{FF2B5EF4-FFF2-40B4-BE49-F238E27FC236}">
                    <a16:creationId xmlns:a16="http://schemas.microsoft.com/office/drawing/2014/main" id="{9047A99A-2313-4A55-A3CD-8E4B9195069A}"/>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6" name="Google Shape;669;p48">
                <a:extLst>
                  <a:ext uri="{FF2B5EF4-FFF2-40B4-BE49-F238E27FC236}">
                    <a16:creationId xmlns:a16="http://schemas.microsoft.com/office/drawing/2014/main" id="{43FB2ED2-4B58-4461-A7FA-B75A1CE07ADD}"/>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0;p48">
                <a:extLst>
                  <a:ext uri="{FF2B5EF4-FFF2-40B4-BE49-F238E27FC236}">
                    <a16:creationId xmlns:a16="http://schemas.microsoft.com/office/drawing/2014/main" id="{77D73E29-A271-4545-8BAF-2BACB20D2A74}"/>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1;p48">
                <a:extLst>
                  <a:ext uri="{FF2B5EF4-FFF2-40B4-BE49-F238E27FC236}">
                    <a16:creationId xmlns:a16="http://schemas.microsoft.com/office/drawing/2014/main" id="{7CCA8198-14F4-40C6-9E78-7B48B72C4AC8}"/>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2;p48">
                <a:extLst>
                  <a:ext uri="{FF2B5EF4-FFF2-40B4-BE49-F238E27FC236}">
                    <a16:creationId xmlns:a16="http://schemas.microsoft.com/office/drawing/2014/main" id="{7A2B02AF-3F2A-4938-8442-65EB4B4356E0}"/>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3;p48">
                <a:extLst>
                  <a:ext uri="{FF2B5EF4-FFF2-40B4-BE49-F238E27FC236}">
                    <a16:creationId xmlns:a16="http://schemas.microsoft.com/office/drawing/2014/main" id="{8EAF2ABE-51D1-4004-A8A5-B537F99F7077}"/>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4;p48">
                <a:extLst>
                  <a:ext uri="{FF2B5EF4-FFF2-40B4-BE49-F238E27FC236}">
                    <a16:creationId xmlns:a16="http://schemas.microsoft.com/office/drawing/2014/main" id="{586B28B1-0845-4C81-99B2-F467D1F181B9}"/>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5;p48">
                <a:extLst>
                  <a:ext uri="{FF2B5EF4-FFF2-40B4-BE49-F238E27FC236}">
                    <a16:creationId xmlns:a16="http://schemas.microsoft.com/office/drawing/2014/main" id="{E46CED30-B85B-41B1-AD07-68CA48DC78DA}"/>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6;p48">
                <a:extLst>
                  <a:ext uri="{FF2B5EF4-FFF2-40B4-BE49-F238E27FC236}">
                    <a16:creationId xmlns:a16="http://schemas.microsoft.com/office/drawing/2014/main" id="{9F94262D-1A8A-4903-A7CC-5DEB6C3A03A7}"/>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7;p48">
                <a:extLst>
                  <a:ext uri="{FF2B5EF4-FFF2-40B4-BE49-F238E27FC236}">
                    <a16:creationId xmlns:a16="http://schemas.microsoft.com/office/drawing/2014/main" id="{B9B56412-E22D-4C2E-A20E-534B0692767A}"/>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8;p48">
                <a:extLst>
                  <a:ext uri="{FF2B5EF4-FFF2-40B4-BE49-F238E27FC236}">
                    <a16:creationId xmlns:a16="http://schemas.microsoft.com/office/drawing/2014/main" id="{08E2BFF2-6D18-4383-864A-00084C6008D2}"/>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9;p48">
                <a:extLst>
                  <a:ext uri="{FF2B5EF4-FFF2-40B4-BE49-F238E27FC236}">
                    <a16:creationId xmlns:a16="http://schemas.microsoft.com/office/drawing/2014/main" id="{BC13DB66-8938-432E-9EB7-65D4907FD9BB}"/>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80;p48">
                <a:extLst>
                  <a:ext uri="{FF2B5EF4-FFF2-40B4-BE49-F238E27FC236}">
                    <a16:creationId xmlns:a16="http://schemas.microsoft.com/office/drawing/2014/main" id="{65B8F90F-F7A3-456A-B3D9-94CFD11DD162}"/>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81;p48">
                <a:extLst>
                  <a:ext uri="{FF2B5EF4-FFF2-40B4-BE49-F238E27FC236}">
                    <a16:creationId xmlns:a16="http://schemas.microsoft.com/office/drawing/2014/main" id="{9364E3F3-5F03-4305-98CE-A2F3167B0B0D}"/>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2;p48">
                <a:extLst>
                  <a:ext uri="{FF2B5EF4-FFF2-40B4-BE49-F238E27FC236}">
                    <a16:creationId xmlns:a16="http://schemas.microsoft.com/office/drawing/2014/main" id="{42EEAC11-3577-4530-A53B-99B08EB45F64}"/>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3;p48">
                <a:extLst>
                  <a:ext uri="{FF2B5EF4-FFF2-40B4-BE49-F238E27FC236}">
                    <a16:creationId xmlns:a16="http://schemas.microsoft.com/office/drawing/2014/main" id="{2009A6C3-48E1-4ADD-8643-CD77DBE261F6}"/>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1" name="Google Shape;684;p48">
                <a:extLst>
                  <a:ext uri="{FF2B5EF4-FFF2-40B4-BE49-F238E27FC236}">
                    <a16:creationId xmlns:a16="http://schemas.microsoft.com/office/drawing/2014/main" id="{4BD78215-BEA4-4AD5-B2CC-D620D566BC78}"/>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685;p48">
                <a:extLst>
                  <a:ext uri="{FF2B5EF4-FFF2-40B4-BE49-F238E27FC236}">
                    <a16:creationId xmlns:a16="http://schemas.microsoft.com/office/drawing/2014/main" id="{FABC45CD-C4AF-45D3-A4BA-9B1658C6125F}"/>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6;p48">
                <a:extLst>
                  <a:ext uri="{FF2B5EF4-FFF2-40B4-BE49-F238E27FC236}">
                    <a16:creationId xmlns:a16="http://schemas.microsoft.com/office/drawing/2014/main" id="{648BC293-5495-48E9-840A-96E91D692840}"/>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7;p48">
                <a:extLst>
                  <a:ext uri="{FF2B5EF4-FFF2-40B4-BE49-F238E27FC236}">
                    <a16:creationId xmlns:a16="http://schemas.microsoft.com/office/drawing/2014/main" id="{3162A85A-6A81-4489-9926-85466F614D10}"/>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Metaverse concept (2)</a:t>
            </a:r>
          </a:p>
        </p:txBody>
      </p:sp>
      <p:graphicFrame>
        <p:nvGraphicFramePr>
          <p:cNvPr id="13" name="Chart 12">
            <a:extLst>
              <a:ext uri="{FF2B5EF4-FFF2-40B4-BE49-F238E27FC236}">
                <a16:creationId xmlns:a16="http://schemas.microsoft.com/office/drawing/2014/main" id="{7AAD1621-E19C-456F-B514-38358BAFADDF}"/>
              </a:ext>
            </a:extLst>
          </p:cNvPr>
          <p:cNvGraphicFramePr/>
          <p:nvPr>
            <p:extLst>
              <p:ext uri="{D42A27DB-BD31-4B8C-83A1-F6EECF244321}">
                <p14:modId xmlns:p14="http://schemas.microsoft.com/office/powerpoint/2010/main" val="2088153817"/>
              </p:ext>
            </p:extLst>
          </p:nvPr>
        </p:nvGraphicFramePr>
        <p:xfrm>
          <a:off x="2804017" y="1594954"/>
          <a:ext cx="6583966" cy="4389311"/>
        </p:xfrm>
        <a:graphic>
          <a:graphicData uri="http://schemas.openxmlformats.org/drawingml/2006/chart">
            <c:chart xmlns:c="http://schemas.openxmlformats.org/drawingml/2006/chart" xmlns:r="http://schemas.openxmlformats.org/officeDocument/2006/relationships" r:id="rId3"/>
          </a:graphicData>
        </a:graphic>
      </p:graphicFrame>
      <p:sp>
        <p:nvSpPr>
          <p:cNvPr id="14" name="Google Shape;1714;p63">
            <a:extLst>
              <a:ext uri="{FF2B5EF4-FFF2-40B4-BE49-F238E27FC236}">
                <a16:creationId xmlns:a16="http://schemas.microsoft.com/office/drawing/2014/main" id="{90841E9E-7EEA-44D5-8A38-DA47B515C8A9}"/>
              </a:ext>
            </a:extLst>
          </p:cNvPr>
          <p:cNvSpPr txBox="1">
            <a:spLocks/>
          </p:cNvSpPr>
          <p:nvPr/>
        </p:nvSpPr>
        <p:spPr>
          <a:xfrm>
            <a:off x="6317647" y="5669881"/>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kern="0" dirty="0">
                <a:solidFill>
                  <a:srgbClr val="D5FA68"/>
                </a:solidFill>
              </a:rPr>
              <a:t>Its not about the numbers</a:t>
            </a:r>
            <a:endParaRPr kumimoji="0" lang="en-US" sz="1800" b="0" i="0" u="none" strike="noStrike" kern="0" cap="none" spc="0" normalizeH="0" baseline="0" noProof="0" dirty="0">
              <a:ln>
                <a:noFill/>
              </a:ln>
              <a:solidFill>
                <a:srgbClr val="D5FA68"/>
              </a:solidFill>
              <a:effectLst/>
              <a:uLnTx/>
              <a:uFillTx/>
              <a:latin typeface="Sora"/>
              <a:cs typeface="Sora"/>
              <a:sym typeface="Sora"/>
            </a:endParaRPr>
          </a:p>
        </p:txBody>
      </p:sp>
      <p:sp>
        <p:nvSpPr>
          <p:cNvPr id="15" name="Google Shape;12;p2">
            <a:extLst>
              <a:ext uri="{FF2B5EF4-FFF2-40B4-BE49-F238E27FC236}">
                <a16:creationId xmlns:a16="http://schemas.microsoft.com/office/drawing/2014/main" id="{4AAAB64C-CE04-4238-91DC-EAFA427EC31A}"/>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2;p2">
            <a:extLst>
              <a:ext uri="{FF2B5EF4-FFF2-40B4-BE49-F238E27FC236}">
                <a16:creationId xmlns:a16="http://schemas.microsoft.com/office/drawing/2014/main" id="{D55187C9-C230-4BA5-81D7-86E1B3FAAA56}"/>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2103;p69">
            <a:extLst>
              <a:ext uri="{FF2B5EF4-FFF2-40B4-BE49-F238E27FC236}">
                <a16:creationId xmlns:a16="http://schemas.microsoft.com/office/drawing/2014/main" id="{60BF81CF-B4FF-4FA9-A2E2-3085E774D3BD}"/>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2104;p69">
            <a:extLst>
              <a:ext uri="{FF2B5EF4-FFF2-40B4-BE49-F238E27FC236}">
                <a16:creationId xmlns:a16="http://schemas.microsoft.com/office/drawing/2014/main" id="{E4F24DE2-2850-4B99-B25D-E9816E28CD87}"/>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2105;p69">
            <a:extLst>
              <a:ext uri="{FF2B5EF4-FFF2-40B4-BE49-F238E27FC236}">
                <a16:creationId xmlns:a16="http://schemas.microsoft.com/office/drawing/2014/main" id="{FA922627-4F0C-47CA-825B-7EDA122F72CF}"/>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2106;p69">
            <a:extLst>
              <a:ext uri="{FF2B5EF4-FFF2-40B4-BE49-F238E27FC236}">
                <a16:creationId xmlns:a16="http://schemas.microsoft.com/office/drawing/2014/main" id="{8C6AB910-77D2-4610-A1AD-B3B2F275B1EC}"/>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2107;p69">
            <a:extLst>
              <a:ext uri="{FF2B5EF4-FFF2-40B4-BE49-F238E27FC236}">
                <a16:creationId xmlns:a16="http://schemas.microsoft.com/office/drawing/2014/main" id="{7026B48F-3E18-4C4A-8F24-055959D14001}"/>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2139;p69">
            <a:extLst>
              <a:ext uri="{FF2B5EF4-FFF2-40B4-BE49-F238E27FC236}">
                <a16:creationId xmlns:a16="http://schemas.microsoft.com/office/drawing/2014/main" id="{3902C7A6-44A1-46B4-B8D4-852DACD770F7}"/>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6" name="Group 75">
            <a:extLst>
              <a:ext uri="{FF2B5EF4-FFF2-40B4-BE49-F238E27FC236}">
                <a16:creationId xmlns:a16="http://schemas.microsoft.com/office/drawing/2014/main" id="{997E8E1C-EE2C-492B-B05E-28310C12B284}"/>
              </a:ext>
            </a:extLst>
          </p:cNvPr>
          <p:cNvGrpSpPr/>
          <p:nvPr/>
        </p:nvGrpSpPr>
        <p:grpSpPr>
          <a:xfrm flipH="1">
            <a:off x="1983260" y="2127291"/>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7" name="Group 76">
              <a:extLst>
                <a:ext uri="{FF2B5EF4-FFF2-40B4-BE49-F238E27FC236}">
                  <a16:creationId xmlns:a16="http://schemas.microsoft.com/office/drawing/2014/main" id="{B7A478B3-E993-4DA4-B97B-888574910FCB}"/>
                </a:ext>
              </a:extLst>
            </p:cNvPr>
            <p:cNvGrpSpPr/>
            <p:nvPr/>
          </p:nvGrpSpPr>
          <p:grpSpPr>
            <a:xfrm>
              <a:off x="5241585" y="4198069"/>
              <a:ext cx="411449" cy="357382"/>
              <a:chOff x="5241585" y="4198069"/>
              <a:chExt cx="411449" cy="357382"/>
            </a:xfrm>
          </p:grpSpPr>
          <p:sp>
            <p:nvSpPr>
              <p:cNvPr id="79" name="Google Shape;658;p48">
                <a:extLst>
                  <a:ext uri="{FF2B5EF4-FFF2-40B4-BE49-F238E27FC236}">
                    <a16:creationId xmlns:a16="http://schemas.microsoft.com/office/drawing/2014/main" id="{E98DF69C-2482-4EEC-97D7-0F5C3024AB90}"/>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659;p48">
                <a:extLst>
                  <a:ext uri="{FF2B5EF4-FFF2-40B4-BE49-F238E27FC236}">
                    <a16:creationId xmlns:a16="http://schemas.microsoft.com/office/drawing/2014/main" id="{A72FB1AB-0DF2-4D34-9363-3EAA74C6FBC2}"/>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1" name="Google Shape;660;p48">
                <a:extLst>
                  <a:ext uri="{FF2B5EF4-FFF2-40B4-BE49-F238E27FC236}">
                    <a16:creationId xmlns:a16="http://schemas.microsoft.com/office/drawing/2014/main" id="{503A0F68-B185-45EE-B9A9-1591BB385E7C}"/>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8" name="Google Shape;661;p48">
              <a:extLst>
                <a:ext uri="{FF2B5EF4-FFF2-40B4-BE49-F238E27FC236}">
                  <a16:creationId xmlns:a16="http://schemas.microsoft.com/office/drawing/2014/main" id="{7AEB09AE-A267-44FA-98AD-C43D30A5454B}"/>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47231302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1BE471B7-8B2E-45AD-8440-DE5F68251DF5}"/>
              </a:ext>
            </a:extLst>
          </p:cNvPr>
          <p:cNvGrpSpPr/>
          <p:nvPr/>
        </p:nvGrpSpPr>
        <p:grpSpPr>
          <a:xfrm>
            <a:off x="10795312" y="2839521"/>
            <a:ext cx="1187582" cy="1104265"/>
            <a:chOff x="9379963" y="4497336"/>
            <a:chExt cx="1187582" cy="1104265"/>
          </a:xfrm>
        </p:grpSpPr>
        <p:grpSp>
          <p:nvGrpSpPr>
            <p:cNvPr id="15" name="Google Shape;802;p51">
              <a:extLst>
                <a:ext uri="{FF2B5EF4-FFF2-40B4-BE49-F238E27FC236}">
                  <a16:creationId xmlns:a16="http://schemas.microsoft.com/office/drawing/2014/main" id="{7739591E-77DE-4449-A87B-75B522667A06}"/>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42" name="Google Shape;803;p51">
                <a:extLst>
                  <a:ext uri="{FF2B5EF4-FFF2-40B4-BE49-F238E27FC236}">
                    <a16:creationId xmlns:a16="http://schemas.microsoft.com/office/drawing/2014/main" id="{C06924EF-E319-48CB-A38E-9432184B0EEF}"/>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4;p51">
                <a:extLst>
                  <a:ext uri="{FF2B5EF4-FFF2-40B4-BE49-F238E27FC236}">
                    <a16:creationId xmlns:a16="http://schemas.microsoft.com/office/drawing/2014/main" id="{AB62D8AB-E1D7-4CB3-9ECE-9F978CDE7D1F}"/>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05;p51">
                <a:extLst>
                  <a:ext uri="{FF2B5EF4-FFF2-40B4-BE49-F238E27FC236}">
                    <a16:creationId xmlns:a16="http://schemas.microsoft.com/office/drawing/2014/main" id="{D02F83BE-EA27-4B78-B54B-AD4A8ACC97C4}"/>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06;p51">
                <a:extLst>
                  <a:ext uri="{FF2B5EF4-FFF2-40B4-BE49-F238E27FC236}">
                    <a16:creationId xmlns:a16="http://schemas.microsoft.com/office/drawing/2014/main" id="{96B9BE7A-A940-4646-B6BD-A728BE318152}"/>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07;p51">
                <a:extLst>
                  <a:ext uri="{FF2B5EF4-FFF2-40B4-BE49-F238E27FC236}">
                    <a16:creationId xmlns:a16="http://schemas.microsoft.com/office/drawing/2014/main" id="{CD166461-CAC8-40DB-A830-E891B1A76CBF}"/>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08;p51">
                <a:extLst>
                  <a:ext uri="{FF2B5EF4-FFF2-40B4-BE49-F238E27FC236}">
                    <a16:creationId xmlns:a16="http://schemas.microsoft.com/office/drawing/2014/main" id="{019B0980-1F14-46EB-906C-28924E96DA5D}"/>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09;p51">
                <a:extLst>
                  <a:ext uri="{FF2B5EF4-FFF2-40B4-BE49-F238E27FC236}">
                    <a16:creationId xmlns:a16="http://schemas.microsoft.com/office/drawing/2014/main" id="{6A31C855-C334-4C30-9187-BA87DDFCE2D0}"/>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0;p51">
                <a:extLst>
                  <a:ext uri="{FF2B5EF4-FFF2-40B4-BE49-F238E27FC236}">
                    <a16:creationId xmlns:a16="http://schemas.microsoft.com/office/drawing/2014/main" id="{F5FEB475-50B0-4B27-8140-D466FA4C9FD7}"/>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1;p51">
                <a:extLst>
                  <a:ext uri="{FF2B5EF4-FFF2-40B4-BE49-F238E27FC236}">
                    <a16:creationId xmlns:a16="http://schemas.microsoft.com/office/drawing/2014/main" id="{1607B82A-BE30-48CA-AF40-FC3878EBF72D}"/>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2;p51">
                <a:extLst>
                  <a:ext uri="{FF2B5EF4-FFF2-40B4-BE49-F238E27FC236}">
                    <a16:creationId xmlns:a16="http://schemas.microsoft.com/office/drawing/2014/main" id="{978B8171-1BD9-462B-8740-9C332BBE3919}"/>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3;p51">
                <a:extLst>
                  <a:ext uri="{FF2B5EF4-FFF2-40B4-BE49-F238E27FC236}">
                    <a16:creationId xmlns:a16="http://schemas.microsoft.com/office/drawing/2014/main" id="{CE398334-4951-4ECE-BB9E-AA58E3C63C0C}"/>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4;p51">
                <a:extLst>
                  <a:ext uri="{FF2B5EF4-FFF2-40B4-BE49-F238E27FC236}">
                    <a16:creationId xmlns:a16="http://schemas.microsoft.com/office/drawing/2014/main" id="{01B7162B-CC0E-47F9-B401-A4E46C8BF257}"/>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5;p51">
                <a:extLst>
                  <a:ext uri="{FF2B5EF4-FFF2-40B4-BE49-F238E27FC236}">
                    <a16:creationId xmlns:a16="http://schemas.microsoft.com/office/drawing/2014/main" id="{E8E0B1D0-893A-4607-BD82-6B430B3947DB}"/>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16;p51">
                <a:extLst>
                  <a:ext uri="{FF2B5EF4-FFF2-40B4-BE49-F238E27FC236}">
                    <a16:creationId xmlns:a16="http://schemas.microsoft.com/office/drawing/2014/main" id="{09959DF1-D4B3-4885-9AD8-E94F0E7A5F7D}"/>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17;p51">
                <a:extLst>
                  <a:ext uri="{FF2B5EF4-FFF2-40B4-BE49-F238E27FC236}">
                    <a16:creationId xmlns:a16="http://schemas.microsoft.com/office/drawing/2014/main" id="{8A7D2F81-9164-42B2-B9A7-63A6893F34B0}"/>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18;p51">
                <a:extLst>
                  <a:ext uri="{FF2B5EF4-FFF2-40B4-BE49-F238E27FC236}">
                    <a16:creationId xmlns:a16="http://schemas.microsoft.com/office/drawing/2014/main" id="{39F72EC7-2BDF-47D0-8632-3A4A1D26FF30}"/>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9;p51">
                <a:extLst>
                  <a:ext uri="{FF2B5EF4-FFF2-40B4-BE49-F238E27FC236}">
                    <a16:creationId xmlns:a16="http://schemas.microsoft.com/office/drawing/2014/main" id="{9A65341A-5BE8-47F0-B7E4-B44460CCC6C6}"/>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0;p51">
                <a:extLst>
                  <a:ext uri="{FF2B5EF4-FFF2-40B4-BE49-F238E27FC236}">
                    <a16:creationId xmlns:a16="http://schemas.microsoft.com/office/drawing/2014/main" id="{363E97CE-D640-44EE-92E0-2CDBFA0AF307}"/>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1;p51">
                <a:extLst>
                  <a:ext uri="{FF2B5EF4-FFF2-40B4-BE49-F238E27FC236}">
                    <a16:creationId xmlns:a16="http://schemas.microsoft.com/office/drawing/2014/main" id="{768156DE-2469-4C4A-A662-1DE7F81E24E1}"/>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2;p51">
                <a:extLst>
                  <a:ext uri="{FF2B5EF4-FFF2-40B4-BE49-F238E27FC236}">
                    <a16:creationId xmlns:a16="http://schemas.microsoft.com/office/drawing/2014/main" id="{18887192-D336-476D-8089-C286FE9FECF7}"/>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23;p51">
                <a:extLst>
                  <a:ext uri="{FF2B5EF4-FFF2-40B4-BE49-F238E27FC236}">
                    <a16:creationId xmlns:a16="http://schemas.microsoft.com/office/drawing/2014/main" id="{850EE15C-354D-4E69-96C3-BCCF580B5A24}"/>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24;p51">
                <a:extLst>
                  <a:ext uri="{FF2B5EF4-FFF2-40B4-BE49-F238E27FC236}">
                    <a16:creationId xmlns:a16="http://schemas.microsoft.com/office/drawing/2014/main" id="{B791791E-F8AE-4113-B367-A72AE8BD3CFB}"/>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25;p51">
                <a:extLst>
                  <a:ext uri="{FF2B5EF4-FFF2-40B4-BE49-F238E27FC236}">
                    <a16:creationId xmlns:a16="http://schemas.microsoft.com/office/drawing/2014/main" id="{0B7AFC2A-A1A7-47F3-973F-A332BCE8E7C5}"/>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26;p51">
                <a:extLst>
                  <a:ext uri="{FF2B5EF4-FFF2-40B4-BE49-F238E27FC236}">
                    <a16:creationId xmlns:a16="http://schemas.microsoft.com/office/drawing/2014/main" id="{A7B0C489-FA18-47F7-ADB4-15ED90C8F218}"/>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27;p51">
                <a:extLst>
                  <a:ext uri="{FF2B5EF4-FFF2-40B4-BE49-F238E27FC236}">
                    <a16:creationId xmlns:a16="http://schemas.microsoft.com/office/drawing/2014/main" id="{1709D1A9-8BEC-4EAB-84FB-CCA03757C07B}"/>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6" name="Group 15">
              <a:extLst>
                <a:ext uri="{FF2B5EF4-FFF2-40B4-BE49-F238E27FC236}">
                  <a16:creationId xmlns:a16="http://schemas.microsoft.com/office/drawing/2014/main" id="{252F5520-9D09-4A6F-94AB-C5BB79B0DAB7}"/>
                </a:ext>
              </a:extLst>
            </p:cNvPr>
            <p:cNvGrpSpPr/>
            <p:nvPr/>
          </p:nvGrpSpPr>
          <p:grpSpPr>
            <a:xfrm>
              <a:off x="9459173" y="4651735"/>
              <a:ext cx="965465" cy="814701"/>
              <a:chOff x="2122052" y="4430998"/>
              <a:chExt cx="516998" cy="436265"/>
            </a:xfrm>
          </p:grpSpPr>
          <p:sp>
            <p:nvSpPr>
              <p:cNvPr id="17" name="Google Shape;663;p48">
                <a:extLst>
                  <a:ext uri="{FF2B5EF4-FFF2-40B4-BE49-F238E27FC236}">
                    <a16:creationId xmlns:a16="http://schemas.microsoft.com/office/drawing/2014/main" id="{0F21EFFA-A027-4A90-8705-00488DC96B06}"/>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64;p48">
                <a:extLst>
                  <a:ext uri="{FF2B5EF4-FFF2-40B4-BE49-F238E27FC236}">
                    <a16:creationId xmlns:a16="http://schemas.microsoft.com/office/drawing/2014/main" id="{0087D4B3-55DD-467F-AC65-765414F14D04}"/>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65;p48">
                <a:extLst>
                  <a:ext uri="{FF2B5EF4-FFF2-40B4-BE49-F238E27FC236}">
                    <a16:creationId xmlns:a16="http://schemas.microsoft.com/office/drawing/2014/main" id="{3772820C-0BDA-4AE7-AD6B-B25DCA8E7ECB}"/>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66;p48">
                <a:extLst>
                  <a:ext uri="{FF2B5EF4-FFF2-40B4-BE49-F238E27FC236}">
                    <a16:creationId xmlns:a16="http://schemas.microsoft.com/office/drawing/2014/main" id="{9DF8AACA-2A7E-4EBE-B26D-D8472484087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67;p48">
                <a:extLst>
                  <a:ext uri="{FF2B5EF4-FFF2-40B4-BE49-F238E27FC236}">
                    <a16:creationId xmlns:a16="http://schemas.microsoft.com/office/drawing/2014/main" id="{A2AF6C2F-302E-4829-A5BC-92CB47CD9BB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8;p48">
                <a:extLst>
                  <a:ext uri="{FF2B5EF4-FFF2-40B4-BE49-F238E27FC236}">
                    <a16:creationId xmlns:a16="http://schemas.microsoft.com/office/drawing/2014/main" id="{ABF01EF6-6B8E-4D95-8754-21AE68BF558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3" name="Google Shape;669;p48">
                <a:extLst>
                  <a:ext uri="{FF2B5EF4-FFF2-40B4-BE49-F238E27FC236}">
                    <a16:creationId xmlns:a16="http://schemas.microsoft.com/office/drawing/2014/main" id="{E39C42D1-F012-4F8C-A354-0259CD696E65}"/>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0;p48">
                <a:extLst>
                  <a:ext uri="{FF2B5EF4-FFF2-40B4-BE49-F238E27FC236}">
                    <a16:creationId xmlns:a16="http://schemas.microsoft.com/office/drawing/2014/main" id="{69991ED3-494B-4081-99F6-E06A9E1080D7}"/>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1;p48">
                <a:extLst>
                  <a:ext uri="{FF2B5EF4-FFF2-40B4-BE49-F238E27FC236}">
                    <a16:creationId xmlns:a16="http://schemas.microsoft.com/office/drawing/2014/main" id="{D21C3985-13BD-4A21-9392-9677663E83E7}"/>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2;p48">
                <a:extLst>
                  <a:ext uri="{FF2B5EF4-FFF2-40B4-BE49-F238E27FC236}">
                    <a16:creationId xmlns:a16="http://schemas.microsoft.com/office/drawing/2014/main" id="{81BA3FA1-FB36-4539-BA6F-9F3C1C893E19}"/>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3;p48">
                <a:extLst>
                  <a:ext uri="{FF2B5EF4-FFF2-40B4-BE49-F238E27FC236}">
                    <a16:creationId xmlns:a16="http://schemas.microsoft.com/office/drawing/2014/main" id="{A1232CC1-B449-46CD-8EDD-B9AB0A3422F9}"/>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4;p48">
                <a:extLst>
                  <a:ext uri="{FF2B5EF4-FFF2-40B4-BE49-F238E27FC236}">
                    <a16:creationId xmlns:a16="http://schemas.microsoft.com/office/drawing/2014/main" id="{B4FD0FFC-8C8E-47D4-9BEF-AC7E74F40942}"/>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5;p48">
                <a:extLst>
                  <a:ext uri="{FF2B5EF4-FFF2-40B4-BE49-F238E27FC236}">
                    <a16:creationId xmlns:a16="http://schemas.microsoft.com/office/drawing/2014/main" id="{25642356-1E18-4BA9-B24E-757012668D30}"/>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6;p48">
                <a:extLst>
                  <a:ext uri="{FF2B5EF4-FFF2-40B4-BE49-F238E27FC236}">
                    <a16:creationId xmlns:a16="http://schemas.microsoft.com/office/drawing/2014/main" id="{8A59F92E-46C2-48DF-9081-E74A971A010C}"/>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7;p48">
                <a:extLst>
                  <a:ext uri="{FF2B5EF4-FFF2-40B4-BE49-F238E27FC236}">
                    <a16:creationId xmlns:a16="http://schemas.microsoft.com/office/drawing/2014/main" id="{DF155B60-37C4-4103-8FC0-0DF1213ABD98}"/>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8;p48">
                <a:extLst>
                  <a:ext uri="{FF2B5EF4-FFF2-40B4-BE49-F238E27FC236}">
                    <a16:creationId xmlns:a16="http://schemas.microsoft.com/office/drawing/2014/main" id="{4ACB5368-B21A-49C4-A076-82B7DC4FC58A}"/>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9;p48">
                <a:extLst>
                  <a:ext uri="{FF2B5EF4-FFF2-40B4-BE49-F238E27FC236}">
                    <a16:creationId xmlns:a16="http://schemas.microsoft.com/office/drawing/2014/main" id="{328CB766-66B6-48CC-BA46-7BF911ED6A9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80;p48">
                <a:extLst>
                  <a:ext uri="{FF2B5EF4-FFF2-40B4-BE49-F238E27FC236}">
                    <a16:creationId xmlns:a16="http://schemas.microsoft.com/office/drawing/2014/main" id="{8BC6165F-3E0B-42C5-946C-436BD5CB0E7B}"/>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1;p48">
                <a:extLst>
                  <a:ext uri="{FF2B5EF4-FFF2-40B4-BE49-F238E27FC236}">
                    <a16:creationId xmlns:a16="http://schemas.microsoft.com/office/drawing/2014/main" id="{FFB088B9-DD8F-4590-9123-1A8655272BC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2;p48">
                <a:extLst>
                  <a:ext uri="{FF2B5EF4-FFF2-40B4-BE49-F238E27FC236}">
                    <a16:creationId xmlns:a16="http://schemas.microsoft.com/office/drawing/2014/main" id="{9B8A2619-CF6F-478C-BCC8-EC833DD22A11}"/>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83;p48">
                <a:extLst>
                  <a:ext uri="{FF2B5EF4-FFF2-40B4-BE49-F238E27FC236}">
                    <a16:creationId xmlns:a16="http://schemas.microsoft.com/office/drawing/2014/main" id="{723C74EB-1E2D-4FCA-802A-7F27E34F1A18}"/>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8" name="Google Shape;684;p48">
                <a:extLst>
                  <a:ext uri="{FF2B5EF4-FFF2-40B4-BE49-F238E27FC236}">
                    <a16:creationId xmlns:a16="http://schemas.microsoft.com/office/drawing/2014/main" id="{F492CD27-E4A0-42B0-A3EE-E165A62FE7A3}"/>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5;p48">
                <a:extLst>
                  <a:ext uri="{FF2B5EF4-FFF2-40B4-BE49-F238E27FC236}">
                    <a16:creationId xmlns:a16="http://schemas.microsoft.com/office/drawing/2014/main" id="{AE69E486-3B51-4904-A480-00FD0FCC5B16}"/>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6;p48">
                <a:extLst>
                  <a:ext uri="{FF2B5EF4-FFF2-40B4-BE49-F238E27FC236}">
                    <a16:creationId xmlns:a16="http://schemas.microsoft.com/office/drawing/2014/main" id="{06AC6028-6893-4F54-B936-01DB030EE32A}"/>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87;p48">
                <a:extLst>
                  <a:ext uri="{FF2B5EF4-FFF2-40B4-BE49-F238E27FC236}">
                    <a16:creationId xmlns:a16="http://schemas.microsoft.com/office/drawing/2014/main" id="{40781E69-0057-4CEC-BE08-2E27FABDD266}"/>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 name="Title 6">
            <a:extLst>
              <a:ext uri="{FF2B5EF4-FFF2-40B4-BE49-F238E27FC236}">
                <a16:creationId xmlns:a16="http://schemas.microsoft.com/office/drawing/2014/main" id="{406D48AF-0110-406C-897C-553828400D2F}"/>
              </a:ext>
            </a:extLst>
          </p:cNvPr>
          <p:cNvSpPr>
            <a:spLocks noGrp="1"/>
          </p:cNvSpPr>
          <p:nvPr>
            <p:ph type="title"/>
          </p:nvPr>
        </p:nvSpPr>
        <p:spPr/>
        <p:txBody>
          <a:bodyPr>
            <a:normAutofit fontScale="90000"/>
          </a:bodyPr>
          <a:lstStyle/>
          <a:p>
            <a:r>
              <a:rPr lang="en-US" b="0" i="0" dirty="0">
                <a:solidFill>
                  <a:srgbClr val="F7743C"/>
                </a:solidFill>
                <a:effectLst/>
                <a:latin typeface="charter"/>
              </a:rPr>
              <a:t>The metaverse is already here — it’s called </a:t>
            </a:r>
            <a:r>
              <a:rPr lang="en-US" b="0" i="0" dirty="0">
                <a:solidFill>
                  <a:srgbClr val="F7743C"/>
                </a:solidFill>
                <a:effectLst/>
                <a:latin typeface="charter"/>
                <a:hlinkClick r:id="rId3"/>
              </a:rPr>
              <a:t>Fortnite</a:t>
            </a:r>
            <a:br>
              <a:rPr lang="en-US" b="0" i="0" dirty="0">
                <a:solidFill>
                  <a:srgbClr val="F7743C"/>
                </a:solidFill>
                <a:effectLst/>
                <a:latin typeface="charter"/>
              </a:rPr>
            </a:br>
            <a:endParaRPr lang="en-US" dirty="0">
              <a:solidFill>
                <a:srgbClr val="F7743C"/>
              </a:solidFill>
            </a:endParaRPr>
          </a:p>
        </p:txBody>
      </p:sp>
      <p:sp>
        <p:nvSpPr>
          <p:cNvPr id="9" name="Text Placeholder 8">
            <a:extLst>
              <a:ext uri="{FF2B5EF4-FFF2-40B4-BE49-F238E27FC236}">
                <a16:creationId xmlns:a16="http://schemas.microsoft.com/office/drawing/2014/main" id="{2B23D810-4B31-4C5E-9631-C42C3F42DC19}"/>
              </a:ext>
            </a:extLst>
          </p:cNvPr>
          <p:cNvSpPr>
            <a:spLocks noGrp="1"/>
          </p:cNvSpPr>
          <p:nvPr>
            <p:ph type="body" sz="half" idx="2"/>
          </p:nvPr>
        </p:nvSpPr>
        <p:spPr>
          <a:xfrm>
            <a:off x="1141364" y="5124019"/>
            <a:ext cx="9910859" cy="1251023"/>
          </a:xfrm>
        </p:spPr>
        <p:txBody>
          <a:bodyPr>
            <a:noAutofit/>
          </a:bodyPr>
          <a:lstStyle/>
          <a:p>
            <a:r>
              <a:rPr lang="el-GR" sz="1800" dirty="0">
                <a:latin typeface="Arial" panose="020B0604020202020204" pitchFamily="34" charset="0"/>
                <a:cs typeface="Arial" panose="020B0604020202020204" pitchFamily="34" charset="0"/>
              </a:rPr>
              <a:t>Ένα </a:t>
            </a:r>
            <a:r>
              <a:rPr lang="el-GR" sz="1800" dirty="0" err="1">
                <a:latin typeface="Arial" panose="020B0604020202020204" pitchFamily="34" charset="0"/>
                <a:cs typeface="Arial" panose="020B0604020202020204" pitchFamily="34" charset="0"/>
              </a:rPr>
              <a:t>πολυπλατφορμικό</a:t>
            </a:r>
            <a:r>
              <a:rPr lang="el-GR" sz="1800" dirty="0">
                <a:latin typeface="Arial" panose="020B0604020202020204" pitchFamily="34" charset="0"/>
                <a:cs typeface="Arial" panose="020B0604020202020204" pitchFamily="34" charset="0"/>
              </a:rPr>
              <a:t> κεντρικό μέρος για παρέα με φίλους/οικογένειες, εξερεύνηση, ψυχαγωγία, μάθηση και το πιο σημαντικό είναι συνεπές με την τεράστια εξέλιξη και ανάπτυξη για τα επόμενα χρόνια. Δεν είναι απλώς ένα παιχνίδι, είναι ένα μέρος. Ένα εικονικό σύμπαν.</a:t>
            </a:r>
            <a:endParaRPr lang="en-US" sz="1800" dirty="0">
              <a:latin typeface="Arial" panose="020B0604020202020204" pitchFamily="34" charset="0"/>
              <a:cs typeface="Arial" panose="020B0604020202020204" pitchFamily="34" charset="0"/>
            </a:endParaRPr>
          </a:p>
        </p:txBody>
      </p:sp>
      <p:sp>
        <p:nvSpPr>
          <p:cNvPr id="12" name="Google Shape;11;p2">
            <a:extLst>
              <a:ext uri="{FF2B5EF4-FFF2-40B4-BE49-F238E27FC236}">
                <a16:creationId xmlns:a16="http://schemas.microsoft.com/office/drawing/2014/main" id="{FD468994-1341-4F6E-91EF-396890BB8112}"/>
              </a:ext>
            </a:extLst>
          </p:cNvPr>
          <p:cNvSpPr/>
          <p:nvPr/>
        </p:nvSpPr>
        <p:spPr>
          <a:xfrm rot="19800010">
            <a:off x="-957180" y="4698164"/>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2;p2">
            <a:extLst>
              <a:ext uri="{FF2B5EF4-FFF2-40B4-BE49-F238E27FC236}">
                <a16:creationId xmlns:a16="http://schemas.microsoft.com/office/drawing/2014/main" id="{93F3EF3E-1134-47F1-B370-F86F36D248DC}"/>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03;p69">
            <a:extLst>
              <a:ext uri="{FF2B5EF4-FFF2-40B4-BE49-F238E27FC236}">
                <a16:creationId xmlns:a16="http://schemas.microsoft.com/office/drawing/2014/main" id="{48F68862-6F37-4724-B799-6EFE201FD98E}"/>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2104;p69">
            <a:extLst>
              <a:ext uri="{FF2B5EF4-FFF2-40B4-BE49-F238E27FC236}">
                <a16:creationId xmlns:a16="http://schemas.microsoft.com/office/drawing/2014/main" id="{B92335A9-1CDE-4CF0-9E6F-EFE5EF5EA80C}"/>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2106;p69">
            <a:extLst>
              <a:ext uri="{FF2B5EF4-FFF2-40B4-BE49-F238E27FC236}">
                <a16:creationId xmlns:a16="http://schemas.microsoft.com/office/drawing/2014/main" id="{931E51D9-EC56-45B0-B63F-582E87625A0A}"/>
              </a:ext>
            </a:extLst>
          </p:cNvPr>
          <p:cNvSpPr/>
          <p:nvPr/>
        </p:nvSpPr>
        <p:spPr>
          <a:xfrm>
            <a:off x="7761745" y="495261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2107;p69">
            <a:extLst>
              <a:ext uri="{FF2B5EF4-FFF2-40B4-BE49-F238E27FC236}">
                <a16:creationId xmlns:a16="http://schemas.microsoft.com/office/drawing/2014/main" id="{97100B24-D1A9-4632-90AA-9F9835C9FEBB}"/>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1" name="Picture Placeholder 10">
            <a:extLst>
              <a:ext uri="{FF2B5EF4-FFF2-40B4-BE49-F238E27FC236}">
                <a16:creationId xmlns:a16="http://schemas.microsoft.com/office/drawing/2014/main" id="{13075C54-F3FC-446B-B03F-ACA592B05C8E}"/>
              </a:ext>
            </a:extLst>
          </p:cNvPr>
          <p:cNvPicPr>
            <a:picLocks noGrp="1" noChangeAspect="1"/>
          </p:cNvPicPr>
          <p:nvPr>
            <p:ph type="pic" idx="1"/>
          </p:nvPr>
        </p:nvPicPr>
        <p:blipFill>
          <a:blip r:embed="rId4"/>
          <a:srcRect t="20377" b="20377"/>
          <a:stretch>
            <a:fillRect/>
          </a:stretch>
        </p:blipFill>
        <p:spPr>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nvGrpSpPr>
          <p:cNvPr id="73" name="Group 72">
            <a:extLst>
              <a:ext uri="{FF2B5EF4-FFF2-40B4-BE49-F238E27FC236}">
                <a16:creationId xmlns:a16="http://schemas.microsoft.com/office/drawing/2014/main" id="{BBCB1B02-8D9B-48CE-85B6-FB45CC123695}"/>
              </a:ext>
            </a:extLst>
          </p:cNvPr>
          <p:cNvGrpSpPr/>
          <p:nvPr/>
        </p:nvGrpSpPr>
        <p:grpSpPr>
          <a:xfrm rot="10573177">
            <a:off x="318950" y="3529369"/>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4" name="Group 73">
              <a:extLst>
                <a:ext uri="{FF2B5EF4-FFF2-40B4-BE49-F238E27FC236}">
                  <a16:creationId xmlns:a16="http://schemas.microsoft.com/office/drawing/2014/main" id="{1F99EF53-57EC-4E67-AC00-2CEB6842E1AC}"/>
                </a:ext>
              </a:extLst>
            </p:cNvPr>
            <p:cNvGrpSpPr/>
            <p:nvPr/>
          </p:nvGrpSpPr>
          <p:grpSpPr>
            <a:xfrm>
              <a:off x="5241585" y="4198069"/>
              <a:ext cx="411449" cy="357382"/>
              <a:chOff x="5241585" y="4198069"/>
              <a:chExt cx="411449" cy="357382"/>
            </a:xfrm>
          </p:grpSpPr>
          <p:sp>
            <p:nvSpPr>
              <p:cNvPr id="76" name="Google Shape;658;p48">
                <a:extLst>
                  <a:ext uri="{FF2B5EF4-FFF2-40B4-BE49-F238E27FC236}">
                    <a16:creationId xmlns:a16="http://schemas.microsoft.com/office/drawing/2014/main" id="{EEFE0F60-A4EE-4582-B636-769C62A5B515}"/>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659;p48">
                <a:extLst>
                  <a:ext uri="{FF2B5EF4-FFF2-40B4-BE49-F238E27FC236}">
                    <a16:creationId xmlns:a16="http://schemas.microsoft.com/office/drawing/2014/main" id="{30FE21F0-8ADA-4F9F-8C54-726AA374E6DC}"/>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8" name="Google Shape;660;p48">
                <a:extLst>
                  <a:ext uri="{FF2B5EF4-FFF2-40B4-BE49-F238E27FC236}">
                    <a16:creationId xmlns:a16="http://schemas.microsoft.com/office/drawing/2014/main" id="{E7460A84-1D55-4F93-B1C5-38CEDD942A95}"/>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5" name="Google Shape;661;p48">
              <a:extLst>
                <a:ext uri="{FF2B5EF4-FFF2-40B4-BE49-F238E27FC236}">
                  <a16:creationId xmlns:a16="http://schemas.microsoft.com/office/drawing/2014/main" id="{C83C80E7-6E96-4FDA-B15C-12AA10675ABF}"/>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144412264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37C3534D-9AE2-4B64-90F9-967AF87B1150}"/>
              </a:ext>
            </a:extLst>
          </p:cNvPr>
          <p:cNvSpPr txBox="1"/>
          <p:nvPr/>
        </p:nvSpPr>
        <p:spPr>
          <a:xfrm>
            <a:off x="3657600" y="796606"/>
            <a:ext cx="2730322" cy="646331"/>
          </a:xfrm>
          <a:prstGeom prst="rect">
            <a:avLst/>
          </a:prstGeom>
          <a:noFill/>
        </p:spPr>
        <p:txBody>
          <a:bodyPr wrap="square" rtlCol="0">
            <a:spAutoFit/>
          </a:bodyPr>
          <a:lstStyle/>
          <a:p>
            <a:r>
              <a:rPr lang="en-US" sz="3600" dirty="0">
                <a:latin typeface="Saira SemiCondensed ExtraBold" panose="00000906000000000000" pitchFamily="2" charset="0"/>
              </a:rPr>
              <a:t>Forward</a:t>
            </a:r>
          </a:p>
        </p:txBody>
      </p:sp>
      <p:sp>
        <p:nvSpPr>
          <p:cNvPr id="2" name="Google Shape;11;p2">
            <a:extLst>
              <a:ext uri="{FF2B5EF4-FFF2-40B4-BE49-F238E27FC236}">
                <a16:creationId xmlns:a16="http://schemas.microsoft.com/office/drawing/2014/main" id="{3A63F046-AA2B-4B6E-A7C6-5E2BA91E3F3C}"/>
              </a:ext>
            </a:extLst>
          </p:cNvPr>
          <p:cNvSpPr/>
          <p:nvPr/>
        </p:nvSpPr>
        <p:spPr>
          <a:xfrm rot="13022660">
            <a:off x="-722166" y="4844947"/>
            <a:ext cx="3464790" cy="3464790"/>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2141C65C-629D-4121-9D50-F0CBDD08A384}"/>
              </a:ext>
            </a:extLst>
          </p:cNvPr>
          <p:cNvSpPr/>
          <p:nvPr/>
        </p:nvSpPr>
        <p:spPr>
          <a:xfrm rot="222267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 name="Title 6">
            <a:extLst>
              <a:ext uri="{FF2B5EF4-FFF2-40B4-BE49-F238E27FC236}">
                <a16:creationId xmlns:a16="http://schemas.microsoft.com/office/drawing/2014/main" id="{A382E958-8BC2-4C94-9BFB-A6C7AD576FC0}"/>
              </a:ext>
            </a:extLst>
          </p:cNvPr>
          <p:cNvSpPr txBox="1">
            <a:spLocks/>
          </p:cNvSpPr>
          <p:nvPr/>
        </p:nvSpPr>
        <p:spPr>
          <a:xfrm>
            <a:off x="1141413" y="618518"/>
            <a:ext cx="9905998" cy="1478570"/>
          </a:xfrm>
          <a:prstGeom prst="rect">
            <a:avLst/>
          </a:prstGeom>
          <a:effectLst>
            <a:glow>
              <a:schemeClr val="accent1">
                <a:alpha val="40000"/>
              </a:schemeClr>
            </a:glow>
          </a:effectLst>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dirty="0">
                <a:solidFill>
                  <a:srgbClr val="F7743C"/>
                </a:solidFill>
                <a:latin typeface="Saira SemiCondensed ExtraBold" panose="00000906000000000000" pitchFamily="2" charset="0"/>
              </a:rPr>
              <a:t>Product reverse engineer</a:t>
            </a:r>
          </a:p>
        </p:txBody>
      </p:sp>
      <p:graphicFrame>
        <p:nvGraphicFramePr>
          <p:cNvPr id="9" name="Diagram 8">
            <a:extLst>
              <a:ext uri="{FF2B5EF4-FFF2-40B4-BE49-F238E27FC236}">
                <a16:creationId xmlns:a16="http://schemas.microsoft.com/office/drawing/2014/main" id="{44CEDBED-C88E-4EF1-B063-2C64B7E48F71}"/>
              </a:ext>
            </a:extLst>
          </p:cNvPr>
          <p:cNvGraphicFramePr/>
          <p:nvPr>
            <p:extLst>
              <p:ext uri="{D42A27DB-BD31-4B8C-83A1-F6EECF244321}">
                <p14:modId xmlns:p14="http://schemas.microsoft.com/office/powerpoint/2010/main" val="3664972700"/>
              </p:ext>
            </p:extLst>
          </p:nvPr>
        </p:nvGraphicFramePr>
        <p:xfrm>
          <a:off x="1903211" y="1226713"/>
          <a:ext cx="8128000" cy="22022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0" name="Diagram 9">
            <a:extLst>
              <a:ext uri="{FF2B5EF4-FFF2-40B4-BE49-F238E27FC236}">
                <a16:creationId xmlns:a16="http://schemas.microsoft.com/office/drawing/2014/main" id="{58CA6F6C-DAEF-43A1-8217-4D9C909A39C9}"/>
              </a:ext>
            </a:extLst>
          </p:cNvPr>
          <p:cNvGraphicFramePr/>
          <p:nvPr>
            <p:extLst>
              <p:ext uri="{D42A27DB-BD31-4B8C-83A1-F6EECF244321}">
                <p14:modId xmlns:p14="http://schemas.microsoft.com/office/powerpoint/2010/main" val="3879008536"/>
              </p:ext>
            </p:extLst>
          </p:nvPr>
        </p:nvGraphicFramePr>
        <p:xfrm>
          <a:off x="4029055" y="3067915"/>
          <a:ext cx="2956115" cy="1796185"/>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11" name="Diagram 10">
            <a:extLst>
              <a:ext uri="{FF2B5EF4-FFF2-40B4-BE49-F238E27FC236}">
                <a16:creationId xmlns:a16="http://schemas.microsoft.com/office/drawing/2014/main" id="{7E38784E-B47F-4E3A-B44E-EB34006749D7}"/>
              </a:ext>
            </a:extLst>
          </p:cNvPr>
          <p:cNvGraphicFramePr/>
          <p:nvPr>
            <p:extLst>
              <p:ext uri="{D42A27DB-BD31-4B8C-83A1-F6EECF244321}">
                <p14:modId xmlns:p14="http://schemas.microsoft.com/office/powerpoint/2010/main" val="3480085469"/>
              </p:ext>
            </p:extLst>
          </p:nvPr>
        </p:nvGraphicFramePr>
        <p:xfrm>
          <a:off x="1903211" y="4530143"/>
          <a:ext cx="8128000" cy="2202287"/>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grpSp>
        <p:nvGrpSpPr>
          <p:cNvPr id="13" name="Google Shape;1717;p63">
            <a:extLst>
              <a:ext uri="{FF2B5EF4-FFF2-40B4-BE49-F238E27FC236}">
                <a16:creationId xmlns:a16="http://schemas.microsoft.com/office/drawing/2014/main" id="{66345A35-864F-40FD-B046-DA3255F42F53}"/>
              </a:ext>
            </a:extLst>
          </p:cNvPr>
          <p:cNvGrpSpPr/>
          <p:nvPr/>
        </p:nvGrpSpPr>
        <p:grpSpPr>
          <a:xfrm>
            <a:off x="8112344" y="3731436"/>
            <a:ext cx="765479" cy="711775"/>
            <a:chOff x="4818730" y="3307263"/>
            <a:chExt cx="1827512" cy="1699300"/>
          </a:xfrm>
        </p:grpSpPr>
        <p:sp>
          <p:nvSpPr>
            <p:cNvPr id="14" name="Google Shape;1718;p63">
              <a:extLst>
                <a:ext uri="{FF2B5EF4-FFF2-40B4-BE49-F238E27FC236}">
                  <a16:creationId xmlns:a16="http://schemas.microsoft.com/office/drawing/2014/main" id="{F4F99327-60ED-4FC7-A220-4BED2E931724}"/>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19;p63">
              <a:extLst>
                <a:ext uri="{FF2B5EF4-FFF2-40B4-BE49-F238E27FC236}">
                  <a16:creationId xmlns:a16="http://schemas.microsoft.com/office/drawing/2014/main" id="{C2180E7A-E854-4C8A-9FF9-B17B2C6E559E}"/>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720;p63">
              <a:extLst>
                <a:ext uri="{FF2B5EF4-FFF2-40B4-BE49-F238E27FC236}">
                  <a16:creationId xmlns:a16="http://schemas.microsoft.com/office/drawing/2014/main" id="{F4E810E0-987E-4EC0-A627-16466C9C5EF2}"/>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21;p63">
              <a:extLst>
                <a:ext uri="{FF2B5EF4-FFF2-40B4-BE49-F238E27FC236}">
                  <a16:creationId xmlns:a16="http://schemas.microsoft.com/office/drawing/2014/main" id="{DB7381A9-97D9-4F44-A5F9-C1AE5A7E0CA6}"/>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2;p63">
              <a:extLst>
                <a:ext uri="{FF2B5EF4-FFF2-40B4-BE49-F238E27FC236}">
                  <a16:creationId xmlns:a16="http://schemas.microsoft.com/office/drawing/2014/main" id="{1627254F-5D55-44B8-9AA0-BAB8BAAECC31}"/>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3;p63">
              <a:extLst>
                <a:ext uri="{FF2B5EF4-FFF2-40B4-BE49-F238E27FC236}">
                  <a16:creationId xmlns:a16="http://schemas.microsoft.com/office/drawing/2014/main" id="{DF4188F4-429D-4058-BB1C-F8CE6BACBCFE}"/>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4;p63">
              <a:extLst>
                <a:ext uri="{FF2B5EF4-FFF2-40B4-BE49-F238E27FC236}">
                  <a16:creationId xmlns:a16="http://schemas.microsoft.com/office/drawing/2014/main" id="{E52656C9-E27D-428F-8E2C-6F2FEDBEF0BF}"/>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5;p63">
              <a:extLst>
                <a:ext uri="{FF2B5EF4-FFF2-40B4-BE49-F238E27FC236}">
                  <a16:creationId xmlns:a16="http://schemas.microsoft.com/office/drawing/2014/main" id="{53759EAB-8C41-4F1C-8297-FF421570D297}"/>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6;p63">
              <a:extLst>
                <a:ext uri="{FF2B5EF4-FFF2-40B4-BE49-F238E27FC236}">
                  <a16:creationId xmlns:a16="http://schemas.microsoft.com/office/drawing/2014/main" id="{087F30BF-1BEE-43C2-9A59-29093861E411}"/>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7;p63">
              <a:extLst>
                <a:ext uri="{FF2B5EF4-FFF2-40B4-BE49-F238E27FC236}">
                  <a16:creationId xmlns:a16="http://schemas.microsoft.com/office/drawing/2014/main" id="{FAAF1555-6F56-45EF-B71C-0600326377D8}"/>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8;p63">
              <a:extLst>
                <a:ext uri="{FF2B5EF4-FFF2-40B4-BE49-F238E27FC236}">
                  <a16:creationId xmlns:a16="http://schemas.microsoft.com/office/drawing/2014/main" id="{AFF399D8-B440-4546-8FE3-71FD2D91DDE6}"/>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9;p63">
              <a:extLst>
                <a:ext uri="{FF2B5EF4-FFF2-40B4-BE49-F238E27FC236}">
                  <a16:creationId xmlns:a16="http://schemas.microsoft.com/office/drawing/2014/main" id="{18DB7058-11B9-45A1-AE93-3DCCE67022B8}"/>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30;p63">
              <a:extLst>
                <a:ext uri="{FF2B5EF4-FFF2-40B4-BE49-F238E27FC236}">
                  <a16:creationId xmlns:a16="http://schemas.microsoft.com/office/drawing/2014/main" id="{45DAD789-3DCF-45F8-A0C7-E62412D04302}"/>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31;p63">
              <a:extLst>
                <a:ext uri="{FF2B5EF4-FFF2-40B4-BE49-F238E27FC236}">
                  <a16:creationId xmlns:a16="http://schemas.microsoft.com/office/drawing/2014/main" id="{F65E3CAB-A269-41F4-AA71-4A8E0C7C6295}"/>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2;p63">
              <a:extLst>
                <a:ext uri="{FF2B5EF4-FFF2-40B4-BE49-F238E27FC236}">
                  <a16:creationId xmlns:a16="http://schemas.microsoft.com/office/drawing/2014/main" id="{DF9982E3-3774-40D3-8911-3C31EED48508}"/>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3;p63">
              <a:extLst>
                <a:ext uri="{FF2B5EF4-FFF2-40B4-BE49-F238E27FC236}">
                  <a16:creationId xmlns:a16="http://schemas.microsoft.com/office/drawing/2014/main" id="{17D56CF2-52B8-4502-99F8-B5D7A1B267AC}"/>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4;p63">
              <a:extLst>
                <a:ext uri="{FF2B5EF4-FFF2-40B4-BE49-F238E27FC236}">
                  <a16:creationId xmlns:a16="http://schemas.microsoft.com/office/drawing/2014/main" id="{473253BD-9CE3-4CB2-9818-FCE4EFC0A840}"/>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5;p63">
              <a:extLst>
                <a:ext uri="{FF2B5EF4-FFF2-40B4-BE49-F238E27FC236}">
                  <a16:creationId xmlns:a16="http://schemas.microsoft.com/office/drawing/2014/main" id="{37070DE2-B36C-432E-9861-C9A1EA4418A4}"/>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6;p63">
              <a:extLst>
                <a:ext uri="{FF2B5EF4-FFF2-40B4-BE49-F238E27FC236}">
                  <a16:creationId xmlns:a16="http://schemas.microsoft.com/office/drawing/2014/main" id="{E8BB1B50-A6C4-443F-8468-ACB6F71AB84E}"/>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7;p63">
              <a:extLst>
                <a:ext uri="{FF2B5EF4-FFF2-40B4-BE49-F238E27FC236}">
                  <a16:creationId xmlns:a16="http://schemas.microsoft.com/office/drawing/2014/main" id="{43F66DBB-5EC0-4E08-A545-414F50DDDB7B}"/>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8;p63">
              <a:extLst>
                <a:ext uri="{FF2B5EF4-FFF2-40B4-BE49-F238E27FC236}">
                  <a16:creationId xmlns:a16="http://schemas.microsoft.com/office/drawing/2014/main" id="{60ADD61A-CF1E-492D-AAE2-13E3F13FE6B1}"/>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9;p63">
              <a:extLst>
                <a:ext uri="{FF2B5EF4-FFF2-40B4-BE49-F238E27FC236}">
                  <a16:creationId xmlns:a16="http://schemas.microsoft.com/office/drawing/2014/main" id="{3D4172F0-A290-4FFD-9C4C-080E4A1E9B1D}"/>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40;p63">
              <a:extLst>
                <a:ext uri="{FF2B5EF4-FFF2-40B4-BE49-F238E27FC236}">
                  <a16:creationId xmlns:a16="http://schemas.microsoft.com/office/drawing/2014/main" id="{25E2F107-C6DF-49E3-94D8-B9DAD3F4E661}"/>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41;p63">
              <a:extLst>
                <a:ext uri="{FF2B5EF4-FFF2-40B4-BE49-F238E27FC236}">
                  <a16:creationId xmlns:a16="http://schemas.microsoft.com/office/drawing/2014/main" id="{497303A4-BF0A-446A-9649-F9EC7B599941}"/>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2;p63">
              <a:extLst>
                <a:ext uri="{FF2B5EF4-FFF2-40B4-BE49-F238E27FC236}">
                  <a16:creationId xmlns:a16="http://schemas.microsoft.com/office/drawing/2014/main" id="{9A5BF875-6846-4C24-9909-E194B786B23F}"/>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9" name="Google Shape;1743;p63">
            <a:extLst>
              <a:ext uri="{FF2B5EF4-FFF2-40B4-BE49-F238E27FC236}">
                <a16:creationId xmlns:a16="http://schemas.microsoft.com/office/drawing/2014/main" id="{7F8FAFC4-C845-4F4D-9202-F6AF89AB7558}"/>
              </a:ext>
            </a:extLst>
          </p:cNvPr>
          <p:cNvGrpSpPr/>
          <p:nvPr/>
        </p:nvGrpSpPr>
        <p:grpSpPr>
          <a:xfrm rot="14053952">
            <a:off x="10231857" y="3513110"/>
            <a:ext cx="161701" cy="641985"/>
            <a:chOff x="7004550" y="3676293"/>
            <a:chExt cx="161700" cy="641982"/>
          </a:xfrm>
        </p:grpSpPr>
        <p:sp>
          <p:nvSpPr>
            <p:cNvPr id="40" name="Google Shape;1744;p63">
              <a:extLst>
                <a:ext uri="{FF2B5EF4-FFF2-40B4-BE49-F238E27FC236}">
                  <a16:creationId xmlns:a16="http://schemas.microsoft.com/office/drawing/2014/main" id="{05D9C4D9-2434-47B5-A996-92CBC983CCE4}"/>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745;p63">
              <a:extLst>
                <a:ext uri="{FF2B5EF4-FFF2-40B4-BE49-F238E27FC236}">
                  <a16:creationId xmlns:a16="http://schemas.microsoft.com/office/drawing/2014/main" id="{777BEB7A-7556-47F9-8A45-CE922FA3041C}"/>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746;p63">
              <a:extLst>
                <a:ext uri="{FF2B5EF4-FFF2-40B4-BE49-F238E27FC236}">
                  <a16:creationId xmlns:a16="http://schemas.microsoft.com/office/drawing/2014/main" id="{9FB4B5C4-A4D9-4812-86AE-1A4F8BB805A1}"/>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747;p63">
              <a:extLst>
                <a:ext uri="{FF2B5EF4-FFF2-40B4-BE49-F238E27FC236}">
                  <a16:creationId xmlns:a16="http://schemas.microsoft.com/office/drawing/2014/main" id="{6D5541B0-2860-4CD5-B0F0-2672A0648EEA}"/>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4" name="Google Shape;1748;p63">
            <a:extLst>
              <a:ext uri="{FF2B5EF4-FFF2-40B4-BE49-F238E27FC236}">
                <a16:creationId xmlns:a16="http://schemas.microsoft.com/office/drawing/2014/main" id="{04CEE5DF-B458-4FDB-8E07-4E80163B5FFA}"/>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749;p63">
            <a:extLst>
              <a:ext uri="{FF2B5EF4-FFF2-40B4-BE49-F238E27FC236}">
                <a16:creationId xmlns:a16="http://schemas.microsoft.com/office/drawing/2014/main" id="{C88C4145-0F61-4C6A-A42B-A6E630AC14C9}"/>
              </a:ext>
            </a:extLst>
          </p:cNvPr>
          <p:cNvSpPr/>
          <p:nvPr/>
        </p:nvSpPr>
        <p:spPr>
          <a:xfrm rot="10800000" flipH="1">
            <a:off x="557225" y="263640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750;p63">
            <a:extLst>
              <a:ext uri="{FF2B5EF4-FFF2-40B4-BE49-F238E27FC236}">
                <a16:creationId xmlns:a16="http://schemas.microsoft.com/office/drawing/2014/main" id="{A924D5BA-137F-45AE-ADA8-E5F002E80664}"/>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751;p63">
            <a:extLst>
              <a:ext uri="{FF2B5EF4-FFF2-40B4-BE49-F238E27FC236}">
                <a16:creationId xmlns:a16="http://schemas.microsoft.com/office/drawing/2014/main" id="{0C3EE907-2AD1-4AE9-A0D4-013598F5DA20}"/>
              </a:ext>
            </a:extLst>
          </p:cNvPr>
          <p:cNvSpPr/>
          <p:nvPr/>
        </p:nvSpPr>
        <p:spPr>
          <a:xfrm>
            <a:off x="7806578" y="116820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752;p63">
            <a:extLst>
              <a:ext uri="{FF2B5EF4-FFF2-40B4-BE49-F238E27FC236}">
                <a16:creationId xmlns:a16="http://schemas.microsoft.com/office/drawing/2014/main" id="{0095FE31-32C7-4594-B402-70A720988CC5}"/>
              </a:ext>
            </a:extLst>
          </p:cNvPr>
          <p:cNvSpPr/>
          <p:nvPr/>
        </p:nvSpPr>
        <p:spPr>
          <a:xfrm>
            <a:off x="1575668" y="47693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753;p63">
            <a:extLst>
              <a:ext uri="{FF2B5EF4-FFF2-40B4-BE49-F238E27FC236}">
                <a16:creationId xmlns:a16="http://schemas.microsoft.com/office/drawing/2014/main" id="{A4FC411E-99A0-41C0-A16E-394723B531FC}"/>
              </a:ext>
            </a:extLst>
          </p:cNvPr>
          <p:cNvSpPr/>
          <p:nvPr/>
        </p:nvSpPr>
        <p:spPr>
          <a:xfrm>
            <a:off x="10055195" y="50648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751;p63">
            <a:extLst>
              <a:ext uri="{FF2B5EF4-FFF2-40B4-BE49-F238E27FC236}">
                <a16:creationId xmlns:a16="http://schemas.microsoft.com/office/drawing/2014/main" id="{A202E17C-0B2B-4203-A92D-AF6A69A3EB80}"/>
              </a:ext>
            </a:extLst>
          </p:cNvPr>
          <p:cNvSpPr/>
          <p:nvPr/>
        </p:nvSpPr>
        <p:spPr>
          <a:xfrm>
            <a:off x="10212947" y="47693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751;p63">
            <a:extLst>
              <a:ext uri="{FF2B5EF4-FFF2-40B4-BE49-F238E27FC236}">
                <a16:creationId xmlns:a16="http://schemas.microsoft.com/office/drawing/2014/main" id="{775D714C-9290-4855-88C2-EA03729F2D4B}"/>
              </a:ext>
            </a:extLst>
          </p:cNvPr>
          <p:cNvSpPr/>
          <p:nvPr/>
        </p:nvSpPr>
        <p:spPr>
          <a:xfrm>
            <a:off x="4131972" y="315403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751;p63">
            <a:extLst>
              <a:ext uri="{FF2B5EF4-FFF2-40B4-BE49-F238E27FC236}">
                <a16:creationId xmlns:a16="http://schemas.microsoft.com/office/drawing/2014/main" id="{61D2EB0C-6D4D-4534-A78C-ACDA25E51069}"/>
              </a:ext>
            </a:extLst>
          </p:cNvPr>
          <p:cNvSpPr/>
          <p:nvPr/>
        </p:nvSpPr>
        <p:spPr>
          <a:xfrm>
            <a:off x="7224677" y="428025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20679900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Google Shape;2081;p69">
            <a:extLst>
              <a:ext uri="{FF2B5EF4-FFF2-40B4-BE49-F238E27FC236}">
                <a16:creationId xmlns:a16="http://schemas.microsoft.com/office/drawing/2014/main" id="{B0086FB7-A4F2-4CCD-BB47-3A8D73FA5282}"/>
              </a:ext>
            </a:extLst>
          </p:cNvPr>
          <p:cNvSpPr txBox="1">
            <a:spLocks/>
          </p:cNvSpPr>
          <p:nvPr/>
        </p:nvSpPr>
        <p:spPr>
          <a:xfrm flipH="1">
            <a:off x="4986900" y="1341325"/>
            <a:ext cx="2218200" cy="11190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ct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a:ln>
                  <a:noFill/>
                </a:ln>
                <a:solidFill>
                  <a:srgbClr val="FFFFFF"/>
                </a:solidFill>
                <a:effectLst/>
                <a:uLnTx/>
                <a:uFillTx/>
                <a:latin typeface="Saira SemiCondensed ExtraBold"/>
                <a:sym typeface="Saira SemiCondensed ExtraBold"/>
              </a:rPr>
              <a:t>03</a:t>
            </a:r>
            <a:endPar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endParaRPr>
          </a:p>
        </p:txBody>
      </p:sp>
      <p:sp>
        <p:nvSpPr>
          <p:cNvPr id="4" name="Google Shape;2082;p69">
            <a:extLst>
              <a:ext uri="{FF2B5EF4-FFF2-40B4-BE49-F238E27FC236}">
                <a16:creationId xmlns:a16="http://schemas.microsoft.com/office/drawing/2014/main" id="{B0E83E57-E3EA-4BB5-806F-ED5C6B39CA9A}"/>
              </a:ext>
            </a:extLst>
          </p:cNvPr>
          <p:cNvSpPr txBox="1">
            <a:spLocks/>
          </p:cNvSpPr>
          <p:nvPr/>
        </p:nvSpPr>
        <p:spPr>
          <a:xfrm flipH="1">
            <a:off x="4346482" y="2593650"/>
            <a:ext cx="4053637" cy="573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36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Στόχοι του έργου</a:t>
            </a:r>
            <a:endParaRPr kumimoji="0" lang="en-US" sz="36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endParaRPr>
          </a:p>
        </p:txBody>
      </p:sp>
      <p:cxnSp>
        <p:nvCxnSpPr>
          <p:cNvPr id="7" name="Google Shape;2099;p69">
            <a:extLst>
              <a:ext uri="{FF2B5EF4-FFF2-40B4-BE49-F238E27FC236}">
                <a16:creationId xmlns:a16="http://schemas.microsoft.com/office/drawing/2014/main" id="{04AF50DA-6598-4D4F-82F2-428F1BBC8B50}"/>
              </a:ext>
            </a:extLst>
          </p:cNvPr>
          <p:cNvCxnSpPr>
            <a:cxnSpLocks/>
          </p:cNvCxnSpPr>
          <p:nvPr/>
        </p:nvCxnSpPr>
        <p:spPr>
          <a:xfrm rot="10800000">
            <a:off x="4172400" y="3334100"/>
            <a:ext cx="3847200" cy="0"/>
          </a:xfrm>
          <a:prstGeom prst="straightConnector1">
            <a:avLst/>
          </a:prstGeom>
          <a:noFill/>
          <a:ln w="19050" cap="flat" cmpd="sng">
            <a:solidFill>
              <a:schemeClr val="accent1"/>
            </a:solidFill>
            <a:prstDash val="solid"/>
            <a:round/>
            <a:headEnd type="none" w="med" len="med"/>
            <a:tailEnd type="none" w="med" len="med"/>
          </a:ln>
        </p:spPr>
      </p:cxnSp>
      <p:sp>
        <p:nvSpPr>
          <p:cNvPr id="8" name="Google Shape;2100;p69">
            <a:extLst>
              <a:ext uri="{FF2B5EF4-FFF2-40B4-BE49-F238E27FC236}">
                <a16:creationId xmlns:a16="http://schemas.microsoft.com/office/drawing/2014/main" id="{BB1FE324-439D-4AA5-9108-54ECA4DE5C5F}"/>
              </a:ext>
            </a:extLst>
          </p:cNvPr>
          <p:cNvSpPr/>
          <p:nvPr/>
        </p:nvSpPr>
        <p:spPr>
          <a:xfrm rot="10800000" flipH="1">
            <a:off x="4031100" y="327470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2101;p69">
            <a:extLst>
              <a:ext uri="{FF2B5EF4-FFF2-40B4-BE49-F238E27FC236}">
                <a16:creationId xmlns:a16="http://schemas.microsoft.com/office/drawing/2014/main" id="{3B858B4E-5AEC-4306-BE30-B9F3552054CE}"/>
              </a:ext>
            </a:extLst>
          </p:cNvPr>
          <p:cNvSpPr/>
          <p:nvPr/>
        </p:nvSpPr>
        <p:spPr>
          <a:xfrm rot="10800000" flipH="1">
            <a:off x="8019600" y="327470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 name="Group 17">
            <a:extLst>
              <a:ext uri="{FF2B5EF4-FFF2-40B4-BE49-F238E27FC236}">
                <a16:creationId xmlns:a16="http://schemas.microsoft.com/office/drawing/2014/main" id="{216AE033-99CF-43FF-AE1A-39F09CC71C05}"/>
              </a:ext>
            </a:extLst>
          </p:cNvPr>
          <p:cNvGrpSpPr/>
          <p:nvPr/>
        </p:nvGrpSpPr>
        <p:grpSpPr>
          <a:xfrm>
            <a:off x="1402293" y="709553"/>
            <a:ext cx="2628806" cy="2171047"/>
            <a:chOff x="1402293" y="709553"/>
            <a:chExt cx="2628806" cy="2171047"/>
          </a:xfrm>
        </p:grpSpPr>
        <p:sp>
          <p:nvSpPr>
            <p:cNvPr id="11" name="Google Shape;2085;p69">
              <a:extLst>
                <a:ext uri="{FF2B5EF4-FFF2-40B4-BE49-F238E27FC236}">
                  <a16:creationId xmlns:a16="http://schemas.microsoft.com/office/drawing/2014/main" id="{75C61A51-0076-4F52-B924-2B4B345BDCC3}"/>
                </a:ext>
              </a:extLst>
            </p:cNvPr>
            <p:cNvSpPr/>
            <p:nvPr/>
          </p:nvSpPr>
          <p:spPr>
            <a:xfrm>
              <a:off x="1402293" y="2397548"/>
              <a:ext cx="2628806" cy="483052"/>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chemeClr val="bg1">
                <a:lumMod val="95000"/>
                <a:lumOff val="5000"/>
                <a:alpha val="4588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2" name="Google Shape;2086;p69">
              <a:extLst>
                <a:ext uri="{FF2B5EF4-FFF2-40B4-BE49-F238E27FC236}">
                  <a16:creationId xmlns:a16="http://schemas.microsoft.com/office/drawing/2014/main" id="{639494EB-03C1-4359-832C-5A3CBADB9F67}"/>
                </a:ext>
              </a:extLst>
            </p:cNvPr>
            <p:cNvSpPr/>
            <p:nvPr/>
          </p:nvSpPr>
          <p:spPr>
            <a:xfrm flipH="1">
              <a:off x="1523397" y="709553"/>
              <a:ext cx="2446274" cy="2069939"/>
            </a:xfrm>
            <a:custGeom>
              <a:avLst/>
              <a:gdLst/>
              <a:ahLst/>
              <a:cxnLst/>
              <a:rect l="l" t="t" r="r" b="b"/>
              <a:pathLst>
                <a:path w="84744" h="71707" extrusionOk="0">
                  <a:moveTo>
                    <a:pt x="61662" y="1"/>
                  </a:moveTo>
                  <a:cubicBezTo>
                    <a:pt x="58390" y="1"/>
                    <a:pt x="55233" y="527"/>
                    <a:pt x="52585" y="1351"/>
                  </a:cubicBezTo>
                  <a:cubicBezTo>
                    <a:pt x="41704" y="4725"/>
                    <a:pt x="34500" y="19588"/>
                    <a:pt x="28269" y="27916"/>
                  </a:cubicBezTo>
                  <a:cubicBezTo>
                    <a:pt x="22007" y="36245"/>
                    <a:pt x="16293" y="30257"/>
                    <a:pt x="8147" y="39862"/>
                  </a:cubicBezTo>
                  <a:cubicBezTo>
                    <a:pt x="1" y="49467"/>
                    <a:pt x="5806" y="60531"/>
                    <a:pt x="11946" y="64543"/>
                  </a:cubicBezTo>
                  <a:cubicBezTo>
                    <a:pt x="20022" y="69805"/>
                    <a:pt x="31485" y="71707"/>
                    <a:pt x="42295" y="71707"/>
                  </a:cubicBezTo>
                  <a:cubicBezTo>
                    <a:pt x="54838" y="71707"/>
                    <a:pt x="66501" y="69147"/>
                    <a:pt x="70975" y="66306"/>
                  </a:cubicBezTo>
                  <a:cubicBezTo>
                    <a:pt x="79303" y="61017"/>
                    <a:pt x="84744" y="44421"/>
                    <a:pt x="83771" y="21989"/>
                  </a:cubicBezTo>
                  <a:cubicBezTo>
                    <a:pt x="83059" y="5054"/>
                    <a:pt x="71802" y="1"/>
                    <a:pt x="61662" y="1"/>
                  </a:cubicBezTo>
                  <a:close/>
                </a:path>
              </a:pathLst>
            </a:custGeom>
            <a:solidFill>
              <a:srgbClr val="F7743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Google Shape;2087;p69">
              <a:extLst>
                <a:ext uri="{FF2B5EF4-FFF2-40B4-BE49-F238E27FC236}">
                  <a16:creationId xmlns:a16="http://schemas.microsoft.com/office/drawing/2014/main" id="{52D313A5-AD5F-4765-BEA2-4C739D4C3FD8}"/>
                </a:ext>
              </a:extLst>
            </p:cNvPr>
            <p:cNvSpPr/>
            <p:nvPr/>
          </p:nvSpPr>
          <p:spPr>
            <a:xfrm flipH="1">
              <a:off x="1547986" y="1551313"/>
              <a:ext cx="1986515" cy="1227581"/>
            </a:xfrm>
            <a:custGeom>
              <a:avLst/>
              <a:gdLst/>
              <a:ahLst/>
              <a:cxnLst/>
              <a:rect l="l" t="t" r="r" b="b"/>
              <a:pathLst>
                <a:path w="68817" h="42526" extrusionOk="0">
                  <a:moveTo>
                    <a:pt x="68817" y="1"/>
                  </a:moveTo>
                  <a:lnTo>
                    <a:pt x="68817" y="1"/>
                  </a:lnTo>
                  <a:cubicBezTo>
                    <a:pt x="57175" y="14043"/>
                    <a:pt x="42707" y="22797"/>
                    <a:pt x="21582" y="24864"/>
                  </a:cubicBezTo>
                  <a:cubicBezTo>
                    <a:pt x="12463" y="25776"/>
                    <a:pt x="2585" y="27691"/>
                    <a:pt x="1" y="37174"/>
                  </a:cubicBezTo>
                  <a:cubicBezTo>
                    <a:pt x="7752" y="41070"/>
                    <a:pt x="17729" y="42525"/>
                    <a:pt x="27208" y="42525"/>
                  </a:cubicBezTo>
                  <a:cubicBezTo>
                    <a:pt x="39771" y="42525"/>
                    <a:pt x="51459" y="39968"/>
                    <a:pt x="55929" y="37144"/>
                  </a:cubicBezTo>
                  <a:cubicBezTo>
                    <a:pt x="63346" y="32433"/>
                    <a:pt x="68482" y="18755"/>
                    <a:pt x="6881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2088;p69">
              <a:extLst>
                <a:ext uri="{FF2B5EF4-FFF2-40B4-BE49-F238E27FC236}">
                  <a16:creationId xmlns:a16="http://schemas.microsoft.com/office/drawing/2014/main" id="{62ED3329-8ED4-49C4-ACF2-083205D09CD5}"/>
                </a:ext>
              </a:extLst>
            </p:cNvPr>
            <p:cNvSpPr/>
            <p:nvPr/>
          </p:nvSpPr>
          <p:spPr>
            <a:xfrm flipH="1">
              <a:off x="1668186" y="1255158"/>
              <a:ext cx="1889119" cy="668234"/>
            </a:xfrm>
            <a:custGeom>
              <a:avLst/>
              <a:gdLst/>
              <a:ahLst/>
              <a:cxnLst/>
              <a:rect l="l" t="t" r="r" b="b"/>
              <a:pathLst>
                <a:path w="65443" h="23149" extrusionOk="0">
                  <a:moveTo>
                    <a:pt x="47018" y="0"/>
                  </a:moveTo>
                  <a:cubicBezTo>
                    <a:pt x="39165" y="0"/>
                    <a:pt x="30221" y="2281"/>
                    <a:pt x="22372" y="9592"/>
                  </a:cubicBezTo>
                  <a:cubicBezTo>
                    <a:pt x="19423" y="12297"/>
                    <a:pt x="16870" y="15489"/>
                    <a:pt x="12037" y="16856"/>
                  </a:cubicBezTo>
                  <a:cubicBezTo>
                    <a:pt x="5745" y="18619"/>
                    <a:pt x="1520" y="18711"/>
                    <a:pt x="1" y="21051"/>
                  </a:cubicBezTo>
                  <a:cubicBezTo>
                    <a:pt x="261" y="20968"/>
                    <a:pt x="601" y="20931"/>
                    <a:pt x="1012" y="20931"/>
                  </a:cubicBezTo>
                  <a:cubicBezTo>
                    <a:pt x="4199" y="20931"/>
                    <a:pt x="11689" y="23148"/>
                    <a:pt x="20062" y="23148"/>
                  </a:cubicBezTo>
                  <a:cubicBezTo>
                    <a:pt x="29059" y="23148"/>
                    <a:pt x="39089" y="20443"/>
                    <a:pt x="45928" y="16552"/>
                  </a:cubicBezTo>
                  <a:cubicBezTo>
                    <a:pt x="52828" y="12935"/>
                    <a:pt x="57904" y="5762"/>
                    <a:pt x="65443" y="4273"/>
                  </a:cubicBezTo>
                  <a:cubicBezTo>
                    <a:pt x="62075" y="2435"/>
                    <a:pt x="55130" y="0"/>
                    <a:pt x="47018"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2089;p69">
              <a:extLst>
                <a:ext uri="{FF2B5EF4-FFF2-40B4-BE49-F238E27FC236}">
                  <a16:creationId xmlns:a16="http://schemas.microsoft.com/office/drawing/2014/main" id="{3AC296AA-A173-468F-8E2B-7261FA91E4BF}"/>
                </a:ext>
              </a:extLst>
            </p:cNvPr>
            <p:cNvSpPr/>
            <p:nvPr/>
          </p:nvSpPr>
          <p:spPr>
            <a:xfrm flipH="1">
              <a:off x="1647160" y="781802"/>
              <a:ext cx="1034379" cy="242797"/>
            </a:xfrm>
            <a:custGeom>
              <a:avLst/>
              <a:gdLst/>
              <a:ahLst/>
              <a:cxnLst/>
              <a:rect l="l" t="t" r="r" b="b"/>
              <a:pathLst>
                <a:path w="35833" h="8411" extrusionOk="0">
                  <a:moveTo>
                    <a:pt x="18192" y="0"/>
                  </a:moveTo>
                  <a:cubicBezTo>
                    <a:pt x="10157" y="0"/>
                    <a:pt x="1333" y="3565"/>
                    <a:pt x="239" y="6994"/>
                  </a:cubicBezTo>
                  <a:cubicBezTo>
                    <a:pt x="0" y="7722"/>
                    <a:pt x="295" y="8009"/>
                    <a:pt x="977" y="8009"/>
                  </a:cubicBezTo>
                  <a:cubicBezTo>
                    <a:pt x="3525" y="8009"/>
                    <a:pt x="11482" y="3998"/>
                    <a:pt x="17226" y="3998"/>
                  </a:cubicBezTo>
                  <a:cubicBezTo>
                    <a:pt x="17581" y="3998"/>
                    <a:pt x="17927" y="4013"/>
                    <a:pt x="18263" y="4045"/>
                  </a:cubicBezTo>
                  <a:cubicBezTo>
                    <a:pt x="24530" y="4677"/>
                    <a:pt x="27580" y="8411"/>
                    <a:pt x="30991" y="8411"/>
                  </a:cubicBezTo>
                  <a:cubicBezTo>
                    <a:pt x="31518" y="8411"/>
                    <a:pt x="32053" y="8322"/>
                    <a:pt x="32610" y="8118"/>
                  </a:cubicBezTo>
                  <a:cubicBezTo>
                    <a:pt x="35832" y="6933"/>
                    <a:pt x="27868" y="459"/>
                    <a:pt x="19510" y="33"/>
                  </a:cubicBezTo>
                  <a:cubicBezTo>
                    <a:pt x="19074" y="11"/>
                    <a:pt x="18634" y="0"/>
                    <a:pt x="1819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2090;p69">
              <a:extLst>
                <a:ext uri="{FF2B5EF4-FFF2-40B4-BE49-F238E27FC236}">
                  <a16:creationId xmlns:a16="http://schemas.microsoft.com/office/drawing/2014/main" id="{D4672F95-6AF4-4E90-9F43-246A253FC7C2}"/>
                </a:ext>
              </a:extLst>
            </p:cNvPr>
            <p:cNvSpPr/>
            <p:nvPr/>
          </p:nvSpPr>
          <p:spPr>
            <a:xfrm flipH="1">
              <a:off x="2649613" y="1946821"/>
              <a:ext cx="1112578" cy="263090"/>
            </a:xfrm>
            <a:custGeom>
              <a:avLst/>
              <a:gdLst/>
              <a:ahLst/>
              <a:cxnLst/>
              <a:rect l="l" t="t" r="r" b="b"/>
              <a:pathLst>
                <a:path w="38542" h="9114" extrusionOk="0">
                  <a:moveTo>
                    <a:pt x="3867" y="1"/>
                  </a:moveTo>
                  <a:cubicBezTo>
                    <a:pt x="1446" y="1"/>
                    <a:pt x="0" y="1103"/>
                    <a:pt x="2691" y="3259"/>
                  </a:cubicBezTo>
                  <a:cubicBezTo>
                    <a:pt x="6579" y="6422"/>
                    <a:pt x="10800" y="9114"/>
                    <a:pt x="20270" y="9114"/>
                  </a:cubicBezTo>
                  <a:cubicBezTo>
                    <a:pt x="20721" y="9114"/>
                    <a:pt x="21183" y="9108"/>
                    <a:pt x="21658" y="9095"/>
                  </a:cubicBezTo>
                  <a:cubicBezTo>
                    <a:pt x="32357" y="8761"/>
                    <a:pt x="36856" y="8062"/>
                    <a:pt x="38041" y="5205"/>
                  </a:cubicBezTo>
                  <a:cubicBezTo>
                    <a:pt x="38541" y="4017"/>
                    <a:pt x="37864" y="3631"/>
                    <a:pt x="36491" y="3631"/>
                  </a:cubicBezTo>
                  <a:cubicBezTo>
                    <a:pt x="34526" y="3631"/>
                    <a:pt x="31137" y="4421"/>
                    <a:pt x="27737" y="4779"/>
                  </a:cubicBezTo>
                  <a:cubicBezTo>
                    <a:pt x="27299" y="4824"/>
                    <a:pt x="26823" y="4845"/>
                    <a:pt x="26316" y="4845"/>
                  </a:cubicBezTo>
                  <a:cubicBezTo>
                    <a:pt x="20665" y="4845"/>
                    <a:pt x="11163" y="2217"/>
                    <a:pt x="7676" y="767"/>
                  </a:cubicBezTo>
                  <a:cubicBezTo>
                    <a:pt x="6415" y="254"/>
                    <a:pt x="5029" y="1"/>
                    <a:pt x="386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9" name="Google Shape;2083;p69">
            <a:extLst>
              <a:ext uri="{FF2B5EF4-FFF2-40B4-BE49-F238E27FC236}">
                <a16:creationId xmlns:a16="http://schemas.microsoft.com/office/drawing/2014/main" id="{CEE78947-13B0-4DD5-A757-48185A563D95}"/>
              </a:ext>
            </a:extLst>
          </p:cNvPr>
          <p:cNvSpPr txBox="1">
            <a:spLocks/>
          </p:cNvSpPr>
          <p:nvPr/>
        </p:nvSpPr>
        <p:spPr>
          <a:xfrm flipH="1">
            <a:off x="4058098" y="3512624"/>
            <a:ext cx="5293398" cy="5670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indent="-285750" defTabSz="914400">
              <a:buClr>
                <a:schemeClr val="tx1"/>
              </a:buClr>
              <a:buSzPts val="1100"/>
              <a:buFont typeface="Arial" panose="020B0604020202020204" pitchFamily="34" charset="0"/>
              <a:buChar char="•"/>
            </a:pPr>
            <a:r>
              <a:rPr kumimoji="0" lang="en-US" sz="2000" b="1"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rPr>
              <a:t>User-centric mind enabled</a:t>
            </a:r>
          </a:p>
          <a:p>
            <a:pPr marL="285750" indent="-285750" defTabSz="914400">
              <a:buClr>
                <a:schemeClr val="tx1"/>
              </a:buClr>
              <a:buSzPts val="1100"/>
              <a:buFont typeface="Arial" panose="020B0604020202020204" pitchFamily="34" charset="0"/>
              <a:buChar char="•"/>
            </a:pPr>
            <a:r>
              <a:rPr kumimoji="0" lang="en-US" sz="2000" b="1"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rPr>
              <a:t>Interactive Genre Gameplay</a:t>
            </a:r>
            <a:r>
              <a:rPr lang="en-US" sz="2000" b="1" kern="0" dirty="0">
                <a:solidFill>
                  <a:srgbClr val="D5FA68"/>
                </a:solidFill>
                <a:latin typeface="Arial" panose="020B0604020202020204" pitchFamily="34" charset="0"/>
                <a:cs typeface="Arial" panose="020B0604020202020204" pitchFamily="34" charset="0"/>
              </a:rPr>
              <a:t> Mechanics</a:t>
            </a:r>
            <a:endParaRPr kumimoji="0" lang="en-US" sz="2000" b="1"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endParaRPr>
          </a:p>
        </p:txBody>
      </p:sp>
      <p:grpSp>
        <p:nvGrpSpPr>
          <p:cNvPr id="20" name="Google Shape;2091;p69">
            <a:extLst>
              <a:ext uri="{FF2B5EF4-FFF2-40B4-BE49-F238E27FC236}">
                <a16:creationId xmlns:a16="http://schemas.microsoft.com/office/drawing/2014/main" id="{7D2413DB-1003-4F31-828E-6995A60BFE5E}"/>
              </a:ext>
            </a:extLst>
          </p:cNvPr>
          <p:cNvGrpSpPr/>
          <p:nvPr/>
        </p:nvGrpSpPr>
        <p:grpSpPr>
          <a:xfrm>
            <a:off x="9010243" y="3429000"/>
            <a:ext cx="1376237" cy="2576197"/>
            <a:chOff x="6586600" y="2122595"/>
            <a:chExt cx="1376237" cy="2576197"/>
          </a:xfrm>
        </p:grpSpPr>
        <p:sp>
          <p:nvSpPr>
            <p:cNvPr id="21" name="Google Shape;2092;p69">
              <a:extLst>
                <a:ext uri="{FF2B5EF4-FFF2-40B4-BE49-F238E27FC236}">
                  <a16:creationId xmlns:a16="http://schemas.microsoft.com/office/drawing/2014/main" id="{EDD687AD-7633-458E-92E9-5BBE4E85BCC9}"/>
                </a:ext>
              </a:extLst>
            </p:cNvPr>
            <p:cNvSpPr/>
            <p:nvPr/>
          </p:nvSpPr>
          <p:spPr>
            <a:xfrm>
              <a:off x="6586600" y="4263675"/>
              <a:ext cx="1376237" cy="435118"/>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chemeClr val="bg1">
                <a:lumMod val="95000"/>
                <a:lumOff val="5000"/>
                <a:alpha val="4588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2" name="Google Shape;2093;p69">
              <a:extLst>
                <a:ext uri="{FF2B5EF4-FFF2-40B4-BE49-F238E27FC236}">
                  <a16:creationId xmlns:a16="http://schemas.microsoft.com/office/drawing/2014/main" id="{CC30BF4E-61B3-445F-B882-D2A07E0FCE8A}"/>
                </a:ext>
              </a:extLst>
            </p:cNvPr>
            <p:cNvSpPr/>
            <p:nvPr/>
          </p:nvSpPr>
          <p:spPr>
            <a:xfrm>
              <a:off x="7408796" y="4375064"/>
              <a:ext cx="29761" cy="6634"/>
            </a:xfrm>
            <a:custGeom>
              <a:avLst/>
              <a:gdLst/>
              <a:ahLst/>
              <a:cxnLst/>
              <a:rect l="l" t="t" r="r" b="b"/>
              <a:pathLst>
                <a:path w="821" h="183" extrusionOk="0">
                  <a:moveTo>
                    <a:pt x="365" y="1"/>
                  </a:moveTo>
                  <a:lnTo>
                    <a:pt x="0" y="183"/>
                  </a:lnTo>
                  <a:lnTo>
                    <a:pt x="456" y="183"/>
                  </a:lnTo>
                  <a:lnTo>
                    <a:pt x="821" y="1"/>
                  </a:lnTo>
                  <a:close/>
                </a:path>
              </a:pathLst>
            </a:custGeom>
            <a:solidFill>
              <a:srgbClr val="FAD34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2094;p69">
              <a:extLst>
                <a:ext uri="{FF2B5EF4-FFF2-40B4-BE49-F238E27FC236}">
                  <a16:creationId xmlns:a16="http://schemas.microsoft.com/office/drawing/2014/main" id="{080BEF34-64BC-4AE5-85E8-8105BEA37CF1}"/>
                </a:ext>
              </a:extLst>
            </p:cNvPr>
            <p:cNvSpPr/>
            <p:nvPr/>
          </p:nvSpPr>
          <p:spPr>
            <a:xfrm>
              <a:off x="6770300" y="2122595"/>
              <a:ext cx="923360" cy="2473084"/>
            </a:xfrm>
            <a:custGeom>
              <a:avLst/>
              <a:gdLst/>
              <a:ahLst/>
              <a:cxnLst/>
              <a:rect l="l" t="t" r="r" b="b"/>
              <a:pathLst>
                <a:path w="25472" h="68223" extrusionOk="0">
                  <a:moveTo>
                    <a:pt x="18089" y="0"/>
                  </a:moveTo>
                  <a:cubicBezTo>
                    <a:pt x="16259" y="0"/>
                    <a:pt x="14442" y="177"/>
                    <a:pt x="12311" y="623"/>
                  </a:cubicBezTo>
                  <a:cubicBezTo>
                    <a:pt x="11186" y="836"/>
                    <a:pt x="10183" y="1505"/>
                    <a:pt x="9544" y="2447"/>
                  </a:cubicBezTo>
                  <a:cubicBezTo>
                    <a:pt x="5715" y="8070"/>
                    <a:pt x="2006" y="13967"/>
                    <a:pt x="760" y="20623"/>
                  </a:cubicBezTo>
                  <a:cubicBezTo>
                    <a:pt x="0" y="24727"/>
                    <a:pt x="213" y="28921"/>
                    <a:pt x="426" y="33086"/>
                  </a:cubicBezTo>
                  <a:lnTo>
                    <a:pt x="2189" y="66885"/>
                  </a:lnTo>
                  <a:cubicBezTo>
                    <a:pt x="7052" y="67706"/>
                    <a:pt x="12219" y="67949"/>
                    <a:pt x="17691" y="68223"/>
                  </a:cubicBezTo>
                  <a:cubicBezTo>
                    <a:pt x="19697" y="66338"/>
                    <a:pt x="22645" y="63025"/>
                    <a:pt x="24651" y="61141"/>
                  </a:cubicBezTo>
                  <a:cubicBezTo>
                    <a:pt x="25472" y="41688"/>
                    <a:pt x="24286" y="22143"/>
                    <a:pt x="24955" y="2690"/>
                  </a:cubicBezTo>
                  <a:cubicBezTo>
                    <a:pt x="25016" y="1505"/>
                    <a:pt x="24104" y="441"/>
                    <a:pt x="22919" y="319"/>
                  </a:cubicBezTo>
                  <a:cubicBezTo>
                    <a:pt x="21171" y="125"/>
                    <a:pt x="19625" y="0"/>
                    <a:pt x="18089" y="0"/>
                  </a:cubicBezTo>
                  <a:close/>
                </a:path>
              </a:pathLst>
            </a:custGeom>
            <a:solidFill>
              <a:srgbClr val="08080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4" name="Google Shape;2095;p69">
              <a:extLst>
                <a:ext uri="{FF2B5EF4-FFF2-40B4-BE49-F238E27FC236}">
                  <a16:creationId xmlns:a16="http://schemas.microsoft.com/office/drawing/2014/main" id="{F4E7C9BD-1453-4F40-8A38-B1059D9CDD6E}"/>
                </a:ext>
              </a:extLst>
            </p:cNvPr>
            <p:cNvSpPr/>
            <p:nvPr/>
          </p:nvSpPr>
          <p:spPr>
            <a:xfrm>
              <a:off x="6857342" y="2157144"/>
              <a:ext cx="733881" cy="744031"/>
            </a:xfrm>
            <a:custGeom>
              <a:avLst/>
              <a:gdLst/>
              <a:ahLst/>
              <a:cxnLst/>
              <a:rect l="l" t="t" r="r" b="b"/>
              <a:pathLst>
                <a:path w="20245" h="20525" extrusionOk="0">
                  <a:moveTo>
                    <a:pt x="14530" y="0"/>
                  </a:moveTo>
                  <a:cubicBezTo>
                    <a:pt x="13606" y="0"/>
                    <a:pt x="12682" y="41"/>
                    <a:pt x="11764" y="126"/>
                  </a:cubicBezTo>
                  <a:cubicBezTo>
                    <a:pt x="11736" y="126"/>
                    <a:pt x="11709" y="125"/>
                    <a:pt x="11682" y="125"/>
                  </a:cubicBezTo>
                  <a:cubicBezTo>
                    <a:pt x="9707" y="125"/>
                    <a:pt x="7891" y="1214"/>
                    <a:pt x="6961" y="2953"/>
                  </a:cubicBezTo>
                  <a:cubicBezTo>
                    <a:pt x="4712" y="6175"/>
                    <a:pt x="3070" y="9792"/>
                    <a:pt x="1460" y="13379"/>
                  </a:cubicBezTo>
                  <a:cubicBezTo>
                    <a:pt x="730" y="15020"/>
                    <a:pt x="1" y="16904"/>
                    <a:pt x="760" y="18515"/>
                  </a:cubicBezTo>
                  <a:cubicBezTo>
                    <a:pt x="1338" y="19579"/>
                    <a:pt x="2402" y="20309"/>
                    <a:pt x="3587" y="20491"/>
                  </a:cubicBezTo>
                  <a:cubicBezTo>
                    <a:pt x="3806" y="20513"/>
                    <a:pt x="4025" y="20524"/>
                    <a:pt x="4242" y="20524"/>
                  </a:cubicBezTo>
                  <a:cubicBezTo>
                    <a:pt x="5228" y="20524"/>
                    <a:pt x="6186" y="20296"/>
                    <a:pt x="7083" y="19822"/>
                  </a:cubicBezTo>
                  <a:cubicBezTo>
                    <a:pt x="10122" y="18363"/>
                    <a:pt x="12037" y="15293"/>
                    <a:pt x="13770" y="12375"/>
                  </a:cubicBezTo>
                  <a:cubicBezTo>
                    <a:pt x="15745" y="9002"/>
                    <a:pt x="17752" y="5658"/>
                    <a:pt x="19727" y="2315"/>
                  </a:cubicBezTo>
                  <a:cubicBezTo>
                    <a:pt x="19970" y="1950"/>
                    <a:pt x="20244" y="1494"/>
                    <a:pt x="20031" y="1008"/>
                  </a:cubicBezTo>
                  <a:cubicBezTo>
                    <a:pt x="19849" y="521"/>
                    <a:pt x="19241" y="369"/>
                    <a:pt x="18724" y="278"/>
                  </a:cubicBezTo>
                  <a:cubicBezTo>
                    <a:pt x="17333" y="95"/>
                    <a:pt x="15930" y="0"/>
                    <a:pt x="14530"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2096;p69">
              <a:extLst>
                <a:ext uri="{FF2B5EF4-FFF2-40B4-BE49-F238E27FC236}">
                  <a16:creationId xmlns:a16="http://schemas.microsoft.com/office/drawing/2014/main" id="{1793187D-5471-4078-94FD-26D0F22AFFB6}"/>
                </a:ext>
              </a:extLst>
            </p:cNvPr>
            <p:cNvSpPr/>
            <p:nvPr/>
          </p:nvSpPr>
          <p:spPr>
            <a:xfrm>
              <a:off x="7317930" y="3200834"/>
              <a:ext cx="282134" cy="780136"/>
            </a:xfrm>
            <a:custGeom>
              <a:avLst/>
              <a:gdLst/>
              <a:ahLst/>
              <a:cxnLst/>
              <a:rect l="l" t="t" r="r" b="b"/>
              <a:pathLst>
                <a:path w="7783" h="21521" extrusionOk="0">
                  <a:moveTo>
                    <a:pt x="3892" y="365"/>
                  </a:moveTo>
                  <a:cubicBezTo>
                    <a:pt x="5806" y="365"/>
                    <a:pt x="7417" y="5137"/>
                    <a:pt x="7417" y="10760"/>
                  </a:cubicBezTo>
                  <a:cubicBezTo>
                    <a:pt x="7417" y="16383"/>
                    <a:pt x="5806" y="21155"/>
                    <a:pt x="3892" y="21155"/>
                  </a:cubicBezTo>
                  <a:cubicBezTo>
                    <a:pt x="1977" y="21155"/>
                    <a:pt x="366" y="16383"/>
                    <a:pt x="366" y="10760"/>
                  </a:cubicBezTo>
                  <a:cubicBezTo>
                    <a:pt x="366" y="5137"/>
                    <a:pt x="1977" y="365"/>
                    <a:pt x="3892" y="365"/>
                  </a:cubicBezTo>
                  <a:close/>
                  <a:moveTo>
                    <a:pt x="3892" y="0"/>
                  </a:moveTo>
                  <a:cubicBezTo>
                    <a:pt x="1703" y="0"/>
                    <a:pt x="1" y="4711"/>
                    <a:pt x="1" y="10760"/>
                  </a:cubicBezTo>
                  <a:cubicBezTo>
                    <a:pt x="1" y="16809"/>
                    <a:pt x="1703" y="21520"/>
                    <a:pt x="3892" y="21520"/>
                  </a:cubicBezTo>
                  <a:cubicBezTo>
                    <a:pt x="6080" y="21520"/>
                    <a:pt x="7782" y="16809"/>
                    <a:pt x="7782" y="10760"/>
                  </a:cubicBezTo>
                  <a:cubicBezTo>
                    <a:pt x="7782" y="4711"/>
                    <a:pt x="6080" y="0"/>
                    <a:pt x="3892"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2097;p69">
              <a:extLst>
                <a:ext uri="{FF2B5EF4-FFF2-40B4-BE49-F238E27FC236}">
                  <a16:creationId xmlns:a16="http://schemas.microsoft.com/office/drawing/2014/main" id="{7FDC3E65-7F07-45E8-ADD7-94C691011750}"/>
                </a:ext>
              </a:extLst>
            </p:cNvPr>
            <p:cNvSpPr/>
            <p:nvPr/>
          </p:nvSpPr>
          <p:spPr>
            <a:xfrm>
              <a:off x="6927853" y="2773265"/>
              <a:ext cx="182954" cy="69455"/>
            </a:xfrm>
            <a:custGeom>
              <a:avLst/>
              <a:gdLst/>
              <a:ahLst/>
              <a:cxnLst/>
              <a:rect l="l" t="t" r="r" b="b"/>
              <a:pathLst>
                <a:path w="5047" h="1916" extrusionOk="0">
                  <a:moveTo>
                    <a:pt x="1" y="1"/>
                  </a:moveTo>
                  <a:lnTo>
                    <a:pt x="1399" y="1916"/>
                  </a:lnTo>
                  <a:lnTo>
                    <a:pt x="5047" y="457"/>
                  </a:lnTo>
                  <a:lnTo>
                    <a:pt x="1"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8" name="Google Shape;2103;p69">
            <a:extLst>
              <a:ext uri="{FF2B5EF4-FFF2-40B4-BE49-F238E27FC236}">
                <a16:creationId xmlns:a16="http://schemas.microsoft.com/office/drawing/2014/main" id="{A6959447-82D1-487B-AA7A-453B8D29F3D5}"/>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2104;p69">
            <a:extLst>
              <a:ext uri="{FF2B5EF4-FFF2-40B4-BE49-F238E27FC236}">
                <a16:creationId xmlns:a16="http://schemas.microsoft.com/office/drawing/2014/main" id="{E9BD1AA7-85DA-40EC-9121-C2328EAE167B}"/>
              </a:ext>
            </a:extLst>
          </p:cNvPr>
          <p:cNvSpPr/>
          <p:nvPr/>
        </p:nvSpPr>
        <p:spPr>
          <a:xfrm>
            <a:off x="3100891" y="389655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2105;p69">
            <a:extLst>
              <a:ext uri="{FF2B5EF4-FFF2-40B4-BE49-F238E27FC236}">
                <a16:creationId xmlns:a16="http://schemas.microsoft.com/office/drawing/2014/main" id="{C3911B05-7C3E-4DED-AAFB-AF5471971776}"/>
              </a:ext>
            </a:extLst>
          </p:cNvPr>
          <p:cNvSpPr/>
          <p:nvPr/>
        </p:nvSpPr>
        <p:spPr>
          <a:xfrm>
            <a:off x="7563778" y="25567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2106;p69">
            <a:extLst>
              <a:ext uri="{FF2B5EF4-FFF2-40B4-BE49-F238E27FC236}">
                <a16:creationId xmlns:a16="http://schemas.microsoft.com/office/drawing/2014/main" id="{9B0D01B7-45CD-409D-994B-8EEC453D8FF8}"/>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2107;p69">
            <a:extLst>
              <a:ext uri="{FF2B5EF4-FFF2-40B4-BE49-F238E27FC236}">
                <a16:creationId xmlns:a16="http://schemas.microsoft.com/office/drawing/2014/main" id="{0EAFC476-A554-4787-BE6D-BBBA138A3BD2}"/>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3" name="Google Shape;2108;p69">
            <a:extLst>
              <a:ext uri="{FF2B5EF4-FFF2-40B4-BE49-F238E27FC236}">
                <a16:creationId xmlns:a16="http://schemas.microsoft.com/office/drawing/2014/main" id="{8DE6A404-2085-43EF-8CC7-7673F0BDA124}"/>
              </a:ext>
            </a:extLst>
          </p:cNvPr>
          <p:cNvGrpSpPr/>
          <p:nvPr/>
        </p:nvGrpSpPr>
        <p:grpSpPr>
          <a:xfrm rot="14053952">
            <a:off x="1604593" y="4027631"/>
            <a:ext cx="161701" cy="641985"/>
            <a:chOff x="7004550" y="3676293"/>
            <a:chExt cx="161700" cy="641982"/>
          </a:xfrm>
        </p:grpSpPr>
        <p:sp>
          <p:nvSpPr>
            <p:cNvPr id="61" name="Google Shape;2109;p69">
              <a:extLst>
                <a:ext uri="{FF2B5EF4-FFF2-40B4-BE49-F238E27FC236}">
                  <a16:creationId xmlns:a16="http://schemas.microsoft.com/office/drawing/2014/main" id="{EDC331F6-7DDC-49DA-921B-9DAA41F8626E}"/>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2110;p69">
              <a:extLst>
                <a:ext uri="{FF2B5EF4-FFF2-40B4-BE49-F238E27FC236}">
                  <a16:creationId xmlns:a16="http://schemas.microsoft.com/office/drawing/2014/main" id="{6104B1F4-E7C9-4F43-AD93-DA85BB732511}"/>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11;p69">
              <a:extLst>
                <a:ext uri="{FF2B5EF4-FFF2-40B4-BE49-F238E27FC236}">
                  <a16:creationId xmlns:a16="http://schemas.microsoft.com/office/drawing/2014/main" id="{B52B1352-96B1-4CB1-AEFE-BAC465AAB0FA}"/>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12;p69">
              <a:extLst>
                <a:ext uri="{FF2B5EF4-FFF2-40B4-BE49-F238E27FC236}">
                  <a16:creationId xmlns:a16="http://schemas.microsoft.com/office/drawing/2014/main" id="{BDF62D66-5125-4181-B6C9-F257C0097BFB}"/>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4" name="Google Shape;2113;p69">
            <a:extLst>
              <a:ext uri="{FF2B5EF4-FFF2-40B4-BE49-F238E27FC236}">
                <a16:creationId xmlns:a16="http://schemas.microsoft.com/office/drawing/2014/main" id="{5BF0C1EF-A6F2-425B-BAD8-26A97E763EB1}"/>
              </a:ext>
            </a:extLst>
          </p:cNvPr>
          <p:cNvGrpSpPr/>
          <p:nvPr/>
        </p:nvGrpSpPr>
        <p:grpSpPr>
          <a:xfrm>
            <a:off x="6014798" y="5443009"/>
            <a:ext cx="776779" cy="722282"/>
            <a:chOff x="4818730" y="3307263"/>
            <a:chExt cx="1827512" cy="1699300"/>
          </a:xfrm>
        </p:grpSpPr>
        <p:sp>
          <p:nvSpPr>
            <p:cNvPr id="36" name="Google Shape;2114;p69">
              <a:extLst>
                <a:ext uri="{FF2B5EF4-FFF2-40B4-BE49-F238E27FC236}">
                  <a16:creationId xmlns:a16="http://schemas.microsoft.com/office/drawing/2014/main" id="{C3DAEF34-5728-4743-9A60-2DEB01C0761D}"/>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2115;p69">
              <a:extLst>
                <a:ext uri="{FF2B5EF4-FFF2-40B4-BE49-F238E27FC236}">
                  <a16:creationId xmlns:a16="http://schemas.microsoft.com/office/drawing/2014/main" id="{1D8715D8-85EA-4474-B317-6F3BD46A9507}"/>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2116;p69">
              <a:extLst>
                <a:ext uri="{FF2B5EF4-FFF2-40B4-BE49-F238E27FC236}">
                  <a16:creationId xmlns:a16="http://schemas.microsoft.com/office/drawing/2014/main" id="{0EA72C67-7366-41E5-94B2-F8D9AEEA4A57}"/>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2117;p69">
              <a:extLst>
                <a:ext uri="{FF2B5EF4-FFF2-40B4-BE49-F238E27FC236}">
                  <a16:creationId xmlns:a16="http://schemas.microsoft.com/office/drawing/2014/main" id="{DA7F3AE5-8494-4424-A104-AB7519490837}"/>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2118;p69">
              <a:extLst>
                <a:ext uri="{FF2B5EF4-FFF2-40B4-BE49-F238E27FC236}">
                  <a16:creationId xmlns:a16="http://schemas.microsoft.com/office/drawing/2014/main" id="{32DDF431-9C4A-4B91-AB11-05532B411FD8}"/>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2119;p69">
              <a:extLst>
                <a:ext uri="{FF2B5EF4-FFF2-40B4-BE49-F238E27FC236}">
                  <a16:creationId xmlns:a16="http://schemas.microsoft.com/office/drawing/2014/main" id="{F94D264A-97EB-4422-9542-A02ECFF73521}"/>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2120;p69">
              <a:extLst>
                <a:ext uri="{FF2B5EF4-FFF2-40B4-BE49-F238E27FC236}">
                  <a16:creationId xmlns:a16="http://schemas.microsoft.com/office/drawing/2014/main" id="{1478BECE-608F-428C-96EB-520D75A56472}"/>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2121;p69">
              <a:extLst>
                <a:ext uri="{FF2B5EF4-FFF2-40B4-BE49-F238E27FC236}">
                  <a16:creationId xmlns:a16="http://schemas.microsoft.com/office/drawing/2014/main" id="{424A39D9-3208-41C4-8B2B-9674F4E35520}"/>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2122;p69">
              <a:extLst>
                <a:ext uri="{FF2B5EF4-FFF2-40B4-BE49-F238E27FC236}">
                  <a16:creationId xmlns:a16="http://schemas.microsoft.com/office/drawing/2014/main" id="{0780F178-11A5-4A79-B27B-7DB37FE38294}"/>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2123;p69">
              <a:extLst>
                <a:ext uri="{FF2B5EF4-FFF2-40B4-BE49-F238E27FC236}">
                  <a16:creationId xmlns:a16="http://schemas.microsoft.com/office/drawing/2014/main" id="{6E5D856C-E8E7-4F31-8B84-D16D450B911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2124;p69">
              <a:extLst>
                <a:ext uri="{FF2B5EF4-FFF2-40B4-BE49-F238E27FC236}">
                  <a16:creationId xmlns:a16="http://schemas.microsoft.com/office/drawing/2014/main" id="{A50827A8-4A6D-4130-8931-B9A5AC7CA27A}"/>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2125;p69">
              <a:extLst>
                <a:ext uri="{FF2B5EF4-FFF2-40B4-BE49-F238E27FC236}">
                  <a16:creationId xmlns:a16="http://schemas.microsoft.com/office/drawing/2014/main" id="{744CDB04-87C5-4857-9AE9-E9915A56B625}"/>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2126;p69">
              <a:extLst>
                <a:ext uri="{FF2B5EF4-FFF2-40B4-BE49-F238E27FC236}">
                  <a16:creationId xmlns:a16="http://schemas.microsoft.com/office/drawing/2014/main" id="{6AFDF04E-1EC0-4596-8C17-873586CBE5FC}"/>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2127;p69">
              <a:extLst>
                <a:ext uri="{FF2B5EF4-FFF2-40B4-BE49-F238E27FC236}">
                  <a16:creationId xmlns:a16="http://schemas.microsoft.com/office/drawing/2014/main" id="{B0084225-1C05-4926-9689-D25634E9B026}"/>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2128;p69">
              <a:extLst>
                <a:ext uri="{FF2B5EF4-FFF2-40B4-BE49-F238E27FC236}">
                  <a16:creationId xmlns:a16="http://schemas.microsoft.com/office/drawing/2014/main" id="{8408587B-6B58-4EE4-A92E-679BDF8D9731}"/>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2129;p69">
              <a:extLst>
                <a:ext uri="{FF2B5EF4-FFF2-40B4-BE49-F238E27FC236}">
                  <a16:creationId xmlns:a16="http://schemas.microsoft.com/office/drawing/2014/main" id="{42EB6A5B-9779-4AF5-8DAB-3909548685FB}"/>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2130;p69">
              <a:extLst>
                <a:ext uri="{FF2B5EF4-FFF2-40B4-BE49-F238E27FC236}">
                  <a16:creationId xmlns:a16="http://schemas.microsoft.com/office/drawing/2014/main" id="{2A357272-F680-40C8-914F-AAFB0F751316}"/>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2131;p69">
              <a:extLst>
                <a:ext uri="{FF2B5EF4-FFF2-40B4-BE49-F238E27FC236}">
                  <a16:creationId xmlns:a16="http://schemas.microsoft.com/office/drawing/2014/main" id="{9585AE42-DABB-4550-BA95-D16BA3289099}"/>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2132;p69">
              <a:extLst>
                <a:ext uri="{FF2B5EF4-FFF2-40B4-BE49-F238E27FC236}">
                  <a16:creationId xmlns:a16="http://schemas.microsoft.com/office/drawing/2014/main" id="{3CE62B3C-7050-4692-8C1B-93743DF7E669}"/>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2133;p69">
              <a:extLst>
                <a:ext uri="{FF2B5EF4-FFF2-40B4-BE49-F238E27FC236}">
                  <a16:creationId xmlns:a16="http://schemas.microsoft.com/office/drawing/2014/main" id="{CA74271C-4003-426A-AC70-5941A579E72D}"/>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2134;p69">
              <a:extLst>
                <a:ext uri="{FF2B5EF4-FFF2-40B4-BE49-F238E27FC236}">
                  <a16:creationId xmlns:a16="http://schemas.microsoft.com/office/drawing/2014/main" id="{1D00EA3B-348D-4CAE-93DD-B43EB20EF9D0}"/>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2135;p69">
              <a:extLst>
                <a:ext uri="{FF2B5EF4-FFF2-40B4-BE49-F238E27FC236}">
                  <a16:creationId xmlns:a16="http://schemas.microsoft.com/office/drawing/2014/main" id="{0DD90039-1292-40D2-AD2D-C5EC217AE115}"/>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2136;p69">
              <a:extLst>
                <a:ext uri="{FF2B5EF4-FFF2-40B4-BE49-F238E27FC236}">
                  <a16:creationId xmlns:a16="http://schemas.microsoft.com/office/drawing/2014/main" id="{FEF961C4-E443-4043-8743-1992C2266DC9}"/>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2137;p69">
              <a:extLst>
                <a:ext uri="{FF2B5EF4-FFF2-40B4-BE49-F238E27FC236}">
                  <a16:creationId xmlns:a16="http://schemas.microsoft.com/office/drawing/2014/main" id="{E7B64DC9-CB9E-4C8D-88E0-88E09F8D73AC}"/>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2138;p69">
              <a:extLst>
                <a:ext uri="{FF2B5EF4-FFF2-40B4-BE49-F238E27FC236}">
                  <a16:creationId xmlns:a16="http://schemas.microsoft.com/office/drawing/2014/main" id="{D3212D85-6688-46D2-8330-C767FA5DCAB4}"/>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5" name="Google Shape;2139;p69">
            <a:extLst>
              <a:ext uri="{FF2B5EF4-FFF2-40B4-BE49-F238E27FC236}">
                <a16:creationId xmlns:a16="http://schemas.microsoft.com/office/drawing/2014/main" id="{F6214E91-98FD-42B3-BC11-1AC44B6D70E7}"/>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1;p2">
            <a:extLst>
              <a:ext uri="{FF2B5EF4-FFF2-40B4-BE49-F238E27FC236}">
                <a16:creationId xmlns:a16="http://schemas.microsoft.com/office/drawing/2014/main" id="{0FC22BAC-4349-452F-8CB5-981B2E67B977}"/>
              </a:ext>
            </a:extLst>
          </p:cNvPr>
          <p:cNvSpPr/>
          <p:nvPr/>
        </p:nvSpPr>
        <p:spPr>
          <a:xfrm rot="1074665" flipH="1">
            <a:off x="9367835" y="-1238844"/>
            <a:ext cx="3493975" cy="4013859"/>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1;p2">
            <a:extLst>
              <a:ext uri="{FF2B5EF4-FFF2-40B4-BE49-F238E27FC236}">
                <a16:creationId xmlns:a16="http://schemas.microsoft.com/office/drawing/2014/main" id="{FC12F057-F1E2-49D4-903B-0237AA994BBA}"/>
              </a:ext>
            </a:extLst>
          </p:cNvPr>
          <p:cNvSpPr/>
          <p:nvPr/>
        </p:nvSpPr>
        <p:spPr>
          <a:xfrm rot="16997196">
            <a:off x="-632881" y="4361058"/>
            <a:ext cx="3493975" cy="4013859"/>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 name="Google Shape;5593;p92">
            <a:extLst>
              <a:ext uri="{FF2B5EF4-FFF2-40B4-BE49-F238E27FC236}">
                <a16:creationId xmlns:a16="http://schemas.microsoft.com/office/drawing/2014/main" id="{CE4906A0-D96E-478F-8332-5C46E4AB4B20}"/>
              </a:ext>
            </a:extLst>
          </p:cNvPr>
          <p:cNvSpPr/>
          <p:nvPr/>
        </p:nvSpPr>
        <p:spPr>
          <a:xfrm>
            <a:off x="4078542" y="3544155"/>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 name="Google Shape;5593;p92">
            <a:extLst>
              <a:ext uri="{FF2B5EF4-FFF2-40B4-BE49-F238E27FC236}">
                <a16:creationId xmlns:a16="http://schemas.microsoft.com/office/drawing/2014/main" id="{B08485D2-A497-4E1F-A2A3-6BDD2F177DCC}"/>
              </a:ext>
            </a:extLst>
          </p:cNvPr>
          <p:cNvSpPr/>
          <p:nvPr/>
        </p:nvSpPr>
        <p:spPr>
          <a:xfrm>
            <a:off x="4065587" y="382328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55517013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43" name="TextBox 42">
            <a:extLst>
              <a:ext uri="{FF2B5EF4-FFF2-40B4-BE49-F238E27FC236}">
                <a16:creationId xmlns:a16="http://schemas.microsoft.com/office/drawing/2014/main" id="{9F3069CF-9E8A-4544-9907-6E82BF399262}"/>
              </a:ext>
            </a:extLst>
          </p:cNvPr>
          <p:cNvSpPr txBox="1"/>
          <p:nvPr/>
        </p:nvSpPr>
        <p:spPr>
          <a:xfrm>
            <a:off x="7335812" y="5540866"/>
            <a:ext cx="4095993" cy="954107"/>
          </a:xfrm>
          <a:prstGeom prst="rect">
            <a:avLst/>
          </a:prstGeom>
          <a:noFill/>
        </p:spPr>
        <p:txBody>
          <a:bodyPr wrap="none" rtlCol="0">
            <a:spAutoFit/>
          </a:bodyPr>
          <a:lstStyle/>
          <a:p>
            <a:r>
              <a:rPr lang="en-US" sz="1400" dirty="0">
                <a:latin typeface="Sora" pitchFamily="2" charset="0"/>
                <a:cs typeface="Sora" pitchFamily="2" charset="0"/>
              </a:rPr>
              <a:t>Epic Games Unreal Engine Marketplace</a:t>
            </a:r>
          </a:p>
          <a:p>
            <a:r>
              <a:rPr lang="en-US" sz="1400" dirty="0">
                <a:latin typeface="Sora" pitchFamily="2" charset="0"/>
                <a:cs typeface="Sora" pitchFamily="2" charset="0"/>
              </a:rPr>
              <a:t>Inspired and based on:</a:t>
            </a:r>
          </a:p>
          <a:p>
            <a:pPr marL="285750" indent="-285750">
              <a:buFont typeface="Arial" panose="020B0604020202020204" pitchFamily="34" charset="0"/>
              <a:buChar char="•"/>
            </a:pPr>
            <a:r>
              <a:rPr lang="en-US" sz="1400" dirty="0">
                <a:latin typeface="Sora" pitchFamily="2" charset="0"/>
                <a:cs typeface="Sora" pitchFamily="2" charset="0"/>
              </a:rPr>
              <a:t>Advanced Light Actors – </a:t>
            </a:r>
            <a:r>
              <a:rPr lang="en-US" sz="1400" b="0" i="0" u="none" strike="noStrike" dirty="0">
                <a:solidFill>
                  <a:srgbClr val="DCA100"/>
                </a:solidFill>
                <a:effectLst/>
                <a:latin typeface="Sora" pitchFamily="2" charset="0"/>
                <a:cs typeface="Sora" pitchFamily="2" charset="0"/>
              </a:rPr>
              <a:t>Roland </a:t>
            </a:r>
            <a:r>
              <a:rPr lang="en-US" sz="1400" b="0" i="0" u="none" strike="noStrike" dirty="0" err="1">
                <a:solidFill>
                  <a:srgbClr val="DCA100"/>
                </a:solidFill>
                <a:effectLst/>
                <a:latin typeface="Sora" pitchFamily="2" charset="0"/>
                <a:cs typeface="Sora" pitchFamily="2" charset="0"/>
              </a:rPr>
              <a:t>Simigla</a:t>
            </a:r>
            <a:endParaRPr lang="en-US" sz="1400" b="0" i="0" u="none" strike="noStrike" dirty="0">
              <a:solidFill>
                <a:srgbClr val="DCA100"/>
              </a:solidFill>
              <a:effectLst/>
              <a:latin typeface="Sora" pitchFamily="2" charset="0"/>
              <a:cs typeface="Sora" pitchFamily="2" charset="0"/>
            </a:endParaRPr>
          </a:p>
          <a:p>
            <a:pPr marL="285750" indent="-285750">
              <a:buFont typeface="Arial" panose="020B0604020202020204" pitchFamily="34" charset="0"/>
              <a:buChar char="•"/>
            </a:pPr>
            <a:r>
              <a:rPr lang="en-US" sz="1400" b="0" i="0" u="none" strike="noStrike" dirty="0">
                <a:effectLst/>
                <a:latin typeface="Sora" pitchFamily="2" charset="0"/>
                <a:cs typeface="Sora" pitchFamily="2" charset="0"/>
              </a:rPr>
              <a:t>Horror Engine –</a:t>
            </a:r>
            <a:r>
              <a:rPr lang="en-US" sz="1400" b="0" i="0" u="none" strike="noStrike" dirty="0">
                <a:solidFill>
                  <a:srgbClr val="DCA100"/>
                </a:solidFill>
                <a:effectLst/>
                <a:latin typeface="Sora" pitchFamily="2" charset="0"/>
                <a:cs typeface="Sora" pitchFamily="2" charset="0"/>
              </a:rPr>
              <a:t> </a:t>
            </a:r>
            <a:r>
              <a:rPr lang="en-US" sz="1400" b="0" i="0" dirty="0" err="1">
                <a:solidFill>
                  <a:srgbClr val="DCA100"/>
                </a:solidFill>
                <a:effectLst/>
                <a:latin typeface="Sora" pitchFamily="2" charset="0"/>
                <a:cs typeface="Sora" pitchFamily="2" charset="0"/>
              </a:rPr>
              <a:t>tansuergene</a:t>
            </a:r>
            <a:endParaRPr lang="en-US" sz="1400" dirty="0">
              <a:latin typeface="Sora" pitchFamily="2" charset="0"/>
              <a:cs typeface="Sora" pitchFamily="2" charset="0"/>
            </a:endParaRPr>
          </a:p>
        </p:txBody>
      </p:sp>
      <p:sp>
        <p:nvSpPr>
          <p:cNvPr id="2" name="Google Shape;12;p2">
            <a:extLst>
              <a:ext uri="{FF2B5EF4-FFF2-40B4-BE49-F238E27FC236}">
                <a16:creationId xmlns:a16="http://schemas.microsoft.com/office/drawing/2014/main" id="{663DA540-EC0D-46F3-874F-5040D7ECF831}"/>
              </a:ext>
            </a:extLst>
          </p:cNvPr>
          <p:cNvSpPr/>
          <p:nvPr/>
        </p:nvSpPr>
        <p:spPr>
          <a:xfrm rot="4514952">
            <a:off x="9846143" y="-185643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7B688615-568C-4166-923F-F7D0C3B114A2}"/>
              </a:ext>
            </a:extLst>
          </p:cNvPr>
          <p:cNvSpPr/>
          <p:nvPr/>
        </p:nvSpPr>
        <p:spPr>
          <a:xfrm rot="18774541">
            <a:off x="-793951" y="428199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2689;p76">
            <a:extLst>
              <a:ext uri="{FF2B5EF4-FFF2-40B4-BE49-F238E27FC236}">
                <a16:creationId xmlns:a16="http://schemas.microsoft.com/office/drawing/2014/main" id="{3360D6BF-C8CD-45D9-939E-82067F22381D}"/>
              </a:ext>
            </a:extLst>
          </p:cNvPr>
          <p:cNvSpPr txBox="1">
            <a:spLocks/>
          </p:cNvSpPr>
          <p:nvPr/>
        </p:nvSpPr>
        <p:spPr>
          <a:xfrm>
            <a:off x="1937320" y="388925"/>
            <a:ext cx="7473380" cy="58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FFFFF"/>
                </a:solidFill>
                <a:effectLst/>
                <a:uLnTx/>
                <a:uFillTx/>
                <a:latin typeface="Saira SemiCondensed ExtraBold"/>
                <a:sym typeface="Saira SemiCondensed ExtraBold"/>
              </a:rPr>
              <a:t>Our Gameplay Multiplayer System</a:t>
            </a:r>
          </a:p>
        </p:txBody>
      </p:sp>
      <p:sp>
        <p:nvSpPr>
          <p:cNvPr id="7" name="Google Shape;4286;p76">
            <a:extLst>
              <a:ext uri="{FF2B5EF4-FFF2-40B4-BE49-F238E27FC236}">
                <a16:creationId xmlns:a16="http://schemas.microsoft.com/office/drawing/2014/main" id="{11A72D3D-3F5B-491B-AF72-6885CE35D999}"/>
              </a:ext>
            </a:extLst>
          </p:cNvPr>
          <p:cNvSpPr/>
          <p:nvPr/>
        </p:nvSpPr>
        <p:spPr>
          <a:xfrm rot="10800000" flipH="1">
            <a:off x="9779613" y="282041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4287;p76">
            <a:extLst>
              <a:ext uri="{FF2B5EF4-FFF2-40B4-BE49-F238E27FC236}">
                <a16:creationId xmlns:a16="http://schemas.microsoft.com/office/drawing/2014/main" id="{2641DDE0-CB02-4872-B120-C79370E79F44}"/>
              </a:ext>
            </a:extLst>
          </p:cNvPr>
          <p:cNvSpPr/>
          <p:nvPr/>
        </p:nvSpPr>
        <p:spPr>
          <a:xfrm>
            <a:off x="7092524" y="5816246"/>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4288;p76">
            <a:extLst>
              <a:ext uri="{FF2B5EF4-FFF2-40B4-BE49-F238E27FC236}">
                <a16:creationId xmlns:a16="http://schemas.microsoft.com/office/drawing/2014/main" id="{B131C026-3CF3-43A6-939D-654D3C973A95}"/>
              </a:ext>
            </a:extLst>
          </p:cNvPr>
          <p:cNvSpPr/>
          <p:nvPr/>
        </p:nvSpPr>
        <p:spPr>
          <a:xfrm>
            <a:off x="696911" y="29617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4289;p76">
            <a:extLst>
              <a:ext uri="{FF2B5EF4-FFF2-40B4-BE49-F238E27FC236}">
                <a16:creationId xmlns:a16="http://schemas.microsoft.com/office/drawing/2014/main" id="{F45FC75C-DD62-4E65-B33D-495D1BED66C7}"/>
              </a:ext>
            </a:extLst>
          </p:cNvPr>
          <p:cNvSpPr/>
          <p:nvPr/>
        </p:nvSpPr>
        <p:spPr>
          <a:xfrm>
            <a:off x="6708438" y="11069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 name="Google Shape;4290;p76">
            <a:extLst>
              <a:ext uri="{FF2B5EF4-FFF2-40B4-BE49-F238E27FC236}">
                <a16:creationId xmlns:a16="http://schemas.microsoft.com/office/drawing/2014/main" id="{DE1E0EA0-B4A4-4738-9BF2-DBBA0DD8EB55}"/>
              </a:ext>
            </a:extLst>
          </p:cNvPr>
          <p:cNvGrpSpPr/>
          <p:nvPr/>
        </p:nvGrpSpPr>
        <p:grpSpPr>
          <a:xfrm rot="7935060">
            <a:off x="2148433" y="1596542"/>
            <a:ext cx="161701" cy="641985"/>
            <a:chOff x="7004550" y="3676293"/>
            <a:chExt cx="161700" cy="641982"/>
          </a:xfrm>
        </p:grpSpPr>
        <p:sp>
          <p:nvSpPr>
            <p:cNvPr id="38" name="Google Shape;4291;p76">
              <a:extLst>
                <a:ext uri="{FF2B5EF4-FFF2-40B4-BE49-F238E27FC236}">
                  <a16:creationId xmlns:a16="http://schemas.microsoft.com/office/drawing/2014/main" id="{764232F2-DB3E-4365-970F-D29146FDC65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4292;p76">
              <a:extLst>
                <a:ext uri="{FF2B5EF4-FFF2-40B4-BE49-F238E27FC236}">
                  <a16:creationId xmlns:a16="http://schemas.microsoft.com/office/drawing/2014/main" id="{0015BF90-A896-4D47-8EA4-4DD5E13DE600}"/>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4293;p76">
              <a:extLst>
                <a:ext uri="{FF2B5EF4-FFF2-40B4-BE49-F238E27FC236}">
                  <a16:creationId xmlns:a16="http://schemas.microsoft.com/office/drawing/2014/main" id="{C1BCB076-1467-4C79-BE10-D8D10A1A6F7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4294;p76">
              <a:extLst>
                <a:ext uri="{FF2B5EF4-FFF2-40B4-BE49-F238E27FC236}">
                  <a16:creationId xmlns:a16="http://schemas.microsoft.com/office/drawing/2014/main" id="{B3796FAA-D2FD-4864-B693-50AF808FF11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 name="Google Shape;4295;p76">
            <a:extLst>
              <a:ext uri="{FF2B5EF4-FFF2-40B4-BE49-F238E27FC236}">
                <a16:creationId xmlns:a16="http://schemas.microsoft.com/office/drawing/2014/main" id="{647A275F-C440-4437-8B49-7983D88A9A4F}"/>
              </a:ext>
            </a:extLst>
          </p:cNvPr>
          <p:cNvGrpSpPr/>
          <p:nvPr/>
        </p:nvGrpSpPr>
        <p:grpSpPr>
          <a:xfrm>
            <a:off x="886511" y="3826902"/>
            <a:ext cx="545147" cy="506901"/>
            <a:chOff x="4818730" y="3307263"/>
            <a:chExt cx="1827512" cy="1699300"/>
          </a:xfrm>
        </p:grpSpPr>
        <p:sp>
          <p:nvSpPr>
            <p:cNvPr id="13" name="Google Shape;4296;p76">
              <a:extLst>
                <a:ext uri="{FF2B5EF4-FFF2-40B4-BE49-F238E27FC236}">
                  <a16:creationId xmlns:a16="http://schemas.microsoft.com/office/drawing/2014/main" id="{CFA7F132-6380-4ADC-BC52-7A812C270FDB}"/>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4297;p76">
              <a:extLst>
                <a:ext uri="{FF2B5EF4-FFF2-40B4-BE49-F238E27FC236}">
                  <a16:creationId xmlns:a16="http://schemas.microsoft.com/office/drawing/2014/main" id="{8EADAD94-2C5E-4538-8EBF-07E1B0CC39C1}"/>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4298;p76">
              <a:extLst>
                <a:ext uri="{FF2B5EF4-FFF2-40B4-BE49-F238E27FC236}">
                  <a16:creationId xmlns:a16="http://schemas.microsoft.com/office/drawing/2014/main" id="{65BF7004-4E97-4198-90A1-D0CDC004EA8A}"/>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4299;p76">
              <a:extLst>
                <a:ext uri="{FF2B5EF4-FFF2-40B4-BE49-F238E27FC236}">
                  <a16:creationId xmlns:a16="http://schemas.microsoft.com/office/drawing/2014/main" id="{0B881000-7EF6-426C-9FA6-A199693DA486}"/>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4300;p76">
              <a:extLst>
                <a:ext uri="{FF2B5EF4-FFF2-40B4-BE49-F238E27FC236}">
                  <a16:creationId xmlns:a16="http://schemas.microsoft.com/office/drawing/2014/main" id="{4275704F-A425-46FB-A90E-1C0A63189457}"/>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4301;p76">
              <a:extLst>
                <a:ext uri="{FF2B5EF4-FFF2-40B4-BE49-F238E27FC236}">
                  <a16:creationId xmlns:a16="http://schemas.microsoft.com/office/drawing/2014/main" id="{BBC8B0E2-8989-427A-8D29-EAA933DA5294}"/>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4302;p76">
              <a:extLst>
                <a:ext uri="{FF2B5EF4-FFF2-40B4-BE49-F238E27FC236}">
                  <a16:creationId xmlns:a16="http://schemas.microsoft.com/office/drawing/2014/main" id="{572794C3-21A1-4563-B9EA-BCDCC19CD79F}"/>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303;p76">
              <a:extLst>
                <a:ext uri="{FF2B5EF4-FFF2-40B4-BE49-F238E27FC236}">
                  <a16:creationId xmlns:a16="http://schemas.microsoft.com/office/drawing/2014/main" id="{2EC062EF-2314-406A-85A5-CC652EE69598}"/>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4304;p76">
              <a:extLst>
                <a:ext uri="{FF2B5EF4-FFF2-40B4-BE49-F238E27FC236}">
                  <a16:creationId xmlns:a16="http://schemas.microsoft.com/office/drawing/2014/main" id="{44B9C0E8-6ADE-4F0B-9D34-CB251B652146}"/>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305;p76">
              <a:extLst>
                <a:ext uri="{FF2B5EF4-FFF2-40B4-BE49-F238E27FC236}">
                  <a16:creationId xmlns:a16="http://schemas.microsoft.com/office/drawing/2014/main" id="{2FB9A503-E05A-4277-B37C-2AB9D2AD97A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4306;p76">
              <a:extLst>
                <a:ext uri="{FF2B5EF4-FFF2-40B4-BE49-F238E27FC236}">
                  <a16:creationId xmlns:a16="http://schemas.microsoft.com/office/drawing/2014/main" id="{A6F72AA2-7BC4-4BEB-84C6-F33CCF237F42}"/>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4307;p76">
              <a:extLst>
                <a:ext uri="{FF2B5EF4-FFF2-40B4-BE49-F238E27FC236}">
                  <a16:creationId xmlns:a16="http://schemas.microsoft.com/office/drawing/2014/main" id="{551BBC6F-3F2F-4270-AA22-E79DD3021F2E}"/>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4308;p76">
              <a:extLst>
                <a:ext uri="{FF2B5EF4-FFF2-40B4-BE49-F238E27FC236}">
                  <a16:creationId xmlns:a16="http://schemas.microsoft.com/office/drawing/2014/main" id="{15276468-A943-426B-A3E0-0E9D5F9B9884}"/>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4309;p76">
              <a:extLst>
                <a:ext uri="{FF2B5EF4-FFF2-40B4-BE49-F238E27FC236}">
                  <a16:creationId xmlns:a16="http://schemas.microsoft.com/office/drawing/2014/main" id="{128539B9-05FA-4642-B16D-2AA975DB301B}"/>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4310;p76">
              <a:extLst>
                <a:ext uri="{FF2B5EF4-FFF2-40B4-BE49-F238E27FC236}">
                  <a16:creationId xmlns:a16="http://schemas.microsoft.com/office/drawing/2014/main" id="{E5F3D311-40DC-4CE5-A300-208E92E68F2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4311;p76">
              <a:extLst>
                <a:ext uri="{FF2B5EF4-FFF2-40B4-BE49-F238E27FC236}">
                  <a16:creationId xmlns:a16="http://schemas.microsoft.com/office/drawing/2014/main" id="{205C33D7-8311-4F78-A515-11D5B9A76B3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4312;p76">
              <a:extLst>
                <a:ext uri="{FF2B5EF4-FFF2-40B4-BE49-F238E27FC236}">
                  <a16:creationId xmlns:a16="http://schemas.microsoft.com/office/drawing/2014/main" id="{B5B77453-F5F9-4FE5-ACED-91596FF9076F}"/>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4313;p76">
              <a:extLst>
                <a:ext uri="{FF2B5EF4-FFF2-40B4-BE49-F238E27FC236}">
                  <a16:creationId xmlns:a16="http://schemas.microsoft.com/office/drawing/2014/main" id="{41743DB8-0BC8-48B6-8174-8157276F388A}"/>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4314;p76">
              <a:extLst>
                <a:ext uri="{FF2B5EF4-FFF2-40B4-BE49-F238E27FC236}">
                  <a16:creationId xmlns:a16="http://schemas.microsoft.com/office/drawing/2014/main" id="{0F972879-36F2-45B2-A746-A0B07283F10B}"/>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4315;p76">
              <a:extLst>
                <a:ext uri="{FF2B5EF4-FFF2-40B4-BE49-F238E27FC236}">
                  <a16:creationId xmlns:a16="http://schemas.microsoft.com/office/drawing/2014/main" id="{72111731-ED82-4A3F-8B4E-B6AFDCD0CD91}"/>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4316;p76">
              <a:extLst>
                <a:ext uri="{FF2B5EF4-FFF2-40B4-BE49-F238E27FC236}">
                  <a16:creationId xmlns:a16="http://schemas.microsoft.com/office/drawing/2014/main" id="{A97B1878-84D5-4310-A9B6-AF9C760C6345}"/>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4317;p76">
              <a:extLst>
                <a:ext uri="{FF2B5EF4-FFF2-40B4-BE49-F238E27FC236}">
                  <a16:creationId xmlns:a16="http://schemas.microsoft.com/office/drawing/2014/main" id="{FAB04BA4-1F7E-4796-9526-A0959DA925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4318;p76">
              <a:extLst>
                <a:ext uri="{FF2B5EF4-FFF2-40B4-BE49-F238E27FC236}">
                  <a16:creationId xmlns:a16="http://schemas.microsoft.com/office/drawing/2014/main" id="{F710FB34-AA04-4F3A-8C7F-D4B88F7D4CA3}"/>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4319;p76">
              <a:extLst>
                <a:ext uri="{FF2B5EF4-FFF2-40B4-BE49-F238E27FC236}">
                  <a16:creationId xmlns:a16="http://schemas.microsoft.com/office/drawing/2014/main" id="{CD8242CE-C964-44A5-A4CD-15E234153EFE}"/>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4320;p76">
              <a:extLst>
                <a:ext uri="{FF2B5EF4-FFF2-40B4-BE49-F238E27FC236}">
                  <a16:creationId xmlns:a16="http://schemas.microsoft.com/office/drawing/2014/main" id="{F8E12053-8E78-40BD-B893-4F0269216126}"/>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2" name="TextBox 41">
            <a:extLst>
              <a:ext uri="{FF2B5EF4-FFF2-40B4-BE49-F238E27FC236}">
                <a16:creationId xmlns:a16="http://schemas.microsoft.com/office/drawing/2014/main" id="{94F3177C-988F-471A-A071-9AFE0F2BDAB5}"/>
              </a:ext>
            </a:extLst>
          </p:cNvPr>
          <p:cNvSpPr txBox="1"/>
          <p:nvPr/>
        </p:nvSpPr>
        <p:spPr>
          <a:xfrm>
            <a:off x="2645153" y="1959028"/>
            <a:ext cx="5687477" cy="3970318"/>
          </a:xfrm>
          <a:prstGeom prst="rect">
            <a:avLst/>
          </a:prstGeom>
          <a:noFill/>
        </p:spPr>
        <p:txBody>
          <a:bodyPr wrap="square" rtlCol="0">
            <a:spAutoFit/>
          </a:bodyPr>
          <a:lstStyle/>
          <a:p>
            <a:pPr marL="285750" indent="-285750">
              <a:buFont typeface="Arial" panose="020B0604020202020204" pitchFamily="34" charset="0"/>
              <a:buChar char="•"/>
            </a:pPr>
            <a:r>
              <a:rPr lang="en-US" dirty="0">
                <a:solidFill>
                  <a:srgbClr val="D5FA68"/>
                </a:solidFill>
                <a:latin typeface="Sora" pitchFamily="2" charset="0"/>
                <a:cs typeface="Sora" pitchFamily="2" charset="0"/>
              </a:rPr>
              <a:t>Survival horror genre experience T/FPP</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Actor in-place Animations / Locomotion’s</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Character Mannequin / Body appearance</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Survival Gear for a ghost hunt</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Diary – Quest/events System</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Inventory</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Save System</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Inspection System</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Footstep Sound System</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NPC hunt mode</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Network Replicated / Multiplayer Ready</a:t>
            </a:r>
            <a:endParaRPr lang="el-GR" dirty="0">
              <a:solidFill>
                <a:srgbClr val="D5FA68"/>
              </a:solidFill>
              <a:latin typeface="Sora" pitchFamily="2" charset="0"/>
              <a:cs typeface="Sora" pitchFamily="2" charset="0"/>
            </a:endParaRP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VoIP</a:t>
            </a:r>
          </a:p>
          <a:p>
            <a:pPr marL="285750" indent="-285750">
              <a:buFont typeface="Arial" panose="020B0604020202020204" pitchFamily="34" charset="0"/>
              <a:buChar char="•"/>
            </a:pPr>
            <a:r>
              <a:rPr lang="en-US" dirty="0">
                <a:latin typeface="Sora" pitchFamily="2" charset="0"/>
                <a:cs typeface="Sora" pitchFamily="2" charset="0"/>
              </a:rPr>
              <a:t>Any many much more ..</a:t>
            </a:r>
          </a:p>
          <a:p>
            <a:pPr marL="285750" indent="-285750">
              <a:buFont typeface="Arial" panose="020B0604020202020204" pitchFamily="34" charset="0"/>
              <a:buChar char="•"/>
            </a:pPr>
            <a:endParaRPr lang="en-US" dirty="0">
              <a:solidFill>
                <a:srgbClr val="D5FA68"/>
              </a:solidFill>
            </a:endParaRPr>
          </a:p>
        </p:txBody>
      </p:sp>
    </p:spTree>
    <p:extLst>
      <p:ext uri="{BB962C8B-B14F-4D97-AF65-F5344CB8AC3E}">
        <p14:creationId xmlns:p14="http://schemas.microsoft.com/office/powerpoint/2010/main" val="373873914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8D8E90F-1E13-487F-94CB-D680E4D87F50}"/>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124200" y="0"/>
            <a:ext cx="5943600" cy="7163435"/>
          </a:xfrm>
          <a:prstGeom prst="rect">
            <a:avLst/>
          </a:prstGeom>
          <a:noFill/>
          <a:ln>
            <a:noFill/>
          </a:ln>
        </p:spPr>
      </p:pic>
      <p:sp>
        <p:nvSpPr>
          <p:cNvPr id="2" name="Google Shape;12;p2">
            <a:extLst>
              <a:ext uri="{FF2B5EF4-FFF2-40B4-BE49-F238E27FC236}">
                <a16:creationId xmlns:a16="http://schemas.microsoft.com/office/drawing/2014/main" id="{663DA540-EC0D-46F3-874F-5040D7ECF831}"/>
              </a:ext>
            </a:extLst>
          </p:cNvPr>
          <p:cNvSpPr/>
          <p:nvPr/>
        </p:nvSpPr>
        <p:spPr>
          <a:xfrm rot="4514952">
            <a:off x="9846143" y="-185643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7B688615-568C-4166-923F-F7D0C3B114A2}"/>
              </a:ext>
            </a:extLst>
          </p:cNvPr>
          <p:cNvSpPr/>
          <p:nvPr/>
        </p:nvSpPr>
        <p:spPr>
          <a:xfrm rot="18774541">
            <a:off x="-793951" y="428199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2689;p76">
            <a:extLst>
              <a:ext uri="{FF2B5EF4-FFF2-40B4-BE49-F238E27FC236}">
                <a16:creationId xmlns:a16="http://schemas.microsoft.com/office/drawing/2014/main" id="{3360D6BF-C8CD-45D9-939E-82067F22381D}"/>
              </a:ext>
            </a:extLst>
          </p:cNvPr>
          <p:cNvSpPr txBox="1">
            <a:spLocks/>
          </p:cNvSpPr>
          <p:nvPr/>
        </p:nvSpPr>
        <p:spPr>
          <a:xfrm>
            <a:off x="1275440" y="3500904"/>
            <a:ext cx="1783780" cy="58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rgbClr val="F7743C"/>
                </a:solidFill>
                <a:effectLst/>
                <a:uLnTx/>
                <a:uFillTx/>
                <a:latin typeface="Saira SemiCondensed ExtraBold"/>
                <a:sym typeface="Saira SemiCondensed ExtraBold"/>
              </a:rPr>
              <a:t>BUSINESS</a:t>
            </a:r>
            <a:endPar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7" name="Google Shape;4286;p76">
            <a:extLst>
              <a:ext uri="{FF2B5EF4-FFF2-40B4-BE49-F238E27FC236}">
                <a16:creationId xmlns:a16="http://schemas.microsoft.com/office/drawing/2014/main" id="{11A72D3D-3F5B-491B-AF72-6885CE35D999}"/>
              </a:ext>
            </a:extLst>
          </p:cNvPr>
          <p:cNvSpPr/>
          <p:nvPr/>
        </p:nvSpPr>
        <p:spPr>
          <a:xfrm rot="10800000" flipH="1">
            <a:off x="9779613" y="282041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4288;p76">
            <a:extLst>
              <a:ext uri="{FF2B5EF4-FFF2-40B4-BE49-F238E27FC236}">
                <a16:creationId xmlns:a16="http://schemas.microsoft.com/office/drawing/2014/main" id="{B131C026-3CF3-43A6-939D-654D3C973A95}"/>
              </a:ext>
            </a:extLst>
          </p:cNvPr>
          <p:cNvSpPr/>
          <p:nvPr/>
        </p:nvSpPr>
        <p:spPr>
          <a:xfrm>
            <a:off x="696911" y="29617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 name="Google Shape;4290;p76">
            <a:extLst>
              <a:ext uri="{FF2B5EF4-FFF2-40B4-BE49-F238E27FC236}">
                <a16:creationId xmlns:a16="http://schemas.microsoft.com/office/drawing/2014/main" id="{DE1E0EA0-B4A4-4738-9BF2-DBBA0DD8EB55}"/>
              </a:ext>
            </a:extLst>
          </p:cNvPr>
          <p:cNvGrpSpPr/>
          <p:nvPr/>
        </p:nvGrpSpPr>
        <p:grpSpPr>
          <a:xfrm rot="7935060">
            <a:off x="2148433" y="1596542"/>
            <a:ext cx="161701" cy="641985"/>
            <a:chOff x="7004550" y="3676293"/>
            <a:chExt cx="161700" cy="641982"/>
          </a:xfrm>
        </p:grpSpPr>
        <p:sp>
          <p:nvSpPr>
            <p:cNvPr id="38" name="Google Shape;4291;p76">
              <a:extLst>
                <a:ext uri="{FF2B5EF4-FFF2-40B4-BE49-F238E27FC236}">
                  <a16:creationId xmlns:a16="http://schemas.microsoft.com/office/drawing/2014/main" id="{764232F2-DB3E-4365-970F-D29146FDC65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4292;p76">
              <a:extLst>
                <a:ext uri="{FF2B5EF4-FFF2-40B4-BE49-F238E27FC236}">
                  <a16:creationId xmlns:a16="http://schemas.microsoft.com/office/drawing/2014/main" id="{0015BF90-A896-4D47-8EA4-4DD5E13DE600}"/>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4293;p76">
              <a:extLst>
                <a:ext uri="{FF2B5EF4-FFF2-40B4-BE49-F238E27FC236}">
                  <a16:creationId xmlns:a16="http://schemas.microsoft.com/office/drawing/2014/main" id="{C1BCB076-1467-4C79-BE10-D8D10A1A6F7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4294;p76">
              <a:extLst>
                <a:ext uri="{FF2B5EF4-FFF2-40B4-BE49-F238E27FC236}">
                  <a16:creationId xmlns:a16="http://schemas.microsoft.com/office/drawing/2014/main" id="{B3796FAA-D2FD-4864-B693-50AF808FF11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6" name="Google Shape;2689;p76">
            <a:extLst>
              <a:ext uri="{FF2B5EF4-FFF2-40B4-BE49-F238E27FC236}">
                <a16:creationId xmlns:a16="http://schemas.microsoft.com/office/drawing/2014/main" id="{B2D9DF20-01FC-485E-991C-CEDE7F3E0A48}"/>
              </a:ext>
            </a:extLst>
          </p:cNvPr>
          <p:cNvSpPr txBox="1">
            <a:spLocks/>
          </p:cNvSpPr>
          <p:nvPr/>
        </p:nvSpPr>
        <p:spPr>
          <a:xfrm>
            <a:off x="9256687" y="3500904"/>
            <a:ext cx="1783780" cy="58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n-US" sz="2800" kern="0" dirty="0">
                <a:solidFill>
                  <a:srgbClr val="F7743C"/>
                </a:solidFill>
              </a:rPr>
              <a:t>PROCESS</a:t>
            </a:r>
            <a:endPar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Tree>
    <p:extLst>
      <p:ext uri="{BB962C8B-B14F-4D97-AF65-F5344CB8AC3E}">
        <p14:creationId xmlns:p14="http://schemas.microsoft.com/office/powerpoint/2010/main" val="239996309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45" name="Picture 44">
            <a:extLst>
              <a:ext uri="{FF2B5EF4-FFF2-40B4-BE49-F238E27FC236}">
                <a16:creationId xmlns:a16="http://schemas.microsoft.com/office/drawing/2014/main" id="{5735F06C-E067-47BC-9734-4B1F4F1A3EC6}"/>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080111" y="1"/>
            <a:ext cx="6450696" cy="6858000"/>
          </a:xfrm>
          <a:prstGeom prst="rect">
            <a:avLst/>
          </a:prstGeom>
          <a:noFill/>
          <a:ln>
            <a:noFill/>
          </a:ln>
        </p:spPr>
      </p:pic>
      <p:sp>
        <p:nvSpPr>
          <p:cNvPr id="2" name="Google Shape;12;p2">
            <a:extLst>
              <a:ext uri="{FF2B5EF4-FFF2-40B4-BE49-F238E27FC236}">
                <a16:creationId xmlns:a16="http://schemas.microsoft.com/office/drawing/2014/main" id="{663DA540-EC0D-46F3-874F-5040D7ECF831}"/>
              </a:ext>
            </a:extLst>
          </p:cNvPr>
          <p:cNvSpPr/>
          <p:nvPr/>
        </p:nvSpPr>
        <p:spPr>
          <a:xfrm rot="4514952">
            <a:off x="9846143" y="-185643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7B688615-568C-4166-923F-F7D0C3B114A2}"/>
              </a:ext>
            </a:extLst>
          </p:cNvPr>
          <p:cNvSpPr/>
          <p:nvPr/>
        </p:nvSpPr>
        <p:spPr>
          <a:xfrm rot="18774541">
            <a:off x="-793951" y="428199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2689;p76">
            <a:extLst>
              <a:ext uri="{FF2B5EF4-FFF2-40B4-BE49-F238E27FC236}">
                <a16:creationId xmlns:a16="http://schemas.microsoft.com/office/drawing/2014/main" id="{3360D6BF-C8CD-45D9-939E-82067F22381D}"/>
              </a:ext>
            </a:extLst>
          </p:cNvPr>
          <p:cNvSpPr txBox="1">
            <a:spLocks/>
          </p:cNvSpPr>
          <p:nvPr/>
        </p:nvSpPr>
        <p:spPr>
          <a:xfrm>
            <a:off x="1937320" y="123861"/>
            <a:ext cx="7473380" cy="58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rgbClr val="F7743C"/>
                </a:solidFill>
                <a:effectLst/>
                <a:uLnTx/>
                <a:uFillTx/>
                <a:latin typeface="Saira SemiCondensed ExtraBold"/>
                <a:sym typeface="Saira SemiCondensed ExtraBold"/>
              </a:rPr>
              <a:t>(module VoIP flowchart)</a:t>
            </a:r>
            <a:endPar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7" name="Google Shape;4286;p76">
            <a:extLst>
              <a:ext uri="{FF2B5EF4-FFF2-40B4-BE49-F238E27FC236}">
                <a16:creationId xmlns:a16="http://schemas.microsoft.com/office/drawing/2014/main" id="{11A72D3D-3F5B-491B-AF72-6885CE35D999}"/>
              </a:ext>
            </a:extLst>
          </p:cNvPr>
          <p:cNvSpPr/>
          <p:nvPr/>
        </p:nvSpPr>
        <p:spPr>
          <a:xfrm rot="10800000" flipH="1">
            <a:off x="9779613" y="282041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4287;p76">
            <a:extLst>
              <a:ext uri="{FF2B5EF4-FFF2-40B4-BE49-F238E27FC236}">
                <a16:creationId xmlns:a16="http://schemas.microsoft.com/office/drawing/2014/main" id="{2641DDE0-CB02-4872-B120-C79370E79F44}"/>
              </a:ext>
            </a:extLst>
          </p:cNvPr>
          <p:cNvSpPr/>
          <p:nvPr/>
        </p:nvSpPr>
        <p:spPr>
          <a:xfrm>
            <a:off x="7092524" y="5816246"/>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4288;p76">
            <a:extLst>
              <a:ext uri="{FF2B5EF4-FFF2-40B4-BE49-F238E27FC236}">
                <a16:creationId xmlns:a16="http://schemas.microsoft.com/office/drawing/2014/main" id="{B131C026-3CF3-43A6-939D-654D3C973A95}"/>
              </a:ext>
            </a:extLst>
          </p:cNvPr>
          <p:cNvSpPr/>
          <p:nvPr/>
        </p:nvSpPr>
        <p:spPr>
          <a:xfrm>
            <a:off x="696911" y="29617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4289;p76">
            <a:extLst>
              <a:ext uri="{FF2B5EF4-FFF2-40B4-BE49-F238E27FC236}">
                <a16:creationId xmlns:a16="http://schemas.microsoft.com/office/drawing/2014/main" id="{F45FC75C-DD62-4E65-B33D-495D1BED66C7}"/>
              </a:ext>
            </a:extLst>
          </p:cNvPr>
          <p:cNvSpPr/>
          <p:nvPr/>
        </p:nvSpPr>
        <p:spPr>
          <a:xfrm>
            <a:off x="6708438" y="11069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 name="Google Shape;4290;p76">
            <a:extLst>
              <a:ext uri="{FF2B5EF4-FFF2-40B4-BE49-F238E27FC236}">
                <a16:creationId xmlns:a16="http://schemas.microsoft.com/office/drawing/2014/main" id="{DE1E0EA0-B4A4-4738-9BF2-DBBA0DD8EB55}"/>
              </a:ext>
            </a:extLst>
          </p:cNvPr>
          <p:cNvGrpSpPr/>
          <p:nvPr/>
        </p:nvGrpSpPr>
        <p:grpSpPr>
          <a:xfrm rot="7935060">
            <a:off x="2148433" y="1596542"/>
            <a:ext cx="161701" cy="641985"/>
            <a:chOff x="7004550" y="3676293"/>
            <a:chExt cx="161700" cy="641982"/>
          </a:xfrm>
        </p:grpSpPr>
        <p:sp>
          <p:nvSpPr>
            <p:cNvPr id="38" name="Google Shape;4291;p76">
              <a:extLst>
                <a:ext uri="{FF2B5EF4-FFF2-40B4-BE49-F238E27FC236}">
                  <a16:creationId xmlns:a16="http://schemas.microsoft.com/office/drawing/2014/main" id="{764232F2-DB3E-4365-970F-D29146FDC65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4292;p76">
              <a:extLst>
                <a:ext uri="{FF2B5EF4-FFF2-40B4-BE49-F238E27FC236}">
                  <a16:creationId xmlns:a16="http://schemas.microsoft.com/office/drawing/2014/main" id="{0015BF90-A896-4D47-8EA4-4DD5E13DE600}"/>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4293;p76">
              <a:extLst>
                <a:ext uri="{FF2B5EF4-FFF2-40B4-BE49-F238E27FC236}">
                  <a16:creationId xmlns:a16="http://schemas.microsoft.com/office/drawing/2014/main" id="{C1BCB076-1467-4C79-BE10-D8D10A1A6F7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4294;p76">
              <a:extLst>
                <a:ext uri="{FF2B5EF4-FFF2-40B4-BE49-F238E27FC236}">
                  <a16:creationId xmlns:a16="http://schemas.microsoft.com/office/drawing/2014/main" id="{B3796FAA-D2FD-4864-B693-50AF808FF11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42630974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2;p2">
            <a:extLst>
              <a:ext uri="{FF2B5EF4-FFF2-40B4-BE49-F238E27FC236}">
                <a16:creationId xmlns:a16="http://schemas.microsoft.com/office/drawing/2014/main" id="{663DA540-EC0D-46F3-874F-5040D7ECF831}"/>
              </a:ext>
            </a:extLst>
          </p:cNvPr>
          <p:cNvSpPr/>
          <p:nvPr/>
        </p:nvSpPr>
        <p:spPr>
          <a:xfrm rot="4514952">
            <a:off x="9846143" y="-185643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7B688615-568C-4166-923F-F7D0C3B114A2}"/>
              </a:ext>
            </a:extLst>
          </p:cNvPr>
          <p:cNvSpPr/>
          <p:nvPr/>
        </p:nvSpPr>
        <p:spPr>
          <a:xfrm rot="18774541">
            <a:off x="-793951" y="428199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2689;p76">
            <a:extLst>
              <a:ext uri="{FF2B5EF4-FFF2-40B4-BE49-F238E27FC236}">
                <a16:creationId xmlns:a16="http://schemas.microsoft.com/office/drawing/2014/main" id="{3360D6BF-C8CD-45D9-939E-82067F22381D}"/>
              </a:ext>
            </a:extLst>
          </p:cNvPr>
          <p:cNvSpPr txBox="1">
            <a:spLocks/>
          </p:cNvSpPr>
          <p:nvPr/>
        </p:nvSpPr>
        <p:spPr>
          <a:xfrm>
            <a:off x="1937320" y="123861"/>
            <a:ext cx="7473380" cy="58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rgbClr val="F7743C"/>
                </a:solidFill>
                <a:effectLst/>
                <a:uLnTx/>
                <a:uFillTx/>
                <a:latin typeface="Saira SemiCondensed ExtraBold"/>
                <a:sym typeface="Saira SemiCondensed ExtraBold"/>
              </a:rPr>
              <a:t>(module VoIP flowchart)</a:t>
            </a:r>
            <a:endPar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7" name="Google Shape;4286;p76">
            <a:extLst>
              <a:ext uri="{FF2B5EF4-FFF2-40B4-BE49-F238E27FC236}">
                <a16:creationId xmlns:a16="http://schemas.microsoft.com/office/drawing/2014/main" id="{11A72D3D-3F5B-491B-AF72-6885CE35D999}"/>
              </a:ext>
            </a:extLst>
          </p:cNvPr>
          <p:cNvSpPr/>
          <p:nvPr/>
        </p:nvSpPr>
        <p:spPr>
          <a:xfrm rot="10800000" flipH="1">
            <a:off x="9779613" y="282041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4287;p76">
            <a:extLst>
              <a:ext uri="{FF2B5EF4-FFF2-40B4-BE49-F238E27FC236}">
                <a16:creationId xmlns:a16="http://schemas.microsoft.com/office/drawing/2014/main" id="{2641DDE0-CB02-4872-B120-C79370E79F44}"/>
              </a:ext>
            </a:extLst>
          </p:cNvPr>
          <p:cNvSpPr/>
          <p:nvPr/>
        </p:nvSpPr>
        <p:spPr>
          <a:xfrm>
            <a:off x="7092524" y="5816246"/>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4288;p76">
            <a:extLst>
              <a:ext uri="{FF2B5EF4-FFF2-40B4-BE49-F238E27FC236}">
                <a16:creationId xmlns:a16="http://schemas.microsoft.com/office/drawing/2014/main" id="{B131C026-3CF3-43A6-939D-654D3C973A95}"/>
              </a:ext>
            </a:extLst>
          </p:cNvPr>
          <p:cNvSpPr/>
          <p:nvPr/>
        </p:nvSpPr>
        <p:spPr>
          <a:xfrm>
            <a:off x="696911" y="29617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4289;p76">
            <a:extLst>
              <a:ext uri="{FF2B5EF4-FFF2-40B4-BE49-F238E27FC236}">
                <a16:creationId xmlns:a16="http://schemas.microsoft.com/office/drawing/2014/main" id="{F45FC75C-DD62-4E65-B33D-495D1BED66C7}"/>
              </a:ext>
            </a:extLst>
          </p:cNvPr>
          <p:cNvSpPr/>
          <p:nvPr/>
        </p:nvSpPr>
        <p:spPr>
          <a:xfrm>
            <a:off x="6708438" y="11069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5" name="Picture 14">
            <a:extLst>
              <a:ext uri="{FF2B5EF4-FFF2-40B4-BE49-F238E27FC236}">
                <a16:creationId xmlns:a16="http://schemas.microsoft.com/office/drawing/2014/main" id="{B8225BA2-4C62-440F-8409-9B61A82C28B0}"/>
              </a:ext>
            </a:extLst>
          </p:cNvPr>
          <p:cNvPicPr>
            <a:picLocks noChangeAspect="1"/>
          </p:cNvPicPr>
          <p:nvPr/>
        </p:nvPicPr>
        <p:blipFill>
          <a:blip r:embed="rId3"/>
          <a:stretch>
            <a:fillRect/>
          </a:stretch>
        </p:blipFill>
        <p:spPr>
          <a:xfrm>
            <a:off x="1339186" y="1416429"/>
            <a:ext cx="9400033" cy="402514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115443147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3A94C4-9F57-4B79-882E-248A36C86BB8}"/>
              </a:ext>
            </a:extLst>
          </p:cNvPr>
          <p:cNvSpPr>
            <a:spLocks noGrp="1"/>
          </p:cNvSpPr>
          <p:nvPr>
            <p:ph type="title"/>
          </p:nvPr>
        </p:nvSpPr>
        <p:spPr>
          <a:xfrm>
            <a:off x="1071041" y="31588"/>
            <a:ext cx="9905955" cy="2218116"/>
          </a:xfrm>
        </p:spPr>
        <p:txBody>
          <a:bodyPr/>
          <a:lstStyle/>
          <a:p>
            <a:r>
              <a:rPr lang="el-GR" b="1" dirty="0">
                <a:latin typeface="Arial" panose="020B0604020202020204" pitchFamily="34" charset="0"/>
                <a:cs typeface="Arial" panose="020B0604020202020204" pitchFamily="34" charset="0"/>
              </a:rPr>
              <a:t>ΕΜΠΕΙΡΙΑ ΧΡΗΣΤΗ</a:t>
            </a:r>
            <a:endParaRPr lang="en-US" b="1" dirty="0">
              <a:latin typeface="Arial" panose="020B0604020202020204" pitchFamily="34" charset="0"/>
              <a:cs typeface="Arial" panose="020B0604020202020204" pitchFamily="34" charset="0"/>
            </a:endParaRPr>
          </a:p>
        </p:txBody>
      </p:sp>
      <p:sp>
        <p:nvSpPr>
          <p:cNvPr id="3" name="Text Placeholder 2">
            <a:extLst>
              <a:ext uri="{FF2B5EF4-FFF2-40B4-BE49-F238E27FC236}">
                <a16:creationId xmlns:a16="http://schemas.microsoft.com/office/drawing/2014/main" id="{C90C689D-96C1-41E0-AE02-03811A45ACD6}"/>
              </a:ext>
            </a:extLst>
          </p:cNvPr>
          <p:cNvSpPr>
            <a:spLocks noGrp="1"/>
          </p:cNvSpPr>
          <p:nvPr>
            <p:ph type="body" sz="half" idx="2"/>
          </p:nvPr>
        </p:nvSpPr>
        <p:spPr>
          <a:xfrm>
            <a:off x="1160942" y="1917378"/>
            <a:ext cx="9904459" cy="4721518"/>
          </a:xfrm>
        </p:spPr>
        <p:txBody>
          <a:bodyPr>
            <a:noAutofit/>
          </a:bodyPr>
          <a:lstStyle/>
          <a:p>
            <a:r>
              <a:rPr lang="el-GR" sz="2000" dirty="0">
                <a:solidFill>
                  <a:srgbClr val="D5FA68"/>
                </a:solidFill>
                <a:latin typeface="Arial" panose="020B0604020202020204" pitchFamily="34" charset="0"/>
                <a:cs typeface="Arial" panose="020B0604020202020204" pitchFamily="34" charset="0"/>
              </a:rPr>
              <a:t>Όπως συμβαίνει με κάθε σχέδιο προϊόντος, πρέπει να βασίζεται στο χρήστη</a:t>
            </a:r>
            <a:endParaRPr lang="en-US" sz="2000" dirty="0">
              <a:solidFill>
                <a:srgbClr val="D5FA68"/>
              </a:solidFill>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l-GR" sz="2000" dirty="0">
                <a:latin typeface="Arial" panose="020B0604020202020204" pitchFamily="34" charset="0"/>
                <a:cs typeface="Arial" panose="020B0604020202020204" pitchFamily="34" charset="0"/>
              </a:rPr>
              <a:t>Ακολουθούμε τις βέλτιστες πρακτικές και τα κοινά πρότυπα από παρόμοια επιτυχημένα προϊόντα προτύπων του κλάδου. Αυτό θα κάνει τον χρήστη να συμμορφώνεται με την εμπειρία</a:t>
            </a:r>
            <a:endParaRPr lang="en-US" sz="20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l-GR" sz="2000" dirty="0">
                <a:latin typeface="Arial" panose="020B0604020202020204" pitchFamily="34" charset="0"/>
                <a:cs typeface="Arial" panose="020B0604020202020204" pitchFamily="34" charset="0"/>
              </a:rPr>
              <a:t>Ισορροπία εσωτερικών συστημάτων που δημιουργούν μια αρμονική εμπειρία αντί για διακυμάνσεις</a:t>
            </a:r>
            <a:endParaRPr lang="en-US" sz="20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l-GR" sz="2000" dirty="0">
                <a:latin typeface="Arial" panose="020B0604020202020204" pitchFamily="34" charset="0"/>
                <a:cs typeface="Arial" panose="020B0604020202020204" pitchFamily="34" charset="0"/>
              </a:rPr>
              <a:t>Ανάλογα με το καλλιτεχνικό στυλ χρησιμοποιήστε το ως βασική κατεύθυνση. Δώστε το άγγιγμα της αίσθησης που θέλετε να προφέρετε</a:t>
            </a:r>
            <a:endParaRPr lang="en-US" sz="20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l-GR" sz="2000" dirty="0">
                <a:latin typeface="Arial" panose="020B0604020202020204" pitchFamily="34" charset="0"/>
                <a:cs typeface="Arial" panose="020B0604020202020204" pitchFamily="34" charset="0"/>
              </a:rPr>
              <a:t>Σκεφτείτε πάντα ότι είναι κάτι περισσότερο από ένα πρόγραμμα, είναι ένα προϊόν και </a:t>
            </a:r>
            <a:r>
              <a:rPr lang="el-GR" sz="2000" dirty="0">
                <a:solidFill>
                  <a:srgbClr val="D5FA68"/>
                </a:solidFill>
                <a:latin typeface="Arial" panose="020B0604020202020204" pitchFamily="34" charset="0"/>
                <a:cs typeface="Arial" panose="020B0604020202020204" pitchFamily="34" charset="0"/>
              </a:rPr>
              <a:t>«</a:t>
            </a:r>
            <a:r>
              <a:rPr lang="en-US" sz="2000" dirty="0">
                <a:solidFill>
                  <a:srgbClr val="D5FA68"/>
                </a:solidFill>
                <a:latin typeface="Arial" panose="020B0604020202020204" pitchFamily="34" charset="0"/>
                <a:cs typeface="Arial" panose="020B0604020202020204" pitchFamily="34" charset="0"/>
              </a:rPr>
              <a:t>just as good software is never done, good product design principles are never done</a:t>
            </a:r>
            <a:r>
              <a:rPr lang="el-GR" sz="2000" dirty="0">
                <a:solidFill>
                  <a:srgbClr val="D5FA68"/>
                </a:solidFill>
                <a:latin typeface="Arial" panose="020B0604020202020204" pitchFamily="34" charset="0"/>
                <a:cs typeface="Arial" panose="020B0604020202020204" pitchFamily="34" charset="0"/>
              </a:rPr>
              <a:t>»</a:t>
            </a:r>
            <a:endParaRPr lang="en-US" sz="2000" dirty="0">
              <a:solidFill>
                <a:srgbClr val="D5FA68"/>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l-GR" sz="2000" dirty="0">
                <a:latin typeface="Arial" panose="020B0604020202020204" pitchFamily="34" charset="0"/>
                <a:cs typeface="Arial" panose="020B0604020202020204" pitchFamily="34" charset="0"/>
              </a:rPr>
              <a:t>Αυτό μας κάνει να καλωσορίσουμε κάθε αλλαγή/νέα ιδέα</a:t>
            </a:r>
            <a:endParaRPr lang="en-US" sz="20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endParaRPr lang="en-US" dirty="0">
              <a:latin typeface="Arial" panose="020B0604020202020204" pitchFamily="34" charset="0"/>
              <a:cs typeface="Arial" panose="020B0604020202020204" pitchFamily="34" charset="0"/>
            </a:endParaRPr>
          </a:p>
        </p:txBody>
      </p:sp>
      <p:sp>
        <p:nvSpPr>
          <p:cNvPr id="4" name="Google Shape;11;p2">
            <a:extLst>
              <a:ext uri="{FF2B5EF4-FFF2-40B4-BE49-F238E27FC236}">
                <a16:creationId xmlns:a16="http://schemas.microsoft.com/office/drawing/2014/main" id="{275B4ECA-7C59-4B9D-9B0C-143BEEFA0F11}"/>
              </a:ext>
            </a:extLst>
          </p:cNvPr>
          <p:cNvSpPr/>
          <p:nvPr/>
        </p:nvSpPr>
        <p:spPr>
          <a:xfrm rot="20245234" flipH="1">
            <a:off x="9962126" y="-328558"/>
            <a:ext cx="3032610" cy="4010566"/>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 name="Google Shape;1253;p54">
            <a:extLst>
              <a:ext uri="{FF2B5EF4-FFF2-40B4-BE49-F238E27FC236}">
                <a16:creationId xmlns:a16="http://schemas.microsoft.com/office/drawing/2014/main" id="{CBBB9675-51D6-4A4A-AA50-0D8323B162C4}"/>
              </a:ext>
            </a:extLst>
          </p:cNvPr>
          <p:cNvGrpSpPr/>
          <p:nvPr/>
        </p:nvGrpSpPr>
        <p:grpSpPr>
          <a:xfrm rot="14053952">
            <a:off x="10303292" y="5691891"/>
            <a:ext cx="153345" cy="608809"/>
            <a:chOff x="7004550" y="3676293"/>
            <a:chExt cx="161700" cy="641982"/>
          </a:xfrm>
        </p:grpSpPr>
        <p:sp>
          <p:nvSpPr>
            <p:cNvPr id="6" name="Google Shape;1254;p54">
              <a:extLst>
                <a:ext uri="{FF2B5EF4-FFF2-40B4-BE49-F238E27FC236}">
                  <a16:creationId xmlns:a16="http://schemas.microsoft.com/office/drawing/2014/main" id="{E506616F-BDCF-4823-BBD0-7966F90EE70E}"/>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255;p54">
              <a:extLst>
                <a:ext uri="{FF2B5EF4-FFF2-40B4-BE49-F238E27FC236}">
                  <a16:creationId xmlns:a16="http://schemas.microsoft.com/office/drawing/2014/main" id="{A6ADC2E2-5D5F-4C69-9607-ACF1B977658E}"/>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256;p54">
              <a:extLst>
                <a:ext uri="{FF2B5EF4-FFF2-40B4-BE49-F238E27FC236}">
                  <a16:creationId xmlns:a16="http://schemas.microsoft.com/office/drawing/2014/main" id="{9AC1D6E2-2BC6-4E37-86FB-35AAD31FA052}"/>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257;p54">
              <a:extLst>
                <a:ext uri="{FF2B5EF4-FFF2-40B4-BE49-F238E27FC236}">
                  <a16:creationId xmlns:a16="http://schemas.microsoft.com/office/drawing/2014/main" id="{ED4CB56A-41BC-4C65-B073-C36F80B11460}"/>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 name="Google Shape;1258;p54">
            <a:extLst>
              <a:ext uri="{FF2B5EF4-FFF2-40B4-BE49-F238E27FC236}">
                <a16:creationId xmlns:a16="http://schemas.microsoft.com/office/drawing/2014/main" id="{05B22824-C5C9-4F03-9212-B0B49418BA87}"/>
              </a:ext>
            </a:extLst>
          </p:cNvPr>
          <p:cNvSpPr/>
          <p:nvPr/>
        </p:nvSpPr>
        <p:spPr>
          <a:xfrm>
            <a:off x="2333310" y="4043507"/>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259;p54">
            <a:extLst>
              <a:ext uri="{FF2B5EF4-FFF2-40B4-BE49-F238E27FC236}">
                <a16:creationId xmlns:a16="http://schemas.microsoft.com/office/drawing/2014/main" id="{A7B0714D-F81D-4B1E-8E21-E6BC1A0FC580}"/>
              </a:ext>
            </a:extLst>
          </p:cNvPr>
          <p:cNvSpPr/>
          <p:nvPr/>
        </p:nvSpPr>
        <p:spPr>
          <a:xfrm>
            <a:off x="8334460" y="2329581"/>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1260;p54">
            <a:extLst>
              <a:ext uri="{FF2B5EF4-FFF2-40B4-BE49-F238E27FC236}">
                <a16:creationId xmlns:a16="http://schemas.microsoft.com/office/drawing/2014/main" id="{918B8468-EF4C-4648-8177-180D2D06B744}"/>
              </a:ext>
            </a:extLst>
          </p:cNvPr>
          <p:cNvSpPr/>
          <p:nvPr/>
        </p:nvSpPr>
        <p:spPr>
          <a:xfrm>
            <a:off x="981140" y="2710202"/>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261;p54">
            <a:extLst>
              <a:ext uri="{FF2B5EF4-FFF2-40B4-BE49-F238E27FC236}">
                <a16:creationId xmlns:a16="http://schemas.microsoft.com/office/drawing/2014/main" id="{D9CE4A12-EA01-40C6-BDE6-960FA5B46B07}"/>
              </a:ext>
            </a:extLst>
          </p:cNvPr>
          <p:cNvSpPr/>
          <p:nvPr/>
        </p:nvSpPr>
        <p:spPr>
          <a:xfrm>
            <a:off x="6948590" y="486250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262;p54">
            <a:extLst>
              <a:ext uri="{FF2B5EF4-FFF2-40B4-BE49-F238E27FC236}">
                <a16:creationId xmlns:a16="http://schemas.microsoft.com/office/drawing/2014/main" id="{52A1B6DD-2E12-4DCD-A8D0-29DE1B61EBD3}"/>
              </a:ext>
            </a:extLst>
          </p:cNvPr>
          <p:cNvSpPr/>
          <p:nvPr/>
        </p:nvSpPr>
        <p:spPr>
          <a:xfrm>
            <a:off x="6764903" y="157754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262;p54">
            <a:extLst>
              <a:ext uri="{FF2B5EF4-FFF2-40B4-BE49-F238E27FC236}">
                <a16:creationId xmlns:a16="http://schemas.microsoft.com/office/drawing/2014/main" id="{32D9B87E-16CD-4982-A17B-5DF6731320BA}"/>
              </a:ext>
            </a:extLst>
          </p:cNvPr>
          <p:cNvSpPr/>
          <p:nvPr/>
        </p:nvSpPr>
        <p:spPr>
          <a:xfrm>
            <a:off x="9719175" y="1187052"/>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6" name="Google Shape;1189;p53">
            <a:extLst>
              <a:ext uri="{FF2B5EF4-FFF2-40B4-BE49-F238E27FC236}">
                <a16:creationId xmlns:a16="http://schemas.microsoft.com/office/drawing/2014/main" id="{256FC17F-BC46-4742-AC9F-6668015BBA40}"/>
              </a:ext>
            </a:extLst>
          </p:cNvPr>
          <p:cNvGrpSpPr/>
          <p:nvPr/>
        </p:nvGrpSpPr>
        <p:grpSpPr>
          <a:xfrm>
            <a:off x="1728904" y="305920"/>
            <a:ext cx="761143" cy="707743"/>
            <a:chOff x="4818730" y="3307263"/>
            <a:chExt cx="1827512" cy="1699300"/>
          </a:xfrm>
        </p:grpSpPr>
        <p:sp>
          <p:nvSpPr>
            <p:cNvPr id="17" name="Google Shape;1190;p53">
              <a:extLst>
                <a:ext uri="{FF2B5EF4-FFF2-40B4-BE49-F238E27FC236}">
                  <a16:creationId xmlns:a16="http://schemas.microsoft.com/office/drawing/2014/main" id="{23991FFB-2E54-4132-B205-28C4054DA9D7}"/>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191;p53">
              <a:extLst>
                <a:ext uri="{FF2B5EF4-FFF2-40B4-BE49-F238E27FC236}">
                  <a16:creationId xmlns:a16="http://schemas.microsoft.com/office/drawing/2014/main" id="{16114F80-142B-474C-84FD-E5DD5FEDBB4C}"/>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192;p53">
              <a:extLst>
                <a:ext uri="{FF2B5EF4-FFF2-40B4-BE49-F238E27FC236}">
                  <a16:creationId xmlns:a16="http://schemas.microsoft.com/office/drawing/2014/main" id="{B4479550-675B-4060-9D30-46200F730EE5}"/>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193;p53">
              <a:extLst>
                <a:ext uri="{FF2B5EF4-FFF2-40B4-BE49-F238E27FC236}">
                  <a16:creationId xmlns:a16="http://schemas.microsoft.com/office/drawing/2014/main" id="{9CB521B5-48FD-4332-B54C-97F76C8F85E8}"/>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194;p53">
              <a:extLst>
                <a:ext uri="{FF2B5EF4-FFF2-40B4-BE49-F238E27FC236}">
                  <a16:creationId xmlns:a16="http://schemas.microsoft.com/office/drawing/2014/main" id="{6B9A490F-3753-4B2A-8840-E8E217347F7B}"/>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195;p53">
              <a:extLst>
                <a:ext uri="{FF2B5EF4-FFF2-40B4-BE49-F238E27FC236}">
                  <a16:creationId xmlns:a16="http://schemas.microsoft.com/office/drawing/2014/main" id="{52C2698E-B963-47D2-98B4-564C50A0F950}"/>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196;p53">
              <a:extLst>
                <a:ext uri="{FF2B5EF4-FFF2-40B4-BE49-F238E27FC236}">
                  <a16:creationId xmlns:a16="http://schemas.microsoft.com/office/drawing/2014/main" id="{21EA8130-649D-47EB-8E24-583EADBC6A6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197;p53">
              <a:extLst>
                <a:ext uri="{FF2B5EF4-FFF2-40B4-BE49-F238E27FC236}">
                  <a16:creationId xmlns:a16="http://schemas.microsoft.com/office/drawing/2014/main" id="{CD79EBD1-B583-44D8-BFA9-EDBB8F0B1FF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198;p53">
              <a:extLst>
                <a:ext uri="{FF2B5EF4-FFF2-40B4-BE49-F238E27FC236}">
                  <a16:creationId xmlns:a16="http://schemas.microsoft.com/office/drawing/2014/main" id="{BED4C78F-4DD4-4F2D-A6AA-876ED725F569}"/>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199;p53">
              <a:extLst>
                <a:ext uri="{FF2B5EF4-FFF2-40B4-BE49-F238E27FC236}">
                  <a16:creationId xmlns:a16="http://schemas.microsoft.com/office/drawing/2014/main" id="{E8B0EF98-B22C-4B01-B637-AF0914B02253}"/>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200;p53">
              <a:extLst>
                <a:ext uri="{FF2B5EF4-FFF2-40B4-BE49-F238E27FC236}">
                  <a16:creationId xmlns:a16="http://schemas.microsoft.com/office/drawing/2014/main" id="{EFBD35A3-5EC3-4A82-8598-16537F9D255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201;p53">
              <a:extLst>
                <a:ext uri="{FF2B5EF4-FFF2-40B4-BE49-F238E27FC236}">
                  <a16:creationId xmlns:a16="http://schemas.microsoft.com/office/drawing/2014/main" id="{7200BB18-46C5-4EC5-BB70-A167FA6FAA11}"/>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202;p53">
              <a:extLst>
                <a:ext uri="{FF2B5EF4-FFF2-40B4-BE49-F238E27FC236}">
                  <a16:creationId xmlns:a16="http://schemas.microsoft.com/office/drawing/2014/main" id="{ECBACE85-58CA-489C-B754-9E47F5C79FD4}"/>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203;p53">
              <a:extLst>
                <a:ext uri="{FF2B5EF4-FFF2-40B4-BE49-F238E27FC236}">
                  <a16:creationId xmlns:a16="http://schemas.microsoft.com/office/drawing/2014/main" id="{A8188549-8DC9-4B29-A8E0-9E62C6743F26}"/>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204;p53">
              <a:extLst>
                <a:ext uri="{FF2B5EF4-FFF2-40B4-BE49-F238E27FC236}">
                  <a16:creationId xmlns:a16="http://schemas.microsoft.com/office/drawing/2014/main" id="{BB204FEB-44AC-4F2C-AE15-A0E18AF14779}"/>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205;p53">
              <a:extLst>
                <a:ext uri="{FF2B5EF4-FFF2-40B4-BE49-F238E27FC236}">
                  <a16:creationId xmlns:a16="http://schemas.microsoft.com/office/drawing/2014/main" id="{179D3303-F0D3-4546-8CFE-8FFCF65D0746}"/>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206;p53">
              <a:extLst>
                <a:ext uri="{FF2B5EF4-FFF2-40B4-BE49-F238E27FC236}">
                  <a16:creationId xmlns:a16="http://schemas.microsoft.com/office/drawing/2014/main" id="{17EED43A-D28B-48AB-9867-494AD9129A11}"/>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207;p53">
              <a:extLst>
                <a:ext uri="{FF2B5EF4-FFF2-40B4-BE49-F238E27FC236}">
                  <a16:creationId xmlns:a16="http://schemas.microsoft.com/office/drawing/2014/main" id="{1619BDA5-3650-47E5-A85B-3E908D46D5E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208;p53">
              <a:extLst>
                <a:ext uri="{FF2B5EF4-FFF2-40B4-BE49-F238E27FC236}">
                  <a16:creationId xmlns:a16="http://schemas.microsoft.com/office/drawing/2014/main" id="{B0EAEB08-5692-4557-B16B-7E71B26AF26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209;p53">
              <a:extLst>
                <a:ext uri="{FF2B5EF4-FFF2-40B4-BE49-F238E27FC236}">
                  <a16:creationId xmlns:a16="http://schemas.microsoft.com/office/drawing/2014/main" id="{A5A1113C-5C1F-4EBC-8B30-DA215E23AB6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210;p53">
              <a:extLst>
                <a:ext uri="{FF2B5EF4-FFF2-40B4-BE49-F238E27FC236}">
                  <a16:creationId xmlns:a16="http://schemas.microsoft.com/office/drawing/2014/main" id="{D04C3932-BB64-4E0A-871A-8967DD6CC12C}"/>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211;p53">
              <a:extLst>
                <a:ext uri="{FF2B5EF4-FFF2-40B4-BE49-F238E27FC236}">
                  <a16:creationId xmlns:a16="http://schemas.microsoft.com/office/drawing/2014/main" id="{1F343EB5-4896-4FFA-84BD-62E06AE6BC7E}"/>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212;p53">
              <a:extLst>
                <a:ext uri="{FF2B5EF4-FFF2-40B4-BE49-F238E27FC236}">
                  <a16:creationId xmlns:a16="http://schemas.microsoft.com/office/drawing/2014/main" id="{CD17408D-9B4D-4168-A90E-F6FC53320BBD}"/>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213;p53">
              <a:extLst>
                <a:ext uri="{FF2B5EF4-FFF2-40B4-BE49-F238E27FC236}">
                  <a16:creationId xmlns:a16="http://schemas.microsoft.com/office/drawing/2014/main" id="{1488A556-600B-4433-B345-DA80AF750D71}"/>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214;p53">
              <a:extLst>
                <a:ext uri="{FF2B5EF4-FFF2-40B4-BE49-F238E27FC236}">
                  <a16:creationId xmlns:a16="http://schemas.microsoft.com/office/drawing/2014/main" id="{AC54D55B-8016-4DB3-9283-905F00B125CB}"/>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52954300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D1C1BE0-8AAA-43F6-9CAD-B663F7DA0C00}"/>
              </a:ext>
            </a:extLst>
          </p:cNvPr>
          <p:cNvSpPr>
            <a:spLocks noGrp="1"/>
          </p:cNvSpPr>
          <p:nvPr>
            <p:ph type="body" sz="half" idx="2"/>
          </p:nvPr>
        </p:nvSpPr>
        <p:spPr>
          <a:xfrm>
            <a:off x="1143770" y="977900"/>
            <a:ext cx="11048230" cy="6007100"/>
          </a:xfrm>
        </p:spPr>
        <p:txBody>
          <a:bodyPr>
            <a:noAutofit/>
          </a:bodyPr>
          <a:lstStyle/>
          <a:p>
            <a:pPr marL="342900" marR="0" lvl="0" indent="-342900" algn="just">
              <a:lnSpc>
                <a:spcPct val="150000"/>
              </a:lnSpc>
              <a:spcBef>
                <a:spcPts val="0"/>
              </a:spcBef>
              <a:spcAft>
                <a:spcPts val="0"/>
              </a:spcAft>
              <a:buFont typeface="+mj-lt"/>
              <a:buAutoNum type="arabicPeriod"/>
            </a:pPr>
            <a:r>
              <a:rPr lang="el-GR" sz="2000" dirty="0">
                <a:effectLst/>
                <a:latin typeface="Arial" panose="020B0604020202020204" pitchFamily="34" charset="0"/>
                <a:ea typeface="Calibri" panose="020F0502020204030204" pitchFamily="34" charset="0"/>
                <a:cs typeface="Arial" panose="020B0604020202020204" pitchFamily="34" charset="0"/>
              </a:rPr>
              <a:t>Εύρεση και ικανοποίηση απαιτήσεων των </a:t>
            </a:r>
            <a:r>
              <a:rPr lang="en-US" sz="2000" dirty="0">
                <a:effectLst/>
                <a:latin typeface="Arial" panose="020B0604020202020204" pitchFamily="34" charset="0"/>
                <a:ea typeface="Calibri" panose="020F0502020204030204" pitchFamily="34" charset="0"/>
                <a:cs typeface="Arial" panose="020B0604020202020204" pitchFamily="34" charset="0"/>
              </a:rPr>
              <a:t>top trend Feature</a:t>
            </a: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l-GR" sz="2000" dirty="0">
                <a:effectLst/>
                <a:latin typeface="Arial" panose="020B0604020202020204" pitchFamily="34" charset="0"/>
                <a:ea typeface="Calibri" panose="020F0502020204030204" pitchFamily="34" charset="0"/>
                <a:cs typeface="Arial" panose="020B0604020202020204" pitchFamily="34" charset="0"/>
              </a:rPr>
              <a:t>Επιλογή εργαλείων/τεχνολογιών υλοποιήσεις των απαιτήσεων </a:t>
            </a:r>
            <a:endParaRPr lang="en-US" sz="2000" dirty="0">
              <a:effectLst/>
              <a:latin typeface="Arial" panose="020B0604020202020204" pitchFamily="34" charset="0"/>
              <a:ea typeface="Calibri" panose="020F0502020204030204" pitchFamily="34" charset="0"/>
              <a:cs typeface="Arial" panose="020B0604020202020204" pitchFamily="34" charset="0"/>
            </a:endParaRPr>
          </a:p>
          <a:p>
            <a:pPr marL="342900" marR="0" lvl="0" indent="-342900" algn="just">
              <a:lnSpc>
                <a:spcPct val="150000"/>
              </a:lnSpc>
              <a:spcBef>
                <a:spcPts val="0"/>
              </a:spcBef>
              <a:spcAft>
                <a:spcPts val="0"/>
              </a:spcAft>
              <a:buFont typeface="+mj-lt"/>
              <a:buAutoNum type="arabicPeriod"/>
            </a:pPr>
            <a:r>
              <a:rPr lang="el-GR" sz="2000" dirty="0">
                <a:effectLst/>
                <a:latin typeface="Arial" panose="020B0604020202020204" pitchFamily="34" charset="0"/>
                <a:ea typeface="Calibri" panose="020F0502020204030204" pitchFamily="34" charset="0"/>
                <a:cs typeface="Arial" panose="020B0604020202020204" pitchFamily="34" charset="0"/>
              </a:rPr>
              <a:t>Επιλογή</a:t>
            </a:r>
            <a:r>
              <a:rPr lang="en-US" sz="2000" dirty="0">
                <a:effectLst/>
                <a:latin typeface="Arial" panose="020B0604020202020204" pitchFamily="34" charset="0"/>
                <a:ea typeface="Calibri" panose="020F0502020204030204" pitchFamily="34" charset="0"/>
                <a:cs typeface="Arial" panose="020B0604020202020204" pitchFamily="34" charset="0"/>
              </a:rPr>
              <a:t> Project Management &amp; software development methodologies (</a:t>
            </a:r>
            <a:r>
              <a:rPr lang="el-GR" sz="2000" dirty="0">
                <a:effectLst/>
                <a:latin typeface="Arial" panose="020B0604020202020204" pitchFamily="34" charset="0"/>
                <a:ea typeface="Calibri" panose="020F0502020204030204" pitchFamily="34" charset="0"/>
                <a:cs typeface="Arial" panose="020B0604020202020204" pitchFamily="34" charset="0"/>
              </a:rPr>
              <a:t>Πληθυντικό διότι</a:t>
            </a:r>
            <a:r>
              <a:rPr lang="en-US" sz="2000" dirty="0">
                <a:effectLst/>
                <a:latin typeface="Arial" panose="020B0604020202020204" pitchFamily="34" charset="0"/>
                <a:ea typeface="Calibri" panose="020F0502020204030204" pitchFamily="34" charset="0"/>
                <a:cs typeface="Arial" panose="020B0604020202020204" pitchFamily="34" charset="0"/>
              </a:rPr>
              <a:t> i.e., </a:t>
            </a:r>
            <a:r>
              <a:rPr lang="el-GR" sz="2000" dirty="0">
                <a:effectLst/>
                <a:latin typeface="Arial" panose="020B0604020202020204" pitchFamily="34" charset="0"/>
                <a:ea typeface="Calibri" panose="020F0502020204030204" pitchFamily="34" charset="0"/>
                <a:cs typeface="Arial" panose="020B0604020202020204" pitchFamily="34" charset="0"/>
              </a:rPr>
              <a:t>ή</a:t>
            </a:r>
            <a:r>
              <a:rPr lang="en-US" sz="2000" dirty="0">
                <a:effectLst/>
                <a:latin typeface="Arial" panose="020B0604020202020204" pitchFamily="34" charset="0"/>
                <a:ea typeface="Calibri" panose="020F0502020204030204" pitchFamily="34" charset="0"/>
                <a:cs typeface="Arial" panose="020B0604020202020204" pitchFamily="34" charset="0"/>
              </a:rPr>
              <a:t>/</a:t>
            </a:r>
            <a:r>
              <a:rPr lang="el-GR" sz="2000" dirty="0">
                <a:effectLst/>
                <a:latin typeface="Arial" panose="020B0604020202020204" pitchFamily="34" charset="0"/>
                <a:ea typeface="Calibri" panose="020F0502020204030204" pitchFamily="34" charset="0"/>
                <a:cs typeface="Arial" panose="020B0604020202020204" pitchFamily="34" charset="0"/>
              </a:rPr>
              <a:t>και</a:t>
            </a:r>
            <a:r>
              <a:rPr lang="en-US" sz="2000" dirty="0">
                <a:effectLst/>
                <a:latin typeface="Arial" panose="020B0604020202020204" pitchFamily="34" charset="0"/>
                <a:ea typeface="Calibri" panose="020F0502020204030204" pitchFamily="34" charset="0"/>
                <a:cs typeface="Arial" panose="020B0604020202020204" pitchFamily="34" charset="0"/>
              </a:rPr>
              <a:t> agile + DevOps)</a:t>
            </a: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2000" dirty="0">
                <a:effectLst/>
                <a:latin typeface="Arial" panose="020B0604020202020204" pitchFamily="34" charset="0"/>
                <a:ea typeface="Calibri" panose="020F0502020204030204" pitchFamily="34" charset="0"/>
                <a:cs typeface="Arial" panose="020B0604020202020204" pitchFamily="34" charset="0"/>
              </a:rPr>
              <a:t>UML &amp; Class Design</a:t>
            </a: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2000" dirty="0">
                <a:effectLst/>
                <a:latin typeface="Arial" panose="020B0604020202020204" pitchFamily="34" charset="0"/>
                <a:ea typeface="Calibri" panose="020F0502020204030204" pitchFamily="34" charset="0"/>
                <a:cs typeface="Arial" panose="020B0604020202020204" pitchFamily="34" charset="0"/>
              </a:rPr>
              <a:t>Level Blocking out/</a:t>
            </a:r>
            <a:r>
              <a:rPr lang="en-US" sz="2000" dirty="0" err="1">
                <a:effectLst/>
                <a:latin typeface="Arial" panose="020B0604020202020204" pitchFamily="34" charset="0"/>
                <a:ea typeface="Calibri" panose="020F0502020204030204" pitchFamily="34" charset="0"/>
                <a:cs typeface="Arial" panose="020B0604020202020204" pitchFamily="34" charset="0"/>
              </a:rPr>
              <a:t>whiteBoxing</a:t>
            </a: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2000" dirty="0">
                <a:effectLst/>
                <a:latin typeface="Arial" panose="020B0604020202020204" pitchFamily="34" charset="0"/>
                <a:ea typeface="Calibri" panose="020F0502020204030204" pitchFamily="34" charset="0"/>
                <a:cs typeface="Arial" panose="020B0604020202020204" pitchFamily="34" charset="0"/>
              </a:rPr>
              <a:t>Class implementation</a:t>
            </a: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2000" dirty="0">
                <a:effectLst/>
                <a:latin typeface="Arial" panose="020B0604020202020204" pitchFamily="34" charset="0"/>
                <a:ea typeface="Calibri" panose="020F0502020204030204" pitchFamily="34" charset="0"/>
                <a:cs typeface="Arial" panose="020B0604020202020204" pitchFamily="34" charset="0"/>
              </a:rPr>
              <a:t>Testing</a:t>
            </a:r>
            <a:r>
              <a:rPr lang="el-GR" sz="2000" dirty="0">
                <a:effectLst/>
                <a:latin typeface="Arial" panose="020B0604020202020204" pitchFamily="34" charset="0"/>
                <a:ea typeface="Calibri" panose="020F0502020204030204" pitchFamily="34" charset="0"/>
                <a:cs typeface="Arial" panose="020B0604020202020204" pitchFamily="34" charset="0"/>
              </a:rPr>
              <a:t> + </a:t>
            </a:r>
            <a:r>
              <a:rPr lang="en-US" sz="2000" dirty="0">
                <a:effectLst/>
                <a:latin typeface="Arial" panose="020B0604020202020204" pitchFamily="34" charset="0"/>
                <a:ea typeface="Calibri" panose="020F0502020204030204" pitchFamily="34" charset="0"/>
                <a:cs typeface="Arial" panose="020B0604020202020204" pitchFamily="34" charset="0"/>
              </a:rPr>
              <a:t>logging</a:t>
            </a: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2000" dirty="0">
                <a:effectLst/>
                <a:latin typeface="Arial" panose="020B0604020202020204" pitchFamily="34" charset="0"/>
                <a:ea typeface="Calibri" panose="020F0502020204030204" pitchFamily="34" charset="0"/>
                <a:cs typeface="Arial" panose="020B0604020202020204" pitchFamily="34" charset="0"/>
              </a:rPr>
              <a:t>3D modeling, Animation &amp; material authoring</a:t>
            </a: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2000" dirty="0">
                <a:effectLst/>
                <a:latin typeface="Arial" panose="020B0604020202020204" pitchFamily="34" charset="0"/>
                <a:ea typeface="Calibri" panose="020F0502020204030204" pitchFamily="34" charset="0"/>
                <a:cs typeface="Arial" panose="020B0604020202020204" pitchFamily="34" charset="0"/>
              </a:rPr>
              <a:t>Finalize results</a:t>
            </a: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2000" dirty="0">
                <a:effectLst/>
                <a:latin typeface="Arial" panose="020B0604020202020204" pitchFamily="34" charset="0"/>
                <a:ea typeface="Calibri" panose="020F0502020204030204" pitchFamily="34" charset="0"/>
                <a:cs typeface="Arial" panose="020B0604020202020204" pitchFamily="34" charset="0"/>
              </a:rPr>
              <a:t>Testing + logging</a:t>
            </a: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2000" dirty="0">
                <a:effectLst/>
                <a:latin typeface="Arial" panose="020B0604020202020204" pitchFamily="34" charset="0"/>
                <a:ea typeface="Calibri" panose="020F0502020204030204" pitchFamily="34" charset="0"/>
                <a:cs typeface="Arial" panose="020B0604020202020204" pitchFamily="34" charset="0"/>
              </a:rPr>
              <a:t>Deploy</a:t>
            </a:r>
            <a:r>
              <a:rPr lang="el-GR" sz="2000" dirty="0">
                <a:effectLst/>
                <a:latin typeface="Arial" panose="020B0604020202020204" pitchFamily="34" charset="0"/>
                <a:ea typeface="Calibri" panose="020F0502020204030204" pitchFamily="34" charset="0"/>
                <a:cs typeface="Arial" panose="020B0604020202020204" pitchFamily="34" charset="0"/>
              </a:rPr>
              <a:t> &amp; </a:t>
            </a:r>
            <a:r>
              <a:rPr lang="en-US" sz="2000" dirty="0">
                <a:effectLst/>
                <a:latin typeface="Arial" panose="020B0604020202020204" pitchFamily="34" charset="0"/>
                <a:ea typeface="Calibri" panose="020F0502020204030204" pitchFamily="34" charset="0"/>
                <a:cs typeface="Arial" panose="020B0604020202020204" pitchFamily="34" charset="0"/>
              </a:rPr>
              <a:t>Production</a:t>
            </a:r>
            <a:r>
              <a:rPr lang="el-GR" sz="2000" dirty="0">
                <a:effectLst/>
                <a:latin typeface="Arial" panose="020B0604020202020204" pitchFamily="34" charset="0"/>
                <a:ea typeface="Calibri" panose="020F0502020204030204" pitchFamily="34" charset="0"/>
                <a:cs typeface="Arial" panose="020B0604020202020204" pitchFamily="34" charset="0"/>
              </a:rPr>
              <a:t> (</a:t>
            </a:r>
            <a:r>
              <a:rPr lang="el-GR" sz="2000" i="1" dirty="0">
                <a:effectLst/>
                <a:latin typeface="Arial" panose="020B0604020202020204" pitchFamily="34" charset="0"/>
                <a:ea typeface="Calibri" panose="020F0502020204030204" pitchFamily="34" charset="0"/>
                <a:cs typeface="Arial" panose="020B0604020202020204" pitchFamily="34" charset="0"/>
              </a:rPr>
              <a:t>ακολουθία </a:t>
            </a:r>
            <a:r>
              <a:rPr lang="en-US" sz="2000" i="1" dirty="0">
                <a:effectLst/>
                <a:latin typeface="Arial" panose="020B0604020202020204" pitchFamily="34" charset="0"/>
                <a:ea typeface="Calibri" panose="020F0502020204030204" pitchFamily="34" charset="0"/>
                <a:cs typeface="Arial" panose="020B0604020202020204" pitchFamily="34" charset="0"/>
              </a:rPr>
              <a:t>Guidelines</a:t>
            </a:r>
            <a:r>
              <a:rPr lang="el-GR" sz="2000" i="1" dirty="0">
                <a:effectLst/>
                <a:latin typeface="Arial" panose="020B0604020202020204" pitchFamily="34" charset="0"/>
                <a:ea typeface="Calibri" panose="020F0502020204030204" pitchFamily="34" charset="0"/>
                <a:cs typeface="Arial" panose="020B0604020202020204" pitchFamily="34" charset="0"/>
              </a:rPr>
              <a:t> για δημοσίευση στην εκάστοτε πλατφόρμα</a:t>
            </a:r>
            <a:r>
              <a:rPr lang="el-GR" sz="2000" dirty="0">
                <a:effectLst/>
                <a:latin typeface="Arial" panose="020B0604020202020204" pitchFamily="34" charset="0"/>
                <a:ea typeface="Calibri" panose="020F0502020204030204" pitchFamily="34" charset="0"/>
                <a:cs typeface="Arial" panose="020B0604020202020204" pitchFamily="34" charset="0"/>
              </a:rPr>
              <a:t>)</a:t>
            </a: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800"/>
              </a:spcAft>
              <a:buFont typeface="+mj-lt"/>
              <a:buAutoNum type="arabicPeriod"/>
            </a:pPr>
            <a:r>
              <a:rPr lang="en-US" sz="2000" dirty="0">
                <a:effectLst/>
                <a:latin typeface="Arial" panose="020B0604020202020204" pitchFamily="34" charset="0"/>
                <a:ea typeface="Calibri" panose="020F0502020204030204" pitchFamily="34" charset="0"/>
                <a:cs typeface="Arial" panose="020B0604020202020204" pitchFamily="34" charset="0"/>
              </a:rPr>
              <a:t>Support &amp; Q&amp;A</a:t>
            </a: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a:p>
            <a:endParaRPr lang="en-US" dirty="0"/>
          </a:p>
        </p:txBody>
      </p:sp>
      <p:sp>
        <p:nvSpPr>
          <p:cNvPr id="4" name="Text Placeholder 2">
            <a:extLst>
              <a:ext uri="{FF2B5EF4-FFF2-40B4-BE49-F238E27FC236}">
                <a16:creationId xmlns:a16="http://schemas.microsoft.com/office/drawing/2014/main" id="{FCE9F113-E850-47E6-BB3B-FF622A65F7D5}"/>
              </a:ext>
            </a:extLst>
          </p:cNvPr>
          <p:cNvSpPr txBox="1">
            <a:spLocks/>
          </p:cNvSpPr>
          <p:nvPr/>
        </p:nvSpPr>
        <p:spPr>
          <a:xfrm>
            <a:off x="1143770" y="241300"/>
            <a:ext cx="11048230" cy="685800"/>
          </a:xfrm>
          <a:prstGeom prst="rect">
            <a:avLst/>
          </a:prstGeom>
        </p:spPr>
        <p:txBody>
          <a:bodyPr vert="horz" lIns="91440" tIns="45720" rIns="91440" bIns="45720" rtlCol="0" anchor="ctr">
            <a:noAutofit/>
          </a:bodyPr>
          <a:lstStyle>
            <a:lvl1pPr marL="0" indent="0" algn="l" defTabSz="914400" rtl="0" eaLnBrk="1" latinLnBrk="0" hangingPunct="1">
              <a:lnSpc>
                <a:spcPct val="120000"/>
              </a:lnSpc>
              <a:spcBef>
                <a:spcPts val="1000"/>
              </a:spcBef>
              <a:buSzPct val="125000"/>
              <a:buFont typeface="Arial" panose="020B0604020202020204" pitchFamily="34" charset="0"/>
              <a:buNone/>
              <a:defRPr sz="1800" kern="1200">
                <a:solidFill>
                  <a:schemeClr val="tx1"/>
                </a:solidFill>
                <a:effectLst>
                  <a:outerShdw blurRad="152400" dist="38100" dir="2700000" algn="tl">
                    <a:srgbClr val="000000">
                      <a:alpha val="36000"/>
                    </a:srgbClr>
                  </a:outerShdw>
                </a:effectLst>
                <a:latin typeface="+mn-lt"/>
                <a:ea typeface="+mn-ea"/>
                <a:cs typeface="+mn-cs"/>
              </a:defRPr>
            </a:lvl1pPr>
            <a:lvl2pPr marL="457200" indent="0" algn="l" defTabSz="914400" rtl="0" eaLnBrk="1" latinLnBrk="0" hangingPunct="1">
              <a:lnSpc>
                <a:spcPct val="120000"/>
              </a:lnSpc>
              <a:spcBef>
                <a:spcPts val="500"/>
              </a:spcBef>
              <a:buSzPct val="125000"/>
              <a:buFont typeface="Arial" panose="020B0604020202020204" pitchFamily="34" charset="0"/>
              <a:buNone/>
              <a:defRPr sz="1400" kern="1200">
                <a:solidFill>
                  <a:schemeClr val="tx1"/>
                </a:solidFill>
                <a:effectLst>
                  <a:outerShdw blurRad="152400" dist="38100" dir="2700000" algn="tl">
                    <a:srgbClr val="000000">
                      <a:alpha val="36000"/>
                    </a:srgbClr>
                  </a:outerShdw>
                </a:effectLst>
                <a:latin typeface="+mn-lt"/>
                <a:ea typeface="+mn-ea"/>
                <a:cs typeface="+mn-cs"/>
              </a:defRPr>
            </a:lvl2pPr>
            <a:lvl3pPr marL="914400" indent="0" algn="l" defTabSz="914400" rtl="0" eaLnBrk="1" latinLnBrk="0" hangingPunct="1">
              <a:lnSpc>
                <a:spcPct val="120000"/>
              </a:lnSpc>
              <a:spcBef>
                <a:spcPts val="500"/>
              </a:spcBef>
              <a:buSzPct val="125000"/>
              <a:buFont typeface="Arial" panose="020B0604020202020204" pitchFamily="34" charset="0"/>
              <a:buNone/>
              <a:defRPr sz="1200" kern="1200">
                <a:solidFill>
                  <a:schemeClr val="tx1"/>
                </a:solidFill>
                <a:effectLst>
                  <a:outerShdw blurRad="152400" dist="38100" dir="2700000" algn="tl">
                    <a:srgbClr val="000000">
                      <a:alpha val="36000"/>
                    </a:srgbClr>
                  </a:outerShdw>
                </a:effectLst>
                <a:latin typeface="+mn-lt"/>
                <a:ea typeface="+mn-ea"/>
                <a:cs typeface="+mn-cs"/>
              </a:defRPr>
            </a:lvl3pPr>
            <a:lvl4pPr marL="1371600" indent="0" algn="l" defTabSz="914400" rtl="0" eaLnBrk="1" latinLnBrk="0" hangingPunct="1">
              <a:lnSpc>
                <a:spcPct val="120000"/>
              </a:lnSpc>
              <a:spcBef>
                <a:spcPts val="500"/>
              </a:spcBef>
              <a:buSzPct val="125000"/>
              <a:buFont typeface="Arial" panose="020B0604020202020204" pitchFamily="34" charset="0"/>
              <a:buNone/>
              <a:defRPr sz="1000" kern="1200">
                <a:solidFill>
                  <a:schemeClr val="tx1"/>
                </a:solidFill>
                <a:effectLst>
                  <a:outerShdw blurRad="152400" dist="38100" dir="2700000" algn="tl">
                    <a:srgbClr val="000000">
                      <a:alpha val="36000"/>
                    </a:srgbClr>
                  </a:outerShdw>
                </a:effectLst>
                <a:latin typeface="+mn-lt"/>
                <a:ea typeface="+mn-ea"/>
                <a:cs typeface="+mn-cs"/>
              </a:defRPr>
            </a:lvl4pPr>
            <a:lvl5pPr marL="1828800" indent="0" algn="l" defTabSz="914400" rtl="0" eaLnBrk="1" latinLnBrk="0" hangingPunct="1">
              <a:lnSpc>
                <a:spcPct val="120000"/>
              </a:lnSpc>
              <a:spcBef>
                <a:spcPts val="500"/>
              </a:spcBef>
              <a:buSzPct val="125000"/>
              <a:buFont typeface="Arial" panose="020B0604020202020204" pitchFamily="34" charset="0"/>
              <a:buNone/>
              <a:defRPr sz="1000" kern="1200">
                <a:solidFill>
                  <a:schemeClr val="tx1"/>
                </a:solidFill>
                <a:effectLst>
                  <a:outerShdw blurRad="152400" dist="38100" dir="2700000" algn="tl">
                    <a:srgbClr val="000000">
                      <a:alpha val="36000"/>
                    </a:srgbClr>
                  </a:outerShdw>
                </a:effectLst>
                <a:latin typeface="+mn-lt"/>
                <a:ea typeface="+mn-ea"/>
                <a:cs typeface="+mn-cs"/>
              </a:defRPr>
            </a:lvl5pPr>
            <a:lvl6pPr marL="2286000" indent="0" algn="l" defTabSz="914400" rtl="0" eaLnBrk="1" latinLnBrk="0" hangingPunct="1">
              <a:lnSpc>
                <a:spcPct val="120000"/>
              </a:lnSpc>
              <a:spcBef>
                <a:spcPts val="500"/>
              </a:spcBef>
              <a:buSzPct val="125000"/>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120000"/>
              </a:lnSpc>
              <a:spcBef>
                <a:spcPts val="500"/>
              </a:spcBef>
              <a:buSzPct val="125000"/>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120000"/>
              </a:lnSpc>
              <a:spcBef>
                <a:spcPts val="500"/>
              </a:spcBef>
              <a:buSzPct val="125000"/>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120000"/>
              </a:lnSpc>
              <a:spcBef>
                <a:spcPts val="500"/>
              </a:spcBef>
              <a:buSzPct val="125000"/>
              <a:buFont typeface="Arial" panose="020B0604020202020204" pitchFamily="34" charset="0"/>
              <a:buNone/>
              <a:defRPr sz="1000" kern="1200">
                <a:solidFill>
                  <a:schemeClr val="tx1"/>
                </a:solidFill>
                <a:latin typeface="+mn-lt"/>
                <a:ea typeface="+mn-ea"/>
                <a:cs typeface="+mn-cs"/>
              </a:defRPr>
            </a:lvl9pPr>
          </a:lstStyle>
          <a:p>
            <a:r>
              <a:rPr lang="en-US" sz="2800" b="1" dirty="0">
                <a:effectLst/>
                <a:latin typeface="Arial" panose="020B0604020202020204" pitchFamily="34" charset="0"/>
                <a:cs typeface="Arial" panose="020B0604020202020204" pitchFamily="34" charset="0"/>
              </a:rPr>
              <a:t>Product Steps</a:t>
            </a:r>
          </a:p>
        </p:txBody>
      </p:sp>
    </p:spTree>
    <p:extLst>
      <p:ext uri="{BB962C8B-B14F-4D97-AF65-F5344CB8AC3E}">
        <p14:creationId xmlns:p14="http://schemas.microsoft.com/office/powerpoint/2010/main" val="40993849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12" name="Google Shape;1713;p63">
            <a:extLst>
              <a:ext uri="{FF2B5EF4-FFF2-40B4-BE49-F238E27FC236}">
                <a16:creationId xmlns:a16="http://schemas.microsoft.com/office/drawing/2014/main" id="{998B47EF-D64B-45BE-AEA3-28182B4EB640}"/>
              </a:ext>
            </a:extLst>
          </p:cNvPr>
          <p:cNvSpPr txBox="1">
            <a:spLocks/>
          </p:cNvSpPr>
          <p:nvPr/>
        </p:nvSpPr>
        <p:spPr>
          <a:xfrm>
            <a:off x="1316735" y="94538"/>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Sneak Peek</a:t>
            </a:r>
          </a:p>
        </p:txBody>
      </p:sp>
      <p:pic>
        <p:nvPicPr>
          <p:cNvPr id="13" name="Picture 12">
            <a:extLst>
              <a:ext uri="{FF2B5EF4-FFF2-40B4-BE49-F238E27FC236}">
                <a16:creationId xmlns:a16="http://schemas.microsoft.com/office/drawing/2014/main" id="{62057ABF-91F5-4C63-8195-3AC8CB625D8B}"/>
              </a:ext>
            </a:extLst>
          </p:cNvPr>
          <p:cNvPicPr>
            <a:picLocks noChangeAspect="1"/>
          </p:cNvPicPr>
          <p:nvPr/>
        </p:nvPicPr>
        <p:blipFill>
          <a:blip r:embed="rId6"/>
          <a:stretch>
            <a:fillRect/>
          </a:stretch>
        </p:blipFill>
        <p:spPr>
          <a:xfrm>
            <a:off x="4222026" y="717616"/>
            <a:ext cx="1827365" cy="1027893"/>
          </a:xfrm>
          <a:prstGeom prst="rect">
            <a:avLst/>
          </a:prstGeom>
        </p:spPr>
      </p:pic>
      <p:sp>
        <p:nvSpPr>
          <p:cNvPr id="4" name="Title 3">
            <a:extLst>
              <a:ext uri="{FF2B5EF4-FFF2-40B4-BE49-F238E27FC236}">
                <a16:creationId xmlns:a16="http://schemas.microsoft.com/office/drawing/2014/main" id="{D04950D8-8C6B-4FF6-86A4-752F8BA58AC3}"/>
              </a:ext>
            </a:extLst>
          </p:cNvPr>
          <p:cNvSpPr>
            <a:spLocks noGrp="1"/>
          </p:cNvSpPr>
          <p:nvPr>
            <p:ph type="title"/>
          </p:nvPr>
        </p:nvSpPr>
        <p:spPr>
          <a:xfrm>
            <a:off x="2689797" y="754499"/>
            <a:ext cx="9905998" cy="1478570"/>
          </a:xfrm>
        </p:spPr>
        <p:txBody>
          <a:bodyPr/>
          <a:lstStyle/>
          <a:p>
            <a:r>
              <a:rPr lang="en-US" dirty="0"/>
              <a:t>Gameplay mechanics – VoIP</a:t>
            </a:r>
            <a:r>
              <a:rPr lang="en-US" dirty="0">
                <a:solidFill>
                  <a:srgbClr val="DDC855"/>
                </a:solidFill>
              </a:rPr>
              <a:t> Showcase</a:t>
            </a:r>
          </a:p>
        </p:txBody>
      </p:sp>
      <p:sp>
        <p:nvSpPr>
          <p:cNvPr id="6" name="Google Shape;1611;p62">
            <a:extLst>
              <a:ext uri="{FF2B5EF4-FFF2-40B4-BE49-F238E27FC236}">
                <a16:creationId xmlns:a16="http://schemas.microsoft.com/office/drawing/2014/main" id="{09000CCE-4557-44AE-9999-16CF1EC3ABDB}"/>
              </a:ext>
            </a:extLst>
          </p:cNvPr>
          <p:cNvSpPr txBox="1">
            <a:spLocks/>
          </p:cNvSpPr>
          <p:nvPr/>
        </p:nvSpPr>
        <p:spPr>
          <a:xfrm flipH="1">
            <a:off x="1316735" y="303084"/>
            <a:ext cx="1010705"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a:t>
            </a:r>
          </a:p>
        </p:txBody>
      </p:sp>
      <p:sp>
        <p:nvSpPr>
          <p:cNvPr id="8" name="Rectangle 7">
            <a:extLst>
              <a:ext uri="{FF2B5EF4-FFF2-40B4-BE49-F238E27FC236}">
                <a16:creationId xmlns:a16="http://schemas.microsoft.com/office/drawing/2014/main" id="{E82E26B0-7BCC-4CB4-B1D3-1E61B2B79C29}"/>
              </a:ext>
            </a:extLst>
          </p:cNvPr>
          <p:cNvSpPr/>
          <p:nvPr/>
        </p:nvSpPr>
        <p:spPr>
          <a:xfrm>
            <a:off x="1925011" y="59743"/>
            <a:ext cx="1529571" cy="1677382"/>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03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a:t>
            </a:r>
          </a:p>
        </p:txBody>
      </p:sp>
      <p:sp>
        <p:nvSpPr>
          <p:cNvPr id="16" name="Google Shape;11;p2">
            <a:extLst>
              <a:ext uri="{FF2B5EF4-FFF2-40B4-BE49-F238E27FC236}">
                <a16:creationId xmlns:a16="http://schemas.microsoft.com/office/drawing/2014/main" id="{B68E967B-107B-481C-8107-AF8F0A2E3C1C}"/>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86B91066-0CFA-48AC-BF4C-CD646875093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 name="Google Shape;1298;p55">
            <a:extLst>
              <a:ext uri="{FF2B5EF4-FFF2-40B4-BE49-F238E27FC236}">
                <a16:creationId xmlns:a16="http://schemas.microsoft.com/office/drawing/2014/main" id="{C2F8A015-6CE1-4D05-98D2-DFD3FB750053}"/>
              </a:ext>
            </a:extLst>
          </p:cNvPr>
          <p:cNvCxnSpPr>
            <a:cxnSpLocks/>
          </p:cNvCxnSpPr>
          <p:nvPr/>
        </p:nvCxnSpPr>
        <p:spPr>
          <a:xfrm flipH="1">
            <a:off x="-68444" y="1629995"/>
            <a:ext cx="11380741" cy="0"/>
          </a:xfrm>
          <a:prstGeom prst="straightConnector1">
            <a:avLst/>
          </a:prstGeom>
          <a:noFill/>
          <a:ln w="19050" cap="flat" cmpd="sng">
            <a:solidFill>
              <a:srgbClr val="C2F918"/>
            </a:solidFill>
            <a:prstDash val="solid"/>
            <a:round/>
            <a:headEnd type="none" w="med" len="med"/>
            <a:tailEnd type="none" w="med" len="med"/>
          </a:ln>
        </p:spPr>
      </p:cxnSp>
      <p:sp>
        <p:nvSpPr>
          <p:cNvPr id="19" name="Google Shape;1373;p56">
            <a:extLst>
              <a:ext uri="{FF2B5EF4-FFF2-40B4-BE49-F238E27FC236}">
                <a16:creationId xmlns:a16="http://schemas.microsoft.com/office/drawing/2014/main" id="{13070FA6-D0F3-4D75-BD25-4EFBACE47519}"/>
              </a:ext>
            </a:extLst>
          </p:cNvPr>
          <p:cNvSpPr/>
          <p:nvPr/>
        </p:nvSpPr>
        <p:spPr>
          <a:xfrm>
            <a:off x="11312296" y="1547525"/>
            <a:ext cx="174415" cy="189600"/>
          </a:xfrm>
          <a:prstGeom prst="ellipse">
            <a:avLst/>
          </a:prstGeom>
          <a:noFill/>
          <a:ln w="19050" cap="flat" cmpd="sng">
            <a:solidFill>
              <a:srgbClr val="C2F91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2" name="Online Media 1" title="[Marketplace Asset] Unreal Engine VoIP Voice Chat System for Multiplayer Blueprint #1 Showcase">
            <a:hlinkClick r:id="" action="ppaction://media"/>
            <a:extLst>
              <a:ext uri="{FF2B5EF4-FFF2-40B4-BE49-F238E27FC236}">
                <a16:creationId xmlns:a16="http://schemas.microsoft.com/office/drawing/2014/main" id="{CF4315BB-7A70-4AD8-ABF3-B5E75DF3FC48}"/>
              </a:ext>
            </a:extLst>
          </p:cNvPr>
          <p:cNvPicPr>
            <a:picLocks noRot="1" noChangeAspect="1"/>
          </p:cNvPicPr>
          <p:nvPr>
            <a:videoFile r:link="rId1"/>
            <p:custDataLst>
              <p:tags r:id="rId2"/>
            </p:custDataLst>
          </p:nvPr>
        </p:nvPicPr>
        <p:blipFill>
          <a:blip r:embed="rId7"/>
          <a:stretch>
            <a:fillRect/>
          </a:stretch>
        </p:blipFill>
        <p:spPr>
          <a:xfrm>
            <a:off x="3030947" y="1707461"/>
            <a:ext cx="5861386" cy="4396040"/>
          </a:xfrm>
          <a:prstGeom prst="rect">
            <a:avLst/>
          </a:prstGeom>
        </p:spPr>
      </p:pic>
    </p:spTree>
    <p:extLst>
      <p:ext uri="{BB962C8B-B14F-4D97-AF65-F5344CB8AC3E}">
        <p14:creationId xmlns:p14="http://schemas.microsoft.com/office/powerpoint/2010/main" val="2315122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Google Shape;2104;p69">
            <a:extLst>
              <a:ext uri="{FF2B5EF4-FFF2-40B4-BE49-F238E27FC236}">
                <a16:creationId xmlns:a16="http://schemas.microsoft.com/office/drawing/2014/main" id="{E9BD1AA7-85DA-40EC-9121-C2328EAE167B}"/>
              </a:ext>
            </a:extLst>
          </p:cNvPr>
          <p:cNvSpPr/>
          <p:nvPr/>
        </p:nvSpPr>
        <p:spPr>
          <a:xfrm>
            <a:off x="3100891" y="389655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7" name="Google Shape;2385;p74">
            <a:extLst>
              <a:ext uri="{FF2B5EF4-FFF2-40B4-BE49-F238E27FC236}">
                <a16:creationId xmlns:a16="http://schemas.microsoft.com/office/drawing/2014/main" id="{2C1CC8B5-FD9E-45D5-9CEE-904E8E5A6C5F}"/>
              </a:ext>
            </a:extLst>
          </p:cNvPr>
          <p:cNvGrpSpPr/>
          <p:nvPr/>
        </p:nvGrpSpPr>
        <p:grpSpPr>
          <a:xfrm>
            <a:off x="1260445" y="542958"/>
            <a:ext cx="4010883" cy="4217083"/>
            <a:chOff x="560975" y="602437"/>
            <a:chExt cx="4010883" cy="4217083"/>
          </a:xfrm>
        </p:grpSpPr>
        <p:sp>
          <p:nvSpPr>
            <p:cNvPr id="68" name="Google Shape;2386;p74">
              <a:extLst>
                <a:ext uri="{FF2B5EF4-FFF2-40B4-BE49-F238E27FC236}">
                  <a16:creationId xmlns:a16="http://schemas.microsoft.com/office/drawing/2014/main" id="{D3858B9C-A4F2-4EE9-A2EA-9C78B153AFCE}"/>
                </a:ext>
              </a:extLst>
            </p:cNvPr>
            <p:cNvSpPr/>
            <p:nvPr/>
          </p:nvSpPr>
          <p:spPr>
            <a:xfrm rot="20722624">
              <a:off x="618493" y="2796073"/>
              <a:ext cx="3784421" cy="1296840"/>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chemeClr val="bg1">
                <a:lumMod val="95000"/>
                <a:lumOff val="5000"/>
                <a:alpha val="4549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2387;p74">
              <a:extLst>
                <a:ext uri="{FF2B5EF4-FFF2-40B4-BE49-F238E27FC236}">
                  <a16:creationId xmlns:a16="http://schemas.microsoft.com/office/drawing/2014/main" id="{9758B8FF-B876-4F31-9705-3FE7D588317F}"/>
                </a:ext>
              </a:extLst>
            </p:cNvPr>
            <p:cNvSpPr/>
            <p:nvPr/>
          </p:nvSpPr>
          <p:spPr>
            <a:xfrm>
              <a:off x="754717" y="629731"/>
              <a:ext cx="575937" cy="1098996"/>
            </a:xfrm>
            <a:custGeom>
              <a:avLst/>
              <a:gdLst/>
              <a:ahLst/>
              <a:cxnLst/>
              <a:rect l="l" t="t" r="r" b="b"/>
              <a:pathLst>
                <a:path w="25302" h="48281" extrusionOk="0">
                  <a:moveTo>
                    <a:pt x="11735" y="0"/>
                  </a:moveTo>
                  <a:cubicBezTo>
                    <a:pt x="11735" y="0"/>
                    <a:pt x="1" y="3327"/>
                    <a:pt x="233" y="8589"/>
                  </a:cubicBezTo>
                  <a:cubicBezTo>
                    <a:pt x="439" y="13876"/>
                    <a:pt x="14444" y="48048"/>
                    <a:pt x="18364" y="48177"/>
                  </a:cubicBezTo>
                  <a:cubicBezTo>
                    <a:pt x="22877" y="48281"/>
                    <a:pt x="25301" y="48281"/>
                    <a:pt x="25301" y="48281"/>
                  </a:cubicBezTo>
                  <a:cubicBezTo>
                    <a:pt x="25301" y="48281"/>
                    <a:pt x="19034" y="29866"/>
                    <a:pt x="17332" y="22206"/>
                  </a:cubicBezTo>
                  <a:cubicBezTo>
                    <a:pt x="15656" y="14572"/>
                    <a:pt x="11735" y="0"/>
                    <a:pt x="1173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2388;p74">
              <a:extLst>
                <a:ext uri="{FF2B5EF4-FFF2-40B4-BE49-F238E27FC236}">
                  <a16:creationId xmlns:a16="http://schemas.microsoft.com/office/drawing/2014/main" id="{C5BBE6AB-672C-44F9-AA95-CEDE7B7B3663}"/>
                </a:ext>
              </a:extLst>
            </p:cNvPr>
            <p:cNvSpPr/>
            <p:nvPr/>
          </p:nvSpPr>
          <p:spPr>
            <a:xfrm>
              <a:off x="895624" y="602437"/>
              <a:ext cx="616431" cy="1126812"/>
            </a:xfrm>
            <a:custGeom>
              <a:avLst/>
              <a:gdLst/>
              <a:ahLst/>
              <a:cxnLst/>
              <a:rect l="l" t="t" r="r" b="b"/>
              <a:pathLst>
                <a:path w="27081" h="49503" extrusionOk="0">
                  <a:moveTo>
                    <a:pt x="10858" y="1"/>
                  </a:moveTo>
                  <a:cubicBezTo>
                    <a:pt x="9368" y="1"/>
                    <a:pt x="7613" y="365"/>
                    <a:pt x="5545" y="1199"/>
                  </a:cubicBezTo>
                  <a:cubicBezTo>
                    <a:pt x="0" y="3417"/>
                    <a:pt x="8692" y="21497"/>
                    <a:pt x="12561" y="32664"/>
                  </a:cubicBezTo>
                  <a:cubicBezTo>
                    <a:pt x="14392" y="37977"/>
                    <a:pt x="17022" y="46849"/>
                    <a:pt x="17693" y="48293"/>
                  </a:cubicBezTo>
                  <a:cubicBezTo>
                    <a:pt x="18023" y="49034"/>
                    <a:pt x="18415" y="49503"/>
                    <a:pt x="18965" y="49503"/>
                  </a:cubicBezTo>
                  <a:cubicBezTo>
                    <a:pt x="19488" y="49503"/>
                    <a:pt x="20153" y="49079"/>
                    <a:pt x="21046" y="48061"/>
                  </a:cubicBezTo>
                  <a:cubicBezTo>
                    <a:pt x="22877" y="45998"/>
                    <a:pt x="27081" y="44657"/>
                    <a:pt x="27081" y="44657"/>
                  </a:cubicBezTo>
                  <a:cubicBezTo>
                    <a:pt x="27081" y="44657"/>
                    <a:pt x="19808" y="16906"/>
                    <a:pt x="19111" y="10819"/>
                  </a:cubicBezTo>
                  <a:cubicBezTo>
                    <a:pt x="18574" y="5940"/>
                    <a:pt x="16876" y="1"/>
                    <a:pt x="1085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2389;p74">
              <a:extLst>
                <a:ext uri="{FF2B5EF4-FFF2-40B4-BE49-F238E27FC236}">
                  <a16:creationId xmlns:a16="http://schemas.microsoft.com/office/drawing/2014/main" id="{707080C5-3FB8-4D55-AB97-77FD0AE1C54B}"/>
                </a:ext>
              </a:extLst>
            </p:cNvPr>
            <p:cNvSpPr/>
            <p:nvPr/>
          </p:nvSpPr>
          <p:spPr>
            <a:xfrm>
              <a:off x="1092302" y="613865"/>
              <a:ext cx="393928" cy="905287"/>
            </a:xfrm>
            <a:custGeom>
              <a:avLst/>
              <a:gdLst/>
              <a:ahLst/>
              <a:cxnLst/>
              <a:rect l="l" t="t" r="r" b="b"/>
              <a:pathLst>
                <a:path w="17306" h="39771" extrusionOk="0">
                  <a:moveTo>
                    <a:pt x="5004" y="1"/>
                  </a:moveTo>
                  <a:cubicBezTo>
                    <a:pt x="3895" y="27"/>
                    <a:pt x="2708" y="233"/>
                    <a:pt x="1857" y="981"/>
                  </a:cubicBezTo>
                  <a:cubicBezTo>
                    <a:pt x="1032" y="1729"/>
                    <a:pt x="516" y="2735"/>
                    <a:pt x="387" y="3844"/>
                  </a:cubicBezTo>
                  <a:cubicBezTo>
                    <a:pt x="0" y="6423"/>
                    <a:pt x="697" y="9182"/>
                    <a:pt x="1522" y="11632"/>
                  </a:cubicBezTo>
                  <a:cubicBezTo>
                    <a:pt x="2218" y="13618"/>
                    <a:pt x="3018" y="15707"/>
                    <a:pt x="4230" y="17435"/>
                  </a:cubicBezTo>
                  <a:cubicBezTo>
                    <a:pt x="5416" y="19163"/>
                    <a:pt x="7041" y="20633"/>
                    <a:pt x="8202" y="22387"/>
                  </a:cubicBezTo>
                  <a:cubicBezTo>
                    <a:pt x="9388" y="24167"/>
                    <a:pt x="10007" y="26075"/>
                    <a:pt x="10471" y="28087"/>
                  </a:cubicBezTo>
                  <a:cubicBezTo>
                    <a:pt x="11374" y="32110"/>
                    <a:pt x="12303" y="36288"/>
                    <a:pt x="15836" y="38893"/>
                  </a:cubicBezTo>
                  <a:cubicBezTo>
                    <a:pt x="16300" y="39229"/>
                    <a:pt x="16790" y="39512"/>
                    <a:pt x="17306" y="39770"/>
                  </a:cubicBezTo>
                  <a:cubicBezTo>
                    <a:pt x="15243" y="31723"/>
                    <a:pt x="10987" y="14882"/>
                    <a:pt x="10471" y="10317"/>
                  </a:cubicBezTo>
                  <a:cubicBezTo>
                    <a:pt x="10033" y="6294"/>
                    <a:pt x="8795" y="1548"/>
                    <a:pt x="5004"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2390;p74">
              <a:extLst>
                <a:ext uri="{FF2B5EF4-FFF2-40B4-BE49-F238E27FC236}">
                  <a16:creationId xmlns:a16="http://schemas.microsoft.com/office/drawing/2014/main" id="{2081793D-CD7B-4FDE-A000-1D88A1953AC6}"/>
                </a:ext>
              </a:extLst>
            </p:cNvPr>
            <p:cNvSpPr/>
            <p:nvPr/>
          </p:nvSpPr>
          <p:spPr>
            <a:xfrm>
              <a:off x="1010102" y="666540"/>
              <a:ext cx="314100" cy="330898"/>
            </a:xfrm>
            <a:custGeom>
              <a:avLst/>
              <a:gdLst/>
              <a:ahLst/>
              <a:cxnLst/>
              <a:rect l="l" t="t" r="r" b="b"/>
              <a:pathLst>
                <a:path w="13799" h="14537" extrusionOk="0">
                  <a:moveTo>
                    <a:pt x="6297" y="0"/>
                  </a:moveTo>
                  <a:cubicBezTo>
                    <a:pt x="5841" y="0"/>
                    <a:pt x="5382" y="61"/>
                    <a:pt x="4927" y="189"/>
                  </a:cubicBezTo>
                  <a:cubicBezTo>
                    <a:pt x="1703" y="1091"/>
                    <a:pt x="1" y="4986"/>
                    <a:pt x="1110" y="8906"/>
                  </a:cubicBezTo>
                  <a:cubicBezTo>
                    <a:pt x="2062" y="12273"/>
                    <a:pt x="4765" y="14536"/>
                    <a:pt x="7535" y="14536"/>
                  </a:cubicBezTo>
                  <a:cubicBezTo>
                    <a:pt x="7990" y="14536"/>
                    <a:pt x="8447" y="14475"/>
                    <a:pt x="8898" y="14348"/>
                  </a:cubicBezTo>
                  <a:cubicBezTo>
                    <a:pt x="12122" y="13445"/>
                    <a:pt x="13799" y="9525"/>
                    <a:pt x="12690" y="5630"/>
                  </a:cubicBezTo>
                  <a:cubicBezTo>
                    <a:pt x="11737" y="2263"/>
                    <a:pt x="9073" y="0"/>
                    <a:pt x="6297"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2391;p74">
              <a:extLst>
                <a:ext uri="{FF2B5EF4-FFF2-40B4-BE49-F238E27FC236}">
                  <a16:creationId xmlns:a16="http://schemas.microsoft.com/office/drawing/2014/main" id="{CEFB8B6B-6910-46FA-9DDA-7717179AA45D}"/>
                </a:ext>
              </a:extLst>
            </p:cNvPr>
            <p:cNvSpPr/>
            <p:nvPr/>
          </p:nvSpPr>
          <p:spPr>
            <a:xfrm>
              <a:off x="1034755" y="691967"/>
              <a:ext cx="265388" cy="280024"/>
            </a:xfrm>
            <a:custGeom>
              <a:avLst/>
              <a:gdLst/>
              <a:ahLst/>
              <a:cxnLst/>
              <a:rect l="l" t="t" r="r" b="b"/>
              <a:pathLst>
                <a:path w="11659" h="12302" extrusionOk="0">
                  <a:moveTo>
                    <a:pt x="5269" y="0"/>
                  </a:moveTo>
                  <a:cubicBezTo>
                    <a:pt x="4888" y="0"/>
                    <a:pt x="4505" y="50"/>
                    <a:pt x="4127" y="155"/>
                  </a:cubicBezTo>
                  <a:cubicBezTo>
                    <a:pt x="1419" y="928"/>
                    <a:pt x="1" y="4230"/>
                    <a:pt x="929" y="7531"/>
                  </a:cubicBezTo>
                  <a:cubicBezTo>
                    <a:pt x="1728" y="10394"/>
                    <a:pt x="4036" y="12302"/>
                    <a:pt x="6390" y="12302"/>
                  </a:cubicBezTo>
                  <a:cubicBezTo>
                    <a:pt x="6771" y="12302"/>
                    <a:pt x="7154" y="12252"/>
                    <a:pt x="7532" y="12147"/>
                  </a:cubicBezTo>
                  <a:cubicBezTo>
                    <a:pt x="10240" y="11374"/>
                    <a:pt x="11658" y="8073"/>
                    <a:pt x="10730" y="4746"/>
                  </a:cubicBezTo>
                  <a:cubicBezTo>
                    <a:pt x="9909" y="1905"/>
                    <a:pt x="7617" y="0"/>
                    <a:pt x="526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2392;p74">
              <a:extLst>
                <a:ext uri="{FF2B5EF4-FFF2-40B4-BE49-F238E27FC236}">
                  <a16:creationId xmlns:a16="http://schemas.microsoft.com/office/drawing/2014/main" id="{64A5A636-9ADE-48FC-B27B-E09CC6CE206C}"/>
                </a:ext>
              </a:extLst>
            </p:cNvPr>
            <p:cNvSpPr/>
            <p:nvPr/>
          </p:nvSpPr>
          <p:spPr>
            <a:xfrm>
              <a:off x="1067057" y="726636"/>
              <a:ext cx="200196" cy="210462"/>
            </a:xfrm>
            <a:custGeom>
              <a:avLst/>
              <a:gdLst/>
              <a:ahLst/>
              <a:cxnLst/>
              <a:rect l="l" t="t" r="r" b="b"/>
              <a:pathLst>
                <a:path w="8795" h="9246" extrusionOk="0">
                  <a:moveTo>
                    <a:pt x="4046" y="916"/>
                  </a:moveTo>
                  <a:cubicBezTo>
                    <a:pt x="5465" y="916"/>
                    <a:pt x="6860" y="2074"/>
                    <a:pt x="7351" y="3790"/>
                  </a:cubicBezTo>
                  <a:cubicBezTo>
                    <a:pt x="7918" y="5802"/>
                    <a:pt x="7067" y="7762"/>
                    <a:pt x="5416" y="8226"/>
                  </a:cubicBezTo>
                  <a:cubicBezTo>
                    <a:pt x="5186" y="8292"/>
                    <a:pt x="4952" y="8323"/>
                    <a:pt x="4719" y="8323"/>
                  </a:cubicBezTo>
                  <a:cubicBezTo>
                    <a:pt x="3311" y="8323"/>
                    <a:pt x="1931" y="7170"/>
                    <a:pt x="1445" y="5466"/>
                  </a:cubicBezTo>
                  <a:cubicBezTo>
                    <a:pt x="877" y="3455"/>
                    <a:pt x="1780" y="1469"/>
                    <a:pt x="3379" y="1004"/>
                  </a:cubicBezTo>
                  <a:cubicBezTo>
                    <a:pt x="3600" y="945"/>
                    <a:pt x="3823" y="916"/>
                    <a:pt x="4046" y="916"/>
                  </a:cubicBezTo>
                  <a:close/>
                  <a:moveTo>
                    <a:pt x="4009" y="1"/>
                  </a:moveTo>
                  <a:cubicBezTo>
                    <a:pt x="3713" y="1"/>
                    <a:pt x="3415" y="42"/>
                    <a:pt x="3121" y="128"/>
                  </a:cubicBezTo>
                  <a:cubicBezTo>
                    <a:pt x="1084" y="695"/>
                    <a:pt x="0" y="3171"/>
                    <a:pt x="723" y="5673"/>
                  </a:cubicBezTo>
                  <a:cubicBezTo>
                    <a:pt x="1322" y="7803"/>
                    <a:pt x="3047" y="9246"/>
                    <a:pt x="4815" y="9246"/>
                  </a:cubicBezTo>
                  <a:cubicBezTo>
                    <a:pt x="5102" y="9246"/>
                    <a:pt x="5390" y="9208"/>
                    <a:pt x="5674" y="9129"/>
                  </a:cubicBezTo>
                  <a:cubicBezTo>
                    <a:pt x="7712" y="8561"/>
                    <a:pt x="8795" y="6059"/>
                    <a:pt x="8099" y="3584"/>
                  </a:cubicBezTo>
                  <a:cubicBezTo>
                    <a:pt x="7481" y="1443"/>
                    <a:pt x="5768" y="1"/>
                    <a:pt x="4009"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2393;p74">
              <a:extLst>
                <a:ext uri="{FF2B5EF4-FFF2-40B4-BE49-F238E27FC236}">
                  <a16:creationId xmlns:a16="http://schemas.microsoft.com/office/drawing/2014/main" id="{6E25E42C-2565-46D1-AA95-BE20C33D9C86}"/>
                </a:ext>
              </a:extLst>
            </p:cNvPr>
            <p:cNvSpPr/>
            <p:nvPr/>
          </p:nvSpPr>
          <p:spPr>
            <a:xfrm>
              <a:off x="1143952" y="1042345"/>
              <a:ext cx="251890" cy="264819"/>
            </a:xfrm>
            <a:custGeom>
              <a:avLst/>
              <a:gdLst/>
              <a:ahLst/>
              <a:cxnLst/>
              <a:rect l="l" t="t" r="r" b="b"/>
              <a:pathLst>
                <a:path w="11066" h="11634" extrusionOk="0">
                  <a:moveTo>
                    <a:pt x="5041" y="1"/>
                  </a:moveTo>
                  <a:cubicBezTo>
                    <a:pt x="4668" y="1"/>
                    <a:pt x="4292" y="52"/>
                    <a:pt x="3921" y="160"/>
                  </a:cubicBezTo>
                  <a:cubicBezTo>
                    <a:pt x="1368" y="882"/>
                    <a:pt x="1" y="4003"/>
                    <a:pt x="904" y="7149"/>
                  </a:cubicBezTo>
                  <a:cubicBezTo>
                    <a:pt x="1656" y="9828"/>
                    <a:pt x="3816" y="11633"/>
                    <a:pt x="6044" y="11633"/>
                  </a:cubicBezTo>
                  <a:cubicBezTo>
                    <a:pt x="6411" y="11633"/>
                    <a:pt x="6780" y="11584"/>
                    <a:pt x="7145" y="11482"/>
                  </a:cubicBezTo>
                  <a:cubicBezTo>
                    <a:pt x="9698" y="10760"/>
                    <a:pt x="11065" y="7639"/>
                    <a:pt x="10162" y="4518"/>
                  </a:cubicBezTo>
                  <a:cubicBezTo>
                    <a:pt x="9412" y="1825"/>
                    <a:pt x="7262" y="1"/>
                    <a:pt x="5041"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2394;p74">
              <a:extLst>
                <a:ext uri="{FF2B5EF4-FFF2-40B4-BE49-F238E27FC236}">
                  <a16:creationId xmlns:a16="http://schemas.microsoft.com/office/drawing/2014/main" id="{358B2644-66F1-4971-A7B3-93125E6E77B1}"/>
                </a:ext>
              </a:extLst>
            </p:cNvPr>
            <p:cNvSpPr/>
            <p:nvPr/>
          </p:nvSpPr>
          <p:spPr>
            <a:xfrm>
              <a:off x="1163916" y="1062605"/>
              <a:ext cx="212556" cy="224507"/>
            </a:xfrm>
            <a:custGeom>
              <a:avLst/>
              <a:gdLst/>
              <a:ahLst/>
              <a:cxnLst/>
              <a:rect l="l" t="t" r="r" b="b"/>
              <a:pathLst>
                <a:path w="9338" h="9863" extrusionOk="0">
                  <a:moveTo>
                    <a:pt x="4226" y="0"/>
                  </a:moveTo>
                  <a:cubicBezTo>
                    <a:pt x="3927" y="0"/>
                    <a:pt x="3625" y="39"/>
                    <a:pt x="3328" y="121"/>
                  </a:cubicBezTo>
                  <a:cubicBezTo>
                    <a:pt x="1136" y="740"/>
                    <a:pt x="1" y="3396"/>
                    <a:pt x="749" y="6053"/>
                  </a:cubicBezTo>
                  <a:cubicBezTo>
                    <a:pt x="1371" y="8340"/>
                    <a:pt x="3197" y="9863"/>
                    <a:pt x="5093" y="9863"/>
                  </a:cubicBezTo>
                  <a:cubicBezTo>
                    <a:pt x="5398" y="9863"/>
                    <a:pt x="5706" y="9823"/>
                    <a:pt x="6010" y="9741"/>
                  </a:cubicBezTo>
                  <a:cubicBezTo>
                    <a:pt x="8176" y="9122"/>
                    <a:pt x="9337" y="6465"/>
                    <a:pt x="8589" y="3835"/>
                  </a:cubicBezTo>
                  <a:cubicBezTo>
                    <a:pt x="7944" y="1543"/>
                    <a:pt x="6109" y="0"/>
                    <a:pt x="422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2395;p74">
              <a:extLst>
                <a:ext uri="{FF2B5EF4-FFF2-40B4-BE49-F238E27FC236}">
                  <a16:creationId xmlns:a16="http://schemas.microsoft.com/office/drawing/2014/main" id="{35D93BF9-3868-45F7-BA31-ADDB7F5287BD}"/>
                </a:ext>
              </a:extLst>
            </p:cNvPr>
            <p:cNvSpPr/>
            <p:nvPr/>
          </p:nvSpPr>
          <p:spPr>
            <a:xfrm>
              <a:off x="1189753" y="1090718"/>
              <a:ext cx="160294" cy="168625"/>
            </a:xfrm>
            <a:custGeom>
              <a:avLst/>
              <a:gdLst/>
              <a:ahLst/>
              <a:cxnLst/>
              <a:rect l="l" t="t" r="r" b="b"/>
              <a:pathLst>
                <a:path w="7042" h="7408" extrusionOk="0">
                  <a:moveTo>
                    <a:pt x="3256" y="745"/>
                  </a:moveTo>
                  <a:cubicBezTo>
                    <a:pt x="4383" y="745"/>
                    <a:pt x="5504" y="1663"/>
                    <a:pt x="5881" y="3038"/>
                  </a:cubicBezTo>
                  <a:cubicBezTo>
                    <a:pt x="6345" y="4637"/>
                    <a:pt x="5649" y="6211"/>
                    <a:pt x="4333" y="6597"/>
                  </a:cubicBezTo>
                  <a:cubicBezTo>
                    <a:pt x="4156" y="6647"/>
                    <a:pt x="3976" y="6671"/>
                    <a:pt x="3795" y="6671"/>
                  </a:cubicBezTo>
                  <a:cubicBezTo>
                    <a:pt x="2665" y="6671"/>
                    <a:pt x="1539" y="5736"/>
                    <a:pt x="1161" y="4379"/>
                  </a:cubicBezTo>
                  <a:cubicBezTo>
                    <a:pt x="697" y="2780"/>
                    <a:pt x="1393" y="1181"/>
                    <a:pt x="2709" y="820"/>
                  </a:cubicBezTo>
                  <a:cubicBezTo>
                    <a:pt x="2889" y="770"/>
                    <a:pt x="3072" y="745"/>
                    <a:pt x="3256" y="745"/>
                  </a:cubicBezTo>
                  <a:close/>
                  <a:moveTo>
                    <a:pt x="3200" y="1"/>
                  </a:moveTo>
                  <a:cubicBezTo>
                    <a:pt x="2967" y="1"/>
                    <a:pt x="2733" y="32"/>
                    <a:pt x="2502" y="98"/>
                  </a:cubicBezTo>
                  <a:cubicBezTo>
                    <a:pt x="903" y="562"/>
                    <a:pt x="1" y="2548"/>
                    <a:pt x="568" y="4534"/>
                  </a:cubicBezTo>
                  <a:cubicBezTo>
                    <a:pt x="1058" y="6250"/>
                    <a:pt x="2454" y="7408"/>
                    <a:pt x="3872" y="7408"/>
                  </a:cubicBezTo>
                  <a:cubicBezTo>
                    <a:pt x="4095" y="7408"/>
                    <a:pt x="4319" y="7379"/>
                    <a:pt x="4540" y="7320"/>
                  </a:cubicBezTo>
                  <a:cubicBezTo>
                    <a:pt x="6165" y="6855"/>
                    <a:pt x="7041" y="4844"/>
                    <a:pt x="6474" y="2858"/>
                  </a:cubicBezTo>
                  <a:cubicBezTo>
                    <a:pt x="5987" y="1154"/>
                    <a:pt x="4608" y="1"/>
                    <a:pt x="320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2396;p74">
              <a:extLst>
                <a:ext uri="{FF2B5EF4-FFF2-40B4-BE49-F238E27FC236}">
                  <a16:creationId xmlns:a16="http://schemas.microsoft.com/office/drawing/2014/main" id="{68BD8819-F7B6-4062-B61C-DDB663284950}"/>
                </a:ext>
              </a:extLst>
            </p:cNvPr>
            <p:cNvSpPr/>
            <p:nvPr/>
          </p:nvSpPr>
          <p:spPr>
            <a:xfrm>
              <a:off x="1293077" y="1382958"/>
              <a:ext cx="142675" cy="162638"/>
            </a:xfrm>
            <a:custGeom>
              <a:avLst/>
              <a:gdLst/>
              <a:ahLst/>
              <a:cxnLst/>
              <a:rect l="l" t="t" r="r" b="b"/>
              <a:pathLst>
                <a:path w="6268" h="7145" fill="none" extrusionOk="0">
                  <a:moveTo>
                    <a:pt x="5752" y="2812"/>
                  </a:moveTo>
                  <a:cubicBezTo>
                    <a:pt x="6268" y="4540"/>
                    <a:pt x="5520" y="6319"/>
                    <a:pt x="4076" y="6732"/>
                  </a:cubicBezTo>
                  <a:cubicBezTo>
                    <a:pt x="2606" y="7145"/>
                    <a:pt x="1032" y="6087"/>
                    <a:pt x="517" y="4359"/>
                  </a:cubicBezTo>
                  <a:cubicBezTo>
                    <a:pt x="1" y="2606"/>
                    <a:pt x="775" y="852"/>
                    <a:pt x="2219" y="439"/>
                  </a:cubicBezTo>
                  <a:cubicBezTo>
                    <a:pt x="3663" y="1"/>
                    <a:pt x="5262" y="1084"/>
                    <a:pt x="5752" y="2812"/>
                  </a:cubicBezTo>
                  <a:close/>
                </a:path>
              </a:pathLst>
            </a:custGeom>
            <a:solidFill>
              <a:schemeClr val="lt1"/>
            </a:solidFill>
            <a:ln w="3875" cap="flat" cmpd="sng">
              <a:solidFill>
                <a:schemeClr val="lt1"/>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2397;p74">
              <a:extLst>
                <a:ext uri="{FF2B5EF4-FFF2-40B4-BE49-F238E27FC236}">
                  <a16:creationId xmlns:a16="http://schemas.microsoft.com/office/drawing/2014/main" id="{A04E6A26-B723-4036-94E0-AA5C0847C156}"/>
                </a:ext>
              </a:extLst>
            </p:cNvPr>
            <p:cNvSpPr/>
            <p:nvPr/>
          </p:nvSpPr>
          <p:spPr>
            <a:xfrm>
              <a:off x="1271952" y="1358305"/>
              <a:ext cx="185537" cy="212533"/>
            </a:xfrm>
            <a:custGeom>
              <a:avLst/>
              <a:gdLst/>
              <a:ahLst/>
              <a:cxnLst/>
              <a:rect l="l" t="t" r="r" b="b"/>
              <a:pathLst>
                <a:path w="8151" h="9337" fill="none" extrusionOk="0">
                  <a:moveTo>
                    <a:pt x="7480" y="3663"/>
                  </a:moveTo>
                  <a:cubicBezTo>
                    <a:pt x="8150" y="5907"/>
                    <a:pt x="7170" y="8228"/>
                    <a:pt x="5262" y="8769"/>
                  </a:cubicBezTo>
                  <a:cubicBezTo>
                    <a:pt x="3379" y="9337"/>
                    <a:pt x="1316" y="7944"/>
                    <a:pt x="645" y="5674"/>
                  </a:cubicBezTo>
                  <a:cubicBezTo>
                    <a:pt x="0" y="3405"/>
                    <a:pt x="980" y="1110"/>
                    <a:pt x="2863" y="568"/>
                  </a:cubicBezTo>
                  <a:cubicBezTo>
                    <a:pt x="4746" y="1"/>
                    <a:pt x="6809" y="1393"/>
                    <a:pt x="7480" y="3663"/>
                  </a:cubicBezTo>
                  <a:close/>
                </a:path>
              </a:pathLst>
            </a:custGeom>
            <a:solidFill>
              <a:schemeClr val="lt1"/>
            </a:solidFill>
            <a:ln w="3875" cap="flat" cmpd="sng">
              <a:solidFill>
                <a:schemeClr val="lt1"/>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2398;p74">
              <a:extLst>
                <a:ext uri="{FF2B5EF4-FFF2-40B4-BE49-F238E27FC236}">
                  <a16:creationId xmlns:a16="http://schemas.microsoft.com/office/drawing/2014/main" id="{889A8F4D-9CEA-4D02-97C2-13F08EF861A7}"/>
                </a:ext>
              </a:extLst>
            </p:cNvPr>
            <p:cNvSpPr/>
            <p:nvPr/>
          </p:nvSpPr>
          <p:spPr>
            <a:xfrm>
              <a:off x="785250" y="2811350"/>
              <a:ext cx="146795" cy="1224700"/>
            </a:xfrm>
            <a:custGeom>
              <a:avLst/>
              <a:gdLst/>
              <a:ahLst/>
              <a:cxnLst/>
              <a:rect l="l" t="t" r="r" b="b"/>
              <a:pathLst>
                <a:path w="6449" h="63292" extrusionOk="0">
                  <a:moveTo>
                    <a:pt x="6448" y="1"/>
                  </a:moveTo>
                  <a:lnTo>
                    <a:pt x="1" y="491"/>
                  </a:lnTo>
                  <a:lnTo>
                    <a:pt x="1" y="63291"/>
                  </a:lnTo>
                  <a:lnTo>
                    <a:pt x="6448" y="63291"/>
                  </a:lnTo>
                  <a:lnTo>
                    <a:pt x="644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2399;p74">
              <a:extLst>
                <a:ext uri="{FF2B5EF4-FFF2-40B4-BE49-F238E27FC236}">
                  <a16:creationId xmlns:a16="http://schemas.microsoft.com/office/drawing/2014/main" id="{DD034DFC-9D5B-4424-84F6-3F30C0C45172}"/>
                </a:ext>
              </a:extLst>
            </p:cNvPr>
            <p:cNvSpPr/>
            <p:nvPr/>
          </p:nvSpPr>
          <p:spPr>
            <a:xfrm>
              <a:off x="4109943" y="2090999"/>
              <a:ext cx="146795" cy="1077281"/>
            </a:xfrm>
            <a:custGeom>
              <a:avLst/>
              <a:gdLst/>
              <a:ahLst/>
              <a:cxnLst/>
              <a:rect l="l" t="t" r="r" b="b"/>
              <a:pathLst>
                <a:path w="6449" h="47327" extrusionOk="0">
                  <a:moveTo>
                    <a:pt x="6448" y="0"/>
                  </a:moveTo>
                  <a:lnTo>
                    <a:pt x="1" y="361"/>
                  </a:lnTo>
                  <a:lnTo>
                    <a:pt x="1" y="47326"/>
                  </a:lnTo>
                  <a:lnTo>
                    <a:pt x="6448" y="47326"/>
                  </a:lnTo>
                  <a:lnTo>
                    <a:pt x="644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2400;p74">
              <a:extLst>
                <a:ext uri="{FF2B5EF4-FFF2-40B4-BE49-F238E27FC236}">
                  <a16:creationId xmlns:a16="http://schemas.microsoft.com/office/drawing/2014/main" id="{AC6DA155-2FEA-4DC7-8E8F-9C3178CD1210}"/>
                </a:ext>
              </a:extLst>
            </p:cNvPr>
            <p:cNvSpPr/>
            <p:nvPr/>
          </p:nvSpPr>
          <p:spPr>
            <a:xfrm>
              <a:off x="4110535" y="2090999"/>
              <a:ext cx="146795" cy="573569"/>
            </a:xfrm>
            <a:custGeom>
              <a:avLst/>
              <a:gdLst/>
              <a:ahLst/>
              <a:cxnLst/>
              <a:rect l="l" t="t" r="r" b="b"/>
              <a:pathLst>
                <a:path w="6449" h="25198" extrusionOk="0">
                  <a:moveTo>
                    <a:pt x="6448" y="0"/>
                  </a:moveTo>
                  <a:lnTo>
                    <a:pt x="0" y="361"/>
                  </a:lnTo>
                  <a:lnTo>
                    <a:pt x="0" y="25198"/>
                  </a:lnTo>
                  <a:cubicBezTo>
                    <a:pt x="413" y="23496"/>
                    <a:pt x="1264" y="21948"/>
                    <a:pt x="2451" y="20659"/>
                  </a:cubicBezTo>
                  <a:cubicBezTo>
                    <a:pt x="3766" y="19292"/>
                    <a:pt x="5313" y="18260"/>
                    <a:pt x="6319" y="16610"/>
                  </a:cubicBezTo>
                  <a:cubicBezTo>
                    <a:pt x="6371" y="16532"/>
                    <a:pt x="6397" y="16481"/>
                    <a:pt x="6448" y="16403"/>
                  </a:cubicBezTo>
                  <a:lnTo>
                    <a:pt x="6448"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2401;p74">
              <a:extLst>
                <a:ext uri="{FF2B5EF4-FFF2-40B4-BE49-F238E27FC236}">
                  <a16:creationId xmlns:a16="http://schemas.microsoft.com/office/drawing/2014/main" id="{FED1C6D4-15F8-4298-962C-1E19019F4619}"/>
                </a:ext>
              </a:extLst>
            </p:cNvPr>
            <p:cNvSpPr/>
            <p:nvPr/>
          </p:nvSpPr>
          <p:spPr>
            <a:xfrm>
              <a:off x="1746925" y="3298075"/>
              <a:ext cx="146773" cy="1521445"/>
            </a:xfrm>
            <a:custGeom>
              <a:avLst/>
              <a:gdLst/>
              <a:ahLst/>
              <a:cxnLst/>
              <a:rect l="l" t="t" r="r" b="b"/>
              <a:pathLst>
                <a:path w="6448" h="47327" extrusionOk="0">
                  <a:moveTo>
                    <a:pt x="6448" y="0"/>
                  </a:moveTo>
                  <a:lnTo>
                    <a:pt x="0" y="361"/>
                  </a:lnTo>
                  <a:lnTo>
                    <a:pt x="0" y="47326"/>
                  </a:lnTo>
                  <a:lnTo>
                    <a:pt x="6448" y="47326"/>
                  </a:lnTo>
                  <a:lnTo>
                    <a:pt x="644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2402;p74">
              <a:extLst>
                <a:ext uri="{FF2B5EF4-FFF2-40B4-BE49-F238E27FC236}">
                  <a16:creationId xmlns:a16="http://schemas.microsoft.com/office/drawing/2014/main" id="{275BB7FC-1DA0-402F-87DE-B716E82231BA}"/>
                </a:ext>
              </a:extLst>
            </p:cNvPr>
            <p:cNvSpPr/>
            <p:nvPr/>
          </p:nvSpPr>
          <p:spPr>
            <a:xfrm>
              <a:off x="1746916" y="3298064"/>
              <a:ext cx="146773" cy="800193"/>
            </a:xfrm>
            <a:custGeom>
              <a:avLst/>
              <a:gdLst/>
              <a:ahLst/>
              <a:cxnLst/>
              <a:rect l="l" t="t" r="r" b="b"/>
              <a:pathLst>
                <a:path w="6448" h="35154" extrusionOk="0">
                  <a:moveTo>
                    <a:pt x="6448" y="0"/>
                  </a:moveTo>
                  <a:lnTo>
                    <a:pt x="0" y="361"/>
                  </a:lnTo>
                  <a:lnTo>
                    <a:pt x="0" y="35153"/>
                  </a:lnTo>
                  <a:cubicBezTo>
                    <a:pt x="696" y="33580"/>
                    <a:pt x="1676" y="32161"/>
                    <a:pt x="2914" y="30949"/>
                  </a:cubicBezTo>
                  <a:cubicBezTo>
                    <a:pt x="4230" y="29531"/>
                    <a:pt x="5313" y="27906"/>
                    <a:pt x="6087" y="26126"/>
                  </a:cubicBezTo>
                  <a:cubicBezTo>
                    <a:pt x="6216" y="25817"/>
                    <a:pt x="6319" y="25507"/>
                    <a:pt x="6448" y="25198"/>
                  </a:cubicBezTo>
                  <a:lnTo>
                    <a:pt x="6448"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2403;p74">
              <a:extLst>
                <a:ext uri="{FF2B5EF4-FFF2-40B4-BE49-F238E27FC236}">
                  <a16:creationId xmlns:a16="http://schemas.microsoft.com/office/drawing/2014/main" id="{6220E426-D1B5-40E8-ADCE-5E7F50F534ED}"/>
                </a:ext>
              </a:extLst>
            </p:cNvPr>
            <p:cNvSpPr/>
            <p:nvPr/>
          </p:nvSpPr>
          <p:spPr>
            <a:xfrm>
              <a:off x="644927" y="1800375"/>
              <a:ext cx="3926873" cy="1822275"/>
            </a:xfrm>
            <a:custGeom>
              <a:avLst/>
              <a:gdLst/>
              <a:ahLst/>
              <a:cxnLst/>
              <a:rect l="l" t="t" r="r" b="b"/>
              <a:pathLst>
                <a:path w="172515" h="80056" extrusionOk="0">
                  <a:moveTo>
                    <a:pt x="121553" y="1"/>
                  </a:moveTo>
                  <a:lnTo>
                    <a:pt x="1" y="43974"/>
                  </a:lnTo>
                  <a:lnTo>
                    <a:pt x="50035" y="80056"/>
                  </a:lnTo>
                  <a:lnTo>
                    <a:pt x="172515" y="13206"/>
                  </a:lnTo>
                  <a:lnTo>
                    <a:pt x="12155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2404;p74">
              <a:extLst>
                <a:ext uri="{FF2B5EF4-FFF2-40B4-BE49-F238E27FC236}">
                  <a16:creationId xmlns:a16="http://schemas.microsoft.com/office/drawing/2014/main" id="{BDE34927-003B-496A-B811-49B6832B54C1}"/>
                </a:ext>
              </a:extLst>
            </p:cNvPr>
            <p:cNvSpPr/>
            <p:nvPr/>
          </p:nvSpPr>
          <p:spPr>
            <a:xfrm>
              <a:off x="644927" y="2801384"/>
              <a:ext cx="1138922" cy="1009767"/>
            </a:xfrm>
            <a:custGeom>
              <a:avLst/>
              <a:gdLst/>
              <a:ahLst/>
              <a:cxnLst/>
              <a:rect l="l" t="t" r="r" b="b"/>
              <a:pathLst>
                <a:path w="50035" h="44361" extrusionOk="0">
                  <a:moveTo>
                    <a:pt x="1" y="0"/>
                  </a:moveTo>
                  <a:lnTo>
                    <a:pt x="1" y="5262"/>
                  </a:lnTo>
                  <a:lnTo>
                    <a:pt x="50035" y="44360"/>
                  </a:lnTo>
                  <a:lnTo>
                    <a:pt x="50035" y="36082"/>
                  </a:lnTo>
                  <a:lnTo>
                    <a:pt x="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2405;p74">
              <a:extLst>
                <a:ext uri="{FF2B5EF4-FFF2-40B4-BE49-F238E27FC236}">
                  <a16:creationId xmlns:a16="http://schemas.microsoft.com/office/drawing/2014/main" id="{EFA55F30-9BA5-4CDB-AA5D-991F0E18E7AB}"/>
                </a:ext>
              </a:extLst>
            </p:cNvPr>
            <p:cNvSpPr/>
            <p:nvPr/>
          </p:nvSpPr>
          <p:spPr>
            <a:xfrm>
              <a:off x="1783884" y="2100969"/>
              <a:ext cx="2787974" cy="1710147"/>
            </a:xfrm>
            <a:custGeom>
              <a:avLst/>
              <a:gdLst/>
              <a:ahLst/>
              <a:cxnLst/>
              <a:rect l="l" t="t" r="r" b="b"/>
              <a:pathLst>
                <a:path w="122481" h="75130" extrusionOk="0">
                  <a:moveTo>
                    <a:pt x="122481" y="1"/>
                  </a:moveTo>
                  <a:lnTo>
                    <a:pt x="1" y="66851"/>
                  </a:lnTo>
                  <a:lnTo>
                    <a:pt x="1" y="75129"/>
                  </a:lnTo>
                  <a:lnTo>
                    <a:pt x="122481" y="4617"/>
                  </a:lnTo>
                  <a:lnTo>
                    <a:pt x="122481"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2406;p74">
              <a:extLst>
                <a:ext uri="{FF2B5EF4-FFF2-40B4-BE49-F238E27FC236}">
                  <a16:creationId xmlns:a16="http://schemas.microsoft.com/office/drawing/2014/main" id="{EBA8867E-3017-4868-A8A4-E56D67D27FCB}"/>
                </a:ext>
              </a:extLst>
            </p:cNvPr>
            <p:cNvSpPr/>
            <p:nvPr/>
          </p:nvSpPr>
          <p:spPr>
            <a:xfrm>
              <a:off x="644927" y="2801384"/>
              <a:ext cx="1138922" cy="869459"/>
            </a:xfrm>
            <a:custGeom>
              <a:avLst/>
              <a:gdLst/>
              <a:ahLst/>
              <a:cxnLst/>
              <a:rect l="l" t="t" r="r" b="b"/>
              <a:pathLst>
                <a:path w="50035" h="38197" extrusionOk="0">
                  <a:moveTo>
                    <a:pt x="1" y="0"/>
                  </a:moveTo>
                  <a:lnTo>
                    <a:pt x="1" y="2605"/>
                  </a:lnTo>
                  <a:lnTo>
                    <a:pt x="50035" y="38196"/>
                  </a:lnTo>
                  <a:lnTo>
                    <a:pt x="50035" y="36082"/>
                  </a:lnTo>
                  <a:lnTo>
                    <a:pt x="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2407;p74">
              <a:extLst>
                <a:ext uri="{FF2B5EF4-FFF2-40B4-BE49-F238E27FC236}">
                  <a16:creationId xmlns:a16="http://schemas.microsoft.com/office/drawing/2014/main" id="{E24F207F-ECE8-4F9B-B8F3-727D6AAEA45C}"/>
                </a:ext>
              </a:extLst>
            </p:cNvPr>
            <p:cNvSpPr/>
            <p:nvPr/>
          </p:nvSpPr>
          <p:spPr>
            <a:xfrm>
              <a:off x="644927" y="1800375"/>
              <a:ext cx="3419656" cy="1821683"/>
            </a:xfrm>
            <a:custGeom>
              <a:avLst/>
              <a:gdLst/>
              <a:ahLst/>
              <a:cxnLst/>
              <a:rect l="l" t="t" r="r" b="b"/>
              <a:pathLst>
                <a:path w="150232" h="80030" extrusionOk="0">
                  <a:moveTo>
                    <a:pt x="121553" y="1"/>
                  </a:moveTo>
                  <a:lnTo>
                    <a:pt x="1" y="43974"/>
                  </a:lnTo>
                  <a:lnTo>
                    <a:pt x="50035" y="80030"/>
                  </a:lnTo>
                  <a:lnTo>
                    <a:pt x="75129" y="66361"/>
                  </a:lnTo>
                  <a:cubicBezTo>
                    <a:pt x="74368" y="66317"/>
                    <a:pt x="73607" y="66296"/>
                    <a:pt x="72848" y="66296"/>
                  </a:cubicBezTo>
                  <a:cubicBezTo>
                    <a:pt x="70929" y="66296"/>
                    <a:pt x="69018" y="66430"/>
                    <a:pt x="67134" y="66670"/>
                  </a:cubicBezTo>
                  <a:cubicBezTo>
                    <a:pt x="63462" y="67154"/>
                    <a:pt x="59726" y="67860"/>
                    <a:pt x="56014" y="67860"/>
                  </a:cubicBezTo>
                  <a:cubicBezTo>
                    <a:pt x="54981" y="67860"/>
                    <a:pt x="53951" y="67805"/>
                    <a:pt x="52923" y="67676"/>
                  </a:cubicBezTo>
                  <a:cubicBezTo>
                    <a:pt x="49313" y="67212"/>
                    <a:pt x="45496" y="65767"/>
                    <a:pt x="42839" y="63163"/>
                  </a:cubicBezTo>
                  <a:cubicBezTo>
                    <a:pt x="38738" y="59088"/>
                    <a:pt x="39177" y="53207"/>
                    <a:pt x="41653" y="48359"/>
                  </a:cubicBezTo>
                  <a:cubicBezTo>
                    <a:pt x="43020" y="45676"/>
                    <a:pt x="44851" y="43226"/>
                    <a:pt x="47043" y="41137"/>
                  </a:cubicBezTo>
                  <a:cubicBezTo>
                    <a:pt x="49777" y="38532"/>
                    <a:pt x="53027" y="36624"/>
                    <a:pt x="56276" y="34767"/>
                  </a:cubicBezTo>
                  <a:cubicBezTo>
                    <a:pt x="72860" y="25328"/>
                    <a:pt x="95762" y="17307"/>
                    <a:pt x="114615" y="14650"/>
                  </a:cubicBezTo>
                  <a:cubicBezTo>
                    <a:pt x="120856" y="13773"/>
                    <a:pt x="143114" y="15346"/>
                    <a:pt x="150232" y="7661"/>
                  </a:cubicBezTo>
                  <a:lnTo>
                    <a:pt x="121553"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2408;p74">
              <a:extLst>
                <a:ext uri="{FF2B5EF4-FFF2-40B4-BE49-F238E27FC236}">
                  <a16:creationId xmlns:a16="http://schemas.microsoft.com/office/drawing/2014/main" id="{355C9666-5D6A-495E-8B01-87586F629F4C}"/>
                </a:ext>
              </a:extLst>
            </p:cNvPr>
            <p:cNvSpPr/>
            <p:nvPr/>
          </p:nvSpPr>
          <p:spPr>
            <a:xfrm>
              <a:off x="1851401" y="2167894"/>
              <a:ext cx="2072344" cy="1047348"/>
            </a:xfrm>
            <a:custGeom>
              <a:avLst/>
              <a:gdLst/>
              <a:ahLst/>
              <a:cxnLst/>
              <a:rect l="l" t="t" r="r" b="b"/>
              <a:pathLst>
                <a:path w="91042" h="46012" extrusionOk="0">
                  <a:moveTo>
                    <a:pt x="67521" y="1"/>
                  </a:moveTo>
                  <a:lnTo>
                    <a:pt x="1" y="29093"/>
                  </a:lnTo>
                  <a:lnTo>
                    <a:pt x="1" y="30125"/>
                  </a:lnTo>
                  <a:lnTo>
                    <a:pt x="23960" y="46012"/>
                  </a:lnTo>
                  <a:lnTo>
                    <a:pt x="91042" y="9002"/>
                  </a:lnTo>
                  <a:lnTo>
                    <a:pt x="91042" y="8151"/>
                  </a:lnTo>
                  <a:lnTo>
                    <a:pt x="67521"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2409;p74">
              <a:extLst>
                <a:ext uri="{FF2B5EF4-FFF2-40B4-BE49-F238E27FC236}">
                  <a16:creationId xmlns:a16="http://schemas.microsoft.com/office/drawing/2014/main" id="{8656B5E0-683E-48B6-9CFF-5192DC788107}"/>
                </a:ext>
              </a:extLst>
            </p:cNvPr>
            <p:cNvSpPr/>
            <p:nvPr/>
          </p:nvSpPr>
          <p:spPr>
            <a:xfrm>
              <a:off x="1851401" y="2141488"/>
              <a:ext cx="2072344" cy="1022105"/>
            </a:xfrm>
            <a:custGeom>
              <a:avLst/>
              <a:gdLst/>
              <a:ahLst/>
              <a:cxnLst/>
              <a:rect l="l" t="t" r="r" b="b"/>
              <a:pathLst>
                <a:path w="91042" h="44903" extrusionOk="0">
                  <a:moveTo>
                    <a:pt x="67882" y="0"/>
                  </a:moveTo>
                  <a:lnTo>
                    <a:pt x="1" y="30253"/>
                  </a:lnTo>
                  <a:lnTo>
                    <a:pt x="24192" y="44902"/>
                  </a:lnTo>
                  <a:lnTo>
                    <a:pt x="91042" y="9311"/>
                  </a:lnTo>
                  <a:lnTo>
                    <a:pt x="67882"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2410;p74">
              <a:extLst>
                <a:ext uri="{FF2B5EF4-FFF2-40B4-BE49-F238E27FC236}">
                  <a16:creationId xmlns:a16="http://schemas.microsoft.com/office/drawing/2014/main" id="{CE334290-62E3-4E80-88AA-1E9BDA304099}"/>
                </a:ext>
              </a:extLst>
            </p:cNvPr>
            <p:cNvSpPr/>
            <p:nvPr/>
          </p:nvSpPr>
          <p:spPr>
            <a:xfrm>
              <a:off x="3028533" y="1914284"/>
              <a:ext cx="358714" cy="328190"/>
            </a:xfrm>
            <a:custGeom>
              <a:avLst/>
              <a:gdLst/>
              <a:ahLst/>
              <a:cxnLst/>
              <a:rect l="l" t="t" r="r" b="b"/>
              <a:pathLst>
                <a:path w="15759" h="14418" fill="none" extrusionOk="0">
                  <a:moveTo>
                    <a:pt x="2012" y="0"/>
                  </a:moveTo>
                  <a:cubicBezTo>
                    <a:pt x="1315" y="1909"/>
                    <a:pt x="0" y="3482"/>
                    <a:pt x="2528" y="4849"/>
                  </a:cubicBezTo>
                  <a:cubicBezTo>
                    <a:pt x="4281" y="5778"/>
                    <a:pt x="6757" y="5365"/>
                    <a:pt x="8717" y="5545"/>
                  </a:cubicBezTo>
                  <a:cubicBezTo>
                    <a:pt x="10884" y="5752"/>
                    <a:pt x="11761" y="6706"/>
                    <a:pt x="12277" y="8847"/>
                  </a:cubicBezTo>
                  <a:cubicBezTo>
                    <a:pt x="12715" y="10729"/>
                    <a:pt x="13102" y="14417"/>
                    <a:pt x="15758" y="14160"/>
                  </a:cubicBezTo>
                </a:path>
              </a:pathLst>
            </a:custGeom>
            <a:noFill/>
            <a:ln w="8375" cap="flat" cmpd="sng">
              <a:solidFill>
                <a:schemeClr val="accent3"/>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2411;p74">
              <a:extLst>
                <a:ext uri="{FF2B5EF4-FFF2-40B4-BE49-F238E27FC236}">
                  <a16:creationId xmlns:a16="http://schemas.microsoft.com/office/drawing/2014/main" id="{1205A246-FCEA-4273-84B2-784B0E401D9E}"/>
                </a:ext>
              </a:extLst>
            </p:cNvPr>
            <p:cNvSpPr/>
            <p:nvPr/>
          </p:nvSpPr>
          <p:spPr>
            <a:xfrm>
              <a:off x="3303882" y="2218316"/>
              <a:ext cx="300010" cy="208345"/>
            </a:xfrm>
            <a:custGeom>
              <a:avLst/>
              <a:gdLst/>
              <a:ahLst/>
              <a:cxnLst/>
              <a:rect l="l" t="t" r="r" b="b"/>
              <a:pathLst>
                <a:path w="13180" h="9153" extrusionOk="0">
                  <a:moveTo>
                    <a:pt x="5648" y="1"/>
                  </a:moveTo>
                  <a:cubicBezTo>
                    <a:pt x="4852" y="1"/>
                    <a:pt x="4039" y="270"/>
                    <a:pt x="2708" y="752"/>
                  </a:cubicBezTo>
                  <a:cubicBezTo>
                    <a:pt x="0" y="1732"/>
                    <a:pt x="825" y="4208"/>
                    <a:pt x="1522" y="5033"/>
                  </a:cubicBezTo>
                  <a:cubicBezTo>
                    <a:pt x="1698" y="5239"/>
                    <a:pt x="1741" y="5285"/>
                    <a:pt x="1799" y="5285"/>
                  </a:cubicBezTo>
                  <a:cubicBezTo>
                    <a:pt x="1845" y="5285"/>
                    <a:pt x="1901" y="5257"/>
                    <a:pt x="2042" y="5257"/>
                  </a:cubicBezTo>
                  <a:cubicBezTo>
                    <a:pt x="2191" y="5257"/>
                    <a:pt x="2435" y="5288"/>
                    <a:pt x="2863" y="5420"/>
                  </a:cubicBezTo>
                  <a:cubicBezTo>
                    <a:pt x="4230" y="5859"/>
                    <a:pt x="4410" y="6374"/>
                    <a:pt x="5236" y="7690"/>
                  </a:cubicBezTo>
                  <a:cubicBezTo>
                    <a:pt x="5818" y="8590"/>
                    <a:pt x="7199" y="9152"/>
                    <a:pt x="8724" y="9152"/>
                  </a:cubicBezTo>
                  <a:cubicBezTo>
                    <a:pt x="9426" y="9152"/>
                    <a:pt x="10159" y="9033"/>
                    <a:pt x="10858" y="8773"/>
                  </a:cubicBezTo>
                  <a:cubicBezTo>
                    <a:pt x="12483" y="8154"/>
                    <a:pt x="13024" y="6684"/>
                    <a:pt x="13102" y="5446"/>
                  </a:cubicBezTo>
                  <a:cubicBezTo>
                    <a:pt x="13179" y="4182"/>
                    <a:pt x="11606" y="2325"/>
                    <a:pt x="8614" y="932"/>
                  </a:cubicBezTo>
                  <a:cubicBezTo>
                    <a:pt x="7276" y="290"/>
                    <a:pt x="6472" y="1"/>
                    <a:pt x="5648"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2412;p74">
              <a:extLst>
                <a:ext uri="{FF2B5EF4-FFF2-40B4-BE49-F238E27FC236}">
                  <a16:creationId xmlns:a16="http://schemas.microsoft.com/office/drawing/2014/main" id="{C415EA10-5234-4A40-BF52-13221E0B2C03}"/>
                </a:ext>
              </a:extLst>
            </p:cNvPr>
            <p:cNvSpPr/>
            <p:nvPr/>
          </p:nvSpPr>
          <p:spPr>
            <a:xfrm>
              <a:off x="3364342" y="2221025"/>
              <a:ext cx="162046" cy="102591"/>
            </a:xfrm>
            <a:custGeom>
              <a:avLst/>
              <a:gdLst/>
              <a:ahLst/>
              <a:cxnLst/>
              <a:rect l="l" t="t" r="r" b="b"/>
              <a:pathLst>
                <a:path w="7119" h="4507" extrusionOk="0">
                  <a:moveTo>
                    <a:pt x="1858" y="0"/>
                  </a:moveTo>
                  <a:cubicBezTo>
                    <a:pt x="1690" y="0"/>
                    <a:pt x="1433" y="29"/>
                    <a:pt x="981" y="117"/>
                  </a:cubicBezTo>
                  <a:cubicBezTo>
                    <a:pt x="826" y="143"/>
                    <a:pt x="0" y="504"/>
                    <a:pt x="52" y="633"/>
                  </a:cubicBezTo>
                  <a:cubicBezTo>
                    <a:pt x="542" y="1613"/>
                    <a:pt x="3766" y="3883"/>
                    <a:pt x="3766" y="3883"/>
                  </a:cubicBezTo>
                  <a:cubicBezTo>
                    <a:pt x="4267" y="4313"/>
                    <a:pt x="4861" y="4507"/>
                    <a:pt x="5405" y="4507"/>
                  </a:cubicBezTo>
                  <a:cubicBezTo>
                    <a:pt x="6261" y="4507"/>
                    <a:pt x="6994" y="4027"/>
                    <a:pt x="7041" y="3238"/>
                  </a:cubicBezTo>
                  <a:cubicBezTo>
                    <a:pt x="7119" y="2026"/>
                    <a:pt x="2915" y="117"/>
                    <a:pt x="2425" y="91"/>
                  </a:cubicBezTo>
                  <a:cubicBezTo>
                    <a:pt x="2169" y="75"/>
                    <a:pt x="2131" y="0"/>
                    <a:pt x="1858"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 name="Google Shape;2413;p74">
              <a:extLst>
                <a:ext uri="{FF2B5EF4-FFF2-40B4-BE49-F238E27FC236}">
                  <a16:creationId xmlns:a16="http://schemas.microsoft.com/office/drawing/2014/main" id="{929FBA80-5CF5-416E-A6E4-06F4973F1316}"/>
                </a:ext>
              </a:extLst>
            </p:cNvPr>
            <p:cNvSpPr/>
            <p:nvPr/>
          </p:nvSpPr>
          <p:spPr>
            <a:xfrm>
              <a:off x="3325007" y="2270604"/>
              <a:ext cx="272422" cy="161932"/>
            </a:xfrm>
            <a:custGeom>
              <a:avLst/>
              <a:gdLst/>
              <a:ahLst/>
              <a:cxnLst/>
              <a:rect l="l" t="t" r="r" b="b"/>
              <a:pathLst>
                <a:path w="11968" h="7114" extrusionOk="0">
                  <a:moveTo>
                    <a:pt x="1048" y="0"/>
                  </a:moveTo>
                  <a:cubicBezTo>
                    <a:pt x="855" y="0"/>
                    <a:pt x="673" y="75"/>
                    <a:pt x="516" y="260"/>
                  </a:cubicBezTo>
                  <a:cubicBezTo>
                    <a:pt x="0" y="1086"/>
                    <a:pt x="52" y="2143"/>
                    <a:pt x="671" y="2917"/>
                  </a:cubicBezTo>
                  <a:cubicBezTo>
                    <a:pt x="1058" y="3381"/>
                    <a:pt x="2244" y="3819"/>
                    <a:pt x="2760" y="4180"/>
                  </a:cubicBezTo>
                  <a:cubicBezTo>
                    <a:pt x="3508" y="4671"/>
                    <a:pt x="3843" y="5573"/>
                    <a:pt x="4591" y="6115"/>
                  </a:cubicBezTo>
                  <a:cubicBezTo>
                    <a:pt x="5339" y="6656"/>
                    <a:pt x="6242" y="6992"/>
                    <a:pt x="7170" y="7095"/>
                  </a:cubicBezTo>
                  <a:cubicBezTo>
                    <a:pt x="7280" y="7107"/>
                    <a:pt x="7407" y="7114"/>
                    <a:pt x="7548" y="7114"/>
                  </a:cubicBezTo>
                  <a:cubicBezTo>
                    <a:pt x="8897" y="7114"/>
                    <a:pt x="11500" y="6502"/>
                    <a:pt x="11967" y="4284"/>
                  </a:cubicBezTo>
                  <a:lnTo>
                    <a:pt x="11967" y="4284"/>
                  </a:lnTo>
                  <a:cubicBezTo>
                    <a:pt x="10887" y="5534"/>
                    <a:pt x="9824" y="5966"/>
                    <a:pt x="8807" y="5966"/>
                  </a:cubicBezTo>
                  <a:cubicBezTo>
                    <a:pt x="8586" y="5966"/>
                    <a:pt x="8367" y="5945"/>
                    <a:pt x="8150" y="5908"/>
                  </a:cubicBezTo>
                  <a:cubicBezTo>
                    <a:pt x="5700" y="5444"/>
                    <a:pt x="4540" y="2762"/>
                    <a:pt x="2863" y="1215"/>
                  </a:cubicBezTo>
                  <a:cubicBezTo>
                    <a:pt x="2523" y="894"/>
                    <a:pt x="1718" y="0"/>
                    <a:pt x="1048"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2414;p74">
              <a:extLst>
                <a:ext uri="{FF2B5EF4-FFF2-40B4-BE49-F238E27FC236}">
                  <a16:creationId xmlns:a16="http://schemas.microsoft.com/office/drawing/2014/main" id="{77F339DB-6563-423A-9EEB-7710FE6ECFA3}"/>
                </a:ext>
              </a:extLst>
            </p:cNvPr>
            <p:cNvSpPr/>
            <p:nvPr/>
          </p:nvSpPr>
          <p:spPr>
            <a:xfrm>
              <a:off x="3397213" y="2231837"/>
              <a:ext cx="59319" cy="36579"/>
            </a:xfrm>
            <a:custGeom>
              <a:avLst/>
              <a:gdLst/>
              <a:ahLst/>
              <a:cxnLst/>
              <a:rect l="l" t="t" r="r" b="b"/>
              <a:pathLst>
                <a:path w="2606" h="1607" extrusionOk="0">
                  <a:moveTo>
                    <a:pt x="579" y="0"/>
                  </a:moveTo>
                  <a:cubicBezTo>
                    <a:pt x="300" y="0"/>
                    <a:pt x="73" y="153"/>
                    <a:pt x="1" y="416"/>
                  </a:cubicBezTo>
                  <a:cubicBezTo>
                    <a:pt x="1" y="416"/>
                    <a:pt x="1634" y="1604"/>
                    <a:pt x="1943" y="1604"/>
                  </a:cubicBezTo>
                  <a:cubicBezTo>
                    <a:pt x="1950" y="1604"/>
                    <a:pt x="1956" y="1603"/>
                    <a:pt x="1961" y="1602"/>
                  </a:cubicBezTo>
                  <a:cubicBezTo>
                    <a:pt x="1980" y="1605"/>
                    <a:pt x="1998" y="1606"/>
                    <a:pt x="2016" y="1606"/>
                  </a:cubicBezTo>
                  <a:cubicBezTo>
                    <a:pt x="2173" y="1606"/>
                    <a:pt x="2307" y="1511"/>
                    <a:pt x="2399" y="1396"/>
                  </a:cubicBezTo>
                  <a:cubicBezTo>
                    <a:pt x="2606" y="1190"/>
                    <a:pt x="2451" y="983"/>
                    <a:pt x="2116" y="700"/>
                  </a:cubicBezTo>
                  <a:cubicBezTo>
                    <a:pt x="1780" y="390"/>
                    <a:pt x="1161" y="3"/>
                    <a:pt x="646" y="3"/>
                  </a:cubicBezTo>
                  <a:cubicBezTo>
                    <a:pt x="623" y="1"/>
                    <a:pt x="601" y="0"/>
                    <a:pt x="5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2415;p74">
              <a:extLst>
                <a:ext uri="{FF2B5EF4-FFF2-40B4-BE49-F238E27FC236}">
                  <a16:creationId xmlns:a16="http://schemas.microsoft.com/office/drawing/2014/main" id="{892CF764-3C42-4AD1-8092-BDDED3FC7836}"/>
                </a:ext>
              </a:extLst>
            </p:cNvPr>
            <p:cNvSpPr/>
            <p:nvPr/>
          </p:nvSpPr>
          <p:spPr>
            <a:xfrm>
              <a:off x="2211887" y="2725057"/>
              <a:ext cx="297073" cy="243058"/>
            </a:xfrm>
            <a:custGeom>
              <a:avLst/>
              <a:gdLst/>
              <a:ahLst/>
              <a:cxnLst/>
              <a:rect l="l" t="t" r="r" b="b"/>
              <a:pathLst>
                <a:path w="13051" h="10678" extrusionOk="0">
                  <a:moveTo>
                    <a:pt x="336" y="0"/>
                  </a:moveTo>
                  <a:lnTo>
                    <a:pt x="0" y="1599"/>
                  </a:lnTo>
                  <a:lnTo>
                    <a:pt x="12173" y="10059"/>
                  </a:lnTo>
                  <a:lnTo>
                    <a:pt x="13050" y="10678"/>
                  </a:lnTo>
                  <a:lnTo>
                    <a:pt x="13050" y="8047"/>
                  </a:lnTo>
                  <a:lnTo>
                    <a:pt x="33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2416;p74">
              <a:extLst>
                <a:ext uri="{FF2B5EF4-FFF2-40B4-BE49-F238E27FC236}">
                  <a16:creationId xmlns:a16="http://schemas.microsoft.com/office/drawing/2014/main" id="{B00E7EE0-7BDF-44C4-A6C8-2BD5ADECA399}"/>
                </a:ext>
              </a:extLst>
            </p:cNvPr>
            <p:cNvSpPr/>
            <p:nvPr/>
          </p:nvSpPr>
          <p:spPr>
            <a:xfrm>
              <a:off x="2240068" y="2780828"/>
              <a:ext cx="268893" cy="187290"/>
            </a:xfrm>
            <a:custGeom>
              <a:avLst/>
              <a:gdLst/>
              <a:ahLst/>
              <a:cxnLst/>
              <a:rect l="l" t="t" r="r" b="b"/>
              <a:pathLst>
                <a:path w="11813" h="8228" extrusionOk="0">
                  <a:moveTo>
                    <a:pt x="0" y="1"/>
                  </a:moveTo>
                  <a:lnTo>
                    <a:pt x="11812" y="8228"/>
                  </a:lnTo>
                  <a:lnTo>
                    <a:pt x="11039" y="6732"/>
                  </a:lnTo>
                  <a:lnTo>
                    <a:pt x="0"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2417;p74">
              <a:extLst>
                <a:ext uri="{FF2B5EF4-FFF2-40B4-BE49-F238E27FC236}">
                  <a16:creationId xmlns:a16="http://schemas.microsoft.com/office/drawing/2014/main" id="{66757DE8-4D40-43DA-B2F7-9DB62603C722}"/>
                </a:ext>
              </a:extLst>
            </p:cNvPr>
            <p:cNvSpPr/>
            <p:nvPr/>
          </p:nvSpPr>
          <p:spPr>
            <a:xfrm>
              <a:off x="2219512" y="2344631"/>
              <a:ext cx="1137169" cy="563599"/>
            </a:xfrm>
            <a:custGeom>
              <a:avLst/>
              <a:gdLst/>
              <a:ahLst/>
              <a:cxnLst/>
              <a:rect l="l" t="t" r="r" b="b"/>
              <a:pathLst>
                <a:path w="49958" h="24760" extrusionOk="0">
                  <a:moveTo>
                    <a:pt x="38609" y="0"/>
                  </a:moveTo>
                  <a:lnTo>
                    <a:pt x="1" y="16712"/>
                  </a:lnTo>
                  <a:lnTo>
                    <a:pt x="12715" y="24759"/>
                  </a:lnTo>
                  <a:lnTo>
                    <a:pt x="49957" y="5107"/>
                  </a:lnTo>
                  <a:lnTo>
                    <a:pt x="3860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2418;p74">
              <a:extLst>
                <a:ext uri="{FF2B5EF4-FFF2-40B4-BE49-F238E27FC236}">
                  <a16:creationId xmlns:a16="http://schemas.microsoft.com/office/drawing/2014/main" id="{99651DB0-DE9A-4E18-81C5-10D97CF92629}"/>
                </a:ext>
              </a:extLst>
            </p:cNvPr>
            <p:cNvSpPr/>
            <p:nvPr/>
          </p:nvSpPr>
          <p:spPr>
            <a:xfrm>
              <a:off x="2508952" y="2460862"/>
              <a:ext cx="862995" cy="507240"/>
            </a:xfrm>
            <a:custGeom>
              <a:avLst/>
              <a:gdLst/>
              <a:ahLst/>
              <a:cxnLst/>
              <a:rect l="l" t="t" r="r" b="b"/>
              <a:pathLst>
                <a:path w="37913" h="22284" extrusionOk="0">
                  <a:moveTo>
                    <a:pt x="37242" y="1"/>
                  </a:moveTo>
                  <a:lnTo>
                    <a:pt x="0" y="19653"/>
                  </a:lnTo>
                  <a:lnTo>
                    <a:pt x="0" y="22284"/>
                  </a:lnTo>
                  <a:lnTo>
                    <a:pt x="37913" y="1058"/>
                  </a:lnTo>
                  <a:lnTo>
                    <a:pt x="3724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2419;p74">
              <a:extLst>
                <a:ext uri="{FF2B5EF4-FFF2-40B4-BE49-F238E27FC236}">
                  <a16:creationId xmlns:a16="http://schemas.microsoft.com/office/drawing/2014/main" id="{390B7C7E-1C77-4641-817B-F50A8A677DEA}"/>
                </a:ext>
              </a:extLst>
            </p:cNvPr>
            <p:cNvSpPr/>
            <p:nvPr/>
          </p:nvSpPr>
          <p:spPr>
            <a:xfrm>
              <a:off x="2274692" y="2363411"/>
              <a:ext cx="834246" cy="372212"/>
            </a:xfrm>
            <a:custGeom>
              <a:avLst/>
              <a:gdLst/>
              <a:ahLst/>
              <a:cxnLst/>
              <a:rect l="l" t="t" r="r" b="b"/>
              <a:pathLst>
                <a:path w="36650" h="16352" extrusionOk="0">
                  <a:moveTo>
                    <a:pt x="36108" y="0"/>
                  </a:moveTo>
                  <a:lnTo>
                    <a:pt x="1" y="15784"/>
                  </a:lnTo>
                  <a:lnTo>
                    <a:pt x="800" y="16352"/>
                  </a:lnTo>
                  <a:lnTo>
                    <a:pt x="36649" y="232"/>
                  </a:lnTo>
                  <a:lnTo>
                    <a:pt x="3610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2420;p74">
              <a:extLst>
                <a:ext uri="{FF2B5EF4-FFF2-40B4-BE49-F238E27FC236}">
                  <a16:creationId xmlns:a16="http://schemas.microsoft.com/office/drawing/2014/main" id="{6EFD810B-C549-4D5B-B06F-EF223F40A3A5}"/>
                </a:ext>
              </a:extLst>
            </p:cNvPr>
            <p:cNvSpPr/>
            <p:nvPr/>
          </p:nvSpPr>
          <p:spPr>
            <a:xfrm>
              <a:off x="3032630" y="2457334"/>
              <a:ext cx="88091" cy="48757"/>
            </a:xfrm>
            <a:custGeom>
              <a:avLst/>
              <a:gdLst/>
              <a:ahLst/>
              <a:cxnLst/>
              <a:rect l="l" t="t" r="r" b="b"/>
              <a:pathLst>
                <a:path w="3870" h="2142" extrusionOk="0">
                  <a:moveTo>
                    <a:pt x="2038" y="1"/>
                  </a:moveTo>
                  <a:lnTo>
                    <a:pt x="1" y="981"/>
                  </a:lnTo>
                  <a:lnTo>
                    <a:pt x="1858" y="2141"/>
                  </a:lnTo>
                  <a:lnTo>
                    <a:pt x="3869" y="1136"/>
                  </a:lnTo>
                  <a:lnTo>
                    <a:pt x="2038"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 name="Google Shape;2421;p74">
              <a:extLst>
                <a:ext uri="{FF2B5EF4-FFF2-40B4-BE49-F238E27FC236}">
                  <a16:creationId xmlns:a16="http://schemas.microsoft.com/office/drawing/2014/main" id="{77E01241-C401-4B6D-9C52-D8BDEF5DDB5A}"/>
                </a:ext>
              </a:extLst>
            </p:cNvPr>
            <p:cNvSpPr/>
            <p:nvPr/>
          </p:nvSpPr>
          <p:spPr>
            <a:xfrm>
              <a:off x="2990950" y="2432089"/>
              <a:ext cx="77506" cy="41132"/>
            </a:xfrm>
            <a:custGeom>
              <a:avLst/>
              <a:gdLst/>
              <a:ahLst/>
              <a:cxnLst/>
              <a:rect l="l" t="t" r="r" b="b"/>
              <a:pathLst>
                <a:path w="3405" h="1807" extrusionOk="0">
                  <a:moveTo>
                    <a:pt x="2064" y="1"/>
                  </a:moveTo>
                  <a:lnTo>
                    <a:pt x="1" y="955"/>
                  </a:lnTo>
                  <a:lnTo>
                    <a:pt x="1367" y="1806"/>
                  </a:lnTo>
                  <a:lnTo>
                    <a:pt x="3405" y="826"/>
                  </a:lnTo>
                  <a:lnTo>
                    <a:pt x="2064"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2422;p74">
              <a:extLst>
                <a:ext uri="{FF2B5EF4-FFF2-40B4-BE49-F238E27FC236}">
                  <a16:creationId xmlns:a16="http://schemas.microsoft.com/office/drawing/2014/main" id="{A161A52D-2AC2-48B3-90B0-5C6BCFD21B19}"/>
                </a:ext>
              </a:extLst>
            </p:cNvPr>
            <p:cNvSpPr/>
            <p:nvPr/>
          </p:nvSpPr>
          <p:spPr>
            <a:xfrm>
              <a:off x="2645147" y="2595896"/>
              <a:ext cx="75185" cy="40540"/>
            </a:xfrm>
            <a:custGeom>
              <a:avLst/>
              <a:gdLst/>
              <a:ahLst/>
              <a:cxnLst/>
              <a:rect l="l" t="t" r="r" b="b"/>
              <a:pathLst>
                <a:path w="3303" h="1781" extrusionOk="0">
                  <a:moveTo>
                    <a:pt x="1780" y="0"/>
                  </a:moveTo>
                  <a:lnTo>
                    <a:pt x="1" y="826"/>
                  </a:lnTo>
                  <a:lnTo>
                    <a:pt x="1522" y="1780"/>
                  </a:lnTo>
                  <a:lnTo>
                    <a:pt x="3302" y="955"/>
                  </a:lnTo>
                  <a:lnTo>
                    <a:pt x="17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 name="Google Shape;2423;p74">
              <a:extLst>
                <a:ext uri="{FF2B5EF4-FFF2-40B4-BE49-F238E27FC236}">
                  <a16:creationId xmlns:a16="http://schemas.microsoft.com/office/drawing/2014/main" id="{C56BD42C-F379-4499-BEDB-E199A03735CC}"/>
                </a:ext>
              </a:extLst>
            </p:cNvPr>
            <p:cNvSpPr/>
            <p:nvPr/>
          </p:nvSpPr>
          <p:spPr>
            <a:xfrm>
              <a:off x="3087832" y="2431520"/>
              <a:ext cx="85724" cy="46982"/>
            </a:xfrm>
            <a:custGeom>
              <a:avLst/>
              <a:gdLst/>
              <a:ahLst/>
              <a:cxnLst/>
              <a:rect l="l" t="t" r="r" b="b"/>
              <a:pathLst>
                <a:path w="3766" h="2064" extrusionOk="0">
                  <a:moveTo>
                    <a:pt x="1986" y="0"/>
                  </a:moveTo>
                  <a:lnTo>
                    <a:pt x="0" y="929"/>
                  </a:lnTo>
                  <a:lnTo>
                    <a:pt x="1831" y="2063"/>
                  </a:lnTo>
                  <a:lnTo>
                    <a:pt x="3765" y="1109"/>
                  </a:lnTo>
                  <a:lnTo>
                    <a:pt x="198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2424;p74">
              <a:extLst>
                <a:ext uri="{FF2B5EF4-FFF2-40B4-BE49-F238E27FC236}">
                  <a16:creationId xmlns:a16="http://schemas.microsoft.com/office/drawing/2014/main" id="{60F03E06-25F0-4302-A12F-603AD8444475}"/>
                </a:ext>
              </a:extLst>
            </p:cNvPr>
            <p:cNvSpPr/>
            <p:nvPr/>
          </p:nvSpPr>
          <p:spPr>
            <a:xfrm>
              <a:off x="3047313" y="2406275"/>
              <a:ext cx="75162" cy="39925"/>
            </a:xfrm>
            <a:custGeom>
              <a:avLst/>
              <a:gdLst/>
              <a:ahLst/>
              <a:cxnLst/>
              <a:rect l="l" t="t" r="r" b="b"/>
              <a:pathLst>
                <a:path w="3302" h="1754" extrusionOk="0">
                  <a:moveTo>
                    <a:pt x="1986" y="0"/>
                  </a:moveTo>
                  <a:lnTo>
                    <a:pt x="0" y="929"/>
                  </a:lnTo>
                  <a:lnTo>
                    <a:pt x="1316" y="1754"/>
                  </a:lnTo>
                  <a:lnTo>
                    <a:pt x="3302" y="825"/>
                  </a:lnTo>
                  <a:lnTo>
                    <a:pt x="198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2425;p74">
              <a:extLst>
                <a:ext uri="{FF2B5EF4-FFF2-40B4-BE49-F238E27FC236}">
                  <a16:creationId xmlns:a16="http://schemas.microsoft.com/office/drawing/2014/main" id="{CF9DF4DD-CC99-431D-A4E2-C228E3FA6C9A}"/>
                </a:ext>
              </a:extLst>
            </p:cNvPr>
            <p:cNvSpPr/>
            <p:nvPr/>
          </p:nvSpPr>
          <p:spPr>
            <a:xfrm>
              <a:off x="2887626" y="2482579"/>
              <a:ext cx="72225" cy="39356"/>
            </a:xfrm>
            <a:custGeom>
              <a:avLst/>
              <a:gdLst/>
              <a:ahLst/>
              <a:cxnLst/>
              <a:rect l="l" t="t" r="r" b="b"/>
              <a:pathLst>
                <a:path w="3173" h="1729" extrusionOk="0">
                  <a:moveTo>
                    <a:pt x="1780" y="1"/>
                  </a:moveTo>
                  <a:lnTo>
                    <a:pt x="0" y="852"/>
                  </a:lnTo>
                  <a:lnTo>
                    <a:pt x="1419" y="1729"/>
                  </a:lnTo>
                  <a:lnTo>
                    <a:pt x="3173" y="878"/>
                  </a:lnTo>
                  <a:lnTo>
                    <a:pt x="1780"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 name="Google Shape;2426;p74">
              <a:extLst>
                <a:ext uri="{FF2B5EF4-FFF2-40B4-BE49-F238E27FC236}">
                  <a16:creationId xmlns:a16="http://schemas.microsoft.com/office/drawing/2014/main" id="{FF61F191-7D1B-4A36-826B-4ADFB07AEFC4}"/>
                </a:ext>
              </a:extLst>
            </p:cNvPr>
            <p:cNvSpPr/>
            <p:nvPr/>
          </p:nvSpPr>
          <p:spPr>
            <a:xfrm>
              <a:off x="2694476" y="2567123"/>
              <a:ext cx="86315" cy="45821"/>
            </a:xfrm>
            <a:custGeom>
              <a:avLst/>
              <a:gdLst/>
              <a:ahLst/>
              <a:cxnLst/>
              <a:rect l="l" t="t" r="r" b="b"/>
              <a:pathLst>
                <a:path w="3792" h="2013" extrusionOk="0">
                  <a:moveTo>
                    <a:pt x="2296" y="1"/>
                  </a:moveTo>
                  <a:lnTo>
                    <a:pt x="0" y="1084"/>
                  </a:lnTo>
                  <a:lnTo>
                    <a:pt x="1522" y="2012"/>
                  </a:lnTo>
                  <a:lnTo>
                    <a:pt x="3791" y="929"/>
                  </a:lnTo>
                  <a:lnTo>
                    <a:pt x="229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2427;p74">
              <a:extLst>
                <a:ext uri="{FF2B5EF4-FFF2-40B4-BE49-F238E27FC236}">
                  <a16:creationId xmlns:a16="http://schemas.microsoft.com/office/drawing/2014/main" id="{B3D03F17-7626-4787-A459-236990912167}"/>
                </a:ext>
              </a:extLst>
            </p:cNvPr>
            <p:cNvSpPr/>
            <p:nvPr/>
          </p:nvSpPr>
          <p:spPr>
            <a:xfrm>
              <a:off x="2756120" y="2533069"/>
              <a:ext cx="96877" cy="51102"/>
            </a:xfrm>
            <a:custGeom>
              <a:avLst/>
              <a:gdLst/>
              <a:ahLst/>
              <a:cxnLst/>
              <a:rect l="l" t="t" r="r" b="b"/>
              <a:pathLst>
                <a:path w="4256" h="2245" extrusionOk="0">
                  <a:moveTo>
                    <a:pt x="2786" y="1"/>
                  </a:moveTo>
                  <a:lnTo>
                    <a:pt x="0" y="1316"/>
                  </a:lnTo>
                  <a:lnTo>
                    <a:pt x="1470" y="2245"/>
                  </a:lnTo>
                  <a:lnTo>
                    <a:pt x="4256" y="904"/>
                  </a:lnTo>
                  <a:lnTo>
                    <a:pt x="278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 name="Google Shape;2428;p74">
              <a:extLst>
                <a:ext uri="{FF2B5EF4-FFF2-40B4-BE49-F238E27FC236}">
                  <a16:creationId xmlns:a16="http://schemas.microsoft.com/office/drawing/2014/main" id="{CA527842-66BD-4F68-8437-01A29D1FD994}"/>
                </a:ext>
              </a:extLst>
            </p:cNvPr>
            <p:cNvSpPr/>
            <p:nvPr/>
          </p:nvSpPr>
          <p:spPr>
            <a:xfrm>
              <a:off x="2829510" y="2506071"/>
              <a:ext cx="81035" cy="43454"/>
            </a:xfrm>
            <a:custGeom>
              <a:avLst/>
              <a:gdLst/>
              <a:ahLst/>
              <a:cxnLst/>
              <a:rect l="l" t="t" r="r" b="b"/>
              <a:pathLst>
                <a:path w="3560" h="1909" extrusionOk="0">
                  <a:moveTo>
                    <a:pt x="2141" y="0"/>
                  </a:moveTo>
                  <a:lnTo>
                    <a:pt x="0" y="1006"/>
                  </a:lnTo>
                  <a:lnTo>
                    <a:pt x="1444" y="1909"/>
                  </a:lnTo>
                  <a:lnTo>
                    <a:pt x="3559" y="877"/>
                  </a:lnTo>
                  <a:lnTo>
                    <a:pt x="214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 name="Google Shape;2429;p74">
              <a:extLst>
                <a:ext uri="{FF2B5EF4-FFF2-40B4-BE49-F238E27FC236}">
                  <a16:creationId xmlns:a16="http://schemas.microsoft.com/office/drawing/2014/main" id="{162D0E31-ADAE-444C-BEE7-77EBB6907FEA}"/>
                </a:ext>
              </a:extLst>
            </p:cNvPr>
            <p:cNvSpPr/>
            <p:nvPr/>
          </p:nvSpPr>
          <p:spPr>
            <a:xfrm>
              <a:off x="2937524" y="2457926"/>
              <a:ext cx="75162" cy="40540"/>
            </a:xfrm>
            <a:custGeom>
              <a:avLst/>
              <a:gdLst/>
              <a:ahLst/>
              <a:cxnLst/>
              <a:rect l="l" t="t" r="r" b="b"/>
              <a:pathLst>
                <a:path w="3302" h="1781" extrusionOk="0">
                  <a:moveTo>
                    <a:pt x="1935" y="1"/>
                  </a:moveTo>
                  <a:lnTo>
                    <a:pt x="1" y="903"/>
                  </a:lnTo>
                  <a:lnTo>
                    <a:pt x="1393" y="1780"/>
                  </a:lnTo>
                  <a:lnTo>
                    <a:pt x="3302" y="852"/>
                  </a:lnTo>
                  <a:lnTo>
                    <a:pt x="193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 name="Google Shape;2430;p74">
              <a:extLst>
                <a:ext uri="{FF2B5EF4-FFF2-40B4-BE49-F238E27FC236}">
                  <a16:creationId xmlns:a16="http://schemas.microsoft.com/office/drawing/2014/main" id="{45C97D5A-D239-47AA-AA1C-2C5695F1BFFD}"/>
                </a:ext>
              </a:extLst>
            </p:cNvPr>
            <p:cNvSpPr/>
            <p:nvPr/>
          </p:nvSpPr>
          <p:spPr>
            <a:xfrm>
              <a:off x="2691540" y="2624670"/>
              <a:ext cx="88068" cy="49326"/>
            </a:xfrm>
            <a:custGeom>
              <a:avLst/>
              <a:gdLst/>
              <a:ahLst/>
              <a:cxnLst/>
              <a:rect l="l" t="t" r="r" b="b"/>
              <a:pathLst>
                <a:path w="3869" h="2167" extrusionOk="0">
                  <a:moveTo>
                    <a:pt x="1780" y="0"/>
                  </a:moveTo>
                  <a:lnTo>
                    <a:pt x="0" y="851"/>
                  </a:lnTo>
                  <a:lnTo>
                    <a:pt x="2141" y="2167"/>
                  </a:lnTo>
                  <a:lnTo>
                    <a:pt x="3869" y="1290"/>
                  </a:lnTo>
                  <a:lnTo>
                    <a:pt x="17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 name="Google Shape;2431;p74">
              <a:extLst>
                <a:ext uri="{FF2B5EF4-FFF2-40B4-BE49-F238E27FC236}">
                  <a16:creationId xmlns:a16="http://schemas.microsoft.com/office/drawing/2014/main" id="{A2B47B76-D7C8-4904-BC3D-DF4F93B0BFA4}"/>
                </a:ext>
              </a:extLst>
            </p:cNvPr>
            <p:cNvSpPr/>
            <p:nvPr/>
          </p:nvSpPr>
          <p:spPr>
            <a:xfrm>
              <a:off x="2631648" y="2648139"/>
              <a:ext cx="99836" cy="55791"/>
            </a:xfrm>
            <a:custGeom>
              <a:avLst/>
              <a:gdLst/>
              <a:ahLst/>
              <a:cxnLst/>
              <a:rect l="l" t="t" r="r" b="b"/>
              <a:pathLst>
                <a:path w="4386" h="2451" extrusionOk="0">
                  <a:moveTo>
                    <a:pt x="2244" y="1"/>
                  </a:moveTo>
                  <a:lnTo>
                    <a:pt x="1" y="1084"/>
                  </a:lnTo>
                  <a:lnTo>
                    <a:pt x="2193" y="2451"/>
                  </a:lnTo>
                  <a:lnTo>
                    <a:pt x="4385" y="1316"/>
                  </a:lnTo>
                  <a:lnTo>
                    <a:pt x="2244"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 name="Google Shape;2432;p74">
              <a:extLst>
                <a:ext uri="{FF2B5EF4-FFF2-40B4-BE49-F238E27FC236}">
                  <a16:creationId xmlns:a16="http://schemas.microsoft.com/office/drawing/2014/main" id="{DAA87561-B953-48F2-A6A8-C7D91C100471}"/>
                </a:ext>
              </a:extLst>
            </p:cNvPr>
            <p:cNvSpPr/>
            <p:nvPr/>
          </p:nvSpPr>
          <p:spPr>
            <a:xfrm>
              <a:off x="2512481" y="2702157"/>
              <a:ext cx="108623" cy="59911"/>
            </a:xfrm>
            <a:custGeom>
              <a:avLst/>
              <a:gdLst/>
              <a:ahLst/>
              <a:cxnLst/>
              <a:rect l="l" t="t" r="r" b="b"/>
              <a:pathLst>
                <a:path w="4772" h="2632" extrusionOk="0">
                  <a:moveTo>
                    <a:pt x="2553" y="1"/>
                  </a:moveTo>
                  <a:lnTo>
                    <a:pt x="0" y="1239"/>
                  </a:lnTo>
                  <a:lnTo>
                    <a:pt x="2270" y="2631"/>
                  </a:lnTo>
                  <a:lnTo>
                    <a:pt x="4771" y="1393"/>
                  </a:lnTo>
                  <a:lnTo>
                    <a:pt x="255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 name="Google Shape;2433;p74">
              <a:extLst>
                <a:ext uri="{FF2B5EF4-FFF2-40B4-BE49-F238E27FC236}">
                  <a16:creationId xmlns:a16="http://schemas.microsoft.com/office/drawing/2014/main" id="{EE3F7D5A-416C-4AC5-B793-78C080D5B64A}"/>
                </a:ext>
              </a:extLst>
            </p:cNvPr>
            <p:cNvSpPr/>
            <p:nvPr/>
          </p:nvSpPr>
          <p:spPr>
            <a:xfrm>
              <a:off x="2979796" y="2483763"/>
              <a:ext cx="86315" cy="48165"/>
            </a:xfrm>
            <a:custGeom>
              <a:avLst/>
              <a:gdLst/>
              <a:ahLst/>
              <a:cxnLst/>
              <a:rect l="l" t="t" r="r" b="b"/>
              <a:pathLst>
                <a:path w="3792" h="2116" extrusionOk="0">
                  <a:moveTo>
                    <a:pt x="1909" y="0"/>
                  </a:moveTo>
                  <a:lnTo>
                    <a:pt x="1" y="929"/>
                  </a:lnTo>
                  <a:lnTo>
                    <a:pt x="1909" y="2115"/>
                  </a:lnTo>
                  <a:lnTo>
                    <a:pt x="3792" y="1187"/>
                  </a:lnTo>
                  <a:lnTo>
                    <a:pt x="190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 name="Google Shape;2434;p74">
              <a:extLst>
                <a:ext uri="{FF2B5EF4-FFF2-40B4-BE49-F238E27FC236}">
                  <a16:creationId xmlns:a16="http://schemas.microsoft.com/office/drawing/2014/main" id="{096D593C-FE86-4577-9539-604A6C611FDD}"/>
                </a:ext>
              </a:extLst>
            </p:cNvPr>
            <p:cNvSpPr/>
            <p:nvPr/>
          </p:nvSpPr>
          <p:spPr>
            <a:xfrm>
              <a:off x="2579406" y="2676912"/>
              <a:ext cx="93349" cy="52263"/>
            </a:xfrm>
            <a:custGeom>
              <a:avLst/>
              <a:gdLst/>
              <a:ahLst/>
              <a:cxnLst/>
              <a:rect l="l" t="t" r="r" b="b"/>
              <a:pathLst>
                <a:path w="4101" h="2296" extrusionOk="0">
                  <a:moveTo>
                    <a:pt x="1909" y="1"/>
                  </a:moveTo>
                  <a:lnTo>
                    <a:pt x="0" y="929"/>
                  </a:lnTo>
                  <a:lnTo>
                    <a:pt x="2218" y="2296"/>
                  </a:lnTo>
                  <a:lnTo>
                    <a:pt x="4101" y="1368"/>
                  </a:lnTo>
                  <a:lnTo>
                    <a:pt x="1909"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 name="Google Shape;2435;p74">
              <a:extLst>
                <a:ext uri="{FF2B5EF4-FFF2-40B4-BE49-F238E27FC236}">
                  <a16:creationId xmlns:a16="http://schemas.microsoft.com/office/drawing/2014/main" id="{43EE1607-CE50-46DD-AF33-259A4F75D859}"/>
                </a:ext>
              </a:extLst>
            </p:cNvPr>
            <p:cNvSpPr/>
            <p:nvPr/>
          </p:nvSpPr>
          <p:spPr>
            <a:xfrm>
              <a:off x="2930490" y="2509599"/>
              <a:ext cx="83971" cy="46390"/>
            </a:xfrm>
            <a:custGeom>
              <a:avLst/>
              <a:gdLst/>
              <a:ahLst/>
              <a:cxnLst/>
              <a:rect l="l" t="t" r="r" b="b"/>
              <a:pathLst>
                <a:path w="3689" h="2038" extrusionOk="0">
                  <a:moveTo>
                    <a:pt x="1780" y="0"/>
                  </a:moveTo>
                  <a:lnTo>
                    <a:pt x="0" y="826"/>
                  </a:lnTo>
                  <a:lnTo>
                    <a:pt x="1960" y="2038"/>
                  </a:lnTo>
                  <a:lnTo>
                    <a:pt x="3688" y="1187"/>
                  </a:lnTo>
                  <a:lnTo>
                    <a:pt x="17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 name="Google Shape;2436;p74">
              <a:extLst>
                <a:ext uri="{FF2B5EF4-FFF2-40B4-BE49-F238E27FC236}">
                  <a16:creationId xmlns:a16="http://schemas.microsoft.com/office/drawing/2014/main" id="{982C44F8-B732-44AB-B451-62F5C5EEE4A2}"/>
                </a:ext>
              </a:extLst>
            </p:cNvPr>
            <p:cNvSpPr/>
            <p:nvPr/>
          </p:nvSpPr>
          <p:spPr>
            <a:xfrm>
              <a:off x="2873535" y="2533069"/>
              <a:ext cx="92780" cy="51694"/>
            </a:xfrm>
            <a:custGeom>
              <a:avLst/>
              <a:gdLst/>
              <a:ahLst/>
              <a:cxnLst/>
              <a:rect l="l" t="t" r="r" b="b"/>
              <a:pathLst>
                <a:path w="4076" h="2271" extrusionOk="0">
                  <a:moveTo>
                    <a:pt x="2115" y="1"/>
                  </a:moveTo>
                  <a:lnTo>
                    <a:pt x="0" y="1032"/>
                  </a:lnTo>
                  <a:lnTo>
                    <a:pt x="1986" y="2270"/>
                  </a:lnTo>
                  <a:lnTo>
                    <a:pt x="4075" y="1213"/>
                  </a:lnTo>
                  <a:lnTo>
                    <a:pt x="211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 name="Google Shape;2437;p74">
              <a:extLst>
                <a:ext uri="{FF2B5EF4-FFF2-40B4-BE49-F238E27FC236}">
                  <a16:creationId xmlns:a16="http://schemas.microsoft.com/office/drawing/2014/main" id="{1225DC44-0DE8-4148-8EE0-D71AE557B4BA}"/>
                </a:ext>
              </a:extLst>
            </p:cNvPr>
            <p:cNvSpPr/>
            <p:nvPr/>
          </p:nvSpPr>
          <p:spPr>
            <a:xfrm>
              <a:off x="2740254" y="2595305"/>
              <a:ext cx="99244" cy="54630"/>
            </a:xfrm>
            <a:custGeom>
              <a:avLst/>
              <a:gdLst/>
              <a:ahLst/>
              <a:cxnLst/>
              <a:rect l="l" t="t" r="r" b="b"/>
              <a:pathLst>
                <a:path w="4360" h="2400" extrusionOk="0">
                  <a:moveTo>
                    <a:pt x="2296" y="1"/>
                  </a:moveTo>
                  <a:lnTo>
                    <a:pt x="1" y="1110"/>
                  </a:lnTo>
                  <a:lnTo>
                    <a:pt x="2116" y="2399"/>
                  </a:lnTo>
                  <a:lnTo>
                    <a:pt x="4360" y="1264"/>
                  </a:lnTo>
                  <a:lnTo>
                    <a:pt x="229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 name="Google Shape;2438;p74">
              <a:extLst>
                <a:ext uri="{FF2B5EF4-FFF2-40B4-BE49-F238E27FC236}">
                  <a16:creationId xmlns:a16="http://schemas.microsoft.com/office/drawing/2014/main" id="{F5CC9ED3-2E5D-4DB8-9FBC-2AF001A0E7F6}"/>
                </a:ext>
              </a:extLst>
            </p:cNvPr>
            <p:cNvSpPr/>
            <p:nvPr/>
          </p:nvSpPr>
          <p:spPr>
            <a:xfrm>
              <a:off x="2801329" y="2560681"/>
              <a:ext cx="108623" cy="59296"/>
            </a:xfrm>
            <a:custGeom>
              <a:avLst/>
              <a:gdLst/>
              <a:ahLst/>
              <a:cxnLst/>
              <a:rect l="l" t="t" r="r" b="b"/>
              <a:pathLst>
                <a:path w="4772" h="2605" extrusionOk="0">
                  <a:moveTo>
                    <a:pt x="2760" y="0"/>
                  </a:moveTo>
                  <a:lnTo>
                    <a:pt x="0" y="1341"/>
                  </a:lnTo>
                  <a:lnTo>
                    <a:pt x="2038" y="2605"/>
                  </a:lnTo>
                  <a:lnTo>
                    <a:pt x="4771" y="1238"/>
                  </a:lnTo>
                  <a:lnTo>
                    <a:pt x="276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 name="Google Shape;2439;p74">
              <a:extLst>
                <a:ext uri="{FF2B5EF4-FFF2-40B4-BE49-F238E27FC236}">
                  <a16:creationId xmlns:a16="http://schemas.microsoft.com/office/drawing/2014/main" id="{08AF5DDD-7001-4325-B19D-D39EF0B0FBF2}"/>
                </a:ext>
              </a:extLst>
            </p:cNvPr>
            <p:cNvSpPr/>
            <p:nvPr/>
          </p:nvSpPr>
          <p:spPr>
            <a:xfrm>
              <a:off x="3090746" y="2493164"/>
              <a:ext cx="83994" cy="46982"/>
            </a:xfrm>
            <a:custGeom>
              <a:avLst/>
              <a:gdLst/>
              <a:ahLst/>
              <a:cxnLst/>
              <a:rect l="l" t="t" r="r" b="b"/>
              <a:pathLst>
                <a:path w="3690" h="2064" extrusionOk="0">
                  <a:moveTo>
                    <a:pt x="2038" y="0"/>
                  </a:moveTo>
                  <a:lnTo>
                    <a:pt x="1" y="1006"/>
                  </a:lnTo>
                  <a:lnTo>
                    <a:pt x="1703" y="2063"/>
                  </a:lnTo>
                  <a:lnTo>
                    <a:pt x="3689" y="1032"/>
                  </a:lnTo>
                  <a:lnTo>
                    <a:pt x="203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 name="Google Shape;2440;p74">
              <a:extLst>
                <a:ext uri="{FF2B5EF4-FFF2-40B4-BE49-F238E27FC236}">
                  <a16:creationId xmlns:a16="http://schemas.microsoft.com/office/drawing/2014/main" id="{084DCBA5-EBA1-4EC2-B61A-184A7094DDD2}"/>
                </a:ext>
              </a:extLst>
            </p:cNvPr>
            <p:cNvSpPr/>
            <p:nvPr/>
          </p:nvSpPr>
          <p:spPr>
            <a:xfrm>
              <a:off x="3199374" y="2448525"/>
              <a:ext cx="66353" cy="36443"/>
            </a:xfrm>
            <a:custGeom>
              <a:avLst/>
              <a:gdLst/>
              <a:ahLst/>
              <a:cxnLst/>
              <a:rect l="l" t="t" r="r" b="b"/>
              <a:pathLst>
                <a:path w="2915" h="1601" extrusionOk="0">
                  <a:moveTo>
                    <a:pt x="1238" y="1"/>
                  </a:moveTo>
                  <a:lnTo>
                    <a:pt x="0" y="620"/>
                  </a:lnTo>
                  <a:lnTo>
                    <a:pt x="1573" y="1600"/>
                  </a:lnTo>
                  <a:lnTo>
                    <a:pt x="2915" y="904"/>
                  </a:lnTo>
                  <a:lnTo>
                    <a:pt x="1238"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 name="Google Shape;2441;p74">
              <a:extLst>
                <a:ext uri="{FF2B5EF4-FFF2-40B4-BE49-F238E27FC236}">
                  <a16:creationId xmlns:a16="http://schemas.microsoft.com/office/drawing/2014/main" id="{7AB4EF88-A8F9-4983-8DE8-01D6A01B4DC8}"/>
                </a:ext>
              </a:extLst>
            </p:cNvPr>
            <p:cNvSpPr/>
            <p:nvPr/>
          </p:nvSpPr>
          <p:spPr>
            <a:xfrm>
              <a:off x="3145948" y="2466735"/>
              <a:ext cx="81035" cy="45229"/>
            </a:xfrm>
            <a:custGeom>
              <a:avLst/>
              <a:gdLst/>
              <a:ahLst/>
              <a:cxnLst/>
              <a:rect l="l" t="t" r="r" b="b"/>
              <a:pathLst>
                <a:path w="3560" h="1987" extrusionOk="0">
                  <a:moveTo>
                    <a:pt x="1960" y="0"/>
                  </a:moveTo>
                  <a:lnTo>
                    <a:pt x="0" y="981"/>
                  </a:lnTo>
                  <a:lnTo>
                    <a:pt x="1625" y="1986"/>
                  </a:lnTo>
                  <a:lnTo>
                    <a:pt x="3559" y="1006"/>
                  </a:lnTo>
                  <a:lnTo>
                    <a:pt x="196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 name="Google Shape;2442;p74">
              <a:extLst>
                <a:ext uri="{FF2B5EF4-FFF2-40B4-BE49-F238E27FC236}">
                  <a16:creationId xmlns:a16="http://schemas.microsoft.com/office/drawing/2014/main" id="{86D4E8E2-FD26-4050-94E1-A52FECDAB1DB}"/>
                </a:ext>
              </a:extLst>
            </p:cNvPr>
            <p:cNvSpPr/>
            <p:nvPr/>
          </p:nvSpPr>
          <p:spPr>
            <a:xfrm>
              <a:off x="3039095" y="2520162"/>
              <a:ext cx="82218" cy="46390"/>
            </a:xfrm>
            <a:custGeom>
              <a:avLst/>
              <a:gdLst/>
              <a:ahLst/>
              <a:cxnLst/>
              <a:rect l="l" t="t" r="r" b="b"/>
              <a:pathLst>
                <a:path w="3612" h="2038" extrusionOk="0">
                  <a:moveTo>
                    <a:pt x="1909" y="0"/>
                  </a:moveTo>
                  <a:lnTo>
                    <a:pt x="0" y="955"/>
                  </a:lnTo>
                  <a:lnTo>
                    <a:pt x="1754" y="2038"/>
                  </a:lnTo>
                  <a:lnTo>
                    <a:pt x="3611" y="1084"/>
                  </a:lnTo>
                  <a:lnTo>
                    <a:pt x="190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 name="Google Shape;2443;p74">
              <a:extLst>
                <a:ext uri="{FF2B5EF4-FFF2-40B4-BE49-F238E27FC236}">
                  <a16:creationId xmlns:a16="http://schemas.microsoft.com/office/drawing/2014/main" id="{01E00C23-82B8-4CE9-B864-FDDB85ED2846}"/>
                </a:ext>
              </a:extLst>
            </p:cNvPr>
            <p:cNvSpPr/>
            <p:nvPr/>
          </p:nvSpPr>
          <p:spPr>
            <a:xfrm>
              <a:off x="3141828" y="2405683"/>
              <a:ext cx="87499" cy="46390"/>
            </a:xfrm>
            <a:custGeom>
              <a:avLst/>
              <a:gdLst/>
              <a:ahLst/>
              <a:cxnLst/>
              <a:rect l="l" t="t" r="r" b="b"/>
              <a:pathLst>
                <a:path w="3844" h="2038" extrusionOk="0">
                  <a:moveTo>
                    <a:pt x="1935" y="0"/>
                  </a:moveTo>
                  <a:lnTo>
                    <a:pt x="1" y="929"/>
                  </a:lnTo>
                  <a:lnTo>
                    <a:pt x="1780" y="2038"/>
                  </a:lnTo>
                  <a:lnTo>
                    <a:pt x="3844" y="1006"/>
                  </a:lnTo>
                  <a:lnTo>
                    <a:pt x="193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 name="Google Shape;2444;p74">
              <a:extLst>
                <a:ext uri="{FF2B5EF4-FFF2-40B4-BE49-F238E27FC236}">
                  <a16:creationId xmlns:a16="http://schemas.microsoft.com/office/drawing/2014/main" id="{057BF7D9-4FA1-456E-91FE-120B73FE15BB}"/>
                </a:ext>
              </a:extLst>
            </p:cNvPr>
            <p:cNvSpPr/>
            <p:nvPr/>
          </p:nvSpPr>
          <p:spPr>
            <a:xfrm>
              <a:off x="2375671" y="2767921"/>
              <a:ext cx="112151" cy="61664"/>
            </a:xfrm>
            <a:custGeom>
              <a:avLst/>
              <a:gdLst/>
              <a:ahLst/>
              <a:cxnLst/>
              <a:rect l="l" t="t" r="r" b="b"/>
              <a:pathLst>
                <a:path w="4927" h="2709" extrusionOk="0">
                  <a:moveTo>
                    <a:pt x="2580" y="0"/>
                  </a:moveTo>
                  <a:lnTo>
                    <a:pt x="1" y="1238"/>
                  </a:lnTo>
                  <a:lnTo>
                    <a:pt x="2374" y="2708"/>
                  </a:lnTo>
                  <a:lnTo>
                    <a:pt x="4927" y="1444"/>
                  </a:lnTo>
                  <a:lnTo>
                    <a:pt x="25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 name="Google Shape;2445;p74">
              <a:extLst>
                <a:ext uri="{FF2B5EF4-FFF2-40B4-BE49-F238E27FC236}">
                  <a16:creationId xmlns:a16="http://schemas.microsoft.com/office/drawing/2014/main" id="{CF2DEA45-351C-428B-AB01-48E701117822}"/>
                </a:ext>
              </a:extLst>
            </p:cNvPr>
            <p:cNvSpPr/>
            <p:nvPr/>
          </p:nvSpPr>
          <p:spPr>
            <a:xfrm>
              <a:off x="2444372" y="2808418"/>
              <a:ext cx="108623" cy="59319"/>
            </a:xfrm>
            <a:custGeom>
              <a:avLst/>
              <a:gdLst/>
              <a:ahLst/>
              <a:cxnLst/>
              <a:rect l="l" t="t" r="r" b="b"/>
              <a:pathLst>
                <a:path w="4772" h="2606" extrusionOk="0">
                  <a:moveTo>
                    <a:pt x="2451" y="1"/>
                  </a:moveTo>
                  <a:lnTo>
                    <a:pt x="0" y="1187"/>
                  </a:lnTo>
                  <a:lnTo>
                    <a:pt x="2502" y="2606"/>
                  </a:lnTo>
                  <a:lnTo>
                    <a:pt x="4772" y="1419"/>
                  </a:lnTo>
                  <a:lnTo>
                    <a:pt x="2451" y="1"/>
                  </a:lnTo>
                  <a:close/>
                </a:path>
              </a:pathLst>
            </a:custGeom>
            <a:solidFill>
              <a:srgbClr val="4337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 name="Google Shape;2446;p74">
              <a:extLst>
                <a:ext uri="{FF2B5EF4-FFF2-40B4-BE49-F238E27FC236}">
                  <a16:creationId xmlns:a16="http://schemas.microsoft.com/office/drawing/2014/main" id="{77A188BB-878E-468F-905F-170733373463}"/>
                </a:ext>
              </a:extLst>
            </p:cNvPr>
            <p:cNvSpPr/>
            <p:nvPr/>
          </p:nvSpPr>
          <p:spPr>
            <a:xfrm>
              <a:off x="2990358" y="2545999"/>
              <a:ext cx="80465" cy="45229"/>
            </a:xfrm>
            <a:custGeom>
              <a:avLst/>
              <a:gdLst/>
              <a:ahLst/>
              <a:cxnLst/>
              <a:rect l="l" t="t" r="r" b="b"/>
              <a:pathLst>
                <a:path w="3535" h="1987" extrusionOk="0">
                  <a:moveTo>
                    <a:pt x="1755" y="0"/>
                  </a:moveTo>
                  <a:lnTo>
                    <a:pt x="1" y="877"/>
                  </a:lnTo>
                  <a:lnTo>
                    <a:pt x="1806" y="1986"/>
                  </a:lnTo>
                  <a:lnTo>
                    <a:pt x="3534" y="1083"/>
                  </a:lnTo>
                  <a:lnTo>
                    <a:pt x="175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 name="Google Shape;2447;p74">
              <a:extLst>
                <a:ext uri="{FF2B5EF4-FFF2-40B4-BE49-F238E27FC236}">
                  <a16:creationId xmlns:a16="http://schemas.microsoft.com/office/drawing/2014/main" id="{AFF8F6B8-0D8C-4517-9233-9103E757D322}"/>
                </a:ext>
              </a:extLst>
            </p:cNvPr>
            <p:cNvSpPr/>
            <p:nvPr/>
          </p:nvSpPr>
          <p:spPr>
            <a:xfrm>
              <a:off x="2326365" y="2736212"/>
              <a:ext cx="95716" cy="49918"/>
            </a:xfrm>
            <a:custGeom>
              <a:avLst/>
              <a:gdLst/>
              <a:ahLst/>
              <a:cxnLst/>
              <a:rect l="l" t="t" r="r" b="b"/>
              <a:pathLst>
                <a:path w="4205" h="2193" extrusionOk="0">
                  <a:moveTo>
                    <a:pt x="2528" y="0"/>
                  </a:moveTo>
                  <a:lnTo>
                    <a:pt x="0" y="1187"/>
                  </a:lnTo>
                  <a:lnTo>
                    <a:pt x="1832" y="2193"/>
                  </a:lnTo>
                  <a:lnTo>
                    <a:pt x="4204" y="1058"/>
                  </a:lnTo>
                  <a:lnTo>
                    <a:pt x="252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 name="Google Shape;2448;p74">
              <a:extLst>
                <a:ext uri="{FF2B5EF4-FFF2-40B4-BE49-F238E27FC236}">
                  <a16:creationId xmlns:a16="http://schemas.microsoft.com/office/drawing/2014/main" id="{CAB9292A-F298-4F7D-B934-4BA59758E5BE}"/>
                </a:ext>
              </a:extLst>
            </p:cNvPr>
            <p:cNvSpPr/>
            <p:nvPr/>
          </p:nvSpPr>
          <p:spPr>
            <a:xfrm>
              <a:off x="3101923" y="2383967"/>
              <a:ext cx="73978" cy="36420"/>
            </a:xfrm>
            <a:custGeom>
              <a:avLst/>
              <a:gdLst/>
              <a:ahLst/>
              <a:cxnLst/>
              <a:rect l="l" t="t" r="r" b="b"/>
              <a:pathLst>
                <a:path w="3250" h="1600" extrusionOk="0">
                  <a:moveTo>
                    <a:pt x="1702" y="0"/>
                  </a:moveTo>
                  <a:lnTo>
                    <a:pt x="0" y="800"/>
                  </a:lnTo>
                  <a:lnTo>
                    <a:pt x="1315" y="1599"/>
                  </a:lnTo>
                  <a:lnTo>
                    <a:pt x="3250" y="671"/>
                  </a:lnTo>
                  <a:lnTo>
                    <a:pt x="1702"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 name="Google Shape;2449;p74">
              <a:extLst>
                <a:ext uri="{FF2B5EF4-FFF2-40B4-BE49-F238E27FC236}">
                  <a16:creationId xmlns:a16="http://schemas.microsoft.com/office/drawing/2014/main" id="{B6A23895-3DF4-48FC-8B34-81686DCD615E}"/>
                </a:ext>
              </a:extLst>
            </p:cNvPr>
            <p:cNvSpPr/>
            <p:nvPr/>
          </p:nvSpPr>
          <p:spPr>
            <a:xfrm>
              <a:off x="2393290" y="2703910"/>
              <a:ext cx="98061" cy="51694"/>
            </a:xfrm>
            <a:custGeom>
              <a:avLst/>
              <a:gdLst/>
              <a:ahLst/>
              <a:cxnLst/>
              <a:rect l="l" t="t" r="r" b="b"/>
              <a:pathLst>
                <a:path w="4308" h="2271" extrusionOk="0">
                  <a:moveTo>
                    <a:pt x="2657" y="1"/>
                  </a:moveTo>
                  <a:lnTo>
                    <a:pt x="1" y="1239"/>
                  </a:lnTo>
                  <a:lnTo>
                    <a:pt x="1677" y="2271"/>
                  </a:lnTo>
                  <a:lnTo>
                    <a:pt x="4308" y="1007"/>
                  </a:lnTo>
                  <a:lnTo>
                    <a:pt x="2657"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 name="Google Shape;2450;p74">
              <a:extLst>
                <a:ext uri="{FF2B5EF4-FFF2-40B4-BE49-F238E27FC236}">
                  <a16:creationId xmlns:a16="http://schemas.microsoft.com/office/drawing/2014/main" id="{23425999-E4D5-40AE-B890-C23A8EE20A9D}"/>
                </a:ext>
              </a:extLst>
            </p:cNvPr>
            <p:cNvSpPr/>
            <p:nvPr/>
          </p:nvSpPr>
          <p:spPr>
            <a:xfrm>
              <a:off x="2463152" y="2672223"/>
              <a:ext cx="95124" cy="50510"/>
            </a:xfrm>
            <a:custGeom>
              <a:avLst/>
              <a:gdLst/>
              <a:ahLst/>
              <a:cxnLst/>
              <a:rect l="l" t="t" r="r" b="b"/>
              <a:pathLst>
                <a:path w="4179" h="2219" extrusionOk="0">
                  <a:moveTo>
                    <a:pt x="2580" y="0"/>
                  </a:moveTo>
                  <a:lnTo>
                    <a:pt x="1" y="1187"/>
                  </a:lnTo>
                  <a:lnTo>
                    <a:pt x="1651" y="2218"/>
                  </a:lnTo>
                  <a:lnTo>
                    <a:pt x="4179" y="1006"/>
                  </a:lnTo>
                  <a:lnTo>
                    <a:pt x="25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 name="Google Shape;2451;p74">
              <a:extLst>
                <a:ext uri="{FF2B5EF4-FFF2-40B4-BE49-F238E27FC236}">
                  <a16:creationId xmlns:a16="http://schemas.microsoft.com/office/drawing/2014/main" id="{B41190EA-67AB-4466-8864-DD4FA0695DE4}"/>
                </a:ext>
              </a:extLst>
            </p:cNvPr>
            <p:cNvSpPr/>
            <p:nvPr/>
          </p:nvSpPr>
          <p:spPr>
            <a:xfrm>
              <a:off x="2443780" y="2734459"/>
              <a:ext cx="112151" cy="61664"/>
            </a:xfrm>
            <a:custGeom>
              <a:avLst/>
              <a:gdLst/>
              <a:ahLst/>
              <a:cxnLst/>
              <a:rect l="l" t="t" r="r" b="b"/>
              <a:pathLst>
                <a:path w="4927" h="2709" extrusionOk="0">
                  <a:moveTo>
                    <a:pt x="2631" y="0"/>
                  </a:moveTo>
                  <a:lnTo>
                    <a:pt x="1" y="1264"/>
                  </a:lnTo>
                  <a:lnTo>
                    <a:pt x="2322" y="2708"/>
                  </a:lnTo>
                  <a:lnTo>
                    <a:pt x="4927" y="1419"/>
                  </a:lnTo>
                  <a:lnTo>
                    <a:pt x="263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 name="Google Shape;2452;p74">
              <a:extLst>
                <a:ext uri="{FF2B5EF4-FFF2-40B4-BE49-F238E27FC236}">
                  <a16:creationId xmlns:a16="http://schemas.microsoft.com/office/drawing/2014/main" id="{6988ED53-CBA2-4A93-9F3A-3AD7BA526EDF}"/>
                </a:ext>
              </a:extLst>
            </p:cNvPr>
            <p:cNvSpPr/>
            <p:nvPr/>
          </p:nvSpPr>
          <p:spPr>
            <a:xfrm>
              <a:off x="2584095" y="2618797"/>
              <a:ext cx="86907" cy="46390"/>
            </a:xfrm>
            <a:custGeom>
              <a:avLst/>
              <a:gdLst/>
              <a:ahLst/>
              <a:cxnLst/>
              <a:rect l="l" t="t" r="r" b="b"/>
              <a:pathLst>
                <a:path w="3818" h="2038" extrusionOk="0">
                  <a:moveTo>
                    <a:pt x="2270" y="0"/>
                  </a:moveTo>
                  <a:lnTo>
                    <a:pt x="1" y="1058"/>
                  </a:lnTo>
                  <a:lnTo>
                    <a:pt x="1574" y="2038"/>
                  </a:lnTo>
                  <a:lnTo>
                    <a:pt x="3818" y="980"/>
                  </a:lnTo>
                  <a:lnTo>
                    <a:pt x="227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 name="Google Shape;2453;p74">
              <a:extLst>
                <a:ext uri="{FF2B5EF4-FFF2-40B4-BE49-F238E27FC236}">
                  <a16:creationId xmlns:a16="http://schemas.microsoft.com/office/drawing/2014/main" id="{2FB8426C-E36E-45FE-A0FF-A38333D131AE}"/>
                </a:ext>
              </a:extLst>
            </p:cNvPr>
            <p:cNvSpPr/>
            <p:nvPr/>
          </p:nvSpPr>
          <p:spPr>
            <a:xfrm>
              <a:off x="2531261" y="2647570"/>
              <a:ext cx="79851" cy="42862"/>
            </a:xfrm>
            <a:custGeom>
              <a:avLst/>
              <a:gdLst/>
              <a:ahLst/>
              <a:cxnLst/>
              <a:rect l="l" t="t" r="r" b="b"/>
              <a:pathLst>
                <a:path w="3508" h="1883" extrusionOk="0">
                  <a:moveTo>
                    <a:pt x="1909" y="0"/>
                  </a:moveTo>
                  <a:lnTo>
                    <a:pt x="0" y="877"/>
                  </a:lnTo>
                  <a:lnTo>
                    <a:pt x="1599" y="1883"/>
                  </a:lnTo>
                  <a:lnTo>
                    <a:pt x="3508" y="980"/>
                  </a:lnTo>
                  <a:lnTo>
                    <a:pt x="190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 name="Google Shape;2454;p74">
              <a:extLst>
                <a:ext uri="{FF2B5EF4-FFF2-40B4-BE49-F238E27FC236}">
                  <a16:creationId xmlns:a16="http://schemas.microsoft.com/office/drawing/2014/main" id="{2164196E-44F0-434D-9DED-ABB8BD2AD0C0}"/>
                </a:ext>
              </a:extLst>
            </p:cNvPr>
            <p:cNvSpPr/>
            <p:nvPr/>
          </p:nvSpPr>
          <p:spPr>
            <a:xfrm>
              <a:off x="2508952" y="2774364"/>
              <a:ext cx="110398" cy="62255"/>
            </a:xfrm>
            <a:custGeom>
              <a:avLst/>
              <a:gdLst/>
              <a:ahLst/>
              <a:cxnLst/>
              <a:rect l="l" t="t" r="r" b="b"/>
              <a:pathLst>
                <a:path w="4850" h="2735" extrusionOk="0">
                  <a:moveTo>
                    <a:pt x="2605" y="1"/>
                  </a:moveTo>
                  <a:lnTo>
                    <a:pt x="0" y="1290"/>
                  </a:lnTo>
                  <a:lnTo>
                    <a:pt x="2296" y="2735"/>
                  </a:lnTo>
                  <a:lnTo>
                    <a:pt x="4849" y="1394"/>
                  </a:lnTo>
                  <a:lnTo>
                    <a:pt x="260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 name="Google Shape;2455;p74">
              <a:extLst>
                <a:ext uri="{FF2B5EF4-FFF2-40B4-BE49-F238E27FC236}">
                  <a16:creationId xmlns:a16="http://schemas.microsoft.com/office/drawing/2014/main" id="{989818C3-D97E-415C-A5F5-FD412EC6D568}"/>
                </a:ext>
              </a:extLst>
            </p:cNvPr>
            <p:cNvSpPr/>
            <p:nvPr/>
          </p:nvSpPr>
          <p:spPr>
            <a:xfrm>
              <a:off x="2933426" y="2570060"/>
              <a:ext cx="89844" cy="50510"/>
            </a:xfrm>
            <a:custGeom>
              <a:avLst/>
              <a:gdLst/>
              <a:ahLst/>
              <a:cxnLst/>
              <a:rect l="l" t="t" r="r" b="b"/>
              <a:pathLst>
                <a:path w="3947" h="2219" extrusionOk="0">
                  <a:moveTo>
                    <a:pt x="2115" y="1"/>
                  </a:moveTo>
                  <a:lnTo>
                    <a:pt x="0" y="1058"/>
                  </a:lnTo>
                  <a:lnTo>
                    <a:pt x="1857" y="2219"/>
                  </a:lnTo>
                  <a:lnTo>
                    <a:pt x="3946" y="1135"/>
                  </a:lnTo>
                  <a:lnTo>
                    <a:pt x="211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 name="Google Shape;2456;p74">
              <a:extLst>
                <a:ext uri="{FF2B5EF4-FFF2-40B4-BE49-F238E27FC236}">
                  <a16:creationId xmlns:a16="http://schemas.microsoft.com/office/drawing/2014/main" id="{406D65EE-2E7E-48ED-845D-11FB6EF7A614}"/>
                </a:ext>
              </a:extLst>
            </p:cNvPr>
            <p:cNvSpPr/>
            <p:nvPr/>
          </p:nvSpPr>
          <p:spPr>
            <a:xfrm>
              <a:off x="2643395" y="2598241"/>
              <a:ext cx="324070" cy="170263"/>
            </a:xfrm>
            <a:custGeom>
              <a:avLst/>
              <a:gdLst/>
              <a:ahLst/>
              <a:cxnLst/>
              <a:rect l="l" t="t" r="r" b="b"/>
              <a:pathLst>
                <a:path w="14237" h="7480" extrusionOk="0">
                  <a:moveTo>
                    <a:pt x="12380" y="1"/>
                  </a:moveTo>
                  <a:lnTo>
                    <a:pt x="0" y="6113"/>
                  </a:lnTo>
                  <a:lnTo>
                    <a:pt x="2167" y="7480"/>
                  </a:lnTo>
                  <a:lnTo>
                    <a:pt x="14237" y="1161"/>
                  </a:lnTo>
                  <a:lnTo>
                    <a:pt x="12380"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 name="Google Shape;2457;p74">
              <a:extLst>
                <a:ext uri="{FF2B5EF4-FFF2-40B4-BE49-F238E27FC236}">
                  <a16:creationId xmlns:a16="http://schemas.microsoft.com/office/drawing/2014/main" id="{9544234C-453D-4998-AB09-54FFC43141C6}"/>
                </a:ext>
              </a:extLst>
            </p:cNvPr>
            <p:cNvSpPr/>
            <p:nvPr/>
          </p:nvSpPr>
          <p:spPr>
            <a:xfrm>
              <a:off x="2577061" y="2742085"/>
              <a:ext cx="106847" cy="59911"/>
            </a:xfrm>
            <a:custGeom>
              <a:avLst/>
              <a:gdLst/>
              <a:ahLst/>
              <a:cxnLst/>
              <a:rect l="l" t="t" r="r" b="b"/>
              <a:pathLst>
                <a:path w="4694" h="2632" extrusionOk="0">
                  <a:moveTo>
                    <a:pt x="2528" y="0"/>
                  </a:moveTo>
                  <a:lnTo>
                    <a:pt x="0" y="1238"/>
                  </a:lnTo>
                  <a:lnTo>
                    <a:pt x="2244" y="2631"/>
                  </a:lnTo>
                  <a:lnTo>
                    <a:pt x="4694" y="1341"/>
                  </a:lnTo>
                  <a:lnTo>
                    <a:pt x="252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 name="Google Shape;2458;p74">
              <a:extLst>
                <a:ext uri="{FF2B5EF4-FFF2-40B4-BE49-F238E27FC236}">
                  <a16:creationId xmlns:a16="http://schemas.microsoft.com/office/drawing/2014/main" id="{DC01A0F6-8190-450B-A163-33F2106765F5}"/>
                </a:ext>
              </a:extLst>
            </p:cNvPr>
            <p:cNvSpPr/>
            <p:nvPr/>
          </p:nvSpPr>
          <p:spPr>
            <a:xfrm>
              <a:off x="2512481" y="2472609"/>
              <a:ext cx="769646" cy="402737"/>
            </a:xfrm>
            <a:custGeom>
              <a:avLst/>
              <a:gdLst/>
              <a:ahLst/>
              <a:cxnLst/>
              <a:rect l="l" t="t" r="r" b="b"/>
              <a:pathLst>
                <a:path w="33812" h="17693" fill="none" extrusionOk="0">
                  <a:moveTo>
                    <a:pt x="0" y="17693"/>
                  </a:moveTo>
                  <a:lnTo>
                    <a:pt x="33812" y="0"/>
                  </a:lnTo>
                </a:path>
              </a:pathLst>
            </a:custGeom>
            <a:noFill/>
            <a:ln w="3875" cap="flat" cmpd="sng">
              <a:solidFill>
                <a:schemeClr val="accent3"/>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 name="Google Shape;2459;p74">
              <a:extLst>
                <a:ext uri="{FF2B5EF4-FFF2-40B4-BE49-F238E27FC236}">
                  <a16:creationId xmlns:a16="http://schemas.microsoft.com/office/drawing/2014/main" id="{71D04E31-0AAA-43BF-ACBF-04B9132EF7D6}"/>
                </a:ext>
              </a:extLst>
            </p:cNvPr>
            <p:cNvSpPr/>
            <p:nvPr/>
          </p:nvSpPr>
          <p:spPr>
            <a:xfrm>
              <a:off x="2348673" y="2197259"/>
              <a:ext cx="404512" cy="203155"/>
            </a:xfrm>
            <a:custGeom>
              <a:avLst/>
              <a:gdLst/>
              <a:ahLst/>
              <a:cxnLst/>
              <a:rect l="l" t="t" r="r" b="b"/>
              <a:pathLst>
                <a:path w="17771" h="8925" extrusionOk="0">
                  <a:moveTo>
                    <a:pt x="13334" y="1"/>
                  </a:moveTo>
                  <a:lnTo>
                    <a:pt x="1" y="5803"/>
                  </a:lnTo>
                  <a:lnTo>
                    <a:pt x="3637" y="8924"/>
                  </a:lnTo>
                  <a:lnTo>
                    <a:pt x="17770" y="2167"/>
                  </a:lnTo>
                  <a:lnTo>
                    <a:pt x="13334"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 name="Google Shape;2460;p74">
              <a:extLst>
                <a:ext uri="{FF2B5EF4-FFF2-40B4-BE49-F238E27FC236}">
                  <a16:creationId xmlns:a16="http://schemas.microsoft.com/office/drawing/2014/main" id="{470967D9-CF5C-4D1F-BC52-5BF54D5989D2}"/>
                </a:ext>
              </a:extLst>
            </p:cNvPr>
            <p:cNvSpPr/>
            <p:nvPr/>
          </p:nvSpPr>
          <p:spPr>
            <a:xfrm>
              <a:off x="2348673" y="2246565"/>
              <a:ext cx="411546" cy="167942"/>
            </a:xfrm>
            <a:custGeom>
              <a:avLst/>
              <a:gdLst/>
              <a:ahLst/>
              <a:cxnLst/>
              <a:rect l="l" t="t" r="r" b="b"/>
              <a:pathLst>
                <a:path w="18080" h="7378" extrusionOk="0">
                  <a:moveTo>
                    <a:pt x="17770" y="1"/>
                  </a:moveTo>
                  <a:lnTo>
                    <a:pt x="3637" y="6758"/>
                  </a:lnTo>
                  <a:lnTo>
                    <a:pt x="1" y="3637"/>
                  </a:lnTo>
                  <a:lnTo>
                    <a:pt x="1" y="3637"/>
                  </a:lnTo>
                  <a:lnTo>
                    <a:pt x="26" y="4514"/>
                  </a:lnTo>
                  <a:lnTo>
                    <a:pt x="3714" y="7377"/>
                  </a:lnTo>
                  <a:lnTo>
                    <a:pt x="18080" y="697"/>
                  </a:lnTo>
                  <a:lnTo>
                    <a:pt x="17770"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 name="Google Shape;2461;p74">
              <a:extLst>
                <a:ext uri="{FF2B5EF4-FFF2-40B4-BE49-F238E27FC236}">
                  <a16:creationId xmlns:a16="http://schemas.microsoft.com/office/drawing/2014/main" id="{A445698A-6E1A-48F0-A072-53D4B501D336}"/>
                </a:ext>
              </a:extLst>
            </p:cNvPr>
            <p:cNvSpPr/>
            <p:nvPr/>
          </p:nvSpPr>
          <p:spPr>
            <a:xfrm>
              <a:off x="2348673" y="2197259"/>
              <a:ext cx="403921" cy="203724"/>
            </a:xfrm>
            <a:custGeom>
              <a:avLst/>
              <a:gdLst/>
              <a:ahLst/>
              <a:cxnLst/>
              <a:rect l="l" t="t" r="r" b="b"/>
              <a:pathLst>
                <a:path w="17745" h="8950" extrusionOk="0">
                  <a:moveTo>
                    <a:pt x="13309" y="1"/>
                  </a:moveTo>
                  <a:lnTo>
                    <a:pt x="1" y="5829"/>
                  </a:lnTo>
                  <a:lnTo>
                    <a:pt x="3611" y="8950"/>
                  </a:lnTo>
                  <a:lnTo>
                    <a:pt x="3818" y="8821"/>
                  </a:lnTo>
                  <a:cubicBezTo>
                    <a:pt x="3792" y="8769"/>
                    <a:pt x="3792" y="8744"/>
                    <a:pt x="3818" y="8692"/>
                  </a:cubicBezTo>
                  <a:cubicBezTo>
                    <a:pt x="4359" y="7557"/>
                    <a:pt x="2631" y="6990"/>
                    <a:pt x="3044" y="5855"/>
                  </a:cubicBezTo>
                  <a:cubicBezTo>
                    <a:pt x="3328" y="5107"/>
                    <a:pt x="4952" y="3921"/>
                    <a:pt x="5674" y="3560"/>
                  </a:cubicBezTo>
                  <a:cubicBezTo>
                    <a:pt x="6474" y="3147"/>
                    <a:pt x="7377" y="2992"/>
                    <a:pt x="8202" y="2631"/>
                  </a:cubicBezTo>
                  <a:cubicBezTo>
                    <a:pt x="9311" y="2167"/>
                    <a:pt x="10394" y="1600"/>
                    <a:pt x="11581" y="1342"/>
                  </a:cubicBezTo>
                  <a:cubicBezTo>
                    <a:pt x="12082" y="1221"/>
                    <a:pt x="12575" y="1169"/>
                    <a:pt x="13062" y="1169"/>
                  </a:cubicBezTo>
                  <a:cubicBezTo>
                    <a:pt x="14653" y="1169"/>
                    <a:pt x="16178" y="1719"/>
                    <a:pt x="17719" y="2193"/>
                  </a:cubicBezTo>
                  <a:lnTo>
                    <a:pt x="17745" y="2193"/>
                  </a:lnTo>
                  <a:lnTo>
                    <a:pt x="13309"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 name="Google Shape;2462;p74">
              <a:extLst>
                <a:ext uri="{FF2B5EF4-FFF2-40B4-BE49-F238E27FC236}">
                  <a16:creationId xmlns:a16="http://schemas.microsoft.com/office/drawing/2014/main" id="{3FDCA7D6-E6AF-4DEF-B875-BFB022D8A1A9}"/>
                </a:ext>
              </a:extLst>
            </p:cNvPr>
            <p:cNvSpPr/>
            <p:nvPr/>
          </p:nvSpPr>
          <p:spPr>
            <a:xfrm>
              <a:off x="3491751" y="1983554"/>
              <a:ext cx="430917" cy="98061"/>
            </a:xfrm>
            <a:custGeom>
              <a:avLst/>
              <a:gdLst/>
              <a:ahLst/>
              <a:cxnLst/>
              <a:rect l="l" t="t" r="r" b="b"/>
              <a:pathLst>
                <a:path w="18931" h="4308" extrusionOk="0">
                  <a:moveTo>
                    <a:pt x="17125" y="1"/>
                  </a:moveTo>
                  <a:lnTo>
                    <a:pt x="825" y="826"/>
                  </a:lnTo>
                  <a:lnTo>
                    <a:pt x="0" y="4308"/>
                  </a:lnTo>
                  <a:lnTo>
                    <a:pt x="18930" y="3431"/>
                  </a:lnTo>
                  <a:lnTo>
                    <a:pt x="17125"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 name="Google Shape;2463;p74">
              <a:extLst>
                <a:ext uri="{FF2B5EF4-FFF2-40B4-BE49-F238E27FC236}">
                  <a16:creationId xmlns:a16="http://schemas.microsoft.com/office/drawing/2014/main" id="{3D202BE8-2249-49C3-B816-82C9150BC964}"/>
                </a:ext>
              </a:extLst>
            </p:cNvPr>
            <p:cNvSpPr/>
            <p:nvPr/>
          </p:nvSpPr>
          <p:spPr>
            <a:xfrm>
              <a:off x="3491751" y="2061633"/>
              <a:ext cx="431509" cy="37604"/>
            </a:xfrm>
            <a:custGeom>
              <a:avLst/>
              <a:gdLst/>
              <a:ahLst/>
              <a:cxnLst/>
              <a:rect l="l" t="t" r="r" b="b"/>
              <a:pathLst>
                <a:path w="18957" h="1652" extrusionOk="0">
                  <a:moveTo>
                    <a:pt x="18930" y="1"/>
                  </a:moveTo>
                  <a:lnTo>
                    <a:pt x="0" y="878"/>
                  </a:lnTo>
                  <a:lnTo>
                    <a:pt x="0" y="1651"/>
                  </a:lnTo>
                  <a:lnTo>
                    <a:pt x="18956" y="671"/>
                  </a:lnTo>
                  <a:lnTo>
                    <a:pt x="18930" y="1"/>
                  </a:lnTo>
                  <a:close/>
                </a:path>
              </a:pathLst>
            </a:custGeom>
            <a:solidFill>
              <a:srgbClr val="C956E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 name="Google Shape;2464;p74">
              <a:extLst>
                <a:ext uri="{FF2B5EF4-FFF2-40B4-BE49-F238E27FC236}">
                  <a16:creationId xmlns:a16="http://schemas.microsoft.com/office/drawing/2014/main" id="{38787071-83D0-45E1-9197-5A9909935DBA}"/>
                </a:ext>
              </a:extLst>
            </p:cNvPr>
            <p:cNvSpPr/>
            <p:nvPr/>
          </p:nvSpPr>
          <p:spPr>
            <a:xfrm>
              <a:off x="3491751" y="1990019"/>
              <a:ext cx="258901" cy="91596"/>
            </a:xfrm>
            <a:custGeom>
              <a:avLst/>
              <a:gdLst/>
              <a:ahLst/>
              <a:cxnLst/>
              <a:rect l="l" t="t" r="r" b="b"/>
              <a:pathLst>
                <a:path w="11374" h="4024" extrusionOk="0">
                  <a:moveTo>
                    <a:pt x="11374" y="0"/>
                  </a:moveTo>
                  <a:lnTo>
                    <a:pt x="825" y="542"/>
                  </a:lnTo>
                  <a:lnTo>
                    <a:pt x="0" y="4024"/>
                  </a:lnTo>
                  <a:lnTo>
                    <a:pt x="26" y="4024"/>
                  </a:lnTo>
                  <a:cubicBezTo>
                    <a:pt x="387" y="2889"/>
                    <a:pt x="1006" y="1857"/>
                    <a:pt x="2218" y="1522"/>
                  </a:cubicBezTo>
                  <a:cubicBezTo>
                    <a:pt x="3482" y="1161"/>
                    <a:pt x="4823" y="1342"/>
                    <a:pt x="6087" y="1032"/>
                  </a:cubicBezTo>
                  <a:cubicBezTo>
                    <a:pt x="7015" y="826"/>
                    <a:pt x="7892" y="465"/>
                    <a:pt x="8820" y="284"/>
                  </a:cubicBezTo>
                  <a:cubicBezTo>
                    <a:pt x="9672" y="129"/>
                    <a:pt x="10548" y="233"/>
                    <a:pt x="11374" y="0"/>
                  </a:cubicBez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 name="Google Shape;2465;p74">
              <a:extLst>
                <a:ext uri="{FF2B5EF4-FFF2-40B4-BE49-F238E27FC236}">
                  <a16:creationId xmlns:a16="http://schemas.microsoft.com/office/drawing/2014/main" id="{F2BA08A7-1C39-4578-9347-9631375531C4}"/>
                </a:ext>
              </a:extLst>
            </p:cNvPr>
            <p:cNvSpPr/>
            <p:nvPr/>
          </p:nvSpPr>
          <p:spPr>
            <a:xfrm>
              <a:off x="1762168" y="1055958"/>
              <a:ext cx="2622422" cy="318197"/>
            </a:xfrm>
            <a:custGeom>
              <a:avLst/>
              <a:gdLst/>
              <a:ahLst/>
              <a:cxnLst/>
              <a:rect l="l" t="t" r="r" b="b"/>
              <a:pathLst>
                <a:path w="115208" h="13979" extrusionOk="0">
                  <a:moveTo>
                    <a:pt x="113144" y="0"/>
                  </a:moveTo>
                  <a:lnTo>
                    <a:pt x="55966" y="980"/>
                  </a:lnTo>
                  <a:lnTo>
                    <a:pt x="1" y="11580"/>
                  </a:lnTo>
                  <a:lnTo>
                    <a:pt x="1832" y="13979"/>
                  </a:lnTo>
                  <a:lnTo>
                    <a:pt x="55992" y="1857"/>
                  </a:lnTo>
                  <a:lnTo>
                    <a:pt x="115208" y="619"/>
                  </a:lnTo>
                  <a:lnTo>
                    <a:pt x="11314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 name="Google Shape;2466;p74">
              <a:extLst>
                <a:ext uri="{FF2B5EF4-FFF2-40B4-BE49-F238E27FC236}">
                  <a16:creationId xmlns:a16="http://schemas.microsoft.com/office/drawing/2014/main" id="{4B00614D-6C59-4203-A830-B1F9D6283111}"/>
                </a:ext>
              </a:extLst>
            </p:cNvPr>
            <p:cNvSpPr/>
            <p:nvPr/>
          </p:nvSpPr>
          <p:spPr>
            <a:xfrm>
              <a:off x="1334757" y="2800200"/>
              <a:ext cx="466745" cy="325253"/>
            </a:xfrm>
            <a:custGeom>
              <a:avLst/>
              <a:gdLst/>
              <a:ahLst/>
              <a:cxnLst/>
              <a:rect l="l" t="t" r="r" b="b"/>
              <a:pathLst>
                <a:path w="20505" h="14289" extrusionOk="0">
                  <a:moveTo>
                    <a:pt x="12948" y="1"/>
                  </a:moveTo>
                  <a:lnTo>
                    <a:pt x="1" y="11426"/>
                  </a:lnTo>
                  <a:lnTo>
                    <a:pt x="6474" y="14289"/>
                  </a:lnTo>
                  <a:lnTo>
                    <a:pt x="20505" y="955"/>
                  </a:lnTo>
                  <a:lnTo>
                    <a:pt x="1294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 name="Google Shape;2467;p74">
              <a:extLst>
                <a:ext uri="{FF2B5EF4-FFF2-40B4-BE49-F238E27FC236}">
                  <a16:creationId xmlns:a16="http://schemas.microsoft.com/office/drawing/2014/main" id="{5F6DCFAD-FC44-46EF-BB06-64D210C037F6}"/>
                </a:ext>
              </a:extLst>
            </p:cNvPr>
            <p:cNvSpPr/>
            <p:nvPr/>
          </p:nvSpPr>
          <p:spPr>
            <a:xfrm>
              <a:off x="1334757" y="2821917"/>
              <a:ext cx="467337" cy="341119"/>
            </a:xfrm>
            <a:custGeom>
              <a:avLst/>
              <a:gdLst/>
              <a:ahLst/>
              <a:cxnLst/>
              <a:rect l="l" t="t" r="r" b="b"/>
              <a:pathLst>
                <a:path w="20531" h="14986" extrusionOk="0">
                  <a:moveTo>
                    <a:pt x="20505" y="1"/>
                  </a:moveTo>
                  <a:lnTo>
                    <a:pt x="6474" y="13335"/>
                  </a:lnTo>
                  <a:lnTo>
                    <a:pt x="1" y="10472"/>
                  </a:lnTo>
                  <a:lnTo>
                    <a:pt x="27" y="11555"/>
                  </a:lnTo>
                  <a:lnTo>
                    <a:pt x="6629" y="14985"/>
                  </a:lnTo>
                  <a:lnTo>
                    <a:pt x="20530" y="1007"/>
                  </a:lnTo>
                  <a:lnTo>
                    <a:pt x="2050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 name="Google Shape;2468;p74">
              <a:extLst>
                <a:ext uri="{FF2B5EF4-FFF2-40B4-BE49-F238E27FC236}">
                  <a16:creationId xmlns:a16="http://schemas.microsoft.com/office/drawing/2014/main" id="{116495CF-E70D-4204-BE36-537251D795E5}"/>
                </a:ext>
              </a:extLst>
            </p:cNvPr>
            <p:cNvSpPr/>
            <p:nvPr/>
          </p:nvSpPr>
          <p:spPr>
            <a:xfrm>
              <a:off x="1334757" y="2800200"/>
              <a:ext cx="419786" cy="323501"/>
            </a:xfrm>
            <a:custGeom>
              <a:avLst/>
              <a:gdLst/>
              <a:ahLst/>
              <a:cxnLst/>
              <a:rect l="l" t="t" r="r" b="b"/>
              <a:pathLst>
                <a:path w="18442" h="14212" extrusionOk="0">
                  <a:moveTo>
                    <a:pt x="12948" y="1"/>
                  </a:moveTo>
                  <a:lnTo>
                    <a:pt x="1" y="11426"/>
                  </a:lnTo>
                  <a:lnTo>
                    <a:pt x="6345" y="14211"/>
                  </a:lnTo>
                  <a:cubicBezTo>
                    <a:pt x="6345" y="14186"/>
                    <a:pt x="6371" y="14160"/>
                    <a:pt x="6397" y="14160"/>
                  </a:cubicBezTo>
                  <a:cubicBezTo>
                    <a:pt x="7480" y="13102"/>
                    <a:pt x="6629" y="11065"/>
                    <a:pt x="6191" y="9827"/>
                  </a:cubicBezTo>
                  <a:cubicBezTo>
                    <a:pt x="5984" y="9182"/>
                    <a:pt x="5520" y="8305"/>
                    <a:pt x="5804" y="7635"/>
                  </a:cubicBezTo>
                  <a:cubicBezTo>
                    <a:pt x="6139" y="6706"/>
                    <a:pt x="7068" y="6010"/>
                    <a:pt x="7790" y="5391"/>
                  </a:cubicBezTo>
                  <a:cubicBezTo>
                    <a:pt x="8950" y="4385"/>
                    <a:pt x="10240" y="3508"/>
                    <a:pt x="11607" y="2786"/>
                  </a:cubicBezTo>
                  <a:cubicBezTo>
                    <a:pt x="13567" y="1780"/>
                    <a:pt x="15656" y="1368"/>
                    <a:pt x="17797" y="852"/>
                  </a:cubicBezTo>
                  <a:lnTo>
                    <a:pt x="18441" y="697"/>
                  </a:lnTo>
                  <a:lnTo>
                    <a:pt x="12948"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 name="Google Shape;2469;p74">
              <a:extLst>
                <a:ext uri="{FF2B5EF4-FFF2-40B4-BE49-F238E27FC236}">
                  <a16:creationId xmlns:a16="http://schemas.microsoft.com/office/drawing/2014/main" id="{C2FFEEAC-BA38-4EF9-A756-05DBAC1E9669}"/>
                </a:ext>
              </a:extLst>
            </p:cNvPr>
            <p:cNvSpPr/>
            <p:nvPr/>
          </p:nvSpPr>
          <p:spPr>
            <a:xfrm>
              <a:off x="1355313" y="2489044"/>
              <a:ext cx="252459" cy="554221"/>
            </a:xfrm>
            <a:custGeom>
              <a:avLst/>
              <a:gdLst/>
              <a:ahLst/>
              <a:cxnLst/>
              <a:rect l="l" t="t" r="r" b="b"/>
              <a:pathLst>
                <a:path w="11091" h="24348" extrusionOk="0">
                  <a:moveTo>
                    <a:pt x="8202" y="1"/>
                  </a:moveTo>
                  <a:lnTo>
                    <a:pt x="1" y="4050"/>
                  </a:lnTo>
                  <a:lnTo>
                    <a:pt x="5649" y="24347"/>
                  </a:lnTo>
                  <a:lnTo>
                    <a:pt x="11091" y="17487"/>
                  </a:lnTo>
                  <a:lnTo>
                    <a:pt x="8202"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2470;p74">
              <a:extLst>
                <a:ext uri="{FF2B5EF4-FFF2-40B4-BE49-F238E27FC236}">
                  <a16:creationId xmlns:a16="http://schemas.microsoft.com/office/drawing/2014/main" id="{7527F750-08AC-4E4A-B028-03148DD3C6EB}"/>
                </a:ext>
              </a:extLst>
            </p:cNvPr>
            <p:cNvSpPr/>
            <p:nvPr/>
          </p:nvSpPr>
          <p:spPr>
            <a:xfrm>
              <a:off x="2429689" y="1985899"/>
              <a:ext cx="181417" cy="344647"/>
            </a:xfrm>
            <a:custGeom>
              <a:avLst/>
              <a:gdLst/>
              <a:ahLst/>
              <a:cxnLst/>
              <a:rect l="l" t="t" r="r" b="b"/>
              <a:pathLst>
                <a:path w="7970" h="15141" extrusionOk="0">
                  <a:moveTo>
                    <a:pt x="7815" y="1"/>
                  </a:moveTo>
                  <a:lnTo>
                    <a:pt x="1" y="1858"/>
                  </a:lnTo>
                  <a:lnTo>
                    <a:pt x="929" y="15140"/>
                  </a:lnTo>
                  <a:lnTo>
                    <a:pt x="7970" y="11194"/>
                  </a:lnTo>
                  <a:lnTo>
                    <a:pt x="7815"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 name="Google Shape;2471;p74">
              <a:extLst>
                <a:ext uri="{FF2B5EF4-FFF2-40B4-BE49-F238E27FC236}">
                  <a16:creationId xmlns:a16="http://schemas.microsoft.com/office/drawing/2014/main" id="{00711006-22AB-4D57-A248-CB1A4B6404E0}"/>
                </a:ext>
              </a:extLst>
            </p:cNvPr>
            <p:cNvSpPr/>
            <p:nvPr/>
          </p:nvSpPr>
          <p:spPr>
            <a:xfrm>
              <a:off x="3620320" y="1817402"/>
              <a:ext cx="143836" cy="203155"/>
            </a:xfrm>
            <a:custGeom>
              <a:avLst/>
              <a:gdLst/>
              <a:ahLst/>
              <a:cxnLst/>
              <a:rect l="l" t="t" r="r" b="b"/>
              <a:pathLst>
                <a:path w="6319" h="8925" extrusionOk="0">
                  <a:moveTo>
                    <a:pt x="6319" y="1"/>
                  </a:moveTo>
                  <a:lnTo>
                    <a:pt x="0" y="336"/>
                  </a:lnTo>
                  <a:lnTo>
                    <a:pt x="387" y="8925"/>
                  </a:lnTo>
                  <a:lnTo>
                    <a:pt x="6319" y="8925"/>
                  </a:lnTo>
                  <a:lnTo>
                    <a:pt x="6319"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2472;p74">
              <a:extLst>
                <a:ext uri="{FF2B5EF4-FFF2-40B4-BE49-F238E27FC236}">
                  <a16:creationId xmlns:a16="http://schemas.microsoft.com/office/drawing/2014/main" id="{A14ACD79-EDAB-4234-82F6-575CCFBFE84E}"/>
                </a:ext>
              </a:extLst>
            </p:cNvPr>
            <p:cNvSpPr/>
            <p:nvPr/>
          </p:nvSpPr>
          <p:spPr>
            <a:xfrm>
              <a:off x="3036751" y="1070048"/>
              <a:ext cx="1347904" cy="843032"/>
            </a:xfrm>
            <a:custGeom>
              <a:avLst/>
              <a:gdLst/>
              <a:ahLst/>
              <a:cxnLst/>
              <a:rect l="l" t="t" r="r" b="b"/>
              <a:pathLst>
                <a:path w="59216" h="37036" extrusionOk="0">
                  <a:moveTo>
                    <a:pt x="59216" y="0"/>
                  </a:moveTo>
                  <a:lnTo>
                    <a:pt x="0" y="1238"/>
                  </a:lnTo>
                  <a:lnTo>
                    <a:pt x="0" y="37036"/>
                  </a:lnTo>
                  <a:lnTo>
                    <a:pt x="55063" y="33631"/>
                  </a:lnTo>
                  <a:lnTo>
                    <a:pt x="59216"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2473;p74">
              <a:extLst>
                <a:ext uri="{FF2B5EF4-FFF2-40B4-BE49-F238E27FC236}">
                  <a16:creationId xmlns:a16="http://schemas.microsoft.com/office/drawing/2014/main" id="{A0A58AF7-6D29-4D32-B319-FCDE6CEB065C}"/>
                </a:ext>
              </a:extLst>
            </p:cNvPr>
            <p:cNvSpPr/>
            <p:nvPr/>
          </p:nvSpPr>
          <p:spPr>
            <a:xfrm>
              <a:off x="3083120" y="1120538"/>
              <a:ext cx="1255762" cy="760268"/>
            </a:xfrm>
            <a:custGeom>
              <a:avLst/>
              <a:gdLst/>
              <a:ahLst/>
              <a:cxnLst/>
              <a:rect l="l" t="t" r="r" b="b"/>
              <a:pathLst>
                <a:path w="55168" h="33400" extrusionOk="0">
                  <a:moveTo>
                    <a:pt x="55167" y="0"/>
                  </a:moveTo>
                  <a:lnTo>
                    <a:pt x="1" y="1006"/>
                  </a:lnTo>
                  <a:lnTo>
                    <a:pt x="1" y="33399"/>
                  </a:lnTo>
                  <a:lnTo>
                    <a:pt x="51092" y="29789"/>
                  </a:lnTo>
                  <a:lnTo>
                    <a:pt x="55167"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 name="Google Shape;2474;p74">
              <a:extLst>
                <a:ext uri="{FF2B5EF4-FFF2-40B4-BE49-F238E27FC236}">
                  <a16:creationId xmlns:a16="http://schemas.microsoft.com/office/drawing/2014/main" id="{9D02E0AE-ADB0-4702-9C04-4CD9A1D6AB0E}"/>
                </a:ext>
              </a:extLst>
            </p:cNvPr>
            <p:cNvSpPr/>
            <p:nvPr/>
          </p:nvSpPr>
          <p:spPr>
            <a:xfrm>
              <a:off x="1799751" y="1098230"/>
              <a:ext cx="1236960" cy="1318563"/>
            </a:xfrm>
            <a:custGeom>
              <a:avLst/>
              <a:gdLst/>
              <a:ahLst/>
              <a:cxnLst/>
              <a:rect l="l" t="t" r="r" b="b"/>
              <a:pathLst>
                <a:path w="54342" h="57927" extrusionOk="0">
                  <a:moveTo>
                    <a:pt x="54341" y="0"/>
                  </a:moveTo>
                  <a:lnTo>
                    <a:pt x="0" y="10059"/>
                  </a:lnTo>
                  <a:lnTo>
                    <a:pt x="3843" y="57926"/>
                  </a:lnTo>
                  <a:lnTo>
                    <a:pt x="54341" y="35798"/>
                  </a:lnTo>
                  <a:lnTo>
                    <a:pt x="5434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 name="Google Shape;2475;p74">
              <a:extLst>
                <a:ext uri="{FF2B5EF4-FFF2-40B4-BE49-F238E27FC236}">
                  <a16:creationId xmlns:a16="http://schemas.microsoft.com/office/drawing/2014/main" id="{2C386F69-663E-45E7-B8D8-FF8C2433A6EF}"/>
                </a:ext>
              </a:extLst>
            </p:cNvPr>
            <p:cNvSpPr/>
            <p:nvPr/>
          </p:nvSpPr>
          <p:spPr>
            <a:xfrm>
              <a:off x="657857" y="1327187"/>
              <a:ext cx="1229312" cy="1919721"/>
            </a:xfrm>
            <a:custGeom>
              <a:avLst/>
              <a:gdLst/>
              <a:ahLst/>
              <a:cxnLst/>
              <a:rect l="l" t="t" r="r" b="b"/>
              <a:pathLst>
                <a:path w="54006" h="84337" extrusionOk="0">
                  <a:moveTo>
                    <a:pt x="50163" y="1"/>
                  </a:moveTo>
                  <a:lnTo>
                    <a:pt x="0" y="28628"/>
                  </a:lnTo>
                  <a:lnTo>
                    <a:pt x="10162" y="84336"/>
                  </a:lnTo>
                  <a:lnTo>
                    <a:pt x="54006" y="47868"/>
                  </a:lnTo>
                  <a:lnTo>
                    <a:pt x="5016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2476;p74">
              <a:extLst>
                <a:ext uri="{FF2B5EF4-FFF2-40B4-BE49-F238E27FC236}">
                  <a16:creationId xmlns:a16="http://schemas.microsoft.com/office/drawing/2014/main" id="{03855894-5724-42A5-8E96-EE44032DA12E}"/>
                </a:ext>
              </a:extLst>
            </p:cNvPr>
            <p:cNvSpPr/>
            <p:nvPr/>
          </p:nvSpPr>
          <p:spPr>
            <a:xfrm>
              <a:off x="560975" y="1978865"/>
              <a:ext cx="328190" cy="1268076"/>
            </a:xfrm>
            <a:custGeom>
              <a:avLst/>
              <a:gdLst/>
              <a:ahLst/>
              <a:cxnLst/>
              <a:rect l="l" t="t" r="r" b="b"/>
              <a:pathLst>
                <a:path w="14418" h="55709" extrusionOk="0">
                  <a:moveTo>
                    <a:pt x="4256" y="0"/>
                  </a:moveTo>
                  <a:lnTo>
                    <a:pt x="1" y="1625"/>
                  </a:lnTo>
                  <a:lnTo>
                    <a:pt x="11710" y="55193"/>
                  </a:lnTo>
                  <a:lnTo>
                    <a:pt x="14418" y="55708"/>
                  </a:lnTo>
                  <a:lnTo>
                    <a:pt x="14418" y="55708"/>
                  </a:lnTo>
                  <a:lnTo>
                    <a:pt x="425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 name="Google Shape;2477;p74">
              <a:extLst>
                <a:ext uri="{FF2B5EF4-FFF2-40B4-BE49-F238E27FC236}">
                  <a16:creationId xmlns:a16="http://schemas.microsoft.com/office/drawing/2014/main" id="{07D2CF93-6AC1-435D-8F3C-8072DD74F86C}"/>
                </a:ext>
              </a:extLst>
            </p:cNvPr>
            <p:cNvSpPr/>
            <p:nvPr/>
          </p:nvSpPr>
          <p:spPr>
            <a:xfrm>
              <a:off x="560975" y="1319561"/>
              <a:ext cx="1238735" cy="696282"/>
            </a:xfrm>
            <a:custGeom>
              <a:avLst/>
              <a:gdLst/>
              <a:ahLst/>
              <a:cxnLst/>
              <a:rect l="l" t="t" r="r" b="b"/>
              <a:pathLst>
                <a:path w="54420" h="30589" extrusionOk="0">
                  <a:moveTo>
                    <a:pt x="52769" y="0"/>
                  </a:moveTo>
                  <a:lnTo>
                    <a:pt x="1" y="30588"/>
                  </a:lnTo>
                  <a:lnTo>
                    <a:pt x="1" y="30588"/>
                  </a:lnTo>
                  <a:lnTo>
                    <a:pt x="4256" y="28963"/>
                  </a:lnTo>
                  <a:lnTo>
                    <a:pt x="54419" y="336"/>
                  </a:lnTo>
                  <a:lnTo>
                    <a:pt x="5276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2478;p74">
              <a:extLst>
                <a:ext uri="{FF2B5EF4-FFF2-40B4-BE49-F238E27FC236}">
                  <a16:creationId xmlns:a16="http://schemas.microsoft.com/office/drawing/2014/main" id="{0AD86A50-1B20-4DF9-8131-DA53345C1C3E}"/>
                </a:ext>
              </a:extLst>
            </p:cNvPr>
            <p:cNvSpPr/>
            <p:nvPr/>
          </p:nvSpPr>
          <p:spPr>
            <a:xfrm>
              <a:off x="4108782" y="1162218"/>
              <a:ext cx="126241" cy="621143"/>
            </a:xfrm>
            <a:custGeom>
              <a:avLst/>
              <a:gdLst/>
              <a:ahLst/>
              <a:cxnLst/>
              <a:rect l="l" t="t" r="r" b="b"/>
              <a:pathLst>
                <a:path w="5546" h="27288" extrusionOk="0">
                  <a:moveTo>
                    <a:pt x="4127" y="0"/>
                  </a:moveTo>
                  <a:lnTo>
                    <a:pt x="0" y="27287"/>
                  </a:lnTo>
                  <a:lnTo>
                    <a:pt x="1883" y="27287"/>
                  </a:lnTo>
                  <a:lnTo>
                    <a:pt x="554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2479;p74">
              <a:extLst>
                <a:ext uri="{FF2B5EF4-FFF2-40B4-BE49-F238E27FC236}">
                  <a16:creationId xmlns:a16="http://schemas.microsoft.com/office/drawing/2014/main" id="{346C7E1F-4620-413E-9439-87B639D620AC}"/>
                </a:ext>
              </a:extLst>
            </p:cNvPr>
            <p:cNvSpPr/>
            <p:nvPr/>
          </p:nvSpPr>
          <p:spPr>
            <a:xfrm>
              <a:off x="4061798" y="1240890"/>
              <a:ext cx="99244" cy="363403"/>
            </a:xfrm>
            <a:custGeom>
              <a:avLst/>
              <a:gdLst/>
              <a:ahLst/>
              <a:cxnLst/>
              <a:rect l="l" t="t" r="r" b="b"/>
              <a:pathLst>
                <a:path w="4360" h="15965" extrusionOk="0">
                  <a:moveTo>
                    <a:pt x="4359" y="0"/>
                  </a:moveTo>
                  <a:lnTo>
                    <a:pt x="2993" y="78"/>
                  </a:lnTo>
                  <a:lnTo>
                    <a:pt x="1" y="15965"/>
                  </a:lnTo>
                  <a:lnTo>
                    <a:pt x="1" y="15965"/>
                  </a:lnTo>
                  <a:lnTo>
                    <a:pt x="1832" y="15836"/>
                  </a:lnTo>
                  <a:lnTo>
                    <a:pt x="435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2480;p74">
              <a:extLst>
                <a:ext uri="{FF2B5EF4-FFF2-40B4-BE49-F238E27FC236}">
                  <a16:creationId xmlns:a16="http://schemas.microsoft.com/office/drawing/2014/main" id="{47367E83-5A08-42B6-B6E6-097B849E214C}"/>
                </a:ext>
              </a:extLst>
            </p:cNvPr>
            <p:cNvSpPr/>
            <p:nvPr/>
          </p:nvSpPr>
          <p:spPr>
            <a:xfrm>
              <a:off x="3219338" y="1279042"/>
              <a:ext cx="42862" cy="315283"/>
            </a:xfrm>
            <a:custGeom>
              <a:avLst/>
              <a:gdLst/>
              <a:ahLst/>
              <a:cxnLst/>
              <a:rect l="l" t="t" r="r" b="b"/>
              <a:pathLst>
                <a:path w="1883" h="13851" extrusionOk="0">
                  <a:moveTo>
                    <a:pt x="0" y="1"/>
                  </a:moveTo>
                  <a:lnTo>
                    <a:pt x="671" y="13850"/>
                  </a:lnTo>
                  <a:lnTo>
                    <a:pt x="1883" y="13850"/>
                  </a:lnTo>
                  <a:lnTo>
                    <a:pt x="1367"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2481;p74">
              <a:extLst>
                <a:ext uri="{FF2B5EF4-FFF2-40B4-BE49-F238E27FC236}">
                  <a16:creationId xmlns:a16="http://schemas.microsoft.com/office/drawing/2014/main" id="{0747BBCA-E254-40AB-A86E-A8B8FD8BBEE1}"/>
                </a:ext>
              </a:extLst>
            </p:cNvPr>
            <p:cNvSpPr/>
            <p:nvPr/>
          </p:nvSpPr>
          <p:spPr>
            <a:xfrm>
              <a:off x="3135955" y="1279042"/>
              <a:ext cx="59911" cy="504895"/>
            </a:xfrm>
            <a:custGeom>
              <a:avLst/>
              <a:gdLst/>
              <a:ahLst/>
              <a:cxnLst/>
              <a:rect l="l" t="t" r="r" b="b"/>
              <a:pathLst>
                <a:path w="2632" h="22181" extrusionOk="0">
                  <a:moveTo>
                    <a:pt x="1" y="1"/>
                  </a:moveTo>
                  <a:lnTo>
                    <a:pt x="1136" y="22181"/>
                  </a:lnTo>
                  <a:lnTo>
                    <a:pt x="2632" y="22181"/>
                  </a:lnTo>
                  <a:lnTo>
                    <a:pt x="152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2482;p74">
              <a:extLst>
                <a:ext uri="{FF2B5EF4-FFF2-40B4-BE49-F238E27FC236}">
                  <a16:creationId xmlns:a16="http://schemas.microsoft.com/office/drawing/2014/main" id="{0B4BA350-62E9-4B1B-89D4-164D5CFF4513}"/>
                </a:ext>
              </a:extLst>
            </p:cNvPr>
            <p:cNvSpPr/>
            <p:nvPr/>
          </p:nvSpPr>
          <p:spPr>
            <a:xfrm>
              <a:off x="3508772" y="1287101"/>
              <a:ext cx="510783" cy="218046"/>
            </a:xfrm>
            <a:custGeom>
              <a:avLst/>
              <a:gdLst/>
              <a:ahLst/>
              <a:cxnLst/>
              <a:rect l="l" t="t" r="r" b="b"/>
              <a:pathLst>
                <a:path w="17281" h="7377" extrusionOk="0">
                  <a:moveTo>
                    <a:pt x="0" y="0"/>
                  </a:moveTo>
                  <a:lnTo>
                    <a:pt x="207" y="7377"/>
                  </a:lnTo>
                  <a:lnTo>
                    <a:pt x="16661" y="7377"/>
                  </a:lnTo>
                  <a:lnTo>
                    <a:pt x="172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 name="Google Shape;2483;p74">
              <a:extLst>
                <a:ext uri="{FF2B5EF4-FFF2-40B4-BE49-F238E27FC236}">
                  <a16:creationId xmlns:a16="http://schemas.microsoft.com/office/drawing/2014/main" id="{0E192B3E-78EF-4F50-8EF4-42FFC8648DFC}"/>
                </a:ext>
              </a:extLst>
            </p:cNvPr>
            <p:cNvSpPr/>
            <p:nvPr/>
          </p:nvSpPr>
          <p:spPr>
            <a:xfrm>
              <a:off x="3334101" y="1565524"/>
              <a:ext cx="379256" cy="179617"/>
            </a:xfrm>
            <a:custGeom>
              <a:avLst/>
              <a:gdLst/>
              <a:ahLst/>
              <a:cxnLst/>
              <a:rect l="l" t="t" r="r" b="b"/>
              <a:pathLst>
                <a:path w="14598" h="6913" extrusionOk="0">
                  <a:moveTo>
                    <a:pt x="14598" y="0"/>
                  </a:moveTo>
                  <a:lnTo>
                    <a:pt x="0" y="258"/>
                  </a:lnTo>
                  <a:lnTo>
                    <a:pt x="0" y="6912"/>
                  </a:lnTo>
                  <a:lnTo>
                    <a:pt x="14598" y="6732"/>
                  </a:lnTo>
                  <a:lnTo>
                    <a:pt x="1459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2484;p74">
              <a:extLst>
                <a:ext uri="{FF2B5EF4-FFF2-40B4-BE49-F238E27FC236}">
                  <a16:creationId xmlns:a16="http://schemas.microsoft.com/office/drawing/2014/main" id="{9E3AA725-D0EC-4CBB-9CBB-8F38130FEF90}"/>
                </a:ext>
              </a:extLst>
            </p:cNvPr>
            <p:cNvSpPr/>
            <p:nvPr/>
          </p:nvSpPr>
          <p:spPr>
            <a:xfrm>
              <a:off x="1870204" y="1173373"/>
              <a:ext cx="1124240" cy="1135985"/>
            </a:xfrm>
            <a:custGeom>
              <a:avLst/>
              <a:gdLst/>
              <a:ahLst/>
              <a:cxnLst/>
              <a:rect l="l" t="t" r="r" b="b"/>
              <a:pathLst>
                <a:path w="49390" h="49906" extrusionOk="0">
                  <a:moveTo>
                    <a:pt x="48873" y="0"/>
                  </a:moveTo>
                  <a:lnTo>
                    <a:pt x="0" y="9749"/>
                  </a:lnTo>
                  <a:lnTo>
                    <a:pt x="3611" y="49906"/>
                  </a:lnTo>
                  <a:lnTo>
                    <a:pt x="49389" y="31156"/>
                  </a:lnTo>
                  <a:lnTo>
                    <a:pt x="48873"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 name="Google Shape;2485;p74">
              <a:extLst>
                <a:ext uri="{FF2B5EF4-FFF2-40B4-BE49-F238E27FC236}">
                  <a16:creationId xmlns:a16="http://schemas.microsoft.com/office/drawing/2014/main" id="{08FE9C66-F392-4B76-AE9F-F2DF933B8D10}"/>
                </a:ext>
              </a:extLst>
            </p:cNvPr>
            <p:cNvSpPr/>
            <p:nvPr/>
          </p:nvSpPr>
          <p:spPr>
            <a:xfrm>
              <a:off x="1960599" y="1240298"/>
              <a:ext cx="978082" cy="963400"/>
            </a:xfrm>
            <a:custGeom>
              <a:avLst/>
              <a:gdLst/>
              <a:ahLst/>
              <a:cxnLst/>
              <a:rect l="l" t="t" r="r" b="b"/>
              <a:pathLst>
                <a:path w="42969" h="42324" extrusionOk="0">
                  <a:moveTo>
                    <a:pt x="42298" y="1"/>
                  </a:moveTo>
                  <a:lnTo>
                    <a:pt x="1" y="9517"/>
                  </a:lnTo>
                  <a:lnTo>
                    <a:pt x="2993" y="42323"/>
                  </a:lnTo>
                  <a:lnTo>
                    <a:pt x="42968" y="26152"/>
                  </a:lnTo>
                  <a:lnTo>
                    <a:pt x="4229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 name="Google Shape;2486;p74">
              <a:extLst>
                <a:ext uri="{FF2B5EF4-FFF2-40B4-BE49-F238E27FC236}">
                  <a16:creationId xmlns:a16="http://schemas.microsoft.com/office/drawing/2014/main" id="{8CB36214-5804-4ADD-A221-597C85D1779D}"/>
                </a:ext>
              </a:extLst>
            </p:cNvPr>
            <p:cNvSpPr/>
            <p:nvPr/>
          </p:nvSpPr>
          <p:spPr>
            <a:xfrm>
              <a:off x="2335766" y="1380021"/>
              <a:ext cx="110967" cy="214309"/>
            </a:xfrm>
            <a:custGeom>
              <a:avLst/>
              <a:gdLst/>
              <a:ahLst/>
              <a:cxnLst/>
              <a:rect l="l" t="t" r="r" b="b"/>
              <a:pathLst>
                <a:path w="4875" h="9415" extrusionOk="0">
                  <a:moveTo>
                    <a:pt x="4178" y="1"/>
                  </a:moveTo>
                  <a:lnTo>
                    <a:pt x="0" y="903"/>
                  </a:lnTo>
                  <a:lnTo>
                    <a:pt x="774" y="9414"/>
                  </a:lnTo>
                  <a:lnTo>
                    <a:pt x="4875" y="8202"/>
                  </a:lnTo>
                  <a:lnTo>
                    <a:pt x="4178"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 name="Google Shape;2487;p74">
              <a:extLst>
                <a:ext uri="{FF2B5EF4-FFF2-40B4-BE49-F238E27FC236}">
                  <a16:creationId xmlns:a16="http://schemas.microsoft.com/office/drawing/2014/main" id="{B6DC0F67-4C2B-4FB7-988E-7B13FAFD2E7E}"/>
                </a:ext>
              </a:extLst>
            </p:cNvPr>
            <p:cNvSpPr/>
            <p:nvPr/>
          </p:nvSpPr>
          <p:spPr>
            <a:xfrm>
              <a:off x="2355138" y="1584917"/>
              <a:ext cx="103342" cy="138578"/>
            </a:xfrm>
            <a:custGeom>
              <a:avLst/>
              <a:gdLst/>
              <a:ahLst/>
              <a:cxnLst/>
              <a:rect l="l" t="t" r="r" b="b"/>
              <a:pathLst>
                <a:path w="4540" h="6088" fill="none" extrusionOk="0">
                  <a:moveTo>
                    <a:pt x="0" y="1187"/>
                  </a:moveTo>
                  <a:lnTo>
                    <a:pt x="464" y="6087"/>
                  </a:lnTo>
                  <a:lnTo>
                    <a:pt x="4539" y="4849"/>
                  </a:lnTo>
                  <a:lnTo>
                    <a:pt x="4101" y="1"/>
                  </a:ln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 name="Google Shape;2488;p74">
              <a:extLst>
                <a:ext uri="{FF2B5EF4-FFF2-40B4-BE49-F238E27FC236}">
                  <a16:creationId xmlns:a16="http://schemas.microsoft.com/office/drawing/2014/main" id="{D55C910A-FA0A-4775-B27B-41D49D87B743}"/>
                </a:ext>
              </a:extLst>
            </p:cNvPr>
            <p:cNvSpPr/>
            <p:nvPr/>
          </p:nvSpPr>
          <p:spPr>
            <a:xfrm>
              <a:off x="2233011" y="1404105"/>
              <a:ext cx="105709" cy="220751"/>
            </a:xfrm>
            <a:custGeom>
              <a:avLst/>
              <a:gdLst/>
              <a:ahLst/>
              <a:cxnLst/>
              <a:rect l="l" t="t" r="r" b="b"/>
              <a:pathLst>
                <a:path w="4644" h="9698" extrusionOk="0">
                  <a:moveTo>
                    <a:pt x="3818" y="0"/>
                  </a:moveTo>
                  <a:lnTo>
                    <a:pt x="1" y="851"/>
                  </a:lnTo>
                  <a:lnTo>
                    <a:pt x="826" y="9698"/>
                  </a:lnTo>
                  <a:lnTo>
                    <a:pt x="4643" y="8563"/>
                  </a:lnTo>
                  <a:lnTo>
                    <a:pt x="381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2489;p74">
              <a:extLst>
                <a:ext uri="{FF2B5EF4-FFF2-40B4-BE49-F238E27FC236}">
                  <a16:creationId xmlns:a16="http://schemas.microsoft.com/office/drawing/2014/main" id="{C5D1F52F-55D4-4792-8C89-3E99F7F9BEBA}"/>
                </a:ext>
              </a:extLst>
            </p:cNvPr>
            <p:cNvSpPr/>
            <p:nvPr/>
          </p:nvSpPr>
          <p:spPr>
            <a:xfrm>
              <a:off x="2120877" y="1427005"/>
              <a:ext cx="116271" cy="231313"/>
            </a:xfrm>
            <a:custGeom>
              <a:avLst/>
              <a:gdLst/>
              <a:ahLst/>
              <a:cxnLst/>
              <a:rect l="l" t="t" r="r" b="b"/>
              <a:pathLst>
                <a:path w="5108" h="10162" extrusionOk="0">
                  <a:moveTo>
                    <a:pt x="4230" y="0"/>
                  </a:moveTo>
                  <a:lnTo>
                    <a:pt x="1" y="929"/>
                  </a:lnTo>
                  <a:lnTo>
                    <a:pt x="852" y="10162"/>
                  </a:lnTo>
                  <a:lnTo>
                    <a:pt x="5107" y="8898"/>
                  </a:lnTo>
                  <a:lnTo>
                    <a:pt x="423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 name="Google Shape;2490;p74">
              <a:extLst>
                <a:ext uri="{FF2B5EF4-FFF2-40B4-BE49-F238E27FC236}">
                  <a16:creationId xmlns:a16="http://schemas.microsoft.com/office/drawing/2014/main" id="{06844CE0-05D8-497F-AB7B-E33ABAE5E028}"/>
                </a:ext>
              </a:extLst>
            </p:cNvPr>
            <p:cNvSpPr/>
            <p:nvPr/>
          </p:nvSpPr>
          <p:spPr>
            <a:xfrm>
              <a:off x="2035172" y="1809184"/>
              <a:ext cx="113312" cy="142106"/>
            </a:xfrm>
            <a:custGeom>
              <a:avLst/>
              <a:gdLst/>
              <a:ahLst/>
              <a:cxnLst/>
              <a:rect l="l" t="t" r="r" b="b"/>
              <a:pathLst>
                <a:path w="4978" h="6243" fill="none" extrusionOk="0">
                  <a:moveTo>
                    <a:pt x="4488" y="1"/>
                  </a:moveTo>
                  <a:lnTo>
                    <a:pt x="0" y="1316"/>
                  </a:lnTo>
                  <a:lnTo>
                    <a:pt x="516" y="6242"/>
                  </a:lnTo>
                  <a:lnTo>
                    <a:pt x="4978" y="4901"/>
                  </a:ln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2491;p74">
              <a:extLst>
                <a:ext uri="{FF2B5EF4-FFF2-40B4-BE49-F238E27FC236}">
                  <a16:creationId xmlns:a16="http://schemas.microsoft.com/office/drawing/2014/main" id="{E489B02F-76EC-462E-BE06-993DAE8C2291}"/>
                </a:ext>
              </a:extLst>
            </p:cNvPr>
            <p:cNvSpPr/>
            <p:nvPr/>
          </p:nvSpPr>
          <p:spPr>
            <a:xfrm>
              <a:off x="2253567" y="1616035"/>
              <a:ext cx="98061" cy="138578"/>
            </a:xfrm>
            <a:custGeom>
              <a:avLst/>
              <a:gdLst/>
              <a:ahLst/>
              <a:cxnLst/>
              <a:rect l="l" t="t" r="r" b="b"/>
              <a:pathLst>
                <a:path w="4308" h="6088" extrusionOk="0">
                  <a:moveTo>
                    <a:pt x="3817" y="1"/>
                  </a:moveTo>
                  <a:lnTo>
                    <a:pt x="0" y="1110"/>
                  </a:lnTo>
                  <a:lnTo>
                    <a:pt x="439" y="6087"/>
                  </a:lnTo>
                  <a:lnTo>
                    <a:pt x="4307" y="4927"/>
                  </a:lnTo>
                  <a:lnTo>
                    <a:pt x="3817"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2492;p74">
              <a:extLst>
                <a:ext uri="{FF2B5EF4-FFF2-40B4-BE49-F238E27FC236}">
                  <a16:creationId xmlns:a16="http://schemas.microsoft.com/office/drawing/2014/main" id="{524377AB-9846-408D-B1B5-B512EBF6D8A0}"/>
                </a:ext>
              </a:extLst>
            </p:cNvPr>
            <p:cNvSpPr/>
            <p:nvPr/>
          </p:nvSpPr>
          <p:spPr>
            <a:xfrm>
              <a:off x="2450837" y="1279042"/>
              <a:ext cx="452040" cy="698035"/>
            </a:xfrm>
            <a:custGeom>
              <a:avLst/>
              <a:gdLst/>
              <a:ahLst/>
              <a:cxnLst/>
              <a:rect l="l" t="t" r="r" b="b"/>
              <a:pathLst>
                <a:path w="19859" h="30666" extrusionOk="0">
                  <a:moveTo>
                    <a:pt x="19240" y="1"/>
                  </a:moveTo>
                  <a:lnTo>
                    <a:pt x="0" y="4230"/>
                  </a:lnTo>
                  <a:lnTo>
                    <a:pt x="2270" y="30666"/>
                  </a:lnTo>
                  <a:lnTo>
                    <a:pt x="19859" y="23677"/>
                  </a:lnTo>
                  <a:lnTo>
                    <a:pt x="19240"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 name="Google Shape;2493;p74">
              <a:extLst>
                <a:ext uri="{FF2B5EF4-FFF2-40B4-BE49-F238E27FC236}">
                  <a16:creationId xmlns:a16="http://schemas.microsoft.com/office/drawing/2014/main" id="{41FC1D33-DC8A-4AD9-97A3-8C827B1CC951}"/>
                </a:ext>
              </a:extLst>
            </p:cNvPr>
            <p:cNvSpPr/>
            <p:nvPr/>
          </p:nvSpPr>
          <p:spPr>
            <a:xfrm>
              <a:off x="2265313" y="1746971"/>
              <a:ext cx="98653" cy="134458"/>
            </a:xfrm>
            <a:custGeom>
              <a:avLst/>
              <a:gdLst/>
              <a:ahLst/>
              <a:cxnLst/>
              <a:rect l="l" t="t" r="r" b="b"/>
              <a:pathLst>
                <a:path w="4334" h="5907" extrusionOk="0">
                  <a:moveTo>
                    <a:pt x="3869" y="0"/>
                  </a:moveTo>
                  <a:lnTo>
                    <a:pt x="0" y="1109"/>
                  </a:lnTo>
                  <a:lnTo>
                    <a:pt x="439" y="5906"/>
                  </a:lnTo>
                  <a:lnTo>
                    <a:pt x="4333" y="4720"/>
                  </a:lnTo>
                  <a:lnTo>
                    <a:pt x="3869" y="0"/>
                  </a:lnTo>
                  <a:close/>
                </a:path>
              </a:pathLst>
            </a:custGeom>
            <a:solidFill>
              <a:srgbClr val="C956E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 name="Google Shape;2494;p74">
              <a:extLst>
                <a:ext uri="{FF2B5EF4-FFF2-40B4-BE49-F238E27FC236}">
                  <a16:creationId xmlns:a16="http://schemas.microsoft.com/office/drawing/2014/main" id="{ED8BE407-A693-4B18-B012-CA5D03C7F102}"/>
                </a:ext>
              </a:extLst>
            </p:cNvPr>
            <p:cNvSpPr/>
            <p:nvPr/>
          </p:nvSpPr>
          <p:spPr>
            <a:xfrm>
              <a:off x="2367453" y="1715853"/>
              <a:ext cx="101589" cy="134458"/>
            </a:xfrm>
            <a:custGeom>
              <a:avLst/>
              <a:gdLst/>
              <a:ahLst/>
              <a:cxnLst/>
              <a:rect l="l" t="t" r="r" b="b"/>
              <a:pathLst>
                <a:path w="4463" h="5907" extrusionOk="0">
                  <a:moveTo>
                    <a:pt x="4076" y="0"/>
                  </a:moveTo>
                  <a:lnTo>
                    <a:pt x="1" y="1186"/>
                  </a:lnTo>
                  <a:lnTo>
                    <a:pt x="413" y="5906"/>
                  </a:lnTo>
                  <a:lnTo>
                    <a:pt x="4463" y="4668"/>
                  </a:lnTo>
                  <a:lnTo>
                    <a:pt x="407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 name="Google Shape;2495;p74">
              <a:extLst>
                <a:ext uri="{FF2B5EF4-FFF2-40B4-BE49-F238E27FC236}">
                  <a16:creationId xmlns:a16="http://schemas.microsoft.com/office/drawing/2014/main" id="{D182A61B-992F-4BC8-A7CB-BD50C1C12C32}"/>
                </a:ext>
              </a:extLst>
            </p:cNvPr>
            <p:cNvSpPr/>
            <p:nvPr/>
          </p:nvSpPr>
          <p:spPr>
            <a:xfrm>
              <a:off x="1996429" y="1451658"/>
              <a:ext cx="129177" cy="238961"/>
            </a:xfrm>
            <a:custGeom>
              <a:avLst/>
              <a:gdLst/>
              <a:ahLst/>
              <a:cxnLst/>
              <a:rect l="l" t="t" r="r" b="b"/>
              <a:pathLst>
                <a:path w="5675" h="10498" extrusionOk="0">
                  <a:moveTo>
                    <a:pt x="4771" y="0"/>
                  </a:moveTo>
                  <a:lnTo>
                    <a:pt x="0" y="1032"/>
                  </a:lnTo>
                  <a:lnTo>
                    <a:pt x="1083" y="10497"/>
                  </a:lnTo>
                  <a:lnTo>
                    <a:pt x="5674" y="9285"/>
                  </a:lnTo>
                  <a:lnTo>
                    <a:pt x="4771"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 name="Google Shape;2496;p74">
              <a:extLst>
                <a:ext uri="{FF2B5EF4-FFF2-40B4-BE49-F238E27FC236}">
                  <a16:creationId xmlns:a16="http://schemas.microsoft.com/office/drawing/2014/main" id="{8EA94FE7-6C65-4CCE-8B4E-04CA6890C5EA}"/>
                </a:ext>
              </a:extLst>
            </p:cNvPr>
            <p:cNvSpPr/>
            <p:nvPr/>
          </p:nvSpPr>
          <p:spPr>
            <a:xfrm>
              <a:off x="2380952" y="1859674"/>
              <a:ext cx="102181" cy="160885"/>
            </a:xfrm>
            <a:custGeom>
              <a:avLst/>
              <a:gdLst/>
              <a:ahLst/>
              <a:cxnLst/>
              <a:rect l="l" t="t" r="r" b="b"/>
              <a:pathLst>
                <a:path w="4489" h="7068" extrusionOk="0">
                  <a:moveTo>
                    <a:pt x="4024" y="1"/>
                  </a:moveTo>
                  <a:lnTo>
                    <a:pt x="1" y="1316"/>
                  </a:lnTo>
                  <a:lnTo>
                    <a:pt x="517" y="7068"/>
                  </a:lnTo>
                  <a:lnTo>
                    <a:pt x="4489" y="5494"/>
                  </a:lnTo>
                  <a:lnTo>
                    <a:pt x="4024"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 name="Google Shape;2497;p74">
              <a:extLst>
                <a:ext uri="{FF2B5EF4-FFF2-40B4-BE49-F238E27FC236}">
                  <a16:creationId xmlns:a16="http://schemas.microsoft.com/office/drawing/2014/main" id="{B6933A4D-5E24-4A31-BB5F-4E8FDCC6A160}"/>
                </a:ext>
              </a:extLst>
            </p:cNvPr>
            <p:cNvSpPr/>
            <p:nvPr/>
          </p:nvSpPr>
          <p:spPr>
            <a:xfrm>
              <a:off x="2052200" y="1963021"/>
              <a:ext cx="117432" cy="186698"/>
            </a:xfrm>
            <a:custGeom>
              <a:avLst/>
              <a:gdLst/>
              <a:ahLst/>
              <a:cxnLst/>
              <a:rect l="l" t="t" r="r" b="b"/>
              <a:pathLst>
                <a:path w="5159" h="8202" extrusionOk="0">
                  <a:moveTo>
                    <a:pt x="4514" y="0"/>
                  </a:moveTo>
                  <a:lnTo>
                    <a:pt x="0" y="1496"/>
                  </a:lnTo>
                  <a:lnTo>
                    <a:pt x="697" y="8201"/>
                  </a:lnTo>
                  <a:lnTo>
                    <a:pt x="5158" y="6422"/>
                  </a:lnTo>
                  <a:lnTo>
                    <a:pt x="4514"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 name="Google Shape;2498;p74">
              <a:extLst>
                <a:ext uri="{FF2B5EF4-FFF2-40B4-BE49-F238E27FC236}">
                  <a16:creationId xmlns:a16="http://schemas.microsoft.com/office/drawing/2014/main" id="{3A8C2CDD-ECBF-4C53-8688-FC995E9DB1B1}"/>
                </a:ext>
              </a:extLst>
            </p:cNvPr>
            <p:cNvSpPr/>
            <p:nvPr/>
          </p:nvSpPr>
          <p:spPr>
            <a:xfrm>
              <a:off x="2279404" y="1893729"/>
              <a:ext cx="101566" cy="166758"/>
            </a:xfrm>
            <a:custGeom>
              <a:avLst/>
              <a:gdLst/>
              <a:ahLst/>
              <a:cxnLst/>
              <a:rect l="l" t="t" r="r" b="b"/>
              <a:pathLst>
                <a:path w="4462" h="7326" extrusionOk="0">
                  <a:moveTo>
                    <a:pt x="3895" y="1"/>
                  </a:moveTo>
                  <a:lnTo>
                    <a:pt x="0" y="1264"/>
                  </a:lnTo>
                  <a:lnTo>
                    <a:pt x="542" y="7325"/>
                  </a:lnTo>
                  <a:lnTo>
                    <a:pt x="4462" y="5778"/>
                  </a:lnTo>
                  <a:lnTo>
                    <a:pt x="3895"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 name="Google Shape;2499;p74">
              <a:extLst>
                <a:ext uri="{FF2B5EF4-FFF2-40B4-BE49-F238E27FC236}">
                  <a16:creationId xmlns:a16="http://schemas.microsoft.com/office/drawing/2014/main" id="{579A7CB7-2A64-4AD9-881D-57D70962CD30}"/>
                </a:ext>
              </a:extLst>
            </p:cNvPr>
            <p:cNvSpPr/>
            <p:nvPr/>
          </p:nvSpPr>
          <p:spPr>
            <a:xfrm>
              <a:off x="2142025" y="1645400"/>
              <a:ext cx="108031" cy="141492"/>
            </a:xfrm>
            <a:custGeom>
              <a:avLst/>
              <a:gdLst/>
              <a:ahLst/>
              <a:cxnLst/>
              <a:rect l="l" t="t" r="r" b="b"/>
              <a:pathLst>
                <a:path w="4746" h="6216" fill="none" extrusionOk="0">
                  <a:moveTo>
                    <a:pt x="4746" y="5004"/>
                  </a:moveTo>
                  <a:lnTo>
                    <a:pt x="4256" y="0"/>
                  </a:lnTo>
                  <a:lnTo>
                    <a:pt x="0" y="1238"/>
                  </a:lnTo>
                  <a:lnTo>
                    <a:pt x="516" y="6216"/>
                  </a:ln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 name="Google Shape;2500;p74">
              <a:extLst>
                <a:ext uri="{FF2B5EF4-FFF2-40B4-BE49-F238E27FC236}">
                  <a16:creationId xmlns:a16="http://schemas.microsoft.com/office/drawing/2014/main" id="{8574EA52-ECE9-45F1-B83F-D176BE6356FF}"/>
                </a:ext>
              </a:extLst>
            </p:cNvPr>
            <p:cNvSpPr/>
            <p:nvPr/>
          </p:nvSpPr>
          <p:spPr>
            <a:xfrm>
              <a:off x="2167839" y="1926599"/>
              <a:ext cx="112151" cy="177912"/>
            </a:xfrm>
            <a:custGeom>
              <a:avLst/>
              <a:gdLst/>
              <a:ahLst/>
              <a:cxnLst/>
              <a:rect l="l" t="t" r="r" b="b"/>
              <a:pathLst>
                <a:path w="4927" h="7816" extrusionOk="0">
                  <a:moveTo>
                    <a:pt x="4334" y="1"/>
                  </a:moveTo>
                  <a:lnTo>
                    <a:pt x="1" y="1419"/>
                  </a:lnTo>
                  <a:lnTo>
                    <a:pt x="594" y="7816"/>
                  </a:lnTo>
                  <a:lnTo>
                    <a:pt x="4927" y="6088"/>
                  </a:lnTo>
                  <a:lnTo>
                    <a:pt x="4334"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 name="Google Shape;2501;p74">
              <a:extLst>
                <a:ext uri="{FF2B5EF4-FFF2-40B4-BE49-F238E27FC236}">
                  <a16:creationId xmlns:a16="http://schemas.microsoft.com/office/drawing/2014/main" id="{874EB2D8-8870-441F-8096-A51C9AD6115F}"/>
                </a:ext>
              </a:extLst>
            </p:cNvPr>
            <p:cNvSpPr/>
            <p:nvPr/>
          </p:nvSpPr>
          <p:spPr>
            <a:xfrm>
              <a:off x="2021082" y="1677679"/>
              <a:ext cx="117432" cy="147387"/>
            </a:xfrm>
            <a:custGeom>
              <a:avLst/>
              <a:gdLst/>
              <a:ahLst/>
              <a:cxnLst/>
              <a:rect l="l" t="t" r="r" b="b"/>
              <a:pathLst>
                <a:path w="5159" h="6475" extrusionOk="0">
                  <a:moveTo>
                    <a:pt x="4643" y="1"/>
                  </a:moveTo>
                  <a:lnTo>
                    <a:pt x="0" y="1342"/>
                  </a:lnTo>
                  <a:lnTo>
                    <a:pt x="542" y="6474"/>
                  </a:lnTo>
                  <a:lnTo>
                    <a:pt x="5158" y="5081"/>
                  </a:lnTo>
                  <a:lnTo>
                    <a:pt x="4643"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 name="Google Shape;2502;p74">
              <a:extLst>
                <a:ext uri="{FF2B5EF4-FFF2-40B4-BE49-F238E27FC236}">
                  <a16:creationId xmlns:a16="http://schemas.microsoft.com/office/drawing/2014/main" id="{CE9CBFB2-34CE-4888-A95F-12B5CA38F87A}"/>
                </a:ext>
              </a:extLst>
            </p:cNvPr>
            <p:cNvSpPr/>
            <p:nvPr/>
          </p:nvSpPr>
          <p:spPr>
            <a:xfrm>
              <a:off x="2153748" y="1776314"/>
              <a:ext cx="108645" cy="139147"/>
            </a:xfrm>
            <a:custGeom>
              <a:avLst/>
              <a:gdLst/>
              <a:ahLst/>
              <a:cxnLst/>
              <a:rect l="l" t="t" r="r" b="b"/>
              <a:pathLst>
                <a:path w="4773" h="6113" extrusionOk="0">
                  <a:moveTo>
                    <a:pt x="4282" y="1"/>
                  </a:moveTo>
                  <a:lnTo>
                    <a:pt x="1" y="1239"/>
                  </a:lnTo>
                  <a:lnTo>
                    <a:pt x="439" y="6113"/>
                  </a:lnTo>
                  <a:lnTo>
                    <a:pt x="4772" y="4798"/>
                  </a:lnTo>
                  <a:lnTo>
                    <a:pt x="428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 name="Google Shape;2503;p74">
              <a:extLst>
                <a:ext uri="{FF2B5EF4-FFF2-40B4-BE49-F238E27FC236}">
                  <a16:creationId xmlns:a16="http://schemas.microsoft.com/office/drawing/2014/main" id="{D778F152-7630-4235-ADD2-74A74B390EA2}"/>
                </a:ext>
              </a:extLst>
            </p:cNvPr>
            <p:cNvSpPr/>
            <p:nvPr/>
          </p:nvSpPr>
          <p:spPr>
            <a:xfrm>
              <a:off x="2023426" y="1352432"/>
              <a:ext cx="460281" cy="220751"/>
            </a:xfrm>
            <a:custGeom>
              <a:avLst/>
              <a:gdLst/>
              <a:ahLst/>
              <a:cxnLst/>
              <a:rect l="l" t="t" r="r" b="b"/>
              <a:pathLst>
                <a:path w="20221" h="9698" extrusionOk="0">
                  <a:moveTo>
                    <a:pt x="19782" y="1"/>
                  </a:moveTo>
                  <a:lnTo>
                    <a:pt x="0" y="4540"/>
                  </a:lnTo>
                  <a:lnTo>
                    <a:pt x="516" y="9698"/>
                  </a:lnTo>
                  <a:lnTo>
                    <a:pt x="20220" y="4952"/>
                  </a:lnTo>
                  <a:lnTo>
                    <a:pt x="19782"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 name="Google Shape;2504;p74">
              <a:extLst>
                <a:ext uri="{FF2B5EF4-FFF2-40B4-BE49-F238E27FC236}">
                  <a16:creationId xmlns:a16="http://schemas.microsoft.com/office/drawing/2014/main" id="{F757BCA2-55E3-4318-B177-72B322DB323D}"/>
                </a:ext>
              </a:extLst>
            </p:cNvPr>
            <p:cNvSpPr/>
            <p:nvPr/>
          </p:nvSpPr>
          <p:spPr>
            <a:xfrm>
              <a:off x="2495454" y="1424023"/>
              <a:ext cx="379246" cy="412183"/>
            </a:xfrm>
            <a:custGeom>
              <a:avLst/>
              <a:gdLst/>
              <a:ahLst/>
              <a:cxnLst/>
              <a:rect l="l" t="t" r="r" b="b"/>
              <a:pathLst>
                <a:path w="16661" h="18108" extrusionOk="0">
                  <a:moveTo>
                    <a:pt x="12380" y="7842"/>
                  </a:moveTo>
                  <a:lnTo>
                    <a:pt x="14469" y="10267"/>
                  </a:lnTo>
                  <a:cubicBezTo>
                    <a:pt x="14469" y="10267"/>
                    <a:pt x="13024" y="11608"/>
                    <a:pt x="12612" y="12253"/>
                  </a:cubicBezTo>
                  <a:lnTo>
                    <a:pt x="12586" y="12253"/>
                  </a:lnTo>
                  <a:cubicBezTo>
                    <a:pt x="12560" y="12304"/>
                    <a:pt x="12509" y="12382"/>
                    <a:pt x="12431" y="12459"/>
                  </a:cubicBezTo>
                  <a:lnTo>
                    <a:pt x="12251" y="11969"/>
                  </a:lnTo>
                  <a:cubicBezTo>
                    <a:pt x="12070" y="11376"/>
                    <a:pt x="11967" y="10783"/>
                    <a:pt x="11967" y="10189"/>
                  </a:cubicBezTo>
                  <a:cubicBezTo>
                    <a:pt x="12044" y="9545"/>
                    <a:pt x="12380" y="7842"/>
                    <a:pt x="12380" y="7842"/>
                  </a:cubicBezTo>
                  <a:close/>
                  <a:moveTo>
                    <a:pt x="10295" y="1"/>
                  </a:moveTo>
                  <a:cubicBezTo>
                    <a:pt x="10276" y="1"/>
                    <a:pt x="10258" y="1"/>
                    <a:pt x="10239" y="2"/>
                  </a:cubicBezTo>
                  <a:cubicBezTo>
                    <a:pt x="8356" y="79"/>
                    <a:pt x="7479" y="3045"/>
                    <a:pt x="8150" y="4206"/>
                  </a:cubicBezTo>
                  <a:cubicBezTo>
                    <a:pt x="7737" y="4361"/>
                    <a:pt x="7376" y="4567"/>
                    <a:pt x="7041" y="4825"/>
                  </a:cubicBezTo>
                  <a:cubicBezTo>
                    <a:pt x="6757" y="5031"/>
                    <a:pt x="6603" y="5702"/>
                    <a:pt x="6525" y="6656"/>
                  </a:cubicBezTo>
                  <a:cubicBezTo>
                    <a:pt x="6319" y="7791"/>
                    <a:pt x="5726" y="8848"/>
                    <a:pt x="4875" y="9622"/>
                  </a:cubicBezTo>
                  <a:cubicBezTo>
                    <a:pt x="4726" y="9765"/>
                    <a:pt x="4502" y="9820"/>
                    <a:pt x="4243" y="9820"/>
                  </a:cubicBezTo>
                  <a:cubicBezTo>
                    <a:pt x="3331" y="9820"/>
                    <a:pt x="1986" y="9132"/>
                    <a:pt x="1986" y="9132"/>
                  </a:cubicBezTo>
                  <a:cubicBezTo>
                    <a:pt x="1986" y="9132"/>
                    <a:pt x="1459" y="8341"/>
                    <a:pt x="830" y="8341"/>
                  </a:cubicBezTo>
                  <a:cubicBezTo>
                    <a:pt x="777" y="8341"/>
                    <a:pt x="724" y="8346"/>
                    <a:pt x="671" y="8358"/>
                  </a:cubicBezTo>
                  <a:cubicBezTo>
                    <a:pt x="0" y="8513"/>
                    <a:pt x="619" y="10060"/>
                    <a:pt x="671" y="10189"/>
                  </a:cubicBezTo>
                  <a:cubicBezTo>
                    <a:pt x="737" y="10322"/>
                    <a:pt x="3092" y="11741"/>
                    <a:pt x="5176" y="11741"/>
                  </a:cubicBezTo>
                  <a:cubicBezTo>
                    <a:pt x="5526" y="11741"/>
                    <a:pt x="5868" y="11701"/>
                    <a:pt x="6190" y="11608"/>
                  </a:cubicBezTo>
                  <a:cubicBezTo>
                    <a:pt x="6474" y="11531"/>
                    <a:pt x="6757" y="11402"/>
                    <a:pt x="6989" y="11195"/>
                  </a:cubicBezTo>
                  <a:lnTo>
                    <a:pt x="6989" y="11195"/>
                  </a:lnTo>
                  <a:cubicBezTo>
                    <a:pt x="7067" y="11685"/>
                    <a:pt x="6267" y="18107"/>
                    <a:pt x="6267" y="18107"/>
                  </a:cubicBezTo>
                  <a:lnTo>
                    <a:pt x="13643" y="15760"/>
                  </a:lnTo>
                  <a:lnTo>
                    <a:pt x="13257" y="14703"/>
                  </a:lnTo>
                  <a:cubicBezTo>
                    <a:pt x="13721" y="14110"/>
                    <a:pt x="14262" y="13594"/>
                    <a:pt x="14881" y="13181"/>
                  </a:cubicBezTo>
                  <a:cubicBezTo>
                    <a:pt x="15758" y="12614"/>
                    <a:pt x="16377" y="11324"/>
                    <a:pt x="16532" y="10834"/>
                  </a:cubicBezTo>
                  <a:cubicBezTo>
                    <a:pt x="16661" y="10318"/>
                    <a:pt x="15990" y="8487"/>
                    <a:pt x="14469" y="6295"/>
                  </a:cubicBezTo>
                  <a:cubicBezTo>
                    <a:pt x="12947" y="4129"/>
                    <a:pt x="13282" y="4851"/>
                    <a:pt x="12380" y="4361"/>
                  </a:cubicBezTo>
                  <a:cubicBezTo>
                    <a:pt x="11993" y="4154"/>
                    <a:pt x="11580" y="4000"/>
                    <a:pt x="11142" y="3896"/>
                  </a:cubicBezTo>
                  <a:lnTo>
                    <a:pt x="11039" y="2994"/>
                  </a:lnTo>
                  <a:cubicBezTo>
                    <a:pt x="11193" y="2762"/>
                    <a:pt x="11322" y="2530"/>
                    <a:pt x="11400" y="2272"/>
                  </a:cubicBezTo>
                  <a:cubicBezTo>
                    <a:pt x="11577" y="1385"/>
                    <a:pt x="11306" y="1"/>
                    <a:pt x="10295"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 name="Google Shape;2505;p74">
              <a:extLst>
                <a:ext uri="{FF2B5EF4-FFF2-40B4-BE49-F238E27FC236}">
                  <a16:creationId xmlns:a16="http://schemas.microsoft.com/office/drawing/2014/main" id="{68F90437-686C-429B-8CAF-A689E017B711}"/>
                </a:ext>
              </a:extLst>
            </p:cNvPr>
            <p:cNvSpPr/>
            <p:nvPr/>
          </p:nvSpPr>
          <p:spPr>
            <a:xfrm>
              <a:off x="2594088" y="1701763"/>
              <a:ext cx="236593" cy="104503"/>
            </a:xfrm>
            <a:custGeom>
              <a:avLst/>
              <a:gdLst/>
              <a:ahLst/>
              <a:cxnLst/>
              <a:rect l="l" t="t" r="r" b="b"/>
              <a:pathLst>
                <a:path w="10394" h="4591" extrusionOk="0">
                  <a:moveTo>
                    <a:pt x="10342" y="0"/>
                  </a:moveTo>
                  <a:lnTo>
                    <a:pt x="0" y="3430"/>
                  </a:lnTo>
                  <a:lnTo>
                    <a:pt x="0" y="4591"/>
                  </a:lnTo>
                  <a:lnTo>
                    <a:pt x="10394" y="1083"/>
                  </a:lnTo>
                  <a:lnTo>
                    <a:pt x="1034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 name="Google Shape;2506;p74">
              <a:extLst>
                <a:ext uri="{FF2B5EF4-FFF2-40B4-BE49-F238E27FC236}">
                  <a16:creationId xmlns:a16="http://schemas.microsoft.com/office/drawing/2014/main" id="{6CBAE799-2128-419C-A745-92F02CB94CF7}"/>
                </a:ext>
              </a:extLst>
            </p:cNvPr>
            <p:cNvSpPr/>
            <p:nvPr/>
          </p:nvSpPr>
          <p:spPr>
            <a:xfrm>
              <a:off x="2611093" y="1737570"/>
              <a:ext cx="219590" cy="98653"/>
            </a:xfrm>
            <a:custGeom>
              <a:avLst/>
              <a:gdLst/>
              <a:ahLst/>
              <a:cxnLst/>
              <a:rect l="l" t="t" r="r" b="b"/>
              <a:pathLst>
                <a:path w="9647" h="4334" extrusionOk="0">
                  <a:moveTo>
                    <a:pt x="9595" y="0"/>
                  </a:moveTo>
                  <a:lnTo>
                    <a:pt x="1" y="3353"/>
                  </a:lnTo>
                  <a:lnTo>
                    <a:pt x="1" y="4333"/>
                  </a:lnTo>
                  <a:lnTo>
                    <a:pt x="9647" y="1109"/>
                  </a:lnTo>
                  <a:lnTo>
                    <a:pt x="9595"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 name="Google Shape;2507;p74">
              <a:extLst>
                <a:ext uri="{FF2B5EF4-FFF2-40B4-BE49-F238E27FC236}">
                  <a16:creationId xmlns:a16="http://schemas.microsoft.com/office/drawing/2014/main" id="{D93DD67E-54CF-4A60-9238-EB120C8ABB25}"/>
                </a:ext>
              </a:extLst>
            </p:cNvPr>
            <p:cNvSpPr/>
            <p:nvPr/>
          </p:nvSpPr>
          <p:spPr>
            <a:xfrm>
              <a:off x="2483116" y="1380021"/>
              <a:ext cx="95716" cy="193163"/>
            </a:xfrm>
            <a:custGeom>
              <a:avLst/>
              <a:gdLst/>
              <a:ahLst/>
              <a:cxnLst/>
              <a:rect l="l" t="t" r="r" b="b"/>
              <a:pathLst>
                <a:path w="4205" h="8486" fill="none" extrusionOk="0">
                  <a:moveTo>
                    <a:pt x="568" y="8486"/>
                  </a:moveTo>
                  <a:lnTo>
                    <a:pt x="1" y="929"/>
                  </a:lnTo>
                  <a:lnTo>
                    <a:pt x="4204" y="1"/>
                  </a:lnTo>
                </a:path>
              </a:pathLst>
            </a:custGeom>
            <a:no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 name="Google Shape;2508;p74">
              <a:extLst>
                <a:ext uri="{FF2B5EF4-FFF2-40B4-BE49-F238E27FC236}">
                  <a16:creationId xmlns:a16="http://schemas.microsoft.com/office/drawing/2014/main" id="{7E2ACF78-C932-4FAD-8A07-1C155BD8E8BA}"/>
                </a:ext>
              </a:extLst>
            </p:cNvPr>
            <p:cNvSpPr/>
            <p:nvPr/>
          </p:nvSpPr>
          <p:spPr>
            <a:xfrm>
              <a:off x="2550633" y="1806248"/>
              <a:ext cx="321725" cy="120368"/>
            </a:xfrm>
            <a:custGeom>
              <a:avLst/>
              <a:gdLst/>
              <a:ahLst/>
              <a:cxnLst/>
              <a:rect l="l" t="t" r="r" b="b"/>
              <a:pathLst>
                <a:path w="14134" h="5288" fill="none" extrusionOk="0">
                  <a:moveTo>
                    <a:pt x="1" y="5288"/>
                  </a:moveTo>
                  <a:lnTo>
                    <a:pt x="14134" y="1"/>
                  </a:lnTo>
                </a:path>
              </a:pathLst>
            </a:custGeom>
            <a:no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 name="Google Shape;2509;p74">
              <a:extLst>
                <a:ext uri="{FF2B5EF4-FFF2-40B4-BE49-F238E27FC236}">
                  <a16:creationId xmlns:a16="http://schemas.microsoft.com/office/drawing/2014/main" id="{32485A4A-EA85-442D-B0E1-97ED62ED60ED}"/>
                </a:ext>
              </a:extLst>
            </p:cNvPr>
            <p:cNvSpPr/>
            <p:nvPr/>
          </p:nvSpPr>
          <p:spPr>
            <a:xfrm>
              <a:off x="2045143" y="1712917"/>
              <a:ext cx="72225" cy="89252"/>
            </a:xfrm>
            <a:custGeom>
              <a:avLst/>
              <a:gdLst/>
              <a:ahLst/>
              <a:cxnLst/>
              <a:rect l="l" t="t" r="r" b="b"/>
              <a:pathLst>
                <a:path w="3173" h="3921" fill="none" extrusionOk="0">
                  <a:moveTo>
                    <a:pt x="723" y="3920"/>
                  </a:moveTo>
                  <a:cubicBezTo>
                    <a:pt x="517" y="3585"/>
                    <a:pt x="336" y="3224"/>
                    <a:pt x="233" y="2837"/>
                  </a:cubicBezTo>
                  <a:cubicBezTo>
                    <a:pt x="78" y="2399"/>
                    <a:pt x="1" y="1960"/>
                    <a:pt x="26" y="1496"/>
                  </a:cubicBezTo>
                  <a:cubicBezTo>
                    <a:pt x="336" y="1651"/>
                    <a:pt x="491" y="2296"/>
                    <a:pt x="697" y="2605"/>
                  </a:cubicBezTo>
                  <a:cubicBezTo>
                    <a:pt x="645" y="2167"/>
                    <a:pt x="52" y="954"/>
                    <a:pt x="439" y="593"/>
                  </a:cubicBezTo>
                  <a:cubicBezTo>
                    <a:pt x="800" y="1006"/>
                    <a:pt x="878" y="1573"/>
                    <a:pt x="1032" y="2063"/>
                  </a:cubicBezTo>
                  <a:cubicBezTo>
                    <a:pt x="1058" y="1599"/>
                    <a:pt x="542" y="645"/>
                    <a:pt x="929" y="258"/>
                  </a:cubicBezTo>
                  <a:cubicBezTo>
                    <a:pt x="1213" y="748"/>
                    <a:pt x="1445" y="1264"/>
                    <a:pt x="1574" y="1806"/>
                  </a:cubicBezTo>
                  <a:cubicBezTo>
                    <a:pt x="1626" y="1315"/>
                    <a:pt x="1032" y="335"/>
                    <a:pt x="1522" y="0"/>
                  </a:cubicBezTo>
                  <a:cubicBezTo>
                    <a:pt x="1987" y="774"/>
                    <a:pt x="1961" y="1651"/>
                    <a:pt x="2296" y="2399"/>
                  </a:cubicBezTo>
                  <a:cubicBezTo>
                    <a:pt x="2477" y="2218"/>
                    <a:pt x="2657" y="1290"/>
                    <a:pt x="2967" y="1883"/>
                  </a:cubicBezTo>
                  <a:cubicBezTo>
                    <a:pt x="3173" y="2244"/>
                    <a:pt x="2863" y="3043"/>
                    <a:pt x="2863" y="3430"/>
                  </a:cubicBezTo>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 name="Google Shape;2510;p74">
              <a:extLst>
                <a:ext uri="{FF2B5EF4-FFF2-40B4-BE49-F238E27FC236}">
                  <a16:creationId xmlns:a16="http://schemas.microsoft.com/office/drawing/2014/main" id="{295ED7C7-C6B1-4FE0-B845-B43C7CD92E54}"/>
                </a:ext>
              </a:extLst>
            </p:cNvPr>
            <p:cNvSpPr/>
            <p:nvPr/>
          </p:nvSpPr>
          <p:spPr>
            <a:xfrm>
              <a:off x="2279973" y="1781595"/>
              <a:ext cx="73409" cy="73409"/>
            </a:xfrm>
            <a:custGeom>
              <a:avLst/>
              <a:gdLst/>
              <a:ahLst/>
              <a:cxnLst/>
              <a:rect l="l" t="t" r="r" b="b"/>
              <a:pathLst>
                <a:path w="3225" h="3225" fill="none" extrusionOk="0">
                  <a:moveTo>
                    <a:pt x="2271" y="929"/>
                  </a:moveTo>
                  <a:cubicBezTo>
                    <a:pt x="2967" y="1625"/>
                    <a:pt x="3225" y="2477"/>
                    <a:pt x="2864" y="2863"/>
                  </a:cubicBezTo>
                  <a:cubicBezTo>
                    <a:pt x="2477" y="3225"/>
                    <a:pt x="1626" y="2967"/>
                    <a:pt x="929" y="2270"/>
                  </a:cubicBezTo>
                  <a:cubicBezTo>
                    <a:pt x="259" y="1600"/>
                    <a:pt x="1" y="749"/>
                    <a:pt x="362" y="362"/>
                  </a:cubicBezTo>
                  <a:cubicBezTo>
                    <a:pt x="723" y="1"/>
                    <a:pt x="1574" y="259"/>
                    <a:pt x="2271" y="929"/>
                  </a:cubicBez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 name="Google Shape;2511;p74">
              <a:extLst>
                <a:ext uri="{FF2B5EF4-FFF2-40B4-BE49-F238E27FC236}">
                  <a16:creationId xmlns:a16="http://schemas.microsoft.com/office/drawing/2014/main" id="{02A1CACA-CCF0-4623-987B-D79F82582761}"/>
                </a:ext>
              </a:extLst>
            </p:cNvPr>
            <p:cNvSpPr/>
            <p:nvPr/>
          </p:nvSpPr>
          <p:spPr>
            <a:xfrm>
              <a:off x="795828" y="1451658"/>
              <a:ext cx="1047917" cy="1578033"/>
            </a:xfrm>
            <a:custGeom>
              <a:avLst/>
              <a:gdLst/>
              <a:ahLst/>
              <a:cxnLst/>
              <a:rect l="l" t="t" r="r" b="b"/>
              <a:pathLst>
                <a:path w="46037" h="69326" extrusionOk="0">
                  <a:moveTo>
                    <a:pt x="42219" y="0"/>
                  </a:moveTo>
                  <a:lnTo>
                    <a:pt x="0" y="24785"/>
                  </a:lnTo>
                  <a:lnTo>
                    <a:pt x="7608" y="69326"/>
                  </a:lnTo>
                  <a:lnTo>
                    <a:pt x="46036" y="38893"/>
                  </a:lnTo>
                  <a:lnTo>
                    <a:pt x="42219"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 name="Google Shape;2512;p74">
              <a:extLst>
                <a:ext uri="{FF2B5EF4-FFF2-40B4-BE49-F238E27FC236}">
                  <a16:creationId xmlns:a16="http://schemas.microsoft.com/office/drawing/2014/main" id="{328EFB0F-224D-4CBB-844E-E2E0BDB19607}"/>
                </a:ext>
              </a:extLst>
            </p:cNvPr>
            <p:cNvSpPr/>
            <p:nvPr/>
          </p:nvSpPr>
          <p:spPr>
            <a:xfrm>
              <a:off x="1306576" y="1699395"/>
              <a:ext cx="210212" cy="341119"/>
            </a:xfrm>
            <a:custGeom>
              <a:avLst/>
              <a:gdLst/>
              <a:ahLst/>
              <a:cxnLst/>
              <a:rect l="l" t="t" r="r" b="b"/>
              <a:pathLst>
                <a:path w="9235" h="14986" extrusionOk="0">
                  <a:moveTo>
                    <a:pt x="7841" y="1"/>
                  </a:moveTo>
                  <a:lnTo>
                    <a:pt x="1" y="4618"/>
                  </a:lnTo>
                  <a:lnTo>
                    <a:pt x="1600" y="14985"/>
                  </a:lnTo>
                  <a:lnTo>
                    <a:pt x="9234" y="10137"/>
                  </a:lnTo>
                  <a:lnTo>
                    <a:pt x="78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 name="Google Shape;2513;p74">
              <a:extLst>
                <a:ext uri="{FF2B5EF4-FFF2-40B4-BE49-F238E27FC236}">
                  <a16:creationId xmlns:a16="http://schemas.microsoft.com/office/drawing/2014/main" id="{4316A0F8-557E-4D17-A5A9-F02784804626}"/>
                </a:ext>
              </a:extLst>
            </p:cNvPr>
            <p:cNvSpPr/>
            <p:nvPr/>
          </p:nvSpPr>
          <p:spPr>
            <a:xfrm>
              <a:off x="1190936" y="2375157"/>
              <a:ext cx="214286" cy="334062"/>
            </a:xfrm>
            <a:custGeom>
              <a:avLst/>
              <a:gdLst/>
              <a:ahLst/>
              <a:cxnLst/>
              <a:rect l="l" t="t" r="r" b="b"/>
              <a:pathLst>
                <a:path w="9414" h="14676" extrusionOk="0">
                  <a:moveTo>
                    <a:pt x="7995" y="0"/>
                  </a:moveTo>
                  <a:lnTo>
                    <a:pt x="0" y="5494"/>
                  </a:lnTo>
                  <a:lnTo>
                    <a:pt x="1419" y="14675"/>
                  </a:lnTo>
                  <a:lnTo>
                    <a:pt x="9414" y="8743"/>
                  </a:lnTo>
                  <a:lnTo>
                    <a:pt x="7995"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 name="Google Shape;2514;p74">
              <a:extLst>
                <a:ext uri="{FF2B5EF4-FFF2-40B4-BE49-F238E27FC236}">
                  <a16:creationId xmlns:a16="http://schemas.microsoft.com/office/drawing/2014/main" id="{C630057A-DFBE-4DB2-B9EB-11D01E1548C9}"/>
                </a:ext>
              </a:extLst>
            </p:cNvPr>
            <p:cNvSpPr/>
            <p:nvPr/>
          </p:nvSpPr>
          <p:spPr>
            <a:xfrm>
              <a:off x="1147481" y="2100969"/>
              <a:ext cx="217837" cy="349336"/>
            </a:xfrm>
            <a:custGeom>
              <a:avLst/>
              <a:gdLst/>
              <a:ahLst/>
              <a:cxnLst/>
              <a:rect l="l" t="t" r="r" b="b"/>
              <a:pathLst>
                <a:path w="9570" h="15347" extrusionOk="0">
                  <a:moveTo>
                    <a:pt x="7996" y="1"/>
                  </a:moveTo>
                  <a:lnTo>
                    <a:pt x="1" y="5185"/>
                  </a:lnTo>
                  <a:lnTo>
                    <a:pt x="1574" y="15346"/>
                  </a:lnTo>
                  <a:lnTo>
                    <a:pt x="9569" y="9982"/>
                  </a:lnTo>
                  <a:lnTo>
                    <a:pt x="79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 name="Google Shape;2515;p74">
              <a:extLst>
                <a:ext uri="{FF2B5EF4-FFF2-40B4-BE49-F238E27FC236}">
                  <a16:creationId xmlns:a16="http://schemas.microsoft.com/office/drawing/2014/main" id="{1CF870E9-232A-425E-82C6-364E604E7A03}"/>
                </a:ext>
              </a:extLst>
            </p:cNvPr>
            <p:cNvSpPr/>
            <p:nvPr/>
          </p:nvSpPr>
          <p:spPr>
            <a:xfrm>
              <a:off x="1392304" y="2246565"/>
              <a:ext cx="194915" cy="314122"/>
            </a:xfrm>
            <a:custGeom>
              <a:avLst/>
              <a:gdLst/>
              <a:ahLst/>
              <a:cxnLst/>
              <a:rect l="l" t="t" r="r" b="b"/>
              <a:pathLst>
                <a:path w="8563" h="13800" extrusionOk="0">
                  <a:moveTo>
                    <a:pt x="7402" y="1"/>
                  </a:moveTo>
                  <a:lnTo>
                    <a:pt x="0" y="5082"/>
                  </a:lnTo>
                  <a:lnTo>
                    <a:pt x="1342" y="13799"/>
                  </a:lnTo>
                  <a:lnTo>
                    <a:pt x="8563" y="8435"/>
                  </a:lnTo>
                  <a:lnTo>
                    <a:pt x="740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 name="Google Shape;2516;p74">
              <a:extLst>
                <a:ext uri="{FF2B5EF4-FFF2-40B4-BE49-F238E27FC236}">
                  <a16:creationId xmlns:a16="http://schemas.microsoft.com/office/drawing/2014/main" id="{D97E89ED-51DD-4C01-ABD6-C87A4BE0A768}"/>
                </a:ext>
              </a:extLst>
            </p:cNvPr>
            <p:cNvSpPr/>
            <p:nvPr/>
          </p:nvSpPr>
          <p:spPr>
            <a:xfrm>
              <a:off x="1102272" y="1817402"/>
              <a:ext cx="219590" cy="351089"/>
            </a:xfrm>
            <a:custGeom>
              <a:avLst/>
              <a:gdLst/>
              <a:ahLst/>
              <a:cxnLst/>
              <a:rect l="l" t="t" r="r" b="b"/>
              <a:pathLst>
                <a:path w="9647" h="15424" extrusionOk="0">
                  <a:moveTo>
                    <a:pt x="7970" y="1"/>
                  </a:moveTo>
                  <a:lnTo>
                    <a:pt x="1" y="4695"/>
                  </a:lnTo>
                  <a:lnTo>
                    <a:pt x="1651" y="15424"/>
                  </a:lnTo>
                  <a:lnTo>
                    <a:pt x="9647" y="10369"/>
                  </a:lnTo>
                  <a:lnTo>
                    <a:pt x="797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 name="Google Shape;2517;p74">
              <a:extLst>
                <a:ext uri="{FF2B5EF4-FFF2-40B4-BE49-F238E27FC236}">
                  <a16:creationId xmlns:a16="http://schemas.microsoft.com/office/drawing/2014/main" id="{EA61EB11-EE9B-4A51-8773-791F538FB77F}"/>
                </a:ext>
              </a:extLst>
            </p:cNvPr>
            <p:cNvSpPr/>
            <p:nvPr/>
          </p:nvSpPr>
          <p:spPr>
            <a:xfrm>
              <a:off x="929086" y="2232475"/>
              <a:ext cx="234272" cy="361082"/>
            </a:xfrm>
            <a:custGeom>
              <a:avLst/>
              <a:gdLst/>
              <a:ahLst/>
              <a:cxnLst/>
              <a:rect l="l" t="t" r="r" b="b"/>
              <a:pathLst>
                <a:path w="10292" h="15863" extrusionOk="0">
                  <a:moveTo>
                    <a:pt x="8666" y="1"/>
                  </a:moveTo>
                  <a:lnTo>
                    <a:pt x="1" y="5623"/>
                  </a:lnTo>
                  <a:lnTo>
                    <a:pt x="1754" y="15862"/>
                  </a:lnTo>
                  <a:lnTo>
                    <a:pt x="10291" y="10137"/>
                  </a:lnTo>
                  <a:lnTo>
                    <a:pt x="8666"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 name="Google Shape;2518;p74">
              <a:extLst>
                <a:ext uri="{FF2B5EF4-FFF2-40B4-BE49-F238E27FC236}">
                  <a16:creationId xmlns:a16="http://schemas.microsoft.com/office/drawing/2014/main" id="{6D06FA2E-38F7-4B2A-98CE-7C4C7DBE349E}"/>
                </a:ext>
              </a:extLst>
            </p:cNvPr>
            <p:cNvSpPr/>
            <p:nvPr/>
          </p:nvSpPr>
          <p:spPr>
            <a:xfrm>
              <a:off x="1350032" y="1975336"/>
              <a:ext cx="204316" cy="339343"/>
            </a:xfrm>
            <a:custGeom>
              <a:avLst/>
              <a:gdLst/>
              <a:ahLst/>
              <a:cxnLst/>
              <a:rect l="l" t="t" r="r" b="b"/>
              <a:pathLst>
                <a:path w="8976" h="14908" extrusionOk="0">
                  <a:moveTo>
                    <a:pt x="7609" y="1"/>
                  </a:moveTo>
                  <a:lnTo>
                    <a:pt x="0" y="4927"/>
                  </a:lnTo>
                  <a:lnTo>
                    <a:pt x="1548" y="14908"/>
                  </a:lnTo>
                  <a:lnTo>
                    <a:pt x="8976" y="9930"/>
                  </a:lnTo>
                  <a:lnTo>
                    <a:pt x="7609"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 name="Google Shape;2519;p74">
              <a:extLst>
                <a:ext uri="{FF2B5EF4-FFF2-40B4-BE49-F238E27FC236}">
                  <a16:creationId xmlns:a16="http://schemas.microsoft.com/office/drawing/2014/main" id="{824E8140-9AE6-4926-86B3-1C1D7E6F5D89}"/>
                </a:ext>
              </a:extLst>
            </p:cNvPr>
            <p:cNvSpPr/>
            <p:nvPr/>
          </p:nvSpPr>
          <p:spPr>
            <a:xfrm>
              <a:off x="1542020" y="1850296"/>
              <a:ext cx="197260" cy="339343"/>
            </a:xfrm>
            <a:custGeom>
              <a:avLst/>
              <a:gdLst/>
              <a:ahLst/>
              <a:cxnLst/>
              <a:rect l="l" t="t" r="r" b="b"/>
              <a:pathLst>
                <a:path w="8666" h="14908" extrusionOk="0">
                  <a:moveTo>
                    <a:pt x="7660" y="0"/>
                  </a:moveTo>
                  <a:lnTo>
                    <a:pt x="0" y="4978"/>
                  </a:lnTo>
                  <a:lnTo>
                    <a:pt x="1315" y="14907"/>
                  </a:lnTo>
                  <a:lnTo>
                    <a:pt x="8666" y="9981"/>
                  </a:lnTo>
                  <a:lnTo>
                    <a:pt x="766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 name="Google Shape;2520;p74">
              <a:extLst>
                <a:ext uri="{FF2B5EF4-FFF2-40B4-BE49-F238E27FC236}">
                  <a16:creationId xmlns:a16="http://schemas.microsoft.com/office/drawing/2014/main" id="{0198DD5D-6C9E-454F-858C-1CB5A14DB267}"/>
                </a:ext>
              </a:extLst>
            </p:cNvPr>
            <p:cNvSpPr/>
            <p:nvPr/>
          </p:nvSpPr>
          <p:spPr>
            <a:xfrm>
              <a:off x="977823" y="2513697"/>
              <a:ext cx="227215" cy="349928"/>
            </a:xfrm>
            <a:custGeom>
              <a:avLst/>
              <a:gdLst/>
              <a:ahLst/>
              <a:cxnLst/>
              <a:rect l="l" t="t" r="r" b="b"/>
              <a:pathLst>
                <a:path w="9982" h="15373" extrusionOk="0">
                  <a:moveTo>
                    <a:pt x="8511" y="1"/>
                  </a:moveTo>
                  <a:lnTo>
                    <a:pt x="0" y="5829"/>
                  </a:lnTo>
                  <a:lnTo>
                    <a:pt x="1625" y="15372"/>
                  </a:lnTo>
                  <a:lnTo>
                    <a:pt x="9981" y="9182"/>
                  </a:lnTo>
                  <a:lnTo>
                    <a:pt x="851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 name="Google Shape;2521;p74">
              <a:extLst>
                <a:ext uri="{FF2B5EF4-FFF2-40B4-BE49-F238E27FC236}">
                  <a16:creationId xmlns:a16="http://schemas.microsoft.com/office/drawing/2014/main" id="{CA34F95C-635A-4DA9-8CA7-A4E4B0A8269B}"/>
                </a:ext>
              </a:extLst>
            </p:cNvPr>
            <p:cNvSpPr/>
            <p:nvPr/>
          </p:nvSpPr>
          <p:spPr>
            <a:xfrm>
              <a:off x="1578419" y="2120933"/>
              <a:ext cx="184353" cy="305291"/>
            </a:xfrm>
            <a:custGeom>
              <a:avLst/>
              <a:gdLst/>
              <a:ahLst/>
              <a:cxnLst/>
              <a:rect l="l" t="t" r="r" b="b"/>
              <a:pathLst>
                <a:path w="8099" h="13412" extrusionOk="0">
                  <a:moveTo>
                    <a:pt x="7273" y="1"/>
                  </a:moveTo>
                  <a:lnTo>
                    <a:pt x="0" y="5004"/>
                  </a:lnTo>
                  <a:lnTo>
                    <a:pt x="1109" y="13412"/>
                  </a:lnTo>
                  <a:lnTo>
                    <a:pt x="8098" y="8228"/>
                  </a:lnTo>
                  <a:lnTo>
                    <a:pt x="727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 name="Google Shape;2522;p74">
              <a:extLst>
                <a:ext uri="{FF2B5EF4-FFF2-40B4-BE49-F238E27FC236}">
                  <a16:creationId xmlns:a16="http://schemas.microsoft.com/office/drawing/2014/main" id="{EA580F42-0557-47AE-922A-061FC065E0F6}"/>
                </a:ext>
              </a:extLst>
            </p:cNvPr>
            <p:cNvSpPr/>
            <p:nvPr/>
          </p:nvSpPr>
          <p:spPr>
            <a:xfrm>
              <a:off x="1505029" y="1579636"/>
              <a:ext cx="207253" cy="338752"/>
            </a:xfrm>
            <a:custGeom>
              <a:avLst/>
              <a:gdLst/>
              <a:ahLst/>
              <a:cxnLst/>
              <a:rect l="l" t="t" r="r" b="b"/>
              <a:pathLst>
                <a:path w="9105" h="14882" extrusionOk="0">
                  <a:moveTo>
                    <a:pt x="8099" y="1"/>
                  </a:moveTo>
                  <a:lnTo>
                    <a:pt x="0" y="4746"/>
                  </a:lnTo>
                  <a:lnTo>
                    <a:pt x="1367" y="14882"/>
                  </a:lnTo>
                  <a:lnTo>
                    <a:pt x="9104" y="10007"/>
                  </a:lnTo>
                  <a:lnTo>
                    <a:pt x="8099"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 name="Google Shape;2523;p74">
              <a:extLst>
                <a:ext uri="{FF2B5EF4-FFF2-40B4-BE49-F238E27FC236}">
                  <a16:creationId xmlns:a16="http://schemas.microsoft.com/office/drawing/2014/main" id="{633AB033-9666-4236-BF29-6D91D3389A59}"/>
                </a:ext>
              </a:extLst>
            </p:cNvPr>
            <p:cNvSpPr/>
            <p:nvPr/>
          </p:nvSpPr>
          <p:spPr>
            <a:xfrm>
              <a:off x="876844" y="1937776"/>
              <a:ext cx="241874" cy="369868"/>
            </a:xfrm>
            <a:custGeom>
              <a:avLst/>
              <a:gdLst/>
              <a:ahLst/>
              <a:cxnLst/>
              <a:rect l="l" t="t" r="r" b="b"/>
              <a:pathLst>
                <a:path w="10626" h="16249" extrusionOk="0">
                  <a:moveTo>
                    <a:pt x="8898" y="0"/>
                  </a:moveTo>
                  <a:lnTo>
                    <a:pt x="0" y="5210"/>
                  </a:lnTo>
                  <a:lnTo>
                    <a:pt x="1883" y="16248"/>
                  </a:lnTo>
                  <a:lnTo>
                    <a:pt x="10626" y="10729"/>
                  </a:lnTo>
                  <a:lnTo>
                    <a:pt x="889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 name="Google Shape;2524;p74">
              <a:extLst>
                <a:ext uri="{FF2B5EF4-FFF2-40B4-BE49-F238E27FC236}">
                  <a16:creationId xmlns:a16="http://schemas.microsoft.com/office/drawing/2014/main" id="{BAD48E8A-5495-4D96-AEC9-BE0713574D95}"/>
                </a:ext>
              </a:extLst>
            </p:cNvPr>
            <p:cNvSpPr/>
            <p:nvPr/>
          </p:nvSpPr>
          <p:spPr>
            <a:xfrm>
              <a:off x="944361" y="2046427"/>
              <a:ext cx="144428" cy="221297"/>
            </a:xfrm>
            <a:custGeom>
              <a:avLst/>
              <a:gdLst/>
              <a:ahLst/>
              <a:cxnLst/>
              <a:rect l="l" t="t" r="r" b="b"/>
              <a:pathLst>
                <a:path w="6345" h="9722" extrusionOk="0">
                  <a:moveTo>
                    <a:pt x="2199" y="0"/>
                  </a:moveTo>
                  <a:cubicBezTo>
                    <a:pt x="1612" y="0"/>
                    <a:pt x="959" y="291"/>
                    <a:pt x="671" y="669"/>
                  </a:cubicBezTo>
                  <a:cubicBezTo>
                    <a:pt x="0" y="1572"/>
                    <a:pt x="103" y="3248"/>
                    <a:pt x="464" y="4202"/>
                  </a:cubicBezTo>
                  <a:cubicBezTo>
                    <a:pt x="645" y="4692"/>
                    <a:pt x="1290" y="4666"/>
                    <a:pt x="1573" y="5105"/>
                  </a:cubicBezTo>
                  <a:cubicBezTo>
                    <a:pt x="1960" y="5724"/>
                    <a:pt x="1651" y="6549"/>
                    <a:pt x="1573" y="7271"/>
                  </a:cubicBezTo>
                  <a:cubicBezTo>
                    <a:pt x="1522" y="7864"/>
                    <a:pt x="1315" y="8587"/>
                    <a:pt x="1419" y="9206"/>
                  </a:cubicBezTo>
                  <a:cubicBezTo>
                    <a:pt x="1470" y="9515"/>
                    <a:pt x="1573" y="9670"/>
                    <a:pt x="1676" y="9721"/>
                  </a:cubicBezTo>
                  <a:lnTo>
                    <a:pt x="6345" y="6781"/>
                  </a:lnTo>
                  <a:cubicBezTo>
                    <a:pt x="6009" y="6085"/>
                    <a:pt x="5519" y="5518"/>
                    <a:pt x="4900" y="5079"/>
                  </a:cubicBezTo>
                  <a:cubicBezTo>
                    <a:pt x="3998" y="4409"/>
                    <a:pt x="4178" y="3790"/>
                    <a:pt x="4178" y="2655"/>
                  </a:cubicBezTo>
                  <a:cubicBezTo>
                    <a:pt x="4230" y="1649"/>
                    <a:pt x="3740" y="695"/>
                    <a:pt x="2889" y="179"/>
                  </a:cubicBezTo>
                  <a:cubicBezTo>
                    <a:pt x="2694" y="54"/>
                    <a:pt x="2453" y="0"/>
                    <a:pt x="219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 name="Google Shape;2525;p74">
              <a:extLst>
                <a:ext uri="{FF2B5EF4-FFF2-40B4-BE49-F238E27FC236}">
                  <a16:creationId xmlns:a16="http://schemas.microsoft.com/office/drawing/2014/main" id="{A4D717FD-2DC1-4FEC-802F-6002D74AF10B}"/>
                </a:ext>
              </a:extLst>
            </p:cNvPr>
            <p:cNvSpPr/>
            <p:nvPr/>
          </p:nvSpPr>
          <p:spPr>
            <a:xfrm>
              <a:off x="912378" y="2098624"/>
              <a:ext cx="57248" cy="57043"/>
            </a:xfrm>
            <a:custGeom>
              <a:avLst/>
              <a:gdLst/>
              <a:ahLst/>
              <a:cxnLst/>
              <a:rect l="l" t="t" r="r" b="b"/>
              <a:pathLst>
                <a:path w="2515" h="2506" extrusionOk="0">
                  <a:moveTo>
                    <a:pt x="1792" y="1"/>
                  </a:moveTo>
                  <a:cubicBezTo>
                    <a:pt x="1" y="569"/>
                    <a:pt x="485" y="2505"/>
                    <a:pt x="1756" y="2505"/>
                  </a:cubicBezTo>
                  <a:cubicBezTo>
                    <a:pt x="1986" y="2505"/>
                    <a:pt x="2242" y="2442"/>
                    <a:pt x="2514" y="2296"/>
                  </a:cubicBezTo>
                  <a:lnTo>
                    <a:pt x="179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 name="Google Shape;2526;p74">
              <a:extLst>
                <a:ext uri="{FF2B5EF4-FFF2-40B4-BE49-F238E27FC236}">
                  <a16:creationId xmlns:a16="http://schemas.microsoft.com/office/drawing/2014/main" id="{F7AD10C4-86ED-40BE-9214-03E599E99046}"/>
                </a:ext>
              </a:extLst>
            </p:cNvPr>
            <p:cNvSpPr/>
            <p:nvPr/>
          </p:nvSpPr>
          <p:spPr>
            <a:xfrm>
              <a:off x="927015" y="2025029"/>
              <a:ext cx="114222" cy="94760"/>
            </a:xfrm>
            <a:custGeom>
              <a:avLst/>
              <a:gdLst/>
              <a:ahLst/>
              <a:cxnLst/>
              <a:rect l="l" t="t" r="r" b="b"/>
              <a:pathLst>
                <a:path w="5018" h="4163" extrusionOk="0">
                  <a:moveTo>
                    <a:pt x="3004" y="1"/>
                  </a:moveTo>
                  <a:cubicBezTo>
                    <a:pt x="2618" y="1"/>
                    <a:pt x="2219" y="99"/>
                    <a:pt x="1845" y="294"/>
                  </a:cubicBezTo>
                  <a:cubicBezTo>
                    <a:pt x="549" y="965"/>
                    <a:pt x="1" y="2343"/>
                    <a:pt x="275" y="3700"/>
                  </a:cubicBezTo>
                  <a:lnTo>
                    <a:pt x="275" y="3700"/>
                  </a:lnTo>
                  <a:lnTo>
                    <a:pt x="246" y="3595"/>
                  </a:lnTo>
                  <a:lnTo>
                    <a:pt x="246" y="3595"/>
                  </a:lnTo>
                  <a:cubicBezTo>
                    <a:pt x="220" y="3801"/>
                    <a:pt x="272" y="3982"/>
                    <a:pt x="349" y="4162"/>
                  </a:cubicBezTo>
                  <a:lnTo>
                    <a:pt x="633" y="4162"/>
                  </a:lnTo>
                  <a:cubicBezTo>
                    <a:pt x="375" y="2795"/>
                    <a:pt x="375" y="1660"/>
                    <a:pt x="1639" y="809"/>
                  </a:cubicBezTo>
                  <a:cubicBezTo>
                    <a:pt x="2052" y="531"/>
                    <a:pt x="2449" y="403"/>
                    <a:pt x="2825" y="403"/>
                  </a:cubicBezTo>
                  <a:cubicBezTo>
                    <a:pt x="3527" y="403"/>
                    <a:pt x="4152" y="852"/>
                    <a:pt x="4657" y="1609"/>
                  </a:cubicBezTo>
                  <a:cubicBezTo>
                    <a:pt x="4708" y="1609"/>
                    <a:pt x="4817" y="1620"/>
                    <a:pt x="4907" y="1620"/>
                  </a:cubicBezTo>
                  <a:cubicBezTo>
                    <a:pt x="4952" y="1620"/>
                    <a:pt x="4992" y="1617"/>
                    <a:pt x="5018" y="1609"/>
                  </a:cubicBezTo>
                  <a:cubicBezTo>
                    <a:pt x="4729" y="528"/>
                    <a:pt x="3900" y="1"/>
                    <a:pt x="3004"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 name="Google Shape;2527;p74">
              <a:extLst>
                <a:ext uri="{FF2B5EF4-FFF2-40B4-BE49-F238E27FC236}">
                  <a16:creationId xmlns:a16="http://schemas.microsoft.com/office/drawing/2014/main" id="{93CF778E-F1E8-42C8-86FD-27EC9A35BA7E}"/>
                </a:ext>
              </a:extLst>
            </p:cNvPr>
            <p:cNvSpPr/>
            <p:nvPr/>
          </p:nvSpPr>
          <p:spPr>
            <a:xfrm>
              <a:off x="1018320" y="2052665"/>
              <a:ext cx="58022" cy="67468"/>
            </a:xfrm>
            <a:custGeom>
              <a:avLst/>
              <a:gdLst/>
              <a:ahLst/>
              <a:cxnLst/>
              <a:rect l="l" t="t" r="r" b="b"/>
              <a:pathLst>
                <a:path w="2549" h="2964" extrusionOk="0">
                  <a:moveTo>
                    <a:pt x="541" y="0"/>
                  </a:moveTo>
                  <a:cubicBezTo>
                    <a:pt x="360" y="0"/>
                    <a:pt x="176" y="87"/>
                    <a:pt x="1" y="292"/>
                  </a:cubicBezTo>
                  <a:lnTo>
                    <a:pt x="310" y="704"/>
                  </a:lnTo>
                  <a:cubicBezTo>
                    <a:pt x="465" y="1478"/>
                    <a:pt x="542" y="2174"/>
                    <a:pt x="723" y="2948"/>
                  </a:cubicBezTo>
                  <a:cubicBezTo>
                    <a:pt x="798" y="2959"/>
                    <a:pt x="870" y="2964"/>
                    <a:pt x="936" y="2964"/>
                  </a:cubicBezTo>
                  <a:cubicBezTo>
                    <a:pt x="2549" y="2964"/>
                    <a:pt x="1598" y="0"/>
                    <a:pt x="541"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 name="Google Shape;2528;p74">
              <a:extLst>
                <a:ext uri="{FF2B5EF4-FFF2-40B4-BE49-F238E27FC236}">
                  <a16:creationId xmlns:a16="http://schemas.microsoft.com/office/drawing/2014/main" id="{3D903501-B22D-421E-94F7-4D42CC41FD77}"/>
                </a:ext>
              </a:extLst>
            </p:cNvPr>
            <p:cNvSpPr/>
            <p:nvPr/>
          </p:nvSpPr>
          <p:spPr>
            <a:xfrm>
              <a:off x="1583109" y="1977408"/>
              <a:ext cx="120960" cy="184649"/>
            </a:xfrm>
            <a:custGeom>
              <a:avLst/>
              <a:gdLst/>
              <a:ahLst/>
              <a:cxnLst/>
              <a:rect l="l" t="t" r="r" b="b"/>
              <a:pathLst>
                <a:path w="5314" h="8112" extrusionOk="0">
                  <a:moveTo>
                    <a:pt x="1865" y="0"/>
                  </a:moveTo>
                  <a:cubicBezTo>
                    <a:pt x="1374" y="0"/>
                    <a:pt x="830" y="245"/>
                    <a:pt x="594" y="554"/>
                  </a:cubicBezTo>
                  <a:cubicBezTo>
                    <a:pt x="0" y="1302"/>
                    <a:pt x="78" y="2721"/>
                    <a:pt x="387" y="3495"/>
                  </a:cubicBezTo>
                  <a:cubicBezTo>
                    <a:pt x="568" y="3933"/>
                    <a:pt x="1109" y="3881"/>
                    <a:pt x="1342" y="4268"/>
                  </a:cubicBezTo>
                  <a:cubicBezTo>
                    <a:pt x="1677" y="4758"/>
                    <a:pt x="1393" y="5455"/>
                    <a:pt x="1342" y="6048"/>
                  </a:cubicBezTo>
                  <a:cubicBezTo>
                    <a:pt x="1290" y="6564"/>
                    <a:pt x="1109" y="7183"/>
                    <a:pt x="1213" y="7673"/>
                  </a:cubicBezTo>
                  <a:cubicBezTo>
                    <a:pt x="1264" y="7931"/>
                    <a:pt x="1342" y="8060"/>
                    <a:pt x="1419" y="8111"/>
                  </a:cubicBezTo>
                  <a:lnTo>
                    <a:pt x="5313" y="5661"/>
                  </a:lnTo>
                  <a:cubicBezTo>
                    <a:pt x="5030" y="5094"/>
                    <a:pt x="4617" y="4604"/>
                    <a:pt x="4101" y="4242"/>
                  </a:cubicBezTo>
                  <a:cubicBezTo>
                    <a:pt x="3327" y="3675"/>
                    <a:pt x="3482" y="3159"/>
                    <a:pt x="3508" y="2205"/>
                  </a:cubicBezTo>
                  <a:cubicBezTo>
                    <a:pt x="3534" y="1380"/>
                    <a:pt x="3121" y="580"/>
                    <a:pt x="2425" y="142"/>
                  </a:cubicBezTo>
                  <a:cubicBezTo>
                    <a:pt x="2265" y="43"/>
                    <a:pt x="2070" y="0"/>
                    <a:pt x="186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 name="Google Shape;2529;p74">
              <a:extLst>
                <a:ext uri="{FF2B5EF4-FFF2-40B4-BE49-F238E27FC236}">
                  <a16:creationId xmlns:a16="http://schemas.microsoft.com/office/drawing/2014/main" id="{C71B0912-BED4-4134-B700-3406231E1E70}"/>
                </a:ext>
              </a:extLst>
            </p:cNvPr>
            <p:cNvSpPr/>
            <p:nvPr/>
          </p:nvSpPr>
          <p:spPr>
            <a:xfrm>
              <a:off x="1556248" y="2021137"/>
              <a:ext cx="48006" cy="47801"/>
            </a:xfrm>
            <a:custGeom>
              <a:avLst/>
              <a:gdLst/>
              <a:ahLst/>
              <a:cxnLst/>
              <a:rect l="l" t="t" r="r" b="b"/>
              <a:pathLst>
                <a:path w="2109" h="2100" extrusionOk="0">
                  <a:moveTo>
                    <a:pt x="1516" y="0"/>
                  </a:moveTo>
                  <a:cubicBezTo>
                    <a:pt x="1" y="461"/>
                    <a:pt x="430" y="2100"/>
                    <a:pt x="1497" y="2100"/>
                  </a:cubicBezTo>
                  <a:cubicBezTo>
                    <a:pt x="1684" y="2100"/>
                    <a:pt x="1890" y="2050"/>
                    <a:pt x="2109" y="1935"/>
                  </a:cubicBezTo>
                  <a:lnTo>
                    <a:pt x="151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 name="Google Shape;2530;p74">
              <a:extLst>
                <a:ext uri="{FF2B5EF4-FFF2-40B4-BE49-F238E27FC236}">
                  <a16:creationId xmlns:a16="http://schemas.microsoft.com/office/drawing/2014/main" id="{C3212127-13A0-4268-B684-E5DB3D8498E7}"/>
                </a:ext>
              </a:extLst>
            </p:cNvPr>
            <p:cNvSpPr/>
            <p:nvPr/>
          </p:nvSpPr>
          <p:spPr>
            <a:xfrm>
              <a:off x="1567925" y="1959834"/>
              <a:ext cx="96809" cy="78940"/>
            </a:xfrm>
            <a:custGeom>
              <a:avLst/>
              <a:gdLst/>
              <a:ahLst/>
              <a:cxnLst/>
              <a:rect l="l" t="t" r="r" b="b"/>
              <a:pathLst>
                <a:path w="4253" h="3468" extrusionOk="0">
                  <a:moveTo>
                    <a:pt x="2552" y="0"/>
                  </a:moveTo>
                  <a:cubicBezTo>
                    <a:pt x="2233" y="0"/>
                    <a:pt x="1904" y="81"/>
                    <a:pt x="1596" y="243"/>
                  </a:cubicBezTo>
                  <a:cubicBezTo>
                    <a:pt x="522" y="816"/>
                    <a:pt x="0" y="2028"/>
                    <a:pt x="316" y="3187"/>
                  </a:cubicBezTo>
                  <a:lnTo>
                    <a:pt x="316" y="3187"/>
                  </a:lnTo>
                  <a:lnTo>
                    <a:pt x="255" y="3003"/>
                  </a:lnTo>
                  <a:lnTo>
                    <a:pt x="255" y="3003"/>
                  </a:lnTo>
                  <a:cubicBezTo>
                    <a:pt x="255" y="3158"/>
                    <a:pt x="281" y="3338"/>
                    <a:pt x="332" y="3467"/>
                  </a:cubicBezTo>
                  <a:lnTo>
                    <a:pt x="564" y="3467"/>
                  </a:lnTo>
                  <a:cubicBezTo>
                    <a:pt x="358" y="2332"/>
                    <a:pt x="358" y="1378"/>
                    <a:pt x="1415" y="682"/>
                  </a:cubicBezTo>
                  <a:cubicBezTo>
                    <a:pt x="1767" y="447"/>
                    <a:pt x="2103" y="339"/>
                    <a:pt x="2418" y="339"/>
                  </a:cubicBezTo>
                  <a:cubicBezTo>
                    <a:pt x="3006" y="339"/>
                    <a:pt x="3523" y="715"/>
                    <a:pt x="3943" y="1352"/>
                  </a:cubicBezTo>
                  <a:cubicBezTo>
                    <a:pt x="3994" y="1352"/>
                    <a:pt x="4080" y="1364"/>
                    <a:pt x="4155" y="1364"/>
                  </a:cubicBezTo>
                  <a:cubicBezTo>
                    <a:pt x="4192" y="1364"/>
                    <a:pt x="4227" y="1361"/>
                    <a:pt x="4252" y="1352"/>
                  </a:cubicBezTo>
                  <a:cubicBezTo>
                    <a:pt x="3999" y="448"/>
                    <a:pt x="3302" y="0"/>
                    <a:pt x="255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 name="Google Shape;2531;p74">
              <a:extLst>
                <a:ext uri="{FF2B5EF4-FFF2-40B4-BE49-F238E27FC236}">
                  <a16:creationId xmlns:a16="http://schemas.microsoft.com/office/drawing/2014/main" id="{E349577C-8186-43E9-9761-DF287C1EDFE5}"/>
                </a:ext>
              </a:extLst>
            </p:cNvPr>
            <p:cNvSpPr/>
            <p:nvPr/>
          </p:nvSpPr>
          <p:spPr>
            <a:xfrm>
              <a:off x="1645345" y="1982644"/>
              <a:ext cx="48416" cy="56360"/>
            </a:xfrm>
            <a:custGeom>
              <a:avLst/>
              <a:gdLst/>
              <a:ahLst/>
              <a:cxnLst/>
              <a:rect l="l" t="t" r="r" b="b"/>
              <a:pathLst>
                <a:path w="2127" h="2476" extrusionOk="0">
                  <a:moveTo>
                    <a:pt x="455" y="0"/>
                  </a:moveTo>
                  <a:cubicBezTo>
                    <a:pt x="302" y="0"/>
                    <a:pt x="147" y="74"/>
                    <a:pt x="0" y="247"/>
                  </a:cubicBezTo>
                  <a:lnTo>
                    <a:pt x="284" y="582"/>
                  </a:lnTo>
                  <a:cubicBezTo>
                    <a:pt x="387" y="1227"/>
                    <a:pt x="464" y="1820"/>
                    <a:pt x="593" y="2465"/>
                  </a:cubicBezTo>
                  <a:cubicBezTo>
                    <a:pt x="651" y="2472"/>
                    <a:pt x="705" y="2476"/>
                    <a:pt x="756" y="2476"/>
                  </a:cubicBezTo>
                  <a:cubicBezTo>
                    <a:pt x="2127" y="2476"/>
                    <a:pt x="1337" y="0"/>
                    <a:pt x="45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 name="Google Shape;2532;p74">
              <a:extLst>
                <a:ext uri="{FF2B5EF4-FFF2-40B4-BE49-F238E27FC236}">
                  <a16:creationId xmlns:a16="http://schemas.microsoft.com/office/drawing/2014/main" id="{05ADF075-0ECE-4849-A59F-A8106CCEBF8B}"/>
                </a:ext>
              </a:extLst>
            </p:cNvPr>
            <p:cNvSpPr/>
            <p:nvPr/>
          </p:nvSpPr>
          <p:spPr>
            <a:xfrm>
              <a:off x="1193281" y="2198853"/>
              <a:ext cx="144428" cy="220933"/>
            </a:xfrm>
            <a:custGeom>
              <a:avLst/>
              <a:gdLst/>
              <a:ahLst/>
              <a:cxnLst/>
              <a:rect l="l" t="t" r="r" b="b"/>
              <a:pathLst>
                <a:path w="6345" h="9706" extrusionOk="0">
                  <a:moveTo>
                    <a:pt x="2206" y="1"/>
                  </a:moveTo>
                  <a:cubicBezTo>
                    <a:pt x="1620" y="1"/>
                    <a:pt x="964" y="294"/>
                    <a:pt x="671" y="678"/>
                  </a:cubicBezTo>
                  <a:cubicBezTo>
                    <a:pt x="0" y="1555"/>
                    <a:pt x="78" y="3258"/>
                    <a:pt x="439" y="4212"/>
                  </a:cubicBezTo>
                  <a:cubicBezTo>
                    <a:pt x="645" y="4702"/>
                    <a:pt x="1316" y="4676"/>
                    <a:pt x="1599" y="5114"/>
                  </a:cubicBezTo>
                  <a:cubicBezTo>
                    <a:pt x="1960" y="5733"/>
                    <a:pt x="1651" y="6559"/>
                    <a:pt x="1599" y="7255"/>
                  </a:cubicBezTo>
                  <a:cubicBezTo>
                    <a:pt x="1522" y="7874"/>
                    <a:pt x="1316" y="8596"/>
                    <a:pt x="1419" y="9189"/>
                  </a:cubicBezTo>
                  <a:cubicBezTo>
                    <a:pt x="1496" y="9525"/>
                    <a:pt x="1574" y="9654"/>
                    <a:pt x="1703" y="9705"/>
                  </a:cubicBezTo>
                  <a:lnTo>
                    <a:pt x="6345" y="6765"/>
                  </a:lnTo>
                  <a:cubicBezTo>
                    <a:pt x="6010" y="6095"/>
                    <a:pt x="5520" y="5527"/>
                    <a:pt x="4901" y="5089"/>
                  </a:cubicBezTo>
                  <a:cubicBezTo>
                    <a:pt x="3972" y="4418"/>
                    <a:pt x="4153" y="3799"/>
                    <a:pt x="4153" y="2664"/>
                  </a:cubicBezTo>
                  <a:cubicBezTo>
                    <a:pt x="4230" y="1659"/>
                    <a:pt x="3714" y="704"/>
                    <a:pt x="2863" y="163"/>
                  </a:cubicBezTo>
                  <a:cubicBezTo>
                    <a:pt x="2676" y="50"/>
                    <a:pt x="2447" y="1"/>
                    <a:pt x="2206"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 name="Google Shape;2533;p74">
              <a:extLst>
                <a:ext uri="{FF2B5EF4-FFF2-40B4-BE49-F238E27FC236}">
                  <a16:creationId xmlns:a16="http://schemas.microsoft.com/office/drawing/2014/main" id="{F983B7E0-88D7-4785-AC7C-FF1FD4497EB9}"/>
                </a:ext>
              </a:extLst>
            </p:cNvPr>
            <p:cNvSpPr/>
            <p:nvPr/>
          </p:nvSpPr>
          <p:spPr>
            <a:xfrm>
              <a:off x="1160638" y="2251277"/>
              <a:ext cx="57316" cy="57384"/>
            </a:xfrm>
            <a:custGeom>
              <a:avLst/>
              <a:gdLst/>
              <a:ahLst/>
              <a:cxnLst/>
              <a:rect l="l" t="t" r="r" b="b"/>
              <a:pathLst>
                <a:path w="2518" h="2521" extrusionOk="0">
                  <a:moveTo>
                    <a:pt x="1821" y="0"/>
                  </a:moveTo>
                  <a:cubicBezTo>
                    <a:pt x="1" y="571"/>
                    <a:pt x="512" y="2521"/>
                    <a:pt x="1784" y="2521"/>
                  </a:cubicBezTo>
                  <a:cubicBezTo>
                    <a:pt x="2008" y="2521"/>
                    <a:pt x="2255" y="2460"/>
                    <a:pt x="2518" y="2321"/>
                  </a:cubicBezTo>
                  <a:lnTo>
                    <a:pt x="1821"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 name="Google Shape;2534;p74">
              <a:extLst>
                <a:ext uri="{FF2B5EF4-FFF2-40B4-BE49-F238E27FC236}">
                  <a16:creationId xmlns:a16="http://schemas.microsoft.com/office/drawing/2014/main" id="{D18EFE0E-E868-40ED-8BAE-75DADFEE17C0}"/>
                </a:ext>
              </a:extLst>
            </p:cNvPr>
            <p:cNvSpPr/>
            <p:nvPr/>
          </p:nvSpPr>
          <p:spPr>
            <a:xfrm>
              <a:off x="1174660" y="2177227"/>
              <a:ext cx="115497" cy="95193"/>
            </a:xfrm>
            <a:custGeom>
              <a:avLst/>
              <a:gdLst/>
              <a:ahLst/>
              <a:cxnLst/>
              <a:rect l="l" t="t" r="r" b="b"/>
              <a:pathLst>
                <a:path w="5074" h="4182" extrusionOk="0">
                  <a:moveTo>
                    <a:pt x="3042" y="0"/>
                  </a:moveTo>
                  <a:cubicBezTo>
                    <a:pt x="2661" y="0"/>
                    <a:pt x="2269" y="96"/>
                    <a:pt x="1902" y="287"/>
                  </a:cubicBezTo>
                  <a:cubicBezTo>
                    <a:pt x="557" y="996"/>
                    <a:pt x="0" y="2494"/>
                    <a:pt x="408" y="3944"/>
                  </a:cubicBezTo>
                  <a:lnTo>
                    <a:pt x="408" y="3944"/>
                  </a:lnTo>
                  <a:lnTo>
                    <a:pt x="303" y="3614"/>
                  </a:lnTo>
                  <a:lnTo>
                    <a:pt x="303" y="3614"/>
                  </a:lnTo>
                  <a:cubicBezTo>
                    <a:pt x="277" y="3795"/>
                    <a:pt x="328" y="4001"/>
                    <a:pt x="406" y="4182"/>
                  </a:cubicBezTo>
                  <a:lnTo>
                    <a:pt x="689" y="4182"/>
                  </a:lnTo>
                  <a:cubicBezTo>
                    <a:pt x="432" y="2815"/>
                    <a:pt x="432" y="1680"/>
                    <a:pt x="1695" y="829"/>
                  </a:cubicBezTo>
                  <a:cubicBezTo>
                    <a:pt x="2108" y="542"/>
                    <a:pt x="2505" y="411"/>
                    <a:pt x="2880" y="411"/>
                  </a:cubicBezTo>
                  <a:cubicBezTo>
                    <a:pt x="3583" y="411"/>
                    <a:pt x="4208" y="872"/>
                    <a:pt x="4713" y="1628"/>
                  </a:cubicBezTo>
                  <a:cubicBezTo>
                    <a:pt x="4729" y="1623"/>
                    <a:pt x="4751" y="1621"/>
                    <a:pt x="4777" y="1621"/>
                  </a:cubicBezTo>
                  <a:cubicBezTo>
                    <a:pt x="4846" y="1621"/>
                    <a:pt x="4940" y="1636"/>
                    <a:pt x="5010" y="1636"/>
                  </a:cubicBezTo>
                  <a:cubicBezTo>
                    <a:pt x="5035" y="1636"/>
                    <a:pt x="5057" y="1634"/>
                    <a:pt x="5074" y="1628"/>
                  </a:cubicBezTo>
                  <a:cubicBezTo>
                    <a:pt x="4784" y="540"/>
                    <a:pt x="3945" y="0"/>
                    <a:pt x="3042"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 name="Google Shape;2535;p74">
              <a:extLst>
                <a:ext uri="{FF2B5EF4-FFF2-40B4-BE49-F238E27FC236}">
                  <a16:creationId xmlns:a16="http://schemas.microsoft.com/office/drawing/2014/main" id="{FA431084-8C55-4D59-9F2B-8A0610607D7B}"/>
                </a:ext>
              </a:extLst>
            </p:cNvPr>
            <p:cNvSpPr/>
            <p:nvPr/>
          </p:nvSpPr>
          <p:spPr>
            <a:xfrm>
              <a:off x="1267240" y="2205272"/>
              <a:ext cx="58181" cy="67445"/>
            </a:xfrm>
            <a:custGeom>
              <a:avLst/>
              <a:gdLst/>
              <a:ahLst/>
              <a:cxnLst/>
              <a:rect l="l" t="t" r="r" b="b"/>
              <a:pathLst>
                <a:path w="2556" h="2963" extrusionOk="0">
                  <a:moveTo>
                    <a:pt x="552" y="1"/>
                  </a:moveTo>
                  <a:cubicBezTo>
                    <a:pt x="368" y="1"/>
                    <a:pt x="181" y="88"/>
                    <a:pt x="1" y="293"/>
                  </a:cubicBezTo>
                  <a:lnTo>
                    <a:pt x="336" y="706"/>
                  </a:lnTo>
                  <a:cubicBezTo>
                    <a:pt x="465" y="1480"/>
                    <a:pt x="543" y="2176"/>
                    <a:pt x="723" y="2950"/>
                  </a:cubicBezTo>
                  <a:cubicBezTo>
                    <a:pt x="793" y="2959"/>
                    <a:pt x="859" y="2963"/>
                    <a:pt x="921" y="2963"/>
                  </a:cubicBezTo>
                  <a:cubicBezTo>
                    <a:pt x="2555" y="2963"/>
                    <a:pt x="1622" y="1"/>
                    <a:pt x="55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 name="Google Shape;2536;p74">
              <a:extLst>
                <a:ext uri="{FF2B5EF4-FFF2-40B4-BE49-F238E27FC236}">
                  <a16:creationId xmlns:a16="http://schemas.microsoft.com/office/drawing/2014/main" id="{34A87F3B-8EE3-4F64-86ED-85316E1935C0}"/>
                </a:ext>
              </a:extLst>
            </p:cNvPr>
            <p:cNvSpPr/>
            <p:nvPr/>
          </p:nvSpPr>
          <p:spPr>
            <a:xfrm>
              <a:off x="1044156" y="2617681"/>
              <a:ext cx="132114" cy="202495"/>
            </a:xfrm>
            <a:custGeom>
              <a:avLst/>
              <a:gdLst/>
              <a:ahLst/>
              <a:cxnLst/>
              <a:rect l="l" t="t" r="r" b="b"/>
              <a:pathLst>
                <a:path w="5804" h="8896" extrusionOk="0">
                  <a:moveTo>
                    <a:pt x="2025" y="1"/>
                  </a:moveTo>
                  <a:cubicBezTo>
                    <a:pt x="1490" y="1"/>
                    <a:pt x="893" y="270"/>
                    <a:pt x="620" y="617"/>
                  </a:cubicBezTo>
                  <a:cubicBezTo>
                    <a:pt x="1" y="1442"/>
                    <a:pt x="78" y="2989"/>
                    <a:pt x="413" y="3841"/>
                  </a:cubicBezTo>
                  <a:cubicBezTo>
                    <a:pt x="594" y="4305"/>
                    <a:pt x="1213" y="4279"/>
                    <a:pt x="1471" y="4692"/>
                  </a:cubicBezTo>
                  <a:cubicBezTo>
                    <a:pt x="1806" y="5233"/>
                    <a:pt x="1522" y="6007"/>
                    <a:pt x="1471" y="6652"/>
                  </a:cubicBezTo>
                  <a:cubicBezTo>
                    <a:pt x="1393" y="7193"/>
                    <a:pt x="1213" y="7864"/>
                    <a:pt x="1316" y="8406"/>
                  </a:cubicBezTo>
                  <a:cubicBezTo>
                    <a:pt x="1367" y="8715"/>
                    <a:pt x="1445" y="8844"/>
                    <a:pt x="1548" y="8896"/>
                  </a:cubicBezTo>
                  <a:lnTo>
                    <a:pt x="5803" y="6213"/>
                  </a:lnTo>
                  <a:cubicBezTo>
                    <a:pt x="5494" y="5569"/>
                    <a:pt x="5056" y="5053"/>
                    <a:pt x="4488" y="4666"/>
                  </a:cubicBezTo>
                  <a:cubicBezTo>
                    <a:pt x="3637" y="4047"/>
                    <a:pt x="3818" y="3479"/>
                    <a:pt x="3818" y="2448"/>
                  </a:cubicBezTo>
                  <a:cubicBezTo>
                    <a:pt x="3869" y="1519"/>
                    <a:pt x="3405" y="668"/>
                    <a:pt x="2631" y="152"/>
                  </a:cubicBezTo>
                  <a:cubicBezTo>
                    <a:pt x="2458" y="47"/>
                    <a:pt x="2247" y="1"/>
                    <a:pt x="2025"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 name="Google Shape;2537;p74">
              <a:extLst>
                <a:ext uri="{FF2B5EF4-FFF2-40B4-BE49-F238E27FC236}">
                  <a16:creationId xmlns:a16="http://schemas.microsoft.com/office/drawing/2014/main" id="{54D55385-F949-4854-9B0B-7241A73A57C7}"/>
                </a:ext>
              </a:extLst>
            </p:cNvPr>
            <p:cNvSpPr/>
            <p:nvPr/>
          </p:nvSpPr>
          <p:spPr>
            <a:xfrm>
              <a:off x="1015087" y="2665758"/>
              <a:ext cx="51990" cy="51944"/>
            </a:xfrm>
            <a:custGeom>
              <a:avLst/>
              <a:gdLst/>
              <a:ahLst/>
              <a:cxnLst/>
              <a:rect l="l" t="t" r="r" b="b"/>
              <a:pathLst>
                <a:path w="2284" h="2282" extrusionOk="0">
                  <a:moveTo>
                    <a:pt x="1639" y="1"/>
                  </a:moveTo>
                  <a:cubicBezTo>
                    <a:pt x="0" y="503"/>
                    <a:pt x="434" y="2282"/>
                    <a:pt x="1592" y="2282"/>
                  </a:cubicBezTo>
                  <a:cubicBezTo>
                    <a:pt x="1802" y="2282"/>
                    <a:pt x="2035" y="2224"/>
                    <a:pt x="2283" y="2090"/>
                  </a:cubicBezTo>
                  <a:lnTo>
                    <a:pt x="1639"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 name="Google Shape;2538;p74">
              <a:extLst>
                <a:ext uri="{FF2B5EF4-FFF2-40B4-BE49-F238E27FC236}">
                  <a16:creationId xmlns:a16="http://schemas.microsoft.com/office/drawing/2014/main" id="{5D734DF0-8432-44DB-9951-C7884CEB1B07}"/>
                </a:ext>
              </a:extLst>
            </p:cNvPr>
            <p:cNvSpPr/>
            <p:nvPr/>
          </p:nvSpPr>
          <p:spPr>
            <a:xfrm>
              <a:off x="1028381" y="2598400"/>
              <a:ext cx="104434" cy="86748"/>
            </a:xfrm>
            <a:custGeom>
              <a:avLst/>
              <a:gdLst/>
              <a:ahLst/>
              <a:cxnLst/>
              <a:rect l="l" t="t" r="r" b="b"/>
              <a:pathLst>
                <a:path w="4588" h="3811" extrusionOk="0">
                  <a:moveTo>
                    <a:pt x="2729" y="1"/>
                  </a:moveTo>
                  <a:cubicBezTo>
                    <a:pt x="2386" y="1"/>
                    <a:pt x="2033" y="85"/>
                    <a:pt x="1699" y="252"/>
                  </a:cubicBezTo>
                  <a:cubicBezTo>
                    <a:pt x="556" y="869"/>
                    <a:pt x="1" y="2135"/>
                    <a:pt x="249" y="3349"/>
                  </a:cubicBezTo>
                  <a:lnTo>
                    <a:pt x="249" y="3349"/>
                  </a:lnTo>
                  <a:cubicBezTo>
                    <a:pt x="235" y="3511"/>
                    <a:pt x="263" y="3671"/>
                    <a:pt x="332" y="3811"/>
                  </a:cubicBezTo>
                  <a:lnTo>
                    <a:pt x="590" y="3811"/>
                  </a:lnTo>
                  <a:cubicBezTo>
                    <a:pt x="358" y="2573"/>
                    <a:pt x="358" y="1515"/>
                    <a:pt x="1519" y="742"/>
                  </a:cubicBezTo>
                  <a:cubicBezTo>
                    <a:pt x="1896" y="490"/>
                    <a:pt x="2257" y="373"/>
                    <a:pt x="2599" y="373"/>
                  </a:cubicBezTo>
                  <a:cubicBezTo>
                    <a:pt x="3238" y="373"/>
                    <a:pt x="3808" y="783"/>
                    <a:pt x="4278" y="1489"/>
                  </a:cubicBezTo>
                  <a:cubicBezTo>
                    <a:pt x="4289" y="1484"/>
                    <a:pt x="4306" y="1482"/>
                    <a:pt x="4326" y="1482"/>
                  </a:cubicBezTo>
                  <a:cubicBezTo>
                    <a:pt x="4381" y="1482"/>
                    <a:pt x="4463" y="1497"/>
                    <a:pt x="4527" y="1497"/>
                  </a:cubicBezTo>
                  <a:cubicBezTo>
                    <a:pt x="4551" y="1497"/>
                    <a:pt x="4572" y="1495"/>
                    <a:pt x="4588" y="1489"/>
                  </a:cubicBezTo>
                  <a:cubicBezTo>
                    <a:pt x="4315" y="488"/>
                    <a:pt x="3553" y="1"/>
                    <a:pt x="2729"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 name="Google Shape;2539;p74">
              <a:extLst>
                <a:ext uri="{FF2B5EF4-FFF2-40B4-BE49-F238E27FC236}">
                  <a16:creationId xmlns:a16="http://schemas.microsoft.com/office/drawing/2014/main" id="{3D217AE7-BFB1-4622-BC8E-7C6981BD6864}"/>
                </a:ext>
              </a:extLst>
            </p:cNvPr>
            <p:cNvSpPr/>
            <p:nvPr/>
          </p:nvSpPr>
          <p:spPr>
            <a:xfrm>
              <a:off x="1112265" y="2623691"/>
              <a:ext cx="52946" cy="61732"/>
            </a:xfrm>
            <a:custGeom>
              <a:avLst/>
              <a:gdLst/>
              <a:ahLst/>
              <a:cxnLst/>
              <a:rect l="l" t="t" r="r" b="b"/>
              <a:pathLst>
                <a:path w="2326" h="2712" extrusionOk="0">
                  <a:moveTo>
                    <a:pt x="503" y="1"/>
                  </a:moveTo>
                  <a:cubicBezTo>
                    <a:pt x="334" y="1"/>
                    <a:pt x="163" y="83"/>
                    <a:pt x="0" y="275"/>
                  </a:cubicBezTo>
                  <a:lnTo>
                    <a:pt x="284" y="636"/>
                  </a:lnTo>
                  <a:cubicBezTo>
                    <a:pt x="413" y="1359"/>
                    <a:pt x="490" y="2003"/>
                    <a:pt x="645" y="2700"/>
                  </a:cubicBezTo>
                  <a:cubicBezTo>
                    <a:pt x="709" y="2708"/>
                    <a:pt x="769" y="2712"/>
                    <a:pt x="825" y="2712"/>
                  </a:cubicBezTo>
                  <a:cubicBezTo>
                    <a:pt x="2325" y="2712"/>
                    <a:pt x="1469" y="1"/>
                    <a:pt x="503"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 name="Google Shape;2540;p74">
              <a:extLst>
                <a:ext uri="{FF2B5EF4-FFF2-40B4-BE49-F238E27FC236}">
                  <a16:creationId xmlns:a16="http://schemas.microsoft.com/office/drawing/2014/main" id="{010E5C21-429F-48A9-874E-3B95835195DC}"/>
                </a:ext>
              </a:extLst>
            </p:cNvPr>
            <p:cNvSpPr/>
            <p:nvPr/>
          </p:nvSpPr>
          <p:spPr>
            <a:xfrm>
              <a:off x="1388775" y="2068849"/>
              <a:ext cx="145020" cy="221183"/>
            </a:xfrm>
            <a:custGeom>
              <a:avLst/>
              <a:gdLst/>
              <a:ahLst/>
              <a:cxnLst/>
              <a:rect l="l" t="t" r="r" b="b"/>
              <a:pathLst>
                <a:path w="6371" h="9717" extrusionOk="0">
                  <a:moveTo>
                    <a:pt x="2223" y="0"/>
                  </a:moveTo>
                  <a:cubicBezTo>
                    <a:pt x="1639" y="0"/>
                    <a:pt x="988" y="300"/>
                    <a:pt x="697" y="664"/>
                  </a:cubicBezTo>
                  <a:cubicBezTo>
                    <a:pt x="1" y="1567"/>
                    <a:pt x="104" y="3243"/>
                    <a:pt x="465" y="4197"/>
                  </a:cubicBezTo>
                  <a:cubicBezTo>
                    <a:pt x="671" y="4687"/>
                    <a:pt x="1316" y="4661"/>
                    <a:pt x="1600" y="5126"/>
                  </a:cubicBezTo>
                  <a:cubicBezTo>
                    <a:pt x="1987" y="5719"/>
                    <a:pt x="1677" y="6544"/>
                    <a:pt x="1600" y="7266"/>
                  </a:cubicBezTo>
                  <a:cubicBezTo>
                    <a:pt x="1548" y="7860"/>
                    <a:pt x="1342" y="8607"/>
                    <a:pt x="1445" y="9201"/>
                  </a:cubicBezTo>
                  <a:cubicBezTo>
                    <a:pt x="1497" y="9510"/>
                    <a:pt x="1574" y="9665"/>
                    <a:pt x="1703" y="9716"/>
                  </a:cubicBezTo>
                  <a:lnTo>
                    <a:pt x="6371" y="6776"/>
                  </a:lnTo>
                  <a:cubicBezTo>
                    <a:pt x="6036" y="6106"/>
                    <a:pt x="5520" y="5513"/>
                    <a:pt x="4901" y="5074"/>
                  </a:cubicBezTo>
                  <a:cubicBezTo>
                    <a:pt x="3998" y="4404"/>
                    <a:pt x="4179" y="3785"/>
                    <a:pt x="4179" y="2676"/>
                  </a:cubicBezTo>
                  <a:cubicBezTo>
                    <a:pt x="4230" y="1670"/>
                    <a:pt x="3740" y="715"/>
                    <a:pt x="2889" y="174"/>
                  </a:cubicBezTo>
                  <a:cubicBezTo>
                    <a:pt x="2699" y="52"/>
                    <a:pt x="2467" y="0"/>
                    <a:pt x="2223"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 name="Google Shape;2541;p74">
              <a:extLst>
                <a:ext uri="{FF2B5EF4-FFF2-40B4-BE49-F238E27FC236}">
                  <a16:creationId xmlns:a16="http://schemas.microsoft.com/office/drawing/2014/main" id="{B43D1ECC-1012-48FA-85A8-D01A9A1F6CC2}"/>
                </a:ext>
              </a:extLst>
            </p:cNvPr>
            <p:cNvSpPr/>
            <p:nvPr/>
          </p:nvSpPr>
          <p:spPr>
            <a:xfrm>
              <a:off x="1356815" y="2120933"/>
              <a:ext cx="57225" cy="57043"/>
            </a:xfrm>
            <a:custGeom>
              <a:avLst/>
              <a:gdLst/>
              <a:ahLst/>
              <a:cxnLst/>
              <a:rect l="l" t="t" r="r" b="b"/>
              <a:pathLst>
                <a:path w="2514" h="2506" extrusionOk="0">
                  <a:moveTo>
                    <a:pt x="1792" y="1"/>
                  </a:moveTo>
                  <a:cubicBezTo>
                    <a:pt x="0" y="569"/>
                    <a:pt x="503" y="2505"/>
                    <a:pt x="1764" y="2505"/>
                  </a:cubicBezTo>
                  <a:cubicBezTo>
                    <a:pt x="1992" y="2505"/>
                    <a:pt x="2245" y="2442"/>
                    <a:pt x="2514" y="2296"/>
                  </a:cubicBezTo>
                  <a:lnTo>
                    <a:pt x="1792"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 name="Google Shape;2542;p74">
              <a:extLst>
                <a:ext uri="{FF2B5EF4-FFF2-40B4-BE49-F238E27FC236}">
                  <a16:creationId xmlns:a16="http://schemas.microsoft.com/office/drawing/2014/main" id="{32D6252C-8960-48F2-839D-45B62D6C55F9}"/>
                </a:ext>
              </a:extLst>
            </p:cNvPr>
            <p:cNvSpPr/>
            <p:nvPr/>
          </p:nvSpPr>
          <p:spPr>
            <a:xfrm>
              <a:off x="1372021" y="2046883"/>
              <a:ext cx="114222" cy="95216"/>
            </a:xfrm>
            <a:custGeom>
              <a:avLst/>
              <a:gdLst/>
              <a:ahLst/>
              <a:cxnLst/>
              <a:rect l="l" t="t" r="r" b="b"/>
              <a:pathLst>
                <a:path w="5018" h="4183" extrusionOk="0">
                  <a:moveTo>
                    <a:pt x="2981" y="1"/>
                  </a:moveTo>
                  <a:cubicBezTo>
                    <a:pt x="2603" y="1"/>
                    <a:pt x="2213" y="97"/>
                    <a:pt x="1846" y="288"/>
                  </a:cubicBezTo>
                  <a:cubicBezTo>
                    <a:pt x="549" y="982"/>
                    <a:pt x="1" y="2363"/>
                    <a:pt x="275" y="3720"/>
                  </a:cubicBezTo>
                  <a:lnTo>
                    <a:pt x="275" y="3720"/>
                  </a:lnTo>
                  <a:lnTo>
                    <a:pt x="247" y="3615"/>
                  </a:lnTo>
                  <a:lnTo>
                    <a:pt x="247" y="3615"/>
                  </a:lnTo>
                  <a:cubicBezTo>
                    <a:pt x="221" y="3821"/>
                    <a:pt x="247" y="4002"/>
                    <a:pt x="324" y="4182"/>
                  </a:cubicBezTo>
                  <a:lnTo>
                    <a:pt x="608" y="4182"/>
                  </a:lnTo>
                  <a:cubicBezTo>
                    <a:pt x="350" y="2815"/>
                    <a:pt x="376" y="1680"/>
                    <a:pt x="1639" y="829"/>
                  </a:cubicBezTo>
                  <a:cubicBezTo>
                    <a:pt x="2052" y="551"/>
                    <a:pt x="2450" y="423"/>
                    <a:pt x="2825" y="423"/>
                  </a:cubicBezTo>
                  <a:cubicBezTo>
                    <a:pt x="3528" y="423"/>
                    <a:pt x="4153" y="872"/>
                    <a:pt x="4657" y="1629"/>
                  </a:cubicBezTo>
                  <a:cubicBezTo>
                    <a:pt x="4673" y="1623"/>
                    <a:pt x="4694" y="1621"/>
                    <a:pt x="4718" y="1621"/>
                  </a:cubicBezTo>
                  <a:cubicBezTo>
                    <a:pt x="4783" y="1621"/>
                    <a:pt x="4870" y="1636"/>
                    <a:pt x="4944" y="1636"/>
                  </a:cubicBezTo>
                  <a:cubicBezTo>
                    <a:pt x="4971" y="1636"/>
                    <a:pt x="4996" y="1634"/>
                    <a:pt x="5018" y="1629"/>
                  </a:cubicBezTo>
                  <a:cubicBezTo>
                    <a:pt x="4710" y="540"/>
                    <a:pt x="3878" y="1"/>
                    <a:pt x="2981"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 name="Google Shape;2543;p74">
              <a:extLst>
                <a:ext uri="{FF2B5EF4-FFF2-40B4-BE49-F238E27FC236}">
                  <a16:creationId xmlns:a16="http://schemas.microsoft.com/office/drawing/2014/main" id="{B0B1200A-C30A-46FD-820C-6BE80D73E63D}"/>
                </a:ext>
              </a:extLst>
            </p:cNvPr>
            <p:cNvSpPr/>
            <p:nvPr/>
          </p:nvSpPr>
          <p:spPr>
            <a:xfrm>
              <a:off x="1463349" y="2074950"/>
              <a:ext cx="58113" cy="67445"/>
            </a:xfrm>
            <a:custGeom>
              <a:avLst/>
              <a:gdLst/>
              <a:ahLst/>
              <a:cxnLst/>
              <a:rect l="l" t="t" r="r" b="b"/>
              <a:pathLst>
                <a:path w="2553" h="2963" extrusionOk="0">
                  <a:moveTo>
                    <a:pt x="543" y="0"/>
                  </a:moveTo>
                  <a:cubicBezTo>
                    <a:pt x="361" y="0"/>
                    <a:pt x="176" y="88"/>
                    <a:pt x="0" y="293"/>
                  </a:cubicBezTo>
                  <a:lnTo>
                    <a:pt x="310" y="705"/>
                  </a:lnTo>
                  <a:cubicBezTo>
                    <a:pt x="464" y="1479"/>
                    <a:pt x="542" y="2175"/>
                    <a:pt x="722" y="2949"/>
                  </a:cubicBezTo>
                  <a:cubicBezTo>
                    <a:pt x="792" y="2958"/>
                    <a:pt x="858" y="2962"/>
                    <a:pt x="920" y="2962"/>
                  </a:cubicBezTo>
                  <a:cubicBezTo>
                    <a:pt x="2553" y="2962"/>
                    <a:pt x="1602" y="0"/>
                    <a:pt x="543"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 name="Google Shape;2544;p74">
              <a:extLst>
                <a:ext uri="{FF2B5EF4-FFF2-40B4-BE49-F238E27FC236}">
                  <a16:creationId xmlns:a16="http://schemas.microsoft.com/office/drawing/2014/main" id="{33D57D04-99D6-4C3A-A5A5-3751230FE1E2}"/>
                </a:ext>
              </a:extLst>
            </p:cNvPr>
            <p:cNvSpPr/>
            <p:nvPr/>
          </p:nvSpPr>
          <p:spPr>
            <a:xfrm>
              <a:off x="1455132" y="2347841"/>
              <a:ext cx="111559" cy="170582"/>
            </a:xfrm>
            <a:custGeom>
              <a:avLst/>
              <a:gdLst/>
              <a:ahLst/>
              <a:cxnLst/>
              <a:rect l="l" t="t" r="r" b="b"/>
              <a:pathLst>
                <a:path w="4901" h="7494" extrusionOk="0">
                  <a:moveTo>
                    <a:pt x="1713" y="0"/>
                  </a:moveTo>
                  <a:cubicBezTo>
                    <a:pt x="1257" y="0"/>
                    <a:pt x="759" y="240"/>
                    <a:pt x="542" y="530"/>
                  </a:cubicBezTo>
                  <a:cubicBezTo>
                    <a:pt x="0" y="1226"/>
                    <a:pt x="77" y="2515"/>
                    <a:pt x="361" y="3238"/>
                  </a:cubicBezTo>
                  <a:cubicBezTo>
                    <a:pt x="516" y="3624"/>
                    <a:pt x="1032" y="3599"/>
                    <a:pt x="1238" y="3934"/>
                  </a:cubicBezTo>
                  <a:cubicBezTo>
                    <a:pt x="1522" y="4398"/>
                    <a:pt x="1290" y="5043"/>
                    <a:pt x="1238" y="5585"/>
                  </a:cubicBezTo>
                  <a:cubicBezTo>
                    <a:pt x="1186" y="6049"/>
                    <a:pt x="1032" y="6616"/>
                    <a:pt x="1109" y="7080"/>
                  </a:cubicBezTo>
                  <a:cubicBezTo>
                    <a:pt x="1161" y="7313"/>
                    <a:pt x="1212" y="7442"/>
                    <a:pt x="1315" y="7493"/>
                  </a:cubicBezTo>
                  <a:lnTo>
                    <a:pt x="4900" y="5223"/>
                  </a:lnTo>
                  <a:cubicBezTo>
                    <a:pt x="4642" y="4708"/>
                    <a:pt x="4255" y="4269"/>
                    <a:pt x="3791" y="3934"/>
                  </a:cubicBezTo>
                  <a:cubicBezTo>
                    <a:pt x="3069" y="3418"/>
                    <a:pt x="3224" y="2954"/>
                    <a:pt x="3224" y="2077"/>
                  </a:cubicBezTo>
                  <a:cubicBezTo>
                    <a:pt x="3275" y="1303"/>
                    <a:pt x="2889" y="555"/>
                    <a:pt x="2244" y="143"/>
                  </a:cubicBezTo>
                  <a:cubicBezTo>
                    <a:pt x="2091" y="43"/>
                    <a:pt x="1906" y="0"/>
                    <a:pt x="1713"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 name="Google Shape;2545;p74">
              <a:extLst>
                <a:ext uri="{FF2B5EF4-FFF2-40B4-BE49-F238E27FC236}">
                  <a16:creationId xmlns:a16="http://schemas.microsoft.com/office/drawing/2014/main" id="{AB113870-BE1B-432A-AF29-CCE0A3B1BD5D}"/>
                </a:ext>
              </a:extLst>
            </p:cNvPr>
            <p:cNvSpPr/>
            <p:nvPr/>
          </p:nvSpPr>
          <p:spPr>
            <a:xfrm>
              <a:off x="1430752" y="2388064"/>
              <a:ext cx="43772" cy="44091"/>
            </a:xfrm>
            <a:custGeom>
              <a:avLst/>
              <a:gdLst/>
              <a:ahLst/>
              <a:cxnLst/>
              <a:rect l="l" t="t" r="r" b="b"/>
              <a:pathLst>
                <a:path w="1923" h="1937" extrusionOk="0">
                  <a:moveTo>
                    <a:pt x="1381" y="1"/>
                  </a:moveTo>
                  <a:cubicBezTo>
                    <a:pt x="1" y="439"/>
                    <a:pt x="388" y="1936"/>
                    <a:pt x="1357" y="1936"/>
                  </a:cubicBezTo>
                  <a:cubicBezTo>
                    <a:pt x="1529" y="1936"/>
                    <a:pt x="1720" y="1889"/>
                    <a:pt x="1922" y="1780"/>
                  </a:cubicBezTo>
                  <a:lnTo>
                    <a:pt x="1381"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 name="Google Shape;2546;p74">
              <a:extLst>
                <a:ext uri="{FF2B5EF4-FFF2-40B4-BE49-F238E27FC236}">
                  <a16:creationId xmlns:a16="http://schemas.microsoft.com/office/drawing/2014/main" id="{188A3CF9-3149-452C-8721-CFF5B5BFC4E2}"/>
                </a:ext>
              </a:extLst>
            </p:cNvPr>
            <p:cNvSpPr/>
            <p:nvPr/>
          </p:nvSpPr>
          <p:spPr>
            <a:xfrm>
              <a:off x="1441838" y="2331064"/>
              <a:ext cx="88455" cy="73455"/>
            </a:xfrm>
            <a:custGeom>
              <a:avLst/>
              <a:gdLst/>
              <a:ahLst/>
              <a:cxnLst/>
              <a:rect l="l" t="t" r="r" b="b"/>
              <a:pathLst>
                <a:path w="3886" h="3227" extrusionOk="0">
                  <a:moveTo>
                    <a:pt x="2331" y="0"/>
                  </a:moveTo>
                  <a:cubicBezTo>
                    <a:pt x="2032" y="0"/>
                    <a:pt x="1724" y="79"/>
                    <a:pt x="1435" y="235"/>
                  </a:cubicBezTo>
                  <a:cubicBezTo>
                    <a:pt x="474" y="738"/>
                    <a:pt x="0" y="1810"/>
                    <a:pt x="212" y="2838"/>
                  </a:cubicBezTo>
                  <a:lnTo>
                    <a:pt x="212" y="2838"/>
                  </a:lnTo>
                  <a:lnTo>
                    <a:pt x="197" y="2788"/>
                  </a:lnTo>
                  <a:lnTo>
                    <a:pt x="197" y="2788"/>
                  </a:lnTo>
                  <a:cubicBezTo>
                    <a:pt x="197" y="2917"/>
                    <a:pt x="223" y="3072"/>
                    <a:pt x="275" y="3201"/>
                  </a:cubicBezTo>
                  <a:lnTo>
                    <a:pt x="316" y="3201"/>
                  </a:lnTo>
                  <a:cubicBezTo>
                    <a:pt x="320" y="3209"/>
                    <a:pt x="323" y="3218"/>
                    <a:pt x="326" y="3227"/>
                  </a:cubicBezTo>
                  <a:lnTo>
                    <a:pt x="319" y="3201"/>
                  </a:lnTo>
                  <a:lnTo>
                    <a:pt x="507" y="3201"/>
                  </a:lnTo>
                  <a:cubicBezTo>
                    <a:pt x="300" y="2169"/>
                    <a:pt x="300" y="1267"/>
                    <a:pt x="1280" y="622"/>
                  </a:cubicBezTo>
                  <a:cubicBezTo>
                    <a:pt x="1595" y="406"/>
                    <a:pt x="1901" y="306"/>
                    <a:pt x="2191" y="306"/>
                  </a:cubicBezTo>
                  <a:cubicBezTo>
                    <a:pt x="2731" y="306"/>
                    <a:pt x="3215" y="653"/>
                    <a:pt x="3602" y="1241"/>
                  </a:cubicBezTo>
                  <a:cubicBezTo>
                    <a:pt x="3636" y="1241"/>
                    <a:pt x="3716" y="1252"/>
                    <a:pt x="3789" y="1252"/>
                  </a:cubicBezTo>
                  <a:cubicBezTo>
                    <a:pt x="3825" y="1252"/>
                    <a:pt x="3859" y="1249"/>
                    <a:pt x="3885" y="1241"/>
                  </a:cubicBezTo>
                  <a:cubicBezTo>
                    <a:pt x="3652" y="414"/>
                    <a:pt x="3017" y="0"/>
                    <a:pt x="2331"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 name="Google Shape;2547;p74">
              <a:extLst>
                <a:ext uri="{FF2B5EF4-FFF2-40B4-BE49-F238E27FC236}">
                  <a16:creationId xmlns:a16="http://schemas.microsoft.com/office/drawing/2014/main" id="{E42E5ABB-1BA5-4512-A72A-707ACCF08665}"/>
                </a:ext>
              </a:extLst>
            </p:cNvPr>
            <p:cNvSpPr/>
            <p:nvPr/>
          </p:nvSpPr>
          <p:spPr>
            <a:xfrm>
              <a:off x="1513247" y="2352439"/>
              <a:ext cx="44432" cy="52285"/>
            </a:xfrm>
            <a:custGeom>
              <a:avLst/>
              <a:gdLst/>
              <a:ahLst/>
              <a:cxnLst/>
              <a:rect l="l" t="t" r="r" b="b"/>
              <a:pathLst>
                <a:path w="1952" h="2297" extrusionOk="0">
                  <a:moveTo>
                    <a:pt x="416" y="0"/>
                  </a:moveTo>
                  <a:cubicBezTo>
                    <a:pt x="277" y="0"/>
                    <a:pt x="135" y="67"/>
                    <a:pt x="0" y="224"/>
                  </a:cubicBezTo>
                  <a:lnTo>
                    <a:pt x="232" y="534"/>
                  </a:lnTo>
                  <a:cubicBezTo>
                    <a:pt x="336" y="1153"/>
                    <a:pt x="387" y="1694"/>
                    <a:pt x="542" y="2288"/>
                  </a:cubicBezTo>
                  <a:cubicBezTo>
                    <a:pt x="593" y="2294"/>
                    <a:pt x="641" y="2297"/>
                    <a:pt x="686" y="2297"/>
                  </a:cubicBezTo>
                  <a:cubicBezTo>
                    <a:pt x="1951" y="2297"/>
                    <a:pt x="1231" y="0"/>
                    <a:pt x="416"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 name="Google Shape;2548;p74">
              <a:extLst>
                <a:ext uri="{FF2B5EF4-FFF2-40B4-BE49-F238E27FC236}">
                  <a16:creationId xmlns:a16="http://schemas.microsoft.com/office/drawing/2014/main" id="{4E539CF3-84CD-498F-A145-EBC4FEF35DC9}"/>
                </a:ext>
              </a:extLst>
            </p:cNvPr>
            <p:cNvSpPr/>
            <p:nvPr/>
          </p:nvSpPr>
          <p:spPr>
            <a:xfrm>
              <a:off x="1151009" y="1934749"/>
              <a:ext cx="104525" cy="84631"/>
            </a:xfrm>
            <a:custGeom>
              <a:avLst/>
              <a:gdLst/>
              <a:ahLst/>
              <a:cxnLst/>
              <a:rect l="l" t="t" r="r" b="b"/>
              <a:pathLst>
                <a:path w="4592" h="3718" extrusionOk="0">
                  <a:moveTo>
                    <a:pt x="2452" y="0"/>
                  </a:moveTo>
                  <a:cubicBezTo>
                    <a:pt x="1215" y="0"/>
                    <a:pt x="126" y="1083"/>
                    <a:pt x="26" y="2480"/>
                  </a:cubicBezTo>
                  <a:cubicBezTo>
                    <a:pt x="0" y="2918"/>
                    <a:pt x="52" y="3331"/>
                    <a:pt x="207" y="3718"/>
                  </a:cubicBezTo>
                  <a:lnTo>
                    <a:pt x="671" y="3512"/>
                  </a:lnTo>
                  <a:cubicBezTo>
                    <a:pt x="490" y="3151"/>
                    <a:pt x="413" y="2738"/>
                    <a:pt x="439" y="2351"/>
                  </a:cubicBezTo>
                  <a:cubicBezTo>
                    <a:pt x="538" y="1187"/>
                    <a:pt x="1398" y="309"/>
                    <a:pt x="2424" y="309"/>
                  </a:cubicBezTo>
                  <a:cubicBezTo>
                    <a:pt x="2467" y="309"/>
                    <a:pt x="2510" y="310"/>
                    <a:pt x="2554" y="314"/>
                  </a:cubicBezTo>
                  <a:cubicBezTo>
                    <a:pt x="3379" y="391"/>
                    <a:pt x="4075" y="984"/>
                    <a:pt x="4256" y="1809"/>
                  </a:cubicBezTo>
                  <a:lnTo>
                    <a:pt x="4591" y="1655"/>
                  </a:lnTo>
                  <a:cubicBezTo>
                    <a:pt x="4307" y="752"/>
                    <a:pt x="3508" y="107"/>
                    <a:pt x="2580" y="4"/>
                  </a:cubicBezTo>
                  <a:cubicBezTo>
                    <a:pt x="2537" y="2"/>
                    <a:pt x="2495" y="0"/>
                    <a:pt x="2452"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 name="Google Shape;2549;p74">
              <a:extLst>
                <a:ext uri="{FF2B5EF4-FFF2-40B4-BE49-F238E27FC236}">
                  <a16:creationId xmlns:a16="http://schemas.microsoft.com/office/drawing/2014/main" id="{C444262E-2E30-4D90-87A5-9DA302BA2B87}"/>
                </a:ext>
              </a:extLst>
            </p:cNvPr>
            <p:cNvSpPr/>
            <p:nvPr/>
          </p:nvSpPr>
          <p:spPr>
            <a:xfrm>
              <a:off x="1135735" y="2009983"/>
              <a:ext cx="58158" cy="49395"/>
            </a:xfrm>
            <a:custGeom>
              <a:avLst/>
              <a:gdLst/>
              <a:ahLst/>
              <a:cxnLst/>
              <a:rect l="l" t="t" r="r" b="b"/>
              <a:pathLst>
                <a:path w="2555" h="2170" extrusionOk="0">
                  <a:moveTo>
                    <a:pt x="1445" y="0"/>
                  </a:moveTo>
                  <a:cubicBezTo>
                    <a:pt x="491" y="0"/>
                    <a:pt x="1" y="1109"/>
                    <a:pt x="620" y="1806"/>
                  </a:cubicBezTo>
                  <a:cubicBezTo>
                    <a:pt x="842" y="2056"/>
                    <a:pt x="1134" y="2169"/>
                    <a:pt x="1422" y="2169"/>
                  </a:cubicBezTo>
                  <a:cubicBezTo>
                    <a:pt x="1936" y="2169"/>
                    <a:pt x="2436" y="1807"/>
                    <a:pt x="2503" y="1212"/>
                  </a:cubicBezTo>
                  <a:cubicBezTo>
                    <a:pt x="2554" y="568"/>
                    <a:pt x="2064" y="26"/>
                    <a:pt x="1445"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 name="Google Shape;2550;p74">
              <a:extLst>
                <a:ext uri="{FF2B5EF4-FFF2-40B4-BE49-F238E27FC236}">
                  <a16:creationId xmlns:a16="http://schemas.microsoft.com/office/drawing/2014/main" id="{3B45B1DF-7913-4F47-8C02-6E0420F50526}"/>
                </a:ext>
              </a:extLst>
            </p:cNvPr>
            <p:cNvSpPr/>
            <p:nvPr/>
          </p:nvSpPr>
          <p:spPr>
            <a:xfrm>
              <a:off x="1222624" y="1967119"/>
              <a:ext cx="58158" cy="49395"/>
            </a:xfrm>
            <a:custGeom>
              <a:avLst/>
              <a:gdLst/>
              <a:ahLst/>
              <a:cxnLst/>
              <a:rect l="l" t="t" r="r" b="b"/>
              <a:pathLst>
                <a:path w="2555" h="2170" extrusionOk="0">
                  <a:moveTo>
                    <a:pt x="1445" y="1"/>
                  </a:moveTo>
                  <a:cubicBezTo>
                    <a:pt x="517" y="1"/>
                    <a:pt x="1" y="1110"/>
                    <a:pt x="646" y="1806"/>
                  </a:cubicBezTo>
                  <a:cubicBezTo>
                    <a:pt x="868" y="2056"/>
                    <a:pt x="1160" y="2170"/>
                    <a:pt x="1448" y="2170"/>
                  </a:cubicBezTo>
                  <a:cubicBezTo>
                    <a:pt x="1962" y="2170"/>
                    <a:pt x="2462" y="1808"/>
                    <a:pt x="2528" y="1213"/>
                  </a:cubicBezTo>
                  <a:cubicBezTo>
                    <a:pt x="2554" y="568"/>
                    <a:pt x="2064" y="26"/>
                    <a:pt x="1445" y="1"/>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 name="Google Shape;2551;p74">
              <a:extLst>
                <a:ext uri="{FF2B5EF4-FFF2-40B4-BE49-F238E27FC236}">
                  <a16:creationId xmlns:a16="http://schemas.microsoft.com/office/drawing/2014/main" id="{9CB4AA1E-5EF8-454E-9F7F-35AC465D5FEA}"/>
                </a:ext>
              </a:extLst>
            </p:cNvPr>
            <p:cNvSpPr/>
            <p:nvPr/>
          </p:nvSpPr>
          <p:spPr>
            <a:xfrm>
              <a:off x="1369995" y="1814966"/>
              <a:ext cx="105094" cy="84654"/>
            </a:xfrm>
            <a:custGeom>
              <a:avLst/>
              <a:gdLst/>
              <a:ahLst/>
              <a:cxnLst/>
              <a:rect l="l" t="t" r="r" b="b"/>
              <a:pathLst>
                <a:path w="4617" h="3719" extrusionOk="0">
                  <a:moveTo>
                    <a:pt x="2452" y="1"/>
                  </a:moveTo>
                  <a:cubicBezTo>
                    <a:pt x="1216" y="1"/>
                    <a:pt x="152" y="1084"/>
                    <a:pt x="52" y="2481"/>
                  </a:cubicBezTo>
                  <a:cubicBezTo>
                    <a:pt x="0" y="2919"/>
                    <a:pt x="78" y="3332"/>
                    <a:pt x="232" y="3719"/>
                  </a:cubicBezTo>
                  <a:lnTo>
                    <a:pt x="671" y="3512"/>
                  </a:lnTo>
                  <a:cubicBezTo>
                    <a:pt x="516" y="3151"/>
                    <a:pt x="439" y="2739"/>
                    <a:pt x="465" y="2352"/>
                  </a:cubicBezTo>
                  <a:cubicBezTo>
                    <a:pt x="564" y="1188"/>
                    <a:pt x="1423" y="310"/>
                    <a:pt x="2450" y="310"/>
                  </a:cubicBezTo>
                  <a:cubicBezTo>
                    <a:pt x="2493" y="310"/>
                    <a:pt x="2536" y="311"/>
                    <a:pt x="2579" y="314"/>
                  </a:cubicBezTo>
                  <a:cubicBezTo>
                    <a:pt x="3405" y="392"/>
                    <a:pt x="4101" y="985"/>
                    <a:pt x="4282" y="1810"/>
                  </a:cubicBezTo>
                  <a:lnTo>
                    <a:pt x="4617" y="1655"/>
                  </a:lnTo>
                  <a:cubicBezTo>
                    <a:pt x="4333" y="753"/>
                    <a:pt x="3534" y="108"/>
                    <a:pt x="2579" y="5"/>
                  </a:cubicBezTo>
                  <a:cubicBezTo>
                    <a:pt x="2537" y="2"/>
                    <a:pt x="2495" y="1"/>
                    <a:pt x="245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 name="Google Shape;2552;p74">
              <a:extLst>
                <a:ext uri="{FF2B5EF4-FFF2-40B4-BE49-F238E27FC236}">
                  <a16:creationId xmlns:a16="http://schemas.microsoft.com/office/drawing/2014/main" id="{E5085B45-8657-4F6A-A80D-FA1A53A40255}"/>
                </a:ext>
              </a:extLst>
            </p:cNvPr>
            <p:cNvSpPr/>
            <p:nvPr/>
          </p:nvSpPr>
          <p:spPr>
            <a:xfrm>
              <a:off x="1355313" y="1890200"/>
              <a:ext cx="57566" cy="49417"/>
            </a:xfrm>
            <a:custGeom>
              <a:avLst/>
              <a:gdLst/>
              <a:ahLst/>
              <a:cxnLst/>
              <a:rect l="l" t="t" r="r" b="b"/>
              <a:pathLst>
                <a:path w="2529" h="2171" extrusionOk="0">
                  <a:moveTo>
                    <a:pt x="1419" y="1"/>
                  </a:moveTo>
                  <a:cubicBezTo>
                    <a:pt x="491" y="1"/>
                    <a:pt x="1" y="1110"/>
                    <a:pt x="620" y="1806"/>
                  </a:cubicBezTo>
                  <a:cubicBezTo>
                    <a:pt x="842" y="2056"/>
                    <a:pt x="1134" y="2170"/>
                    <a:pt x="1422" y="2170"/>
                  </a:cubicBezTo>
                  <a:cubicBezTo>
                    <a:pt x="1936" y="2170"/>
                    <a:pt x="2436" y="1808"/>
                    <a:pt x="2502" y="1213"/>
                  </a:cubicBezTo>
                  <a:cubicBezTo>
                    <a:pt x="2528" y="568"/>
                    <a:pt x="2064" y="27"/>
                    <a:pt x="141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 name="Google Shape;2553;p74">
              <a:extLst>
                <a:ext uri="{FF2B5EF4-FFF2-40B4-BE49-F238E27FC236}">
                  <a16:creationId xmlns:a16="http://schemas.microsoft.com/office/drawing/2014/main" id="{FC4CBA8F-93E7-4F9C-A2CA-589B3AFF97F8}"/>
                </a:ext>
              </a:extLst>
            </p:cNvPr>
            <p:cNvSpPr/>
            <p:nvPr/>
          </p:nvSpPr>
          <p:spPr>
            <a:xfrm>
              <a:off x="1442202" y="1847951"/>
              <a:ext cx="58135" cy="49213"/>
            </a:xfrm>
            <a:custGeom>
              <a:avLst/>
              <a:gdLst/>
              <a:ahLst/>
              <a:cxnLst/>
              <a:rect l="l" t="t" r="r" b="b"/>
              <a:pathLst>
                <a:path w="2554" h="2162" extrusionOk="0">
                  <a:moveTo>
                    <a:pt x="1445" y="0"/>
                  </a:moveTo>
                  <a:cubicBezTo>
                    <a:pt x="491" y="0"/>
                    <a:pt x="1" y="1109"/>
                    <a:pt x="620" y="1805"/>
                  </a:cubicBezTo>
                  <a:cubicBezTo>
                    <a:pt x="847" y="2051"/>
                    <a:pt x="1138" y="2162"/>
                    <a:pt x="1425" y="2162"/>
                  </a:cubicBezTo>
                  <a:cubicBezTo>
                    <a:pt x="1951" y="2162"/>
                    <a:pt x="2461" y="1788"/>
                    <a:pt x="2528" y="1186"/>
                  </a:cubicBezTo>
                  <a:cubicBezTo>
                    <a:pt x="2554" y="567"/>
                    <a:pt x="2064" y="26"/>
                    <a:pt x="144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 name="Google Shape;2554;p74">
              <a:extLst>
                <a:ext uri="{FF2B5EF4-FFF2-40B4-BE49-F238E27FC236}">
                  <a16:creationId xmlns:a16="http://schemas.microsoft.com/office/drawing/2014/main" id="{28D8C9B5-B2DB-4BC8-968F-667D9099E6EB}"/>
                </a:ext>
              </a:extLst>
            </p:cNvPr>
            <p:cNvSpPr/>
            <p:nvPr/>
          </p:nvSpPr>
          <p:spPr>
            <a:xfrm>
              <a:off x="1629478" y="2228286"/>
              <a:ext cx="94555" cy="76436"/>
            </a:xfrm>
            <a:custGeom>
              <a:avLst/>
              <a:gdLst/>
              <a:ahLst/>
              <a:cxnLst/>
              <a:rect l="l" t="t" r="r" b="b"/>
              <a:pathLst>
                <a:path w="4154" h="3358" extrusionOk="0">
                  <a:moveTo>
                    <a:pt x="2217" y="0"/>
                  </a:moveTo>
                  <a:cubicBezTo>
                    <a:pt x="1086" y="0"/>
                    <a:pt x="126" y="956"/>
                    <a:pt x="27" y="2222"/>
                  </a:cubicBezTo>
                  <a:cubicBezTo>
                    <a:pt x="1" y="2609"/>
                    <a:pt x="52" y="2996"/>
                    <a:pt x="207" y="3357"/>
                  </a:cubicBezTo>
                  <a:lnTo>
                    <a:pt x="620" y="3151"/>
                  </a:lnTo>
                  <a:cubicBezTo>
                    <a:pt x="465" y="2841"/>
                    <a:pt x="388" y="2480"/>
                    <a:pt x="414" y="2119"/>
                  </a:cubicBezTo>
                  <a:cubicBezTo>
                    <a:pt x="488" y="1082"/>
                    <a:pt x="1271" y="257"/>
                    <a:pt x="2198" y="257"/>
                  </a:cubicBezTo>
                  <a:cubicBezTo>
                    <a:pt x="2239" y="257"/>
                    <a:pt x="2281" y="259"/>
                    <a:pt x="2322" y="262"/>
                  </a:cubicBezTo>
                  <a:cubicBezTo>
                    <a:pt x="3070" y="340"/>
                    <a:pt x="3689" y="881"/>
                    <a:pt x="3869" y="1603"/>
                  </a:cubicBezTo>
                  <a:lnTo>
                    <a:pt x="4153" y="1475"/>
                  </a:lnTo>
                  <a:cubicBezTo>
                    <a:pt x="3895" y="675"/>
                    <a:pt x="3173" y="82"/>
                    <a:pt x="2348" y="4"/>
                  </a:cubicBezTo>
                  <a:cubicBezTo>
                    <a:pt x="2304" y="2"/>
                    <a:pt x="2260" y="0"/>
                    <a:pt x="2217"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 name="Google Shape;2555;p74">
              <a:extLst>
                <a:ext uri="{FF2B5EF4-FFF2-40B4-BE49-F238E27FC236}">
                  <a16:creationId xmlns:a16="http://schemas.microsoft.com/office/drawing/2014/main" id="{607FC76D-A464-402C-AEF4-AD55B600E312}"/>
                </a:ext>
              </a:extLst>
            </p:cNvPr>
            <p:cNvSpPr/>
            <p:nvPr/>
          </p:nvSpPr>
          <p:spPr>
            <a:xfrm>
              <a:off x="1616571" y="2295894"/>
              <a:ext cx="51694" cy="43863"/>
            </a:xfrm>
            <a:custGeom>
              <a:avLst/>
              <a:gdLst/>
              <a:ahLst/>
              <a:cxnLst/>
              <a:rect l="l" t="t" r="r" b="b"/>
              <a:pathLst>
                <a:path w="2271" h="1927" extrusionOk="0">
                  <a:moveTo>
                    <a:pt x="1264" y="0"/>
                  </a:moveTo>
                  <a:cubicBezTo>
                    <a:pt x="439" y="0"/>
                    <a:pt x="0" y="980"/>
                    <a:pt x="568" y="1599"/>
                  </a:cubicBezTo>
                  <a:cubicBezTo>
                    <a:pt x="764" y="1824"/>
                    <a:pt x="1025" y="1926"/>
                    <a:pt x="1283" y="1926"/>
                  </a:cubicBezTo>
                  <a:cubicBezTo>
                    <a:pt x="1735" y="1926"/>
                    <a:pt x="2179" y="1610"/>
                    <a:pt x="2244" y="1084"/>
                  </a:cubicBezTo>
                  <a:cubicBezTo>
                    <a:pt x="2270" y="516"/>
                    <a:pt x="1832" y="26"/>
                    <a:pt x="1264"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 name="Google Shape;2556;p74">
              <a:extLst>
                <a:ext uri="{FF2B5EF4-FFF2-40B4-BE49-F238E27FC236}">
                  <a16:creationId xmlns:a16="http://schemas.microsoft.com/office/drawing/2014/main" id="{C31C6CDA-0F6A-4802-B7EB-BDE5548EFB7C}"/>
                </a:ext>
              </a:extLst>
            </p:cNvPr>
            <p:cNvSpPr/>
            <p:nvPr/>
          </p:nvSpPr>
          <p:spPr>
            <a:xfrm>
              <a:off x="1695834" y="2257150"/>
              <a:ext cx="51102" cy="44432"/>
            </a:xfrm>
            <a:custGeom>
              <a:avLst/>
              <a:gdLst/>
              <a:ahLst/>
              <a:cxnLst/>
              <a:rect l="l" t="t" r="r" b="b"/>
              <a:pathLst>
                <a:path w="2245" h="1952" extrusionOk="0">
                  <a:moveTo>
                    <a:pt x="1264" y="0"/>
                  </a:moveTo>
                  <a:cubicBezTo>
                    <a:pt x="413" y="26"/>
                    <a:pt x="0" y="1006"/>
                    <a:pt x="542" y="1625"/>
                  </a:cubicBezTo>
                  <a:cubicBezTo>
                    <a:pt x="738" y="1849"/>
                    <a:pt x="999" y="1952"/>
                    <a:pt x="1257" y="1952"/>
                  </a:cubicBezTo>
                  <a:cubicBezTo>
                    <a:pt x="1709" y="1952"/>
                    <a:pt x="2152" y="1635"/>
                    <a:pt x="2218" y="1109"/>
                  </a:cubicBezTo>
                  <a:cubicBezTo>
                    <a:pt x="2244" y="542"/>
                    <a:pt x="1831" y="52"/>
                    <a:pt x="1264"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 name="Google Shape;2557;p74">
              <a:extLst>
                <a:ext uri="{FF2B5EF4-FFF2-40B4-BE49-F238E27FC236}">
                  <a16:creationId xmlns:a16="http://schemas.microsoft.com/office/drawing/2014/main" id="{4D3B7F6E-6709-4E7A-8211-13D5B9F4E5B0}"/>
                </a:ext>
              </a:extLst>
            </p:cNvPr>
            <p:cNvSpPr/>
            <p:nvPr/>
          </p:nvSpPr>
          <p:spPr>
            <a:xfrm>
              <a:off x="998356" y="2349753"/>
              <a:ext cx="104525" cy="84699"/>
            </a:xfrm>
            <a:custGeom>
              <a:avLst/>
              <a:gdLst/>
              <a:ahLst/>
              <a:cxnLst/>
              <a:rect l="l" t="t" r="r" b="b"/>
              <a:pathLst>
                <a:path w="4592" h="3721" extrusionOk="0">
                  <a:moveTo>
                    <a:pt x="2414" y="0"/>
                  </a:moveTo>
                  <a:cubicBezTo>
                    <a:pt x="1192" y="0"/>
                    <a:pt x="125" y="1076"/>
                    <a:pt x="27" y="2483"/>
                  </a:cubicBezTo>
                  <a:cubicBezTo>
                    <a:pt x="1" y="2896"/>
                    <a:pt x="52" y="3308"/>
                    <a:pt x="207" y="3721"/>
                  </a:cubicBezTo>
                  <a:lnTo>
                    <a:pt x="671" y="3489"/>
                  </a:lnTo>
                  <a:cubicBezTo>
                    <a:pt x="491" y="3128"/>
                    <a:pt x="414" y="2741"/>
                    <a:pt x="465" y="2328"/>
                  </a:cubicBezTo>
                  <a:cubicBezTo>
                    <a:pt x="539" y="1188"/>
                    <a:pt x="1400" y="286"/>
                    <a:pt x="2428" y="286"/>
                  </a:cubicBezTo>
                  <a:cubicBezTo>
                    <a:pt x="2470" y="286"/>
                    <a:pt x="2512" y="288"/>
                    <a:pt x="2554" y="291"/>
                  </a:cubicBezTo>
                  <a:cubicBezTo>
                    <a:pt x="3379" y="368"/>
                    <a:pt x="4076" y="987"/>
                    <a:pt x="4256" y="1787"/>
                  </a:cubicBezTo>
                  <a:lnTo>
                    <a:pt x="4592" y="1632"/>
                  </a:lnTo>
                  <a:cubicBezTo>
                    <a:pt x="4308" y="729"/>
                    <a:pt x="3508" y="85"/>
                    <a:pt x="2580" y="7"/>
                  </a:cubicBezTo>
                  <a:cubicBezTo>
                    <a:pt x="2524" y="3"/>
                    <a:pt x="2469" y="0"/>
                    <a:pt x="241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 name="Google Shape;2558;p74">
              <a:extLst>
                <a:ext uri="{FF2B5EF4-FFF2-40B4-BE49-F238E27FC236}">
                  <a16:creationId xmlns:a16="http://schemas.microsoft.com/office/drawing/2014/main" id="{D4D3ED07-78EA-47C0-B33C-6F0240CF80BA}"/>
                </a:ext>
              </a:extLst>
            </p:cNvPr>
            <p:cNvSpPr/>
            <p:nvPr/>
          </p:nvSpPr>
          <p:spPr>
            <a:xfrm>
              <a:off x="983104" y="2424463"/>
              <a:ext cx="58135" cy="49395"/>
            </a:xfrm>
            <a:custGeom>
              <a:avLst/>
              <a:gdLst/>
              <a:ahLst/>
              <a:cxnLst/>
              <a:rect l="l" t="t" r="r" b="b"/>
              <a:pathLst>
                <a:path w="2554" h="2170" extrusionOk="0">
                  <a:moveTo>
                    <a:pt x="1445" y="1"/>
                  </a:moveTo>
                  <a:cubicBezTo>
                    <a:pt x="490" y="1"/>
                    <a:pt x="0" y="1110"/>
                    <a:pt x="619" y="1806"/>
                  </a:cubicBezTo>
                  <a:cubicBezTo>
                    <a:pt x="842" y="2056"/>
                    <a:pt x="1134" y="2170"/>
                    <a:pt x="1422" y="2170"/>
                  </a:cubicBezTo>
                  <a:cubicBezTo>
                    <a:pt x="1936" y="2170"/>
                    <a:pt x="2436" y="1808"/>
                    <a:pt x="2502" y="1213"/>
                  </a:cubicBezTo>
                  <a:cubicBezTo>
                    <a:pt x="2554" y="568"/>
                    <a:pt x="2064" y="26"/>
                    <a:pt x="144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 name="Google Shape;2559;p74">
              <a:extLst>
                <a:ext uri="{FF2B5EF4-FFF2-40B4-BE49-F238E27FC236}">
                  <a16:creationId xmlns:a16="http://schemas.microsoft.com/office/drawing/2014/main" id="{EEF2E225-CC60-4CC7-9AB4-2808E748972E}"/>
                </a:ext>
              </a:extLst>
            </p:cNvPr>
            <p:cNvSpPr/>
            <p:nvPr/>
          </p:nvSpPr>
          <p:spPr>
            <a:xfrm>
              <a:off x="1069993" y="2381599"/>
              <a:ext cx="58135" cy="49827"/>
            </a:xfrm>
            <a:custGeom>
              <a:avLst/>
              <a:gdLst/>
              <a:ahLst/>
              <a:cxnLst/>
              <a:rect l="l" t="t" r="r" b="b"/>
              <a:pathLst>
                <a:path w="2554" h="2189" extrusionOk="0">
                  <a:moveTo>
                    <a:pt x="1445" y="1"/>
                  </a:moveTo>
                  <a:cubicBezTo>
                    <a:pt x="516" y="1"/>
                    <a:pt x="0" y="1110"/>
                    <a:pt x="645" y="1832"/>
                  </a:cubicBezTo>
                  <a:cubicBezTo>
                    <a:pt x="863" y="2077"/>
                    <a:pt x="1149" y="2188"/>
                    <a:pt x="1431" y="2188"/>
                  </a:cubicBezTo>
                  <a:cubicBezTo>
                    <a:pt x="1951" y="2188"/>
                    <a:pt x="2461" y="1814"/>
                    <a:pt x="2528" y="1213"/>
                  </a:cubicBezTo>
                  <a:cubicBezTo>
                    <a:pt x="2554" y="594"/>
                    <a:pt x="2064" y="52"/>
                    <a:pt x="144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 name="Google Shape;2560;p74">
              <a:extLst>
                <a:ext uri="{FF2B5EF4-FFF2-40B4-BE49-F238E27FC236}">
                  <a16:creationId xmlns:a16="http://schemas.microsoft.com/office/drawing/2014/main" id="{E5EA1276-A440-4DF2-91E8-D007AB94B32B}"/>
                </a:ext>
              </a:extLst>
            </p:cNvPr>
            <p:cNvSpPr/>
            <p:nvPr/>
          </p:nvSpPr>
          <p:spPr>
            <a:xfrm>
              <a:off x="1557864" y="1705132"/>
              <a:ext cx="104525" cy="84699"/>
            </a:xfrm>
            <a:custGeom>
              <a:avLst/>
              <a:gdLst/>
              <a:ahLst/>
              <a:cxnLst/>
              <a:rect l="l" t="t" r="r" b="b"/>
              <a:pathLst>
                <a:path w="4592" h="3721" extrusionOk="0">
                  <a:moveTo>
                    <a:pt x="2413" y="0"/>
                  </a:moveTo>
                  <a:cubicBezTo>
                    <a:pt x="1192" y="0"/>
                    <a:pt x="125" y="1076"/>
                    <a:pt x="26" y="2483"/>
                  </a:cubicBezTo>
                  <a:cubicBezTo>
                    <a:pt x="0" y="2895"/>
                    <a:pt x="52" y="3308"/>
                    <a:pt x="207" y="3721"/>
                  </a:cubicBezTo>
                  <a:lnTo>
                    <a:pt x="671" y="3514"/>
                  </a:lnTo>
                  <a:cubicBezTo>
                    <a:pt x="490" y="3128"/>
                    <a:pt x="413" y="2741"/>
                    <a:pt x="465" y="2354"/>
                  </a:cubicBezTo>
                  <a:cubicBezTo>
                    <a:pt x="539" y="1189"/>
                    <a:pt x="1399" y="286"/>
                    <a:pt x="2428" y="286"/>
                  </a:cubicBezTo>
                  <a:cubicBezTo>
                    <a:pt x="2469" y="286"/>
                    <a:pt x="2511" y="288"/>
                    <a:pt x="2554" y="291"/>
                  </a:cubicBezTo>
                  <a:cubicBezTo>
                    <a:pt x="3379" y="394"/>
                    <a:pt x="4075" y="987"/>
                    <a:pt x="4256" y="1786"/>
                  </a:cubicBezTo>
                  <a:lnTo>
                    <a:pt x="4591" y="1632"/>
                  </a:lnTo>
                  <a:cubicBezTo>
                    <a:pt x="4307" y="729"/>
                    <a:pt x="3508" y="84"/>
                    <a:pt x="2579" y="7"/>
                  </a:cubicBezTo>
                  <a:cubicBezTo>
                    <a:pt x="2524" y="2"/>
                    <a:pt x="2468" y="0"/>
                    <a:pt x="2413"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 name="Google Shape;2561;p74">
              <a:extLst>
                <a:ext uri="{FF2B5EF4-FFF2-40B4-BE49-F238E27FC236}">
                  <a16:creationId xmlns:a16="http://schemas.microsoft.com/office/drawing/2014/main" id="{193520B4-BDD4-4886-AA3D-AA69FC2508B4}"/>
                </a:ext>
              </a:extLst>
            </p:cNvPr>
            <p:cNvSpPr/>
            <p:nvPr/>
          </p:nvSpPr>
          <p:spPr>
            <a:xfrm>
              <a:off x="1542590" y="1779842"/>
              <a:ext cx="58158" cy="49645"/>
            </a:xfrm>
            <a:custGeom>
              <a:avLst/>
              <a:gdLst/>
              <a:ahLst/>
              <a:cxnLst/>
              <a:rect l="l" t="t" r="r" b="b"/>
              <a:pathLst>
                <a:path w="2555" h="2181" extrusionOk="0">
                  <a:moveTo>
                    <a:pt x="1445" y="0"/>
                  </a:moveTo>
                  <a:cubicBezTo>
                    <a:pt x="491" y="0"/>
                    <a:pt x="1" y="1109"/>
                    <a:pt x="620" y="1806"/>
                  </a:cubicBezTo>
                  <a:cubicBezTo>
                    <a:pt x="842" y="2065"/>
                    <a:pt x="1133" y="2181"/>
                    <a:pt x="1422" y="2181"/>
                  </a:cubicBezTo>
                  <a:cubicBezTo>
                    <a:pt x="1938" y="2181"/>
                    <a:pt x="2446" y="1808"/>
                    <a:pt x="2528" y="1212"/>
                  </a:cubicBezTo>
                  <a:cubicBezTo>
                    <a:pt x="2554" y="593"/>
                    <a:pt x="2064" y="52"/>
                    <a:pt x="1445"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 name="Google Shape;2562;p74">
              <a:extLst>
                <a:ext uri="{FF2B5EF4-FFF2-40B4-BE49-F238E27FC236}">
                  <a16:creationId xmlns:a16="http://schemas.microsoft.com/office/drawing/2014/main" id="{C0A57570-6EAE-459B-A02F-CA9FEC1C7230}"/>
                </a:ext>
              </a:extLst>
            </p:cNvPr>
            <p:cNvSpPr/>
            <p:nvPr/>
          </p:nvSpPr>
          <p:spPr>
            <a:xfrm>
              <a:off x="1630070" y="1737570"/>
              <a:ext cx="57566" cy="49395"/>
            </a:xfrm>
            <a:custGeom>
              <a:avLst/>
              <a:gdLst/>
              <a:ahLst/>
              <a:cxnLst/>
              <a:rect l="l" t="t" r="r" b="b"/>
              <a:pathLst>
                <a:path w="2529" h="2170" extrusionOk="0">
                  <a:moveTo>
                    <a:pt x="1419" y="0"/>
                  </a:moveTo>
                  <a:cubicBezTo>
                    <a:pt x="491" y="0"/>
                    <a:pt x="1" y="1109"/>
                    <a:pt x="620" y="1806"/>
                  </a:cubicBezTo>
                  <a:cubicBezTo>
                    <a:pt x="842" y="2056"/>
                    <a:pt x="1134" y="2170"/>
                    <a:pt x="1422" y="2170"/>
                  </a:cubicBezTo>
                  <a:cubicBezTo>
                    <a:pt x="1936" y="2170"/>
                    <a:pt x="2436" y="1808"/>
                    <a:pt x="2502" y="1213"/>
                  </a:cubicBezTo>
                  <a:cubicBezTo>
                    <a:pt x="2528" y="568"/>
                    <a:pt x="2064" y="26"/>
                    <a:pt x="141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 name="Google Shape;2563;p74">
              <a:extLst>
                <a:ext uri="{FF2B5EF4-FFF2-40B4-BE49-F238E27FC236}">
                  <a16:creationId xmlns:a16="http://schemas.microsoft.com/office/drawing/2014/main" id="{4453EDD3-9104-473E-953C-895F0AC8B62D}"/>
                </a:ext>
              </a:extLst>
            </p:cNvPr>
            <p:cNvSpPr/>
            <p:nvPr/>
          </p:nvSpPr>
          <p:spPr>
            <a:xfrm>
              <a:off x="1245524" y="2477207"/>
              <a:ext cx="104525" cy="84654"/>
            </a:xfrm>
            <a:custGeom>
              <a:avLst/>
              <a:gdLst/>
              <a:ahLst/>
              <a:cxnLst/>
              <a:rect l="l" t="t" r="r" b="b"/>
              <a:pathLst>
                <a:path w="4592" h="3719" extrusionOk="0">
                  <a:moveTo>
                    <a:pt x="2453" y="1"/>
                  </a:moveTo>
                  <a:cubicBezTo>
                    <a:pt x="1215" y="1"/>
                    <a:pt x="126" y="1084"/>
                    <a:pt x="27" y="2481"/>
                  </a:cubicBezTo>
                  <a:cubicBezTo>
                    <a:pt x="1" y="2893"/>
                    <a:pt x="52" y="3332"/>
                    <a:pt x="207" y="3719"/>
                  </a:cubicBezTo>
                  <a:lnTo>
                    <a:pt x="671" y="3512"/>
                  </a:lnTo>
                  <a:cubicBezTo>
                    <a:pt x="491" y="3151"/>
                    <a:pt x="439" y="2739"/>
                    <a:pt x="465" y="2352"/>
                  </a:cubicBezTo>
                  <a:cubicBezTo>
                    <a:pt x="539" y="1188"/>
                    <a:pt x="1422" y="310"/>
                    <a:pt x="2428" y="310"/>
                  </a:cubicBezTo>
                  <a:cubicBezTo>
                    <a:pt x="2470" y="310"/>
                    <a:pt x="2512" y="311"/>
                    <a:pt x="2554" y="314"/>
                  </a:cubicBezTo>
                  <a:cubicBezTo>
                    <a:pt x="3379" y="392"/>
                    <a:pt x="4076" y="985"/>
                    <a:pt x="4282" y="1784"/>
                  </a:cubicBezTo>
                  <a:lnTo>
                    <a:pt x="4591" y="1630"/>
                  </a:lnTo>
                  <a:cubicBezTo>
                    <a:pt x="4308" y="753"/>
                    <a:pt x="3508" y="108"/>
                    <a:pt x="2580" y="5"/>
                  </a:cubicBezTo>
                  <a:cubicBezTo>
                    <a:pt x="2537" y="2"/>
                    <a:pt x="2495" y="1"/>
                    <a:pt x="2453"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 name="Google Shape;2564;p74">
              <a:extLst>
                <a:ext uri="{FF2B5EF4-FFF2-40B4-BE49-F238E27FC236}">
                  <a16:creationId xmlns:a16="http://schemas.microsoft.com/office/drawing/2014/main" id="{850979A7-DEE3-451A-88EE-6688402CCCE8}"/>
                </a:ext>
              </a:extLst>
            </p:cNvPr>
            <p:cNvSpPr/>
            <p:nvPr/>
          </p:nvSpPr>
          <p:spPr>
            <a:xfrm>
              <a:off x="1230272" y="2552441"/>
              <a:ext cx="58135" cy="49372"/>
            </a:xfrm>
            <a:custGeom>
              <a:avLst/>
              <a:gdLst/>
              <a:ahLst/>
              <a:cxnLst/>
              <a:rect l="l" t="t" r="r" b="b"/>
              <a:pathLst>
                <a:path w="2554" h="2169" extrusionOk="0">
                  <a:moveTo>
                    <a:pt x="1444" y="1"/>
                  </a:moveTo>
                  <a:cubicBezTo>
                    <a:pt x="490" y="1"/>
                    <a:pt x="0" y="1110"/>
                    <a:pt x="619" y="1806"/>
                  </a:cubicBezTo>
                  <a:cubicBezTo>
                    <a:pt x="850" y="2055"/>
                    <a:pt x="1146" y="2169"/>
                    <a:pt x="1436" y="2169"/>
                  </a:cubicBezTo>
                  <a:cubicBezTo>
                    <a:pt x="1958" y="2169"/>
                    <a:pt x="2461" y="1801"/>
                    <a:pt x="2528" y="1187"/>
                  </a:cubicBezTo>
                  <a:cubicBezTo>
                    <a:pt x="2553" y="568"/>
                    <a:pt x="2063" y="27"/>
                    <a:pt x="144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 name="Google Shape;2565;p74">
              <a:extLst>
                <a:ext uri="{FF2B5EF4-FFF2-40B4-BE49-F238E27FC236}">
                  <a16:creationId xmlns:a16="http://schemas.microsoft.com/office/drawing/2014/main" id="{C918BC73-3D6A-42D4-9A71-3CC84BEB21C1}"/>
                </a:ext>
              </a:extLst>
            </p:cNvPr>
            <p:cNvSpPr/>
            <p:nvPr/>
          </p:nvSpPr>
          <p:spPr>
            <a:xfrm>
              <a:off x="1317753" y="2509599"/>
              <a:ext cx="57544" cy="49395"/>
            </a:xfrm>
            <a:custGeom>
              <a:avLst/>
              <a:gdLst/>
              <a:ahLst/>
              <a:cxnLst/>
              <a:rect l="l" t="t" r="r" b="b"/>
              <a:pathLst>
                <a:path w="2528" h="2170" extrusionOk="0">
                  <a:moveTo>
                    <a:pt x="1418" y="0"/>
                  </a:moveTo>
                  <a:cubicBezTo>
                    <a:pt x="490" y="0"/>
                    <a:pt x="0" y="1109"/>
                    <a:pt x="619" y="1806"/>
                  </a:cubicBezTo>
                  <a:cubicBezTo>
                    <a:pt x="841" y="2056"/>
                    <a:pt x="1133" y="2169"/>
                    <a:pt x="1421" y="2169"/>
                  </a:cubicBezTo>
                  <a:cubicBezTo>
                    <a:pt x="1935" y="2169"/>
                    <a:pt x="2436" y="1807"/>
                    <a:pt x="2502" y="1212"/>
                  </a:cubicBezTo>
                  <a:cubicBezTo>
                    <a:pt x="2527" y="568"/>
                    <a:pt x="2063" y="26"/>
                    <a:pt x="1418"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 name="Google Shape;2081;p69">
            <a:extLst>
              <a:ext uri="{FF2B5EF4-FFF2-40B4-BE49-F238E27FC236}">
                <a16:creationId xmlns:a16="http://schemas.microsoft.com/office/drawing/2014/main" id="{B0086FB7-A4F2-4CCD-BB47-3A8D73FA5282}"/>
              </a:ext>
            </a:extLst>
          </p:cNvPr>
          <p:cNvSpPr txBox="1">
            <a:spLocks/>
          </p:cNvSpPr>
          <p:nvPr/>
        </p:nvSpPr>
        <p:spPr>
          <a:xfrm flipH="1">
            <a:off x="2499180" y="4379065"/>
            <a:ext cx="2218200" cy="11190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ct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5</a:t>
            </a:r>
          </a:p>
        </p:txBody>
      </p:sp>
      <p:sp>
        <p:nvSpPr>
          <p:cNvPr id="4" name="Google Shape;2082;p69">
            <a:extLst>
              <a:ext uri="{FF2B5EF4-FFF2-40B4-BE49-F238E27FC236}">
                <a16:creationId xmlns:a16="http://schemas.microsoft.com/office/drawing/2014/main" id="{B0E83E57-E3EA-4BB5-806F-ED5C6B39CA9A}"/>
              </a:ext>
            </a:extLst>
          </p:cNvPr>
          <p:cNvSpPr txBox="1">
            <a:spLocks/>
          </p:cNvSpPr>
          <p:nvPr/>
        </p:nvSpPr>
        <p:spPr>
          <a:xfrm flipH="1">
            <a:off x="4764052" y="4257630"/>
            <a:ext cx="3654082" cy="573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36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Στάδια έργου</a:t>
            </a:r>
            <a:endParaRPr kumimoji="0" lang="en-US" sz="36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endParaRPr>
          </a:p>
        </p:txBody>
      </p:sp>
      <p:cxnSp>
        <p:nvCxnSpPr>
          <p:cNvPr id="7" name="Google Shape;2099;p69">
            <a:extLst>
              <a:ext uri="{FF2B5EF4-FFF2-40B4-BE49-F238E27FC236}">
                <a16:creationId xmlns:a16="http://schemas.microsoft.com/office/drawing/2014/main" id="{04AF50DA-6598-4D4F-82F2-428F1BBC8B50}"/>
              </a:ext>
            </a:extLst>
          </p:cNvPr>
          <p:cNvCxnSpPr>
            <a:cxnSpLocks/>
          </p:cNvCxnSpPr>
          <p:nvPr/>
        </p:nvCxnSpPr>
        <p:spPr>
          <a:xfrm flipH="1">
            <a:off x="4708020" y="4830419"/>
            <a:ext cx="7585580" cy="0"/>
          </a:xfrm>
          <a:prstGeom prst="straightConnector1">
            <a:avLst/>
          </a:prstGeom>
          <a:noFill/>
          <a:ln w="19050" cap="flat" cmpd="sng">
            <a:solidFill>
              <a:schemeClr val="accent1"/>
            </a:solidFill>
            <a:prstDash val="solid"/>
            <a:round/>
            <a:headEnd type="none" w="med" len="med"/>
            <a:tailEnd type="none" w="med" len="med"/>
          </a:ln>
        </p:spPr>
      </p:cxnSp>
      <p:sp>
        <p:nvSpPr>
          <p:cNvPr id="8" name="Google Shape;2100;p69">
            <a:extLst>
              <a:ext uri="{FF2B5EF4-FFF2-40B4-BE49-F238E27FC236}">
                <a16:creationId xmlns:a16="http://schemas.microsoft.com/office/drawing/2014/main" id="{BB1FE324-439D-4AA5-9108-54ECA4DE5C5F}"/>
              </a:ext>
            </a:extLst>
          </p:cNvPr>
          <p:cNvSpPr/>
          <p:nvPr/>
        </p:nvSpPr>
        <p:spPr>
          <a:xfrm rot="10800000" flipH="1">
            <a:off x="4566720" y="477102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2083;p69">
            <a:extLst>
              <a:ext uri="{FF2B5EF4-FFF2-40B4-BE49-F238E27FC236}">
                <a16:creationId xmlns:a16="http://schemas.microsoft.com/office/drawing/2014/main" id="{CEE78947-13B0-4DD5-A757-48185A563D95}"/>
              </a:ext>
            </a:extLst>
          </p:cNvPr>
          <p:cNvSpPr txBox="1">
            <a:spLocks/>
          </p:cNvSpPr>
          <p:nvPr/>
        </p:nvSpPr>
        <p:spPr>
          <a:xfrm flipH="1">
            <a:off x="5135940" y="4822791"/>
            <a:ext cx="4987774" cy="163026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2000" b="1"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rPr>
              <a:t>Αποκάλυψη των σταδίων κατασκευής</a:t>
            </a:r>
            <a:endParaRPr kumimoji="0" lang="en-US" sz="2000" b="1"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l-GR"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Έρευνα</a:t>
            </a:r>
            <a:endParaRPr kumimoji="0" lang="en-US"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l-GR" sz="2000" b="1" kern="0" dirty="0">
                <a:solidFill>
                  <a:srgbClr val="FFFFFF"/>
                </a:solidFill>
                <a:latin typeface="Arial" panose="020B0604020202020204" pitchFamily="34" charset="0"/>
                <a:cs typeface="Arial" panose="020B0604020202020204" pitchFamily="34" charset="0"/>
              </a:rPr>
              <a:t>Ανάπτυξη</a:t>
            </a:r>
            <a:endParaRPr lang="en-US" sz="2000" b="1" kern="0" dirty="0">
              <a:solidFill>
                <a:srgbClr val="FFFFFF"/>
              </a:solidFill>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l-GR"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Εξέλιξη</a:t>
            </a:r>
            <a:r>
              <a:rPr kumimoji="0" lang="en-US"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 Iteration Build</a:t>
            </a:r>
          </a:p>
        </p:txBody>
      </p:sp>
      <p:sp>
        <p:nvSpPr>
          <p:cNvPr id="28" name="Google Shape;2103;p69">
            <a:extLst>
              <a:ext uri="{FF2B5EF4-FFF2-40B4-BE49-F238E27FC236}">
                <a16:creationId xmlns:a16="http://schemas.microsoft.com/office/drawing/2014/main" id="{A6959447-82D1-487B-AA7A-453B8D29F3D5}"/>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2105;p69">
            <a:extLst>
              <a:ext uri="{FF2B5EF4-FFF2-40B4-BE49-F238E27FC236}">
                <a16:creationId xmlns:a16="http://schemas.microsoft.com/office/drawing/2014/main" id="{C3911B05-7C3E-4DED-AAFB-AF5471971776}"/>
              </a:ext>
            </a:extLst>
          </p:cNvPr>
          <p:cNvSpPr/>
          <p:nvPr/>
        </p:nvSpPr>
        <p:spPr>
          <a:xfrm>
            <a:off x="7563778" y="25567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2106;p69">
            <a:extLst>
              <a:ext uri="{FF2B5EF4-FFF2-40B4-BE49-F238E27FC236}">
                <a16:creationId xmlns:a16="http://schemas.microsoft.com/office/drawing/2014/main" id="{9B0D01B7-45CD-409D-994B-8EEC453D8FF8}"/>
              </a:ext>
            </a:extLst>
          </p:cNvPr>
          <p:cNvSpPr/>
          <p:nvPr/>
        </p:nvSpPr>
        <p:spPr>
          <a:xfrm>
            <a:off x="7766774" y="395430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2107;p69">
            <a:extLst>
              <a:ext uri="{FF2B5EF4-FFF2-40B4-BE49-F238E27FC236}">
                <a16:creationId xmlns:a16="http://schemas.microsoft.com/office/drawing/2014/main" id="{0EAFC476-A554-4787-BE6D-BBBA138A3BD2}"/>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3" name="Google Shape;2108;p69">
            <a:extLst>
              <a:ext uri="{FF2B5EF4-FFF2-40B4-BE49-F238E27FC236}">
                <a16:creationId xmlns:a16="http://schemas.microsoft.com/office/drawing/2014/main" id="{8DE6A404-2085-43EF-8CC7-7673F0BDA124}"/>
              </a:ext>
            </a:extLst>
          </p:cNvPr>
          <p:cNvGrpSpPr/>
          <p:nvPr/>
        </p:nvGrpSpPr>
        <p:grpSpPr>
          <a:xfrm rot="7855374">
            <a:off x="2175791" y="295172"/>
            <a:ext cx="161701" cy="641985"/>
            <a:chOff x="7004550" y="3676293"/>
            <a:chExt cx="161700" cy="641982"/>
          </a:xfrm>
        </p:grpSpPr>
        <p:sp>
          <p:nvSpPr>
            <p:cNvPr id="61" name="Google Shape;2109;p69">
              <a:extLst>
                <a:ext uri="{FF2B5EF4-FFF2-40B4-BE49-F238E27FC236}">
                  <a16:creationId xmlns:a16="http://schemas.microsoft.com/office/drawing/2014/main" id="{EDC331F6-7DDC-49DA-921B-9DAA41F8626E}"/>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2110;p69">
              <a:extLst>
                <a:ext uri="{FF2B5EF4-FFF2-40B4-BE49-F238E27FC236}">
                  <a16:creationId xmlns:a16="http://schemas.microsoft.com/office/drawing/2014/main" id="{6104B1F4-E7C9-4F43-AD93-DA85BB732511}"/>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11;p69">
              <a:extLst>
                <a:ext uri="{FF2B5EF4-FFF2-40B4-BE49-F238E27FC236}">
                  <a16:creationId xmlns:a16="http://schemas.microsoft.com/office/drawing/2014/main" id="{B52B1352-96B1-4CB1-AEFE-BAC465AAB0FA}"/>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12;p69">
              <a:extLst>
                <a:ext uri="{FF2B5EF4-FFF2-40B4-BE49-F238E27FC236}">
                  <a16:creationId xmlns:a16="http://schemas.microsoft.com/office/drawing/2014/main" id="{BDF62D66-5125-4181-B6C9-F257C0097BFB}"/>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4" name="Google Shape;2113;p69">
            <a:extLst>
              <a:ext uri="{FF2B5EF4-FFF2-40B4-BE49-F238E27FC236}">
                <a16:creationId xmlns:a16="http://schemas.microsoft.com/office/drawing/2014/main" id="{5BF0C1EF-A6F2-425B-BAD8-26A97E763EB1}"/>
              </a:ext>
            </a:extLst>
          </p:cNvPr>
          <p:cNvGrpSpPr/>
          <p:nvPr/>
        </p:nvGrpSpPr>
        <p:grpSpPr>
          <a:xfrm>
            <a:off x="10493759" y="2934904"/>
            <a:ext cx="776779" cy="722282"/>
            <a:chOff x="4818730" y="3307263"/>
            <a:chExt cx="1827512" cy="1699300"/>
          </a:xfrm>
        </p:grpSpPr>
        <p:sp>
          <p:nvSpPr>
            <p:cNvPr id="36" name="Google Shape;2114;p69">
              <a:extLst>
                <a:ext uri="{FF2B5EF4-FFF2-40B4-BE49-F238E27FC236}">
                  <a16:creationId xmlns:a16="http://schemas.microsoft.com/office/drawing/2014/main" id="{C3DAEF34-5728-4743-9A60-2DEB01C0761D}"/>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2115;p69">
              <a:extLst>
                <a:ext uri="{FF2B5EF4-FFF2-40B4-BE49-F238E27FC236}">
                  <a16:creationId xmlns:a16="http://schemas.microsoft.com/office/drawing/2014/main" id="{1D8715D8-85EA-4474-B317-6F3BD46A9507}"/>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2116;p69">
              <a:extLst>
                <a:ext uri="{FF2B5EF4-FFF2-40B4-BE49-F238E27FC236}">
                  <a16:creationId xmlns:a16="http://schemas.microsoft.com/office/drawing/2014/main" id="{0EA72C67-7366-41E5-94B2-F8D9AEEA4A57}"/>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2117;p69">
              <a:extLst>
                <a:ext uri="{FF2B5EF4-FFF2-40B4-BE49-F238E27FC236}">
                  <a16:creationId xmlns:a16="http://schemas.microsoft.com/office/drawing/2014/main" id="{DA7F3AE5-8494-4424-A104-AB7519490837}"/>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2118;p69">
              <a:extLst>
                <a:ext uri="{FF2B5EF4-FFF2-40B4-BE49-F238E27FC236}">
                  <a16:creationId xmlns:a16="http://schemas.microsoft.com/office/drawing/2014/main" id="{32DDF431-9C4A-4B91-AB11-05532B411FD8}"/>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2119;p69">
              <a:extLst>
                <a:ext uri="{FF2B5EF4-FFF2-40B4-BE49-F238E27FC236}">
                  <a16:creationId xmlns:a16="http://schemas.microsoft.com/office/drawing/2014/main" id="{F94D264A-97EB-4422-9542-A02ECFF73521}"/>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2120;p69">
              <a:extLst>
                <a:ext uri="{FF2B5EF4-FFF2-40B4-BE49-F238E27FC236}">
                  <a16:creationId xmlns:a16="http://schemas.microsoft.com/office/drawing/2014/main" id="{1478BECE-608F-428C-96EB-520D75A56472}"/>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2121;p69">
              <a:extLst>
                <a:ext uri="{FF2B5EF4-FFF2-40B4-BE49-F238E27FC236}">
                  <a16:creationId xmlns:a16="http://schemas.microsoft.com/office/drawing/2014/main" id="{424A39D9-3208-41C4-8B2B-9674F4E35520}"/>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2122;p69">
              <a:extLst>
                <a:ext uri="{FF2B5EF4-FFF2-40B4-BE49-F238E27FC236}">
                  <a16:creationId xmlns:a16="http://schemas.microsoft.com/office/drawing/2014/main" id="{0780F178-11A5-4A79-B27B-7DB37FE38294}"/>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2123;p69">
              <a:extLst>
                <a:ext uri="{FF2B5EF4-FFF2-40B4-BE49-F238E27FC236}">
                  <a16:creationId xmlns:a16="http://schemas.microsoft.com/office/drawing/2014/main" id="{6E5D856C-E8E7-4F31-8B84-D16D450B911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2124;p69">
              <a:extLst>
                <a:ext uri="{FF2B5EF4-FFF2-40B4-BE49-F238E27FC236}">
                  <a16:creationId xmlns:a16="http://schemas.microsoft.com/office/drawing/2014/main" id="{A50827A8-4A6D-4130-8931-B9A5AC7CA27A}"/>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2125;p69">
              <a:extLst>
                <a:ext uri="{FF2B5EF4-FFF2-40B4-BE49-F238E27FC236}">
                  <a16:creationId xmlns:a16="http://schemas.microsoft.com/office/drawing/2014/main" id="{744CDB04-87C5-4857-9AE9-E9915A56B625}"/>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2126;p69">
              <a:extLst>
                <a:ext uri="{FF2B5EF4-FFF2-40B4-BE49-F238E27FC236}">
                  <a16:creationId xmlns:a16="http://schemas.microsoft.com/office/drawing/2014/main" id="{6AFDF04E-1EC0-4596-8C17-873586CBE5FC}"/>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2127;p69">
              <a:extLst>
                <a:ext uri="{FF2B5EF4-FFF2-40B4-BE49-F238E27FC236}">
                  <a16:creationId xmlns:a16="http://schemas.microsoft.com/office/drawing/2014/main" id="{B0084225-1C05-4926-9689-D25634E9B026}"/>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2128;p69">
              <a:extLst>
                <a:ext uri="{FF2B5EF4-FFF2-40B4-BE49-F238E27FC236}">
                  <a16:creationId xmlns:a16="http://schemas.microsoft.com/office/drawing/2014/main" id="{8408587B-6B58-4EE4-A92E-679BDF8D9731}"/>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2129;p69">
              <a:extLst>
                <a:ext uri="{FF2B5EF4-FFF2-40B4-BE49-F238E27FC236}">
                  <a16:creationId xmlns:a16="http://schemas.microsoft.com/office/drawing/2014/main" id="{42EB6A5B-9779-4AF5-8DAB-3909548685FB}"/>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2130;p69">
              <a:extLst>
                <a:ext uri="{FF2B5EF4-FFF2-40B4-BE49-F238E27FC236}">
                  <a16:creationId xmlns:a16="http://schemas.microsoft.com/office/drawing/2014/main" id="{2A357272-F680-40C8-914F-AAFB0F751316}"/>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2131;p69">
              <a:extLst>
                <a:ext uri="{FF2B5EF4-FFF2-40B4-BE49-F238E27FC236}">
                  <a16:creationId xmlns:a16="http://schemas.microsoft.com/office/drawing/2014/main" id="{9585AE42-DABB-4550-BA95-D16BA3289099}"/>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2132;p69">
              <a:extLst>
                <a:ext uri="{FF2B5EF4-FFF2-40B4-BE49-F238E27FC236}">
                  <a16:creationId xmlns:a16="http://schemas.microsoft.com/office/drawing/2014/main" id="{3CE62B3C-7050-4692-8C1B-93743DF7E669}"/>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2133;p69">
              <a:extLst>
                <a:ext uri="{FF2B5EF4-FFF2-40B4-BE49-F238E27FC236}">
                  <a16:creationId xmlns:a16="http://schemas.microsoft.com/office/drawing/2014/main" id="{CA74271C-4003-426A-AC70-5941A579E72D}"/>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2134;p69">
              <a:extLst>
                <a:ext uri="{FF2B5EF4-FFF2-40B4-BE49-F238E27FC236}">
                  <a16:creationId xmlns:a16="http://schemas.microsoft.com/office/drawing/2014/main" id="{1D00EA3B-348D-4CAE-93DD-B43EB20EF9D0}"/>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2135;p69">
              <a:extLst>
                <a:ext uri="{FF2B5EF4-FFF2-40B4-BE49-F238E27FC236}">
                  <a16:creationId xmlns:a16="http://schemas.microsoft.com/office/drawing/2014/main" id="{0DD90039-1292-40D2-AD2D-C5EC217AE115}"/>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2136;p69">
              <a:extLst>
                <a:ext uri="{FF2B5EF4-FFF2-40B4-BE49-F238E27FC236}">
                  <a16:creationId xmlns:a16="http://schemas.microsoft.com/office/drawing/2014/main" id="{FEF961C4-E443-4043-8743-1992C2266DC9}"/>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2137;p69">
              <a:extLst>
                <a:ext uri="{FF2B5EF4-FFF2-40B4-BE49-F238E27FC236}">
                  <a16:creationId xmlns:a16="http://schemas.microsoft.com/office/drawing/2014/main" id="{E7B64DC9-CB9E-4C8D-88E0-88E09F8D73AC}"/>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2138;p69">
              <a:extLst>
                <a:ext uri="{FF2B5EF4-FFF2-40B4-BE49-F238E27FC236}">
                  <a16:creationId xmlns:a16="http://schemas.microsoft.com/office/drawing/2014/main" id="{D3212D85-6688-46D2-8330-C767FA5DCAB4}"/>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5" name="Google Shape;2139;p69">
            <a:extLst>
              <a:ext uri="{FF2B5EF4-FFF2-40B4-BE49-F238E27FC236}">
                <a16:creationId xmlns:a16="http://schemas.microsoft.com/office/drawing/2014/main" id="{F6214E91-98FD-42B3-BC11-1AC44B6D70E7}"/>
              </a:ext>
            </a:extLst>
          </p:cNvPr>
          <p:cNvSpPr/>
          <p:nvPr/>
        </p:nvSpPr>
        <p:spPr>
          <a:xfrm>
            <a:off x="10976443" y="4036262"/>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1;p2">
            <a:extLst>
              <a:ext uri="{FF2B5EF4-FFF2-40B4-BE49-F238E27FC236}">
                <a16:creationId xmlns:a16="http://schemas.microsoft.com/office/drawing/2014/main" id="{0FC22BAC-4349-452F-8CB5-981B2E67B977}"/>
              </a:ext>
            </a:extLst>
          </p:cNvPr>
          <p:cNvSpPr/>
          <p:nvPr/>
        </p:nvSpPr>
        <p:spPr>
          <a:xfrm rot="1074665" flipH="1">
            <a:off x="8775616" y="-951003"/>
            <a:ext cx="4396029" cy="4929411"/>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 name="Google Shape;2105;p69">
            <a:extLst>
              <a:ext uri="{FF2B5EF4-FFF2-40B4-BE49-F238E27FC236}">
                <a16:creationId xmlns:a16="http://schemas.microsoft.com/office/drawing/2014/main" id="{BFC94E45-B122-4A66-878F-4F3F2878CF60}"/>
              </a:ext>
            </a:extLst>
          </p:cNvPr>
          <p:cNvSpPr/>
          <p:nvPr/>
        </p:nvSpPr>
        <p:spPr>
          <a:xfrm>
            <a:off x="1519972" y="524202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 name="Google Shape;2105;p69">
            <a:extLst>
              <a:ext uri="{FF2B5EF4-FFF2-40B4-BE49-F238E27FC236}">
                <a16:creationId xmlns:a16="http://schemas.microsoft.com/office/drawing/2014/main" id="{ED928CF5-8875-488D-8533-0839D1B70A78}"/>
              </a:ext>
            </a:extLst>
          </p:cNvPr>
          <p:cNvSpPr/>
          <p:nvPr/>
        </p:nvSpPr>
        <p:spPr>
          <a:xfrm>
            <a:off x="2624054" y="486466"/>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54" name="Group 253">
            <a:extLst>
              <a:ext uri="{FF2B5EF4-FFF2-40B4-BE49-F238E27FC236}">
                <a16:creationId xmlns:a16="http://schemas.microsoft.com/office/drawing/2014/main" id="{05690477-3F01-4E1F-85BC-5CF3D27D3C55}"/>
              </a:ext>
            </a:extLst>
          </p:cNvPr>
          <p:cNvGrpSpPr/>
          <p:nvPr/>
        </p:nvGrpSpPr>
        <p:grpSpPr>
          <a:xfrm>
            <a:off x="7836976" y="3977437"/>
            <a:ext cx="547271" cy="455226"/>
            <a:chOff x="5105762" y="4198067"/>
            <a:chExt cx="547271" cy="455226"/>
          </a:xfrm>
        </p:grpSpPr>
        <p:grpSp>
          <p:nvGrpSpPr>
            <p:cNvPr id="255" name="Group 254">
              <a:extLst>
                <a:ext uri="{FF2B5EF4-FFF2-40B4-BE49-F238E27FC236}">
                  <a16:creationId xmlns:a16="http://schemas.microsoft.com/office/drawing/2014/main" id="{EB842C59-9ED7-41A8-A006-ED5EFC9D584B}"/>
                </a:ext>
              </a:extLst>
            </p:cNvPr>
            <p:cNvGrpSpPr/>
            <p:nvPr/>
          </p:nvGrpSpPr>
          <p:grpSpPr>
            <a:xfrm>
              <a:off x="5241585" y="4198067"/>
              <a:ext cx="411448" cy="357384"/>
              <a:chOff x="5241585" y="4198067"/>
              <a:chExt cx="411448" cy="357384"/>
            </a:xfrm>
          </p:grpSpPr>
          <p:sp>
            <p:nvSpPr>
              <p:cNvPr id="257" name="Google Shape;658;p48">
                <a:extLst>
                  <a:ext uri="{FF2B5EF4-FFF2-40B4-BE49-F238E27FC236}">
                    <a16:creationId xmlns:a16="http://schemas.microsoft.com/office/drawing/2014/main" id="{E9C3BC82-C98B-4B4D-83F1-8AEE5F2E9DFA}"/>
                  </a:ext>
                </a:extLst>
              </p:cNvPr>
              <p:cNvSpPr/>
              <p:nvPr/>
            </p:nvSpPr>
            <p:spPr>
              <a:xfrm rot="14053952">
                <a:off x="5502282" y="4209017"/>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 name="Google Shape;659;p48">
                <a:extLst>
                  <a:ext uri="{FF2B5EF4-FFF2-40B4-BE49-F238E27FC236}">
                    <a16:creationId xmlns:a16="http://schemas.microsoft.com/office/drawing/2014/main" id="{BB8DD75A-D011-47A8-BC49-CE3D710592A4}"/>
                  </a:ext>
                </a:extLst>
              </p:cNvPr>
              <p:cNvSpPr/>
              <p:nvPr/>
            </p:nvSpPr>
            <p:spPr>
              <a:xfrm rot="14053952">
                <a:off x="5366459" y="4306858"/>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 name="Google Shape;660;p48">
                <a:extLst>
                  <a:ext uri="{FF2B5EF4-FFF2-40B4-BE49-F238E27FC236}">
                    <a16:creationId xmlns:a16="http://schemas.microsoft.com/office/drawing/2014/main" id="{C23D944A-B9EC-413F-841A-781574C9982D}"/>
                  </a:ext>
                </a:extLst>
              </p:cNvPr>
              <p:cNvSpPr/>
              <p:nvPr/>
            </p:nvSpPr>
            <p:spPr>
              <a:xfrm rot="14053952">
                <a:off x="5230635" y="4404700"/>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56" name="Google Shape;661;p48">
              <a:extLst>
                <a:ext uri="{FF2B5EF4-FFF2-40B4-BE49-F238E27FC236}">
                  <a16:creationId xmlns:a16="http://schemas.microsoft.com/office/drawing/2014/main" id="{B75D1144-13FB-4FA4-9851-EC135CE85A9B}"/>
                </a:ext>
              </a:extLst>
            </p:cNvPr>
            <p:cNvSpPr/>
            <p:nvPr/>
          </p:nvSpPr>
          <p:spPr>
            <a:xfrm rot="14053952">
              <a:off x="5094812" y="4502542"/>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91851131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pattFill prst="solidDmnd">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1;p2">
            <a:extLst>
              <a:ext uri="{FF2B5EF4-FFF2-40B4-BE49-F238E27FC236}">
                <a16:creationId xmlns:a16="http://schemas.microsoft.com/office/drawing/2014/main" id="{31C05538-AE5D-4775-BF6B-CFFA59D48304}"/>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EE1CF7AC-DA72-4353-94FE-C1DA59E626F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 name="Group 3">
            <a:extLst>
              <a:ext uri="{FF2B5EF4-FFF2-40B4-BE49-F238E27FC236}">
                <a16:creationId xmlns:a16="http://schemas.microsoft.com/office/drawing/2014/main" id="{22BC184D-9D37-441B-9503-F2120C12E489}"/>
              </a:ext>
            </a:extLst>
          </p:cNvPr>
          <p:cNvGrpSpPr/>
          <p:nvPr/>
        </p:nvGrpSpPr>
        <p:grpSpPr>
          <a:xfrm>
            <a:off x="8393961" y="5155488"/>
            <a:ext cx="1187582" cy="1104265"/>
            <a:chOff x="9379963" y="4497336"/>
            <a:chExt cx="1187582" cy="1104265"/>
          </a:xfrm>
        </p:grpSpPr>
        <p:grpSp>
          <p:nvGrpSpPr>
            <p:cNvPr id="5" name="Google Shape;802;p51">
              <a:extLst>
                <a:ext uri="{FF2B5EF4-FFF2-40B4-BE49-F238E27FC236}">
                  <a16:creationId xmlns:a16="http://schemas.microsoft.com/office/drawing/2014/main" id="{81CF2D89-B81C-4AF8-BE26-0BCAA3C5E7D8}"/>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2" name="Google Shape;803;p51">
                <a:extLst>
                  <a:ext uri="{FF2B5EF4-FFF2-40B4-BE49-F238E27FC236}">
                    <a16:creationId xmlns:a16="http://schemas.microsoft.com/office/drawing/2014/main" id="{115A95F7-DEA9-4FEC-A78B-D39A85D5EDDC}"/>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3" name="Google Shape;804;p51">
                <a:extLst>
                  <a:ext uri="{FF2B5EF4-FFF2-40B4-BE49-F238E27FC236}">
                    <a16:creationId xmlns:a16="http://schemas.microsoft.com/office/drawing/2014/main" id="{AEA1C605-B401-4136-BF27-28F129C9DE37}"/>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805;p51">
                <a:extLst>
                  <a:ext uri="{FF2B5EF4-FFF2-40B4-BE49-F238E27FC236}">
                    <a16:creationId xmlns:a16="http://schemas.microsoft.com/office/drawing/2014/main" id="{33884E3F-7438-4B61-9D05-11ABE53502B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Google Shape;806;p51">
                <a:extLst>
                  <a:ext uri="{FF2B5EF4-FFF2-40B4-BE49-F238E27FC236}">
                    <a16:creationId xmlns:a16="http://schemas.microsoft.com/office/drawing/2014/main" id="{466BE396-7AC5-4648-B074-5C149BB39BB1}"/>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Google Shape;807;p51">
                <a:extLst>
                  <a:ext uri="{FF2B5EF4-FFF2-40B4-BE49-F238E27FC236}">
                    <a16:creationId xmlns:a16="http://schemas.microsoft.com/office/drawing/2014/main" id="{025017AD-0292-4B7B-85E6-CCD61C814DE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808;p51">
                <a:extLst>
                  <a:ext uri="{FF2B5EF4-FFF2-40B4-BE49-F238E27FC236}">
                    <a16:creationId xmlns:a16="http://schemas.microsoft.com/office/drawing/2014/main" id="{E687F1AF-59FB-43A2-8CBA-598184431043}"/>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9;p51">
                <a:extLst>
                  <a:ext uri="{FF2B5EF4-FFF2-40B4-BE49-F238E27FC236}">
                    <a16:creationId xmlns:a16="http://schemas.microsoft.com/office/drawing/2014/main" id="{2D039AE3-84B6-4124-8B26-5F92AD4CE51A}"/>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10;p51">
                <a:extLst>
                  <a:ext uri="{FF2B5EF4-FFF2-40B4-BE49-F238E27FC236}">
                    <a16:creationId xmlns:a16="http://schemas.microsoft.com/office/drawing/2014/main" id="{38C10D8A-DCC0-41ED-BD6C-64C73D450CB6}"/>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11;p51">
                <a:extLst>
                  <a:ext uri="{FF2B5EF4-FFF2-40B4-BE49-F238E27FC236}">
                    <a16:creationId xmlns:a16="http://schemas.microsoft.com/office/drawing/2014/main" id="{F1F4C425-026F-4894-ADFB-EB067609D91E}"/>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12;p51">
                <a:extLst>
                  <a:ext uri="{FF2B5EF4-FFF2-40B4-BE49-F238E27FC236}">
                    <a16:creationId xmlns:a16="http://schemas.microsoft.com/office/drawing/2014/main" id="{4774673B-D980-46D7-A752-E28937B6C1BA}"/>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13;p51">
                <a:extLst>
                  <a:ext uri="{FF2B5EF4-FFF2-40B4-BE49-F238E27FC236}">
                    <a16:creationId xmlns:a16="http://schemas.microsoft.com/office/drawing/2014/main" id="{947FBCA6-12AA-4257-B831-A99930290DB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14;p51">
                <a:extLst>
                  <a:ext uri="{FF2B5EF4-FFF2-40B4-BE49-F238E27FC236}">
                    <a16:creationId xmlns:a16="http://schemas.microsoft.com/office/drawing/2014/main" id="{E396B2BB-1B8F-4C0F-AB93-BFD3C8E35B96}"/>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5;p51">
                <a:extLst>
                  <a:ext uri="{FF2B5EF4-FFF2-40B4-BE49-F238E27FC236}">
                    <a16:creationId xmlns:a16="http://schemas.microsoft.com/office/drawing/2014/main" id="{4DA93D07-C183-47C5-A757-B1A4C9229953}"/>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6;p51">
                <a:extLst>
                  <a:ext uri="{FF2B5EF4-FFF2-40B4-BE49-F238E27FC236}">
                    <a16:creationId xmlns:a16="http://schemas.microsoft.com/office/drawing/2014/main" id="{5398EEA4-8135-4899-A9B6-C3C0C1983730}"/>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7;p51">
                <a:extLst>
                  <a:ext uri="{FF2B5EF4-FFF2-40B4-BE49-F238E27FC236}">
                    <a16:creationId xmlns:a16="http://schemas.microsoft.com/office/drawing/2014/main" id="{2FDFEA3C-FC46-4DAB-95D3-0F47EB813F8B}"/>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8;p51">
                <a:extLst>
                  <a:ext uri="{FF2B5EF4-FFF2-40B4-BE49-F238E27FC236}">
                    <a16:creationId xmlns:a16="http://schemas.microsoft.com/office/drawing/2014/main" id="{787C4A06-2D4A-42B2-8C6C-46AD557DC2D3}"/>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9;p51">
                <a:extLst>
                  <a:ext uri="{FF2B5EF4-FFF2-40B4-BE49-F238E27FC236}">
                    <a16:creationId xmlns:a16="http://schemas.microsoft.com/office/drawing/2014/main" id="{1EA5916D-E833-4385-9C01-7CF35CC10871}"/>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20;p51">
                <a:extLst>
                  <a:ext uri="{FF2B5EF4-FFF2-40B4-BE49-F238E27FC236}">
                    <a16:creationId xmlns:a16="http://schemas.microsoft.com/office/drawing/2014/main" id="{75474011-6686-4D0A-B618-E4771563A4A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21;p51">
                <a:extLst>
                  <a:ext uri="{FF2B5EF4-FFF2-40B4-BE49-F238E27FC236}">
                    <a16:creationId xmlns:a16="http://schemas.microsoft.com/office/drawing/2014/main" id="{31D50C1D-0FD4-4C7E-948B-CF998A1E071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22;p51">
                <a:extLst>
                  <a:ext uri="{FF2B5EF4-FFF2-40B4-BE49-F238E27FC236}">
                    <a16:creationId xmlns:a16="http://schemas.microsoft.com/office/drawing/2014/main" id="{9F80804C-3261-419A-B317-01689EC8B22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23;p51">
                <a:extLst>
                  <a:ext uri="{FF2B5EF4-FFF2-40B4-BE49-F238E27FC236}">
                    <a16:creationId xmlns:a16="http://schemas.microsoft.com/office/drawing/2014/main" id="{25CE1E0A-D7C5-4828-B2C2-0BF1F41B0FA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24;p51">
                <a:extLst>
                  <a:ext uri="{FF2B5EF4-FFF2-40B4-BE49-F238E27FC236}">
                    <a16:creationId xmlns:a16="http://schemas.microsoft.com/office/drawing/2014/main" id="{545D06C5-D6C9-48C1-A966-2D87DE082FC5}"/>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5;p51">
                <a:extLst>
                  <a:ext uri="{FF2B5EF4-FFF2-40B4-BE49-F238E27FC236}">
                    <a16:creationId xmlns:a16="http://schemas.microsoft.com/office/drawing/2014/main" id="{C4868874-D5CD-4E2B-9381-DB3E72233B84}"/>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6;p51">
                <a:extLst>
                  <a:ext uri="{FF2B5EF4-FFF2-40B4-BE49-F238E27FC236}">
                    <a16:creationId xmlns:a16="http://schemas.microsoft.com/office/drawing/2014/main" id="{40E129C3-6181-4AA8-A691-98456CC3BCE0}"/>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7;p51">
                <a:extLst>
                  <a:ext uri="{FF2B5EF4-FFF2-40B4-BE49-F238E27FC236}">
                    <a16:creationId xmlns:a16="http://schemas.microsoft.com/office/drawing/2014/main" id="{FF490983-48B0-4D7D-A89F-7346C301C750}"/>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6" name="Group 5">
              <a:extLst>
                <a:ext uri="{FF2B5EF4-FFF2-40B4-BE49-F238E27FC236}">
                  <a16:creationId xmlns:a16="http://schemas.microsoft.com/office/drawing/2014/main" id="{D34E9EB2-D62D-450A-BF16-8648AD895791}"/>
                </a:ext>
              </a:extLst>
            </p:cNvPr>
            <p:cNvGrpSpPr/>
            <p:nvPr/>
          </p:nvGrpSpPr>
          <p:grpSpPr>
            <a:xfrm>
              <a:off x="9459173" y="4651735"/>
              <a:ext cx="965465" cy="814701"/>
              <a:chOff x="2122052" y="4430998"/>
              <a:chExt cx="516998" cy="436265"/>
            </a:xfrm>
          </p:grpSpPr>
          <p:sp>
            <p:nvSpPr>
              <p:cNvPr id="7" name="Google Shape;663;p48">
                <a:extLst>
                  <a:ext uri="{FF2B5EF4-FFF2-40B4-BE49-F238E27FC236}">
                    <a16:creationId xmlns:a16="http://schemas.microsoft.com/office/drawing/2014/main" id="{D4577CA8-5081-45AF-A9FC-B3B235B2F0ED}"/>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664;p48">
                <a:extLst>
                  <a:ext uri="{FF2B5EF4-FFF2-40B4-BE49-F238E27FC236}">
                    <a16:creationId xmlns:a16="http://schemas.microsoft.com/office/drawing/2014/main" id="{8F175621-4F96-4CF8-A793-026A40DB84C4}"/>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665;p48">
                <a:extLst>
                  <a:ext uri="{FF2B5EF4-FFF2-40B4-BE49-F238E27FC236}">
                    <a16:creationId xmlns:a16="http://schemas.microsoft.com/office/drawing/2014/main" id="{9E1BFC13-C604-4CA0-9121-A57FFA633FD5}"/>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666;p48">
                <a:extLst>
                  <a:ext uri="{FF2B5EF4-FFF2-40B4-BE49-F238E27FC236}">
                    <a16:creationId xmlns:a16="http://schemas.microsoft.com/office/drawing/2014/main" id="{B4F911B2-8C28-4B89-A8A4-E82100C03E1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7;p48">
                <a:extLst>
                  <a:ext uri="{FF2B5EF4-FFF2-40B4-BE49-F238E27FC236}">
                    <a16:creationId xmlns:a16="http://schemas.microsoft.com/office/drawing/2014/main" id="{ED2FF76B-D2FE-41FC-A080-FA891D6B760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8;p48">
                <a:extLst>
                  <a:ext uri="{FF2B5EF4-FFF2-40B4-BE49-F238E27FC236}">
                    <a16:creationId xmlns:a16="http://schemas.microsoft.com/office/drawing/2014/main" id="{2860597A-2698-423B-90D5-74B59AC8E2B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Google Shape;669;p48">
                <a:extLst>
                  <a:ext uri="{FF2B5EF4-FFF2-40B4-BE49-F238E27FC236}">
                    <a16:creationId xmlns:a16="http://schemas.microsoft.com/office/drawing/2014/main" id="{3B503236-C75C-4449-BEBC-ABF3BFBD039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70;p48">
                <a:extLst>
                  <a:ext uri="{FF2B5EF4-FFF2-40B4-BE49-F238E27FC236}">
                    <a16:creationId xmlns:a16="http://schemas.microsoft.com/office/drawing/2014/main" id="{652DCB1A-7349-471B-A095-965D1A56C5A0}"/>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71;p48">
                <a:extLst>
                  <a:ext uri="{FF2B5EF4-FFF2-40B4-BE49-F238E27FC236}">
                    <a16:creationId xmlns:a16="http://schemas.microsoft.com/office/drawing/2014/main" id="{0E4185C2-C483-410A-BA78-E5D1C5A4977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72;p48">
                <a:extLst>
                  <a:ext uri="{FF2B5EF4-FFF2-40B4-BE49-F238E27FC236}">
                    <a16:creationId xmlns:a16="http://schemas.microsoft.com/office/drawing/2014/main" id="{61298105-82C8-405D-A227-73D51625370F}"/>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73;p48">
                <a:extLst>
                  <a:ext uri="{FF2B5EF4-FFF2-40B4-BE49-F238E27FC236}">
                    <a16:creationId xmlns:a16="http://schemas.microsoft.com/office/drawing/2014/main" id="{94EEBA9F-41BC-4DE1-9E79-5B1E70437DEF}"/>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74;p48">
                <a:extLst>
                  <a:ext uri="{FF2B5EF4-FFF2-40B4-BE49-F238E27FC236}">
                    <a16:creationId xmlns:a16="http://schemas.microsoft.com/office/drawing/2014/main" id="{F5B73FBB-0AF1-4574-AEF9-976CBFB994AC}"/>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5;p48">
                <a:extLst>
                  <a:ext uri="{FF2B5EF4-FFF2-40B4-BE49-F238E27FC236}">
                    <a16:creationId xmlns:a16="http://schemas.microsoft.com/office/drawing/2014/main" id="{89519435-108B-4B21-9642-3B399139B97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6;p48">
                <a:extLst>
                  <a:ext uri="{FF2B5EF4-FFF2-40B4-BE49-F238E27FC236}">
                    <a16:creationId xmlns:a16="http://schemas.microsoft.com/office/drawing/2014/main" id="{A2101CA1-D138-4B54-AEB4-C26A05BE031D}"/>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7;p48">
                <a:extLst>
                  <a:ext uri="{FF2B5EF4-FFF2-40B4-BE49-F238E27FC236}">
                    <a16:creationId xmlns:a16="http://schemas.microsoft.com/office/drawing/2014/main" id="{883876A8-1852-4E19-974F-64BD01653492}"/>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8;p48">
                <a:extLst>
                  <a:ext uri="{FF2B5EF4-FFF2-40B4-BE49-F238E27FC236}">
                    <a16:creationId xmlns:a16="http://schemas.microsoft.com/office/drawing/2014/main" id="{271D9785-2499-4A8F-9CDC-44A391FAB3EF}"/>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9;p48">
                <a:extLst>
                  <a:ext uri="{FF2B5EF4-FFF2-40B4-BE49-F238E27FC236}">
                    <a16:creationId xmlns:a16="http://schemas.microsoft.com/office/drawing/2014/main" id="{56D14AAF-04A2-4675-95AC-342B3BB12B2E}"/>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80;p48">
                <a:extLst>
                  <a:ext uri="{FF2B5EF4-FFF2-40B4-BE49-F238E27FC236}">
                    <a16:creationId xmlns:a16="http://schemas.microsoft.com/office/drawing/2014/main" id="{4D8E73FB-B8ED-4D67-9AEC-554F814A6B0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81;p48">
                <a:extLst>
                  <a:ext uri="{FF2B5EF4-FFF2-40B4-BE49-F238E27FC236}">
                    <a16:creationId xmlns:a16="http://schemas.microsoft.com/office/drawing/2014/main" id="{CB62546D-2A59-4541-8D1A-66575A5B611D}"/>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82;p48">
                <a:extLst>
                  <a:ext uri="{FF2B5EF4-FFF2-40B4-BE49-F238E27FC236}">
                    <a16:creationId xmlns:a16="http://schemas.microsoft.com/office/drawing/2014/main" id="{F022AF75-FAA4-4024-8934-43955E801DA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83;p48">
                <a:extLst>
                  <a:ext uri="{FF2B5EF4-FFF2-40B4-BE49-F238E27FC236}">
                    <a16:creationId xmlns:a16="http://schemas.microsoft.com/office/drawing/2014/main" id="{E3859BEF-EF9B-47F5-8A12-304DA659F02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8" name="Google Shape;684;p48">
                <a:extLst>
                  <a:ext uri="{FF2B5EF4-FFF2-40B4-BE49-F238E27FC236}">
                    <a16:creationId xmlns:a16="http://schemas.microsoft.com/office/drawing/2014/main" id="{A28A49C4-8C4A-4EC8-A1D1-6E7E61C801EE}"/>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5;p48">
                <a:extLst>
                  <a:ext uri="{FF2B5EF4-FFF2-40B4-BE49-F238E27FC236}">
                    <a16:creationId xmlns:a16="http://schemas.microsoft.com/office/drawing/2014/main" id="{743B060B-B864-43E8-9CA8-3335902C1BC9}"/>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6;p48">
                <a:extLst>
                  <a:ext uri="{FF2B5EF4-FFF2-40B4-BE49-F238E27FC236}">
                    <a16:creationId xmlns:a16="http://schemas.microsoft.com/office/drawing/2014/main" id="{EE16F634-BAFE-4160-A87B-CE94465FEEE9}"/>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7;p48">
                <a:extLst>
                  <a:ext uri="{FF2B5EF4-FFF2-40B4-BE49-F238E27FC236}">
                    <a16:creationId xmlns:a16="http://schemas.microsoft.com/office/drawing/2014/main" id="{4FA1A788-5215-41EB-9AEC-34E56AD8FBB7}"/>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9" name="Google Shape;1373;p56">
            <a:extLst>
              <a:ext uri="{FF2B5EF4-FFF2-40B4-BE49-F238E27FC236}">
                <a16:creationId xmlns:a16="http://schemas.microsoft.com/office/drawing/2014/main" id="{4FEC6E06-4670-4611-91D6-3BC89D579628}"/>
              </a:ext>
            </a:extLst>
          </p:cNvPr>
          <p:cNvSpPr/>
          <p:nvPr/>
        </p:nvSpPr>
        <p:spPr>
          <a:xfrm>
            <a:off x="4479687" y="88872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374;p56">
            <a:extLst>
              <a:ext uri="{FF2B5EF4-FFF2-40B4-BE49-F238E27FC236}">
                <a16:creationId xmlns:a16="http://schemas.microsoft.com/office/drawing/2014/main" id="{DD20C082-FC67-4F58-89B3-EEAAB4C8B42D}"/>
              </a:ext>
            </a:extLst>
          </p:cNvPr>
          <p:cNvSpPr/>
          <p:nvPr/>
        </p:nvSpPr>
        <p:spPr>
          <a:xfrm>
            <a:off x="10022901" y="32394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375;p56">
            <a:extLst>
              <a:ext uri="{FF2B5EF4-FFF2-40B4-BE49-F238E27FC236}">
                <a16:creationId xmlns:a16="http://schemas.microsoft.com/office/drawing/2014/main" id="{82E81F3A-AF81-47DA-A27B-310A4D8F5A49}"/>
              </a:ext>
            </a:extLst>
          </p:cNvPr>
          <p:cNvSpPr/>
          <p:nvPr/>
        </p:nvSpPr>
        <p:spPr>
          <a:xfrm>
            <a:off x="1271743" y="25820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62" name="Google Shape;1376;p56">
            <a:extLst>
              <a:ext uri="{FF2B5EF4-FFF2-40B4-BE49-F238E27FC236}">
                <a16:creationId xmlns:a16="http://schemas.microsoft.com/office/drawing/2014/main" id="{AB2F74ED-E83E-4498-A0CB-7C126C4390E8}"/>
              </a:ext>
            </a:extLst>
          </p:cNvPr>
          <p:cNvGrpSpPr/>
          <p:nvPr/>
        </p:nvGrpSpPr>
        <p:grpSpPr>
          <a:xfrm rot="14053952">
            <a:off x="2565730" y="731878"/>
            <a:ext cx="245700" cy="975478"/>
            <a:chOff x="7004550" y="3676293"/>
            <a:chExt cx="161700" cy="641982"/>
          </a:xfrm>
        </p:grpSpPr>
        <p:sp>
          <p:nvSpPr>
            <p:cNvPr id="63" name="Google Shape;1377;p56">
              <a:extLst>
                <a:ext uri="{FF2B5EF4-FFF2-40B4-BE49-F238E27FC236}">
                  <a16:creationId xmlns:a16="http://schemas.microsoft.com/office/drawing/2014/main" id="{9424AB90-45CA-4FDE-8111-6FC72F94892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378;p56">
              <a:extLst>
                <a:ext uri="{FF2B5EF4-FFF2-40B4-BE49-F238E27FC236}">
                  <a16:creationId xmlns:a16="http://schemas.microsoft.com/office/drawing/2014/main" id="{08DDF313-9EB1-4FF9-B2F1-55C69723E45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379;p56">
              <a:extLst>
                <a:ext uri="{FF2B5EF4-FFF2-40B4-BE49-F238E27FC236}">
                  <a16:creationId xmlns:a16="http://schemas.microsoft.com/office/drawing/2014/main" id="{E99C92F2-1892-47AC-96AC-A2F00C5A5F19}"/>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380;p56">
              <a:extLst>
                <a:ext uri="{FF2B5EF4-FFF2-40B4-BE49-F238E27FC236}">
                  <a16:creationId xmlns:a16="http://schemas.microsoft.com/office/drawing/2014/main" id="{417DF105-C729-48F2-9171-19C0E09E167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3" name="Google Shape;1345;p56">
            <a:extLst>
              <a:ext uri="{FF2B5EF4-FFF2-40B4-BE49-F238E27FC236}">
                <a16:creationId xmlns:a16="http://schemas.microsoft.com/office/drawing/2014/main" id="{4BDF3124-BCD2-4780-9A3F-B4D7F9C3F410}"/>
              </a:ext>
            </a:extLst>
          </p:cNvPr>
          <p:cNvSpPr txBox="1">
            <a:spLocks/>
          </p:cNvSpPr>
          <p:nvPr/>
        </p:nvSpPr>
        <p:spPr>
          <a:xfrm>
            <a:off x="5238561" y="4080609"/>
            <a:ext cx="4618159" cy="72317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t>
            </a:r>
            <a:r>
              <a:rPr lang="en-US" kern="0" dirty="0">
                <a:solidFill>
                  <a:srgbClr val="F7743C"/>
                </a:solidFill>
              </a:rPr>
              <a:t>Dean Leffingwell, Creator of </a:t>
            </a:r>
            <a:r>
              <a:rPr lang="en-US" kern="0" dirty="0" err="1">
                <a:solidFill>
                  <a:srgbClr val="F7743C"/>
                </a:solidFill>
              </a:rPr>
              <a:t>SAFe</a:t>
            </a:r>
            <a:r>
              <a:rPr lang="en-US" kern="0" dirty="0">
                <a:solidFill>
                  <a:srgbClr val="F7743C"/>
                </a:solidFill>
              </a:rPr>
              <a:t>'</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95" name="TextBox 94">
            <a:extLst>
              <a:ext uri="{FF2B5EF4-FFF2-40B4-BE49-F238E27FC236}">
                <a16:creationId xmlns:a16="http://schemas.microsoft.com/office/drawing/2014/main" id="{24DFBE56-14DC-435B-B74B-D926E657C816}"/>
              </a:ext>
            </a:extLst>
          </p:cNvPr>
          <p:cNvSpPr txBox="1"/>
          <p:nvPr/>
        </p:nvSpPr>
        <p:spPr>
          <a:xfrm>
            <a:off x="2633783" y="2248991"/>
            <a:ext cx="7881817" cy="1815882"/>
          </a:xfrm>
          <a:prstGeom prst="rect">
            <a:avLst/>
          </a:prstGeom>
          <a:noFill/>
        </p:spPr>
        <p:txBody>
          <a:bodyPr wrap="square">
            <a:spAutoFit/>
          </a:bodyPr>
          <a:lstStyle/>
          <a:p>
            <a:r>
              <a:rPr lang="en-US" sz="2800" kern="0" dirty="0">
                <a:solidFill>
                  <a:srgbClr val="FFFFFF"/>
                </a:solidFill>
                <a:latin typeface="Arial" panose="020B0604020202020204" pitchFamily="34" charset="0"/>
                <a:cs typeface="Arial" panose="020B0604020202020204" pitchFamily="34" charset="0"/>
                <a:sym typeface="Sora"/>
              </a:rPr>
              <a:t>“In the Age of Digital, every business is a software business. </a:t>
            </a:r>
          </a:p>
          <a:p>
            <a:r>
              <a:rPr lang="en-US" sz="2800" kern="0" dirty="0">
                <a:solidFill>
                  <a:srgbClr val="FFFFFF"/>
                </a:solidFill>
                <a:latin typeface="Arial" panose="020B0604020202020204" pitchFamily="34" charset="0"/>
                <a:cs typeface="Arial" panose="020B0604020202020204" pitchFamily="34" charset="0"/>
                <a:sym typeface="Sora"/>
              </a:rPr>
              <a:t>Agility isn’t an option, or a thing just for technical teams, it is a business imperative.”</a:t>
            </a:r>
          </a:p>
        </p:txBody>
      </p:sp>
      <p:sp>
        <p:nvSpPr>
          <p:cNvPr id="82" name="TextBox 81">
            <a:extLst>
              <a:ext uri="{FF2B5EF4-FFF2-40B4-BE49-F238E27FC236}">
                <a16:creationId xmlns:a16="http://schemas.microsoft.com/office/drawing/2014/main" id="{2E529CEF-28DE-41E8-9512-D467D6F46A3B}"/>
              </a:ext>
            </a:extLst>
          </p:cNvPr>
          <p:cNvSpPr txBox="1"/>
          <p:nvPr/>
        </p:nvSpPr>
        <p:spPr>
          <a:xfrm>
            <a:off x="7881564" y="4647832"/>
            <a:ext cx="7042150" cy="369332"/>
          </a:xfrm>
          <a:prstGeom prst="rect">
            <a:avLst/>
          </a:prstGeom>
          <a:noFill/>
        </p:spPr>
        <p:txBody>
          <a:bodyPr wrap="square">
            <a:spAutoFit/>
          </a:bodyPr>
          <a:lstStyle/>
          <a:p>
            <a:r>
              <a:rPr lang="en-US" dirty="0"/>
              <a:t>© Scaled Agile, Inc.</a:t>
            </a:r>
          </a:p>
        </p:txBody>
      </p:sp>
      <p:grpSp>
        <p:nvGrpSpPr>
          <p:cNvPr id="83" name="Google Shape;9463;p96">
            <a:extLst>
              <a:ext uri="{FF2B5EF4-FFF2-40B4-BE49-F238E27FC236}">
                <a16:creationId xmlns:a16="http://schemas.microsoft.com/office/drawing/2014/main" id="{DE01EBB6-59BA-4C15-BB57-03DF26D9C08B}"/>
              </a:ext>
            </a:extLst>
          </p:cNvPr>
          <p:cNvGrpSpPr/>
          <p:nvPr/>
        </p:nvGrpSpPr>
        <p:grpSpPr>
          <a:xfrm>
            <a:off x="5461897" y="1604379"/>
            <a:ext cx="1268207" cy="638939"/>
            <a:chOff x="3967651" y="3645904"/>
            <a:chExt cx="1479304" cy="745292"/>
          </a:xfrm>
        </p:grpSpPr>
        <p:grpSp>
          <p:nvGrpSpPr>
            <p:cNvPr id="84" name="Google Shape;9464;p96">
              <a:extLst>
                <a:ext uri="{FF2B5EF4-FFF2-40B4-BE49-F238E27FC236}">
                  <a16:creationId xmlns:a16="http://schemas.microsoft.com/office/drawing/2014/main" id="{613C44C6-2B80-4DE4-9C41-726748D9FA41}"/>
                </a:ext>
              </a:extLst>
            </p:cNvPr>
            <p:cNvGrpSpPr/>
            <p:nvPr/>
          </p:nvGrpSpPr>
          <p:grpSpPr>
            <a:xfrm>
              <a:off x="3967651" y="4009026"/>
              <a:ext cx="1479304" cy="382170"/>
              <a:chOff x="3967651" y="4009026"/>
              <a:chExt cx="1479304" cy="382170"/>
            </a:xfrm>
          </p:grpSpPr>
          <p:grpSp>
            <p:nvGrpSpPr>
              <p:cNvPr id="98" name="Google Shape;9465;p96">
                <a:extLst>
                  <a:ext uri="{FF2B5EF4-FFF2-40B4-BE49-F238E27FC236}">
                    <a16:creationId xmlns:a16="http://schemas.microsoft.com/office/drawing/2014/main" id="{2327896E-2EAE-4C91-80CF-C24665471D6D}"/>
                  </a:ext>
                </a:extLst>
              </p:cNvPr>
              <p:cNvGrpSpPr/>
              <p:nvPr/>
            </p:nvGrpSpPr>
            <p:grpSpPr>
              <a:xfrm>
                <a:off x="4892216" y="4195630"/>
                <a:ext cx="554739" cy="195566"/>
                <a:chOff x="3604375" y="4892160"/>
                <a:chExt cx="1651500" cy="582215"/>
              </a:xfrm>
            </p:grpSpPr>
            <p:sp>
              <p:nvSpPr>
                <p:cNvPr id="105" name="Google Shape;9466;p96">
                  <a:extLst>
                    <a:ext uri="{FF2B5EF4-FFF2-40B4-BE49-F238E27FC236}">
                      <a16:creationId xmlns:a16="http://schemas.microsoft.com/office/drawing/2014/main" id="{BC919210-0DEF-4FA8-AC09-ACEEF1329B33}"/>
                    </a:ext>
                  </a:extLst>
                </p:cNvPr>
                <p:cNvSpPr/>
                <p:nvPr/>
              </p:nvSpPr>
              <p:spPr>
                <a:xfrm>
                  <a:off x="3604375" y="4892160"/>
                  <a:ext cx="1651500" cy="146825"/>
                </a:xfrm>
                <a:custGeom>
                  <a:avLst/>
                  <a:gdLst/>
                  <a:ahLst/>
                  <a:cxnLst/>
                  <a:rect l="l" t="t" r="r" b="b"/>
                  <a:pathLst>
                    <a:path w="66060" h="5873" extrusionOk="0">
                      <a:moveTo>
                        <a:pt x="1" y="0"/>
                      </a:moveTo>
                      <a:lnTo>
                        <a:pt x="7340" y="5872"/>
                      </a:lnTo>
                      <a:lnTo>
                        <a:pt x="66060" y="5872"/>
                      </a:lnTo>
                      <a:lnTo>
                        <a:pt x="51382"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9467;p96">
                  <a:extLst>
                    <a:ext uri="{FF2B5EF4-FFF2-40B4-BE49-F238E27FC236}">
                      <a16:creationId xmlns:a16="http://schemas.microsoft.com/office/drawing/2014/main" id="{7A873720-D9A8-420C-8FEF-F468A6212738}"/>
                    </a:ext>
                  </a:extLst>
                </p:cNvPr>
                <p:cNvSpPr/>
                <p:nvPr/>
              </p:nvSpPr>
              <p:spPr>
                <a:xfrm>
                  <a:off x="3787875" y="5033975"/>
                  <a:ext cx="1468000" cy="440400"/>
                </a:xfrm>
                <a:custGeom>
                  <a:avLst/>
                  <a:gdLst/>
                  <a:ahLst/>
                  <a:cxnLst/>
                  <a:rect l="l" t="t" r="r" b="b"/>
                  <a:pathLst>
                    <a:path w="58720" h="17616" extrusionOk="0">
                      <a:moveTo>
                        <a:pt x="0" y="0"/>
                      </a:moveTo>
                      <a:lnTo>
                        <a:pt x="0" y="17615"/>
                      </a:lnTo>
                      <a:lnTo>
                        <a:pt x="58720" y="17615"/>
                      </a:lnTo>
                      <a:lnTo>
                        <a:pt x="58720"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 name="Google Shape;9468;p96">
                <a:extLst>
                  <a:ext uri="{FF2B5EF4-FFF2-40B4-BE49-F238E27FC236}">
                    <a16:creationId xmlns:a16="http://schemas.microsoft.com/office/drawing/2014/main" id="{1674FC2D-F95D-48A3-BDC4-7EC652209A28}"/>
                  </a:ext>
                </a:extLst>
              </p:cNvPr>
              <p:cNvGrpSpPr/>
              <p:nvPr/>
            </p:nvGrpSpPr>
            <p:grpSpPr>
              <a:xfrm>
                <a:off x="3967651" y="4146303"/>
                <a:ext cx="579402" cy="244893"/>
                <a:chOff x="851875" y="4745310"/>
                <a:chExt cx="1724925" cy="729065"/>
              </a:xfrm>
            </p:grpSpPr>
            <p:sp>
              <p:nvSpPr>
                <p:cNvPr id="103" name="Google Shape;9469;p96">
                  <a:extLst>
                    <a:ext uri="{FF2B5EF4-FFF2-40B4-BE49-F238E27FC236}">
                      <a16:creationId xmlns:a16="http://schemas.microsoft.com/office/drawing/2014/main" id="{7DC04616-028F-4FBB-BC13-06DD8BA17F62}"/>
                    </a:ext>
                  </a:extLst>
                </p:cNvPr>
                <p:cNvSpPr/>
                <p:nvPr/>
              </p:nvSpPr>
              <p:spPr>
                <a:xfrm>
                  <a:off x="851925" y="4745310"/>
                  <a:ext cx="1724875" cy="146875"/>
                </a:xfrm>
                <a:custGeom>
                  <a:avLst/>
                  <a:gdLst/>
                  <a:ahLst/>
                  <a:cxnLst/>
                  <a:rect l="l" t="t" r="r" b="b"/>
                  <a:pathLst>
                    <a:path w="68995" h="5875" extrusionOk="0">
                      <a:moveTo>
                        <a:pt x="14679" y="0"/>
                      </a:moveTo>
                      <a:lnTo>
                        <a:pt x="1" y="5874"/>
                      </a:lnTo>
                      <a:lnTo>
                        <a:pt x="58718" y="5874"/>
                      </a:lnTo>
                      <a:lnTo>
                        <a:pt x="68994"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9470;p96">
                  <a:extLst>
                    <a:ext uri="{FF2B5EF4-FFF2-40B4-BE49-F238E27FC236}">
                      <a16:creationId xmlns:a16="http://schemas.microsoft.com/office/drawing/2014/main" id="{C16AFD83-0373-4C4A-A22C-73880011CC0E}"/>
                    </a:ext>
                  </a:extLst>
                </p:cNvPr>
                <p:cNvSpPr/>
                <p:nvPr/>
              </p:nvSpPr>
              <p:spPr>
                <a:xfrm>
                  <a:off x="851875" y="4887175"/>
                  <a:ext cx="1468025" cy="587200"/>
                </a:xfrm>
                <a:custGeom>
                  <a:avLst/>
                  <a:gdLst/>
                  <a:ahLst/>
                  <a:cxnLst/>
                  <a:rect l="l" t="t" r="r" b="b"/>
                  <a:pathLst>
                    <a:path w="58721" h="23488" extrusionOk="0">
                      <a:moveTo>
                        <a:pt x="0" y="0"/>
                      </a:moveTo>
                      <a:lnTo>
                        <a:pt x="0" y="23487"/>
                      </a:lnTo>
                      <a:lnTo>
                        <a:pt x="58720" y="23487"/>
                      </a:lnTo>
                      <a:lnTo>
                        <a:pt x="58720"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 name="Google Shape;9471;p96">
                <a:extLst>
                  <a:ext uri="{FF2B5EF4-FFF2-40B4-BE49-F238E27FC236}">
                    <a16:creationId xmlns:a16="http://schemas.microsoft.com/office/drawing/2014/main" id="{99E6CB94-BFD4-473F-9AB6-BF6570437A72}"/>
                  </a:ext>
                </a:extLst>
              </p:cNvPr>
              <p:cNvGrpSpPr/>
              <p:nvPr/>
            </p:nvGrpSpPr>
            <p:grpSpPr>
              <a:xfrm>
                <a:off x="4460753" y="4009026"/>
                <a:ext cx="493110" cy="382170"/>
                <a:chOff x="2319875" y="4336625"/>
                <a:chExt cx="1468025" cy="1137750"/>
              </a:xfrm>
            </p:grpSpPr>
            <p:sp>
              <p:nvSpPr>
                <p:cNvPr id="101" name="Google Shape;9472;p96">
                  <a:extLst>
                    <a:ext uri="{FF2B5EF4-FFF2-40B4-BE49-F238E27FC236}">
                      <a16:creationId xmlns:a16="http://schemas.microsoft.com/office/drawing/2014/main" id="{847C3F5E-324E-4609-9C5E-7188145EF338}"/>
                    </a:ext>
                  </a:extLst>
                </p:cNvPr>
                <p:cNvSpPr/>
                <p:nvPr/>
              </p:nvSpPr>
              <p:spPr>
                <a:xfrm>
                  <a:off x="2319875" y="4336625"/>
                  <a:ext cx="1468025" cy="146875"/>
                </a:xfrm>
                <a:custGeom>
                  <a:avLst/>
                  <a:gdLst/>
                  <a:ahLst/>
                  <a:cxnLst/>
                  <a:rect l="l" t="t" r="r" b="b"/>
                  <a:pathLst>
                    <a:path w="58721" h="5875" extrusionOk="0">
                      <a:moveTo>
                        <a:pt x="14681" y="0"/>
                      </a:moveTo>
                      <a:lnTo>
                        <a:pt x="0" y="5874"/>
                      </a:lnTo>
                      <a:lnTo>
                        <a:pt x="58720" y="5874"/>
                      </a:lnTo>
                      <a:lnTo>
                        <a:pt x="44042"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9473;p96">
                  <a:extLst>
                    <a:ext uri="{FF2B5EF4-FFF2-40B4-BE49-F238E27FC236}">
                      <a16:creationId xmlns:a16="http://schemas.microsoft.com/office/drawing/2014/main" id="{E6A49465-50F8-4D9C-AA7F-E54E9E54FFD2}"/>
                    </a:ext>
                  </a:extLst>
                </p:cNvPr>
                <p:cNvSpPr/>
                <p:nvPr/>
              </p:nvSpPr>
              <p:spPr>
                <a:xfrm>
                  <a:off x="2319875" y="4483425"/>
                  <a:ext cx="1468025" cy="990950"/>
                </a:xfrm>
                <a:custGeom>
                  <a:avLst/>
                  <a:gdLst/>
                  <a:ahLst/>
                  <a:cxnLst/>
                  <a:rect l="l" t="t" r="r" b="b"/>
                  <a:pathLst>
                    <a:path w="58721" h="39638" extrusionOk="0">
                      <a:moveTo>
                        <a:pt x="0" y="0"/>
                      </a:moveTo>
                      <a:lnTo>
                        <a:pt x="0" y="39637"/>
                      </a:lnTo>
                      <a:lnTo>
                        <a:pt x="58720" y="39637"/>
                      </a:lnTo>
                      <a:lnTo>
                        <a:pt x="58720" y="0"/>
                      </a:ln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5" name="Google Shape;9474;p96">
              <a:extLst>
                <a:ext uri="{FF2B5EF4-FFF2-40B4-BE49-F238E27FC236}">
                  <a16:creationId xmlns:a16="http://schemas.microsoft.com/office/drawing/2014/main" id="{6F9B0FE3-141E-4E0E-A055-ECCAF488C92C}"/>
                </a:ext>
              </a:extLst>
            </p:cNvPr>
            <p:cNvGrpSpPr/>
            <p:nvPr/>
          </p:nvGrpSpPr>
          <p:grpSpPr>
            <a:xfrm>
              <a:off x="4479443" y="3645904"/>
              <a:ext cx="455965" cy="388789"/>
              <a:chOff x="2957425" y="238100"/>
              <a:chExt cx="1910200" cy="1628775"/>
            </a:xfrm>
          </p:grpSpPr>
          <p:sp>
            <p:nvSpPr>
              <p:cNvPr id="86" name="Google Shape;9475;p96">
                <a:extLst>
                  <a:ext uri="{FF2B5EF4-FFF2-40B4-BE49-F238E27FC236}">
                    <a16:creationId xmlns:a16="http://schemas.microsoft.com/office/drawing/2014/main" id="{048AFEB0-83A1-4EF5-B5A4-08563686DED8}"/>
                  </a:ext>
                </a:extLst>
              </p:cNvPr>
              <p:cNvSpPr/>
              <p:nvPr/>
            </p:nvSpPr>
            <p:spPr>
              <a:xfrm>
                <a:off x="4035900" y="239600"/>
                <a:ext cx="831725" cy="906350"/>
              </a:xfrm>
              <a:custGeom>
                <a:avLst/>
                <a:gdLst/>
                <a:ahLst/>
                <a:cxnLst/>
                <a:rect l="l" t="t" r="r" b="b"/>
                <a:pathLst>
                  <a:path w="33269" h="36254" extrusionOk="0">
                    <a:moveTo>
                      <a:pt x="22705" y="0"/>
                    </a:moveTo>
                    <a:cubicBezTo>
                      <a:pt x="21111" y="0"/>
                      <a:pt x="19679" y="297"/>
                      <a:pt x="18461" y="685"/>
                    </a:cubicBezTo>
                    <a:cubicBezTo>
                      <a:pt x="17166" y="1102"/>
                      <a:pt x="15926" y="1669"/>
                      <a:pt x="14763" y="2373"/>
                    </a:cubicBezTo>
                    <a:cubicBezTo>
                      <a:pt x="13810" y="2945"/>
                      <a:pt x="13109" y="3505"/>
                      <a:pt x="12609" y="3900"/>
                    </a:cubicBezTo>
                    <a:lnTo>
                      <a:pt x="11977" y="4448"/>
                    </a:lnTo>
                    <a:lnTo>
                      <a:pt x="14023" y="6907"/>
                    </a:lnTo>
                    <a:lnTo>
                      <a:pt x="14679" y="6385"/>
                    </a:lnTo>
                    <a:cubicBezTo>
                      <a:pt x="15052" y="6124"/>
                      <a:pt x="15622" y="5698"/>
                      <a:pt x="16443" y="5255"/>
                    </a:cubicBezTo>
                    <a:cubicBezTo>
                      <a:pt x="17250" y="4815"/>
                      <a:pt x="18260" y="4326"/>
                      <a:pt x="19466" y="3977"/>
                    </a:cubicBezTo>
                    <a:cubicBezTo>
                      <a:pt x="20363" y="3713"/>
                      <a:pt x="21373" y="3535"/>
                      <a:pt x="22421" y="3535"/>
                    </a:cubicBezTo>
                    <a:cubicBezTo>
                      <a:pt x="22772" y="3535"/>
                      <a:pt x="23127" y="3555"/>
                      <a:pt x="23483" y="3599"/>
                    </a:cubicBezTo>
                    <a:cubicBezTo>
                      <a:pt x="24177" y="3661"/>
                      <a:pt x="24938" y="3905"/>
                      <a:pt x="25537" y="4168"/>
                    </a:cubicBezTo>
                    <a:cubicBezTo>
                      <a:pt x="25740" y="4271"/>
                      <a:pt x="25982" y="4377"/>
                      <a:pt x="26159" y="4475"/>
                    </a:cubicBezTo>
                    <a:cubicBezTo>
                      <a:pt x="26289" y="4568"/>
                      <a:pt x="26415" y="4659"/>
                      <a:pt x="26552" y="4740"/>
                    </a:cubicBezTo>
                    <a:cubicBezTo>
                      <a:pt x="26818" y="4941"/>
                      <a:pt x="27160" y="5171"/>
                      <a:pt x="27411" y="5458"/>
                    </a:cubicBezTo>
                    <a:cubicBezTo>
                      <a:pt x="28529" y="6528"/>
                      <a:pt x="29264" y="8171"/>
                      <a:pt x="29427" y="9930"/>
                    </a:cubicBezTo>
                    <a:cubicBezTo>
                      <a:pt x="29508" y="10808"/>
                      <a:pt x="29448" y="11723"/>
                      <a:pt x="29211" y="12589"/>
                    </a:cubicBezTo>
                    <a:cubicBezTo>
                      <a:pt x="29087" y="13020"/>
                      <a:pt x="28946" y="13451"/>
                      <a:pt x="28747" y="13853"/>
                    </a:cubicBezTo>
                    <a:lnTo>
                      <a:pt x="28677" y="14006"/>
                    </a:lnTo>
                    <a:cubicBezTo>
                      <a:pt x="28677" y="14006"/>
                      <a:pt x="28651" y="14062"/>
                      <a:pt x="28653" y="14062"/>
                    </a:cubicBezTo>
                    <a:cubicBezTo>
                      <a:pt x="28654" y="14062"/>
                      <a:pt x="28658" y="14055"/>
                      <a:pt x="28668" y="14038"/>
                    </a:cubicBezTo>
                    <a:lnTo>
                      <a:pt x="28668" y="14038"/>
                    </a:lnTo>
                    <a:lnTo>
                      <a:pt x="28618" y="14131"/>
                    </a:lnTo>
                    <a:lnTo>
                      <a:pt x="28409" y="14504"/>
                    </a:lnTo>
                    <a:cubicBezTo>
                      <a:pt x="28270" y="14744"/>
                      <a:pt x="28177" y="14878"/>
                      <a:pt x="28045" y="15084"/>
                    </a:cubicBezTo>
                    <a:cubicBezTo>
                      <a:pt x="26952" y="16678"/>
                      <a:pt x="25336" y="18021"/>
                      <a:pt x="23512" y="19098"/>
                    </a:cubicBezTo>
                    <a:cubicBezTo>
                      <a:pt x="21688" y="20170"/>
                      <a:pt x="19591" y="20984"/>
                      <a:pt x="17487" y="21695"/>
                    </a:cubicBezTo>
                    <a:cubicBezTo>
                      <a:pt x="15371" y="22408"/>
                      <a:pt x="13207" y="23019"/>
                      <a:pt x="11089" y="23679"/>
                    </a:cubicBezTo>
                    <a:cubicBezTo>
                      <a:pt x="9119" y="24319"/>
                      <a:pt x="6955" y="24728"/>
                      <a:pt x="4860" y="25736"/>
                    </a:cubicBezTo>
                    <a:cubicBezTo>
                      <a:pt x="3800" y="26233"/>
                      <a:pt x="2785" y="26940"/>
                      <a:pt x="1988" y="27763"/>
                    </a:cubicBezTo>
                    <a:cubicBezTo>
                      <a:pt x="1179" y="28589"/>
                      <a:pt x="468" y="29604"/>
                      <a:pt x="180" y="30868"/>
                    </a:cubicBezTo>
                    <a:cubicBezTo>
                      <a:pt x="32" y="31488"/>
                      <a:pt x="1" y="32165"/>
                      <a:pt x="135" y="32795"/>
                    </a:cubicBezTo>
                    <a:cubicBezTo>
                      <a:pt x="259" y="33436"/>
                      <a:pt x="470" y="33968"/>
                      <a:pt x="882" y="34540"/>
                    </a:cubicBezTo>
                    <a:cubicBezTo>
                      <a:pt x="1657" y="35540"/>
                      <a:pt x="2675" y="36002"/>
                      <a:pt x="3620" y="36184"/>
                    </a:cubicBezTo>
                    <a:cubicBezTo>
                      <a:pt x="3889" y="36231"/>
                      <a:pt x="4153" y="36254"/>
                      <a:pt x="4411" y="36254"/>
                    </a:cubicBezTo>
                    <a:cubicBezTo>
                      <a:pt x="5087" y="36254"/>
                      <a:pt x="5719" y="36098"/>
                      <a:pt x="6270" y="35808"/>
                    </a:cubicBezTo>
                    <a:cubicBezTo>
                      <a:pt x="6643" y="35617"/>
                      <a:pt x="6971" y="35351"/>
                      <a:pt x="7235" y="35026"/>
                    </a:cubicBezTo>
                    <a:cubicBezTo>
                      <a:pt x="7500" y="34722"/>
                      <a:pt x="7682" y="34200"/>
                      <a:pt x="7701" y="33901"/>
                    </a:cubicBezTo>
                    <a:cubicBezTo>
                      <a:pt x="7768" y="33237"/>
                      <a:pt x="7644" y="32706"/>
                      <a:pt x="7441" y="32268"/>
                    </a:cubicBezTo>
                    <a:cubicBezTo>
                      <a:pt x="7247" y="31835"/>
                      <a:pt x="6962" y="31483"/>
                      <a:pt x="6636" y="31342"/>
                    </a:cubicBezTo>
                    <a:cubicBezTo>
                      <a:pt x="6470" y="31265"/>
                      <a:pt x="6319" y="31239"/>
                      <a:pt x="6193" y="31239"/>
                    </a:cubicBezTo>
                    <a:cubicBezTo>
                      <a:pt x="6075" y="31239"/>
                      <a:pt x="5979" y="31261"/>
                      <a:pt x="5911" y="31284"/>
                    </a:cubicBezTo>
                    <a:lnTo>
                      <a:pt x="5700" y="31378"/>
                    </a:lnTo>
                    <a:cubicBezTo>
                      <a:pt x="5674" y="31404"/>
                      <a:pt x="6095" y="31342"/>
                      <a:pt x="6354" y="31717"/>
                    </a:cubicBezTo>
                    <a:cubicBezTo>
                      <a:pt x="6598" y="32045"/>
                      <a:pt x="6634" y="32854"/>
                      <a:pt x="6301" y="33558"/>
                    </a:cubicBezTo>
                    <a:cubicBezTo>
                      <a:pt x="6212" y="33840"/>
                      <a:pt x="5743" y="34057"/>
                      <a:pt x="5206" y="34057"/>
                    </a:cubicBezTo>
                    <a:cubicBezTo>
                      <a:pt x="4902" y="34057"/>
                      <a:pt x="4577" y="33987"/>
                      <a:pt x="4286" y="33822"/>
                    </a:cubicBezTo>
                    <a:cubicBezTo>
                      <a:pt x="3874" y="33620"/>
                      <a:pt x="3520" y="33237"/>
                      <a:pt x="3414" y="32898"/>
                    </a:cubicBezTo>
                    <a:cubicBezTo>
                      <a:pt x="3366" y="32720"/>
                      <a:pt x="3345" y="32536"/>
                      <a:pt x="3350" y="32352"/>
                    </a:cubicBezTo>
                    <a:cubicBezTo>
                      <a:pt x="3347" y="32156"/>
                      <a:pt x="3400" y="31959"/>
                      <a:pt x="3474" y="31739"/>
                    </a:cubicBezTo>
                    <a:cubicBezTo>
                      <a:pt x="3778" y="30851"/>
                      <a:pt x="4927" y="29589"/>
                      <a:pt x="6390" y="28955"/>
                    </a:cubicBezTo>
                    <a:cubicBezTo>
                      <a:pt x="7922" y="28220"/>
                      <a:pt x="9954" y="27823"/>
                      <a:pt x="12149" y="27157"/>
                    </a:cubicBezTo>
                    <a:cubicBezTo>
                      <a:pt x="14212" y="26537"/>
                      <a:pt x="16407" y="25946"/>
                      <a:pt x="18650" y="25219"/>
                    </a:cubicBezTo>
                    <a:cubicBezTo>
                      <a:pt x="20896" y="24481"/>
                      <a:pt x="23193" y="23644"/>
                      <a:pt x="25412" y="22377"/>
                    </a:cubicBezTo>
                    <a:cubicBezTo>
                      <a:pt x="27617" y="21130"/>
                      <a:pt x="29683" y="19416"/>
                      <a:pt x="31179" y="17202"/>
                    </a:cubicBezTo>
                    <a:cubicBezTo>
                      <a:pt x="31361" y="16927"/>
                      <a:pt x="31576" y="16577"/>
                      <a:pt x="31720" y="16321"/>
                    </a:cubicBezTo>
                    <a:lnTo>
                      <a:pt x="31926" y="15945"/>
                    </a:lnTo>
                    <a:lnTo>
                      <a:pt x="31976" y="15852"/>
                    </a:lnTo>
                    <a:lnTo>
                      <a:pt x="32055" y="15687"/>
                    </a:lnTo>
                    <a:lnTo>
                      <a:pt x="32160" y="15450"/>
                    </a:lnTo>
                    <a:cubicBezTo>
                      <a:pt x="32459" y="14827"/>
                      <a:pt x="32673" y="14179"/>
                      <a:pt x="32850" y="13528"/>
                    </a:cubicBezTo>
                    <a:cubicBezTo>
                      <a:pt x="33192" y="12218"/>
                      <a:pt x="33269" y="10875"/>
                      <a:pt x="33142" y="9583"/>
                    </a:cubicBezTo>
                    <a:cubicBezTo>
                      <a:pt x="32883" y="7000"/>
                      <a:pt x="31780" y="4549"/>
                      <a:pt x="29994" y="2837"/>
                    </a:cubicBezTo>
                    <a:cubicBezTo>
                      <a:pt x="29783" y="2615"/>
                      <a:pt x="29556" y="2411"/>
                      <a:pt x="29309" y="2227"/>
                    </a:cubicBezTo>
                    <a:cubicBezTo>
                      <a:pt x="29060" y="2040"/>
                      <a:pt x="28862" y="1846"/>
                      <a:pt x="28570" y="1676"/>
                    </a:cubicBezTo>
                    <a:cubicBezTo>
                      <a:pt x="28292" y="1502"/>
                      <a:pt x="28010" y="1337"/>
                      <a:pt x="27732" y="1176"/>
                    </a:cubicBezTo>
                    <a:cubicBezTo>
                      <a:pt x="27488" y="1054"/>
                      <a:pt x="27289" y="975"/>
                      <a:pt x="27066" y="872"/>
                    </a:cubicBezTo>
                    <a:cubicBezTo>
                      <a:pt x="25934" y="398"/>
                      <a:pt x="24917" y="147"/>
                      <a:pt x="23871" y="54"/>
                    </a:cubicBezTo>
                    <a:cubicBezTo>
                      <a:pt x="23474" y="17"/>
                      <a:pt x="23085" y="0"/>
                      <a:pt x="2270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9476;p96">
                <a:extLst>
                  <a:ext uri="{FF2B5EF4-FFF2-40B4-BE49-F238E27FC236}">
                    <a16:creationId xmlns:a16="http://schemas.microsoft.com/office/drawing/2014/main" id="{8C99CBC3-5000-4153-960F-76C17F22FC4B}"/>
                  </a:ext>
                </a:extLst>
              </p:cNvPr>
              <p:cNvSpPr/>
              <p:nvPr/>
            </p:nvSpPr>
            <p:spPr>
              <a:xfrm>
                <a:off x="4062725" y="270525"/>
                <a:ext cx="775400" cy="855625"/>
              </a:xfrm>
              <a:custGeom>
                <a:avLst/>
                <a:gdLst/>
                <a:ahLst/>
                <a:cxnLst/>
                <a:rect l="l" t="t" r="r" b="b"/>
                <a:pathLst>
                  <a:path w="31016" h="34225" extrusionOk="0">
                    <a:moveTo>
                      <a:pt x="4627" y="30141"/>
                    </a:moveTo>
                    <a:cubicBezTo>
                      <a:pt x="4626" y="30143"/>
                      <a:pt x="4626" y="30145"/>
                      <a:pt x="4628" y="30145"/>
                    </a:cubicBezTo>
                    <a:lnTo>
                      <a:pt x="4628" y="30145"/>
                    </a:lnTo>
                    <a:cubicBezTo>
                      <a:pt x="4627" y="30144"/>
                      <a:pt x="4627" y="30143"/>
                      <a:pt x="4627" y="30141"/>
                    </a:cubicBezTo>
                    <a:close/>
                    <a:moveTo>
                      <a:pt x="4628" y="30145"/>
                    </a:moveTo>
                    <a:cubicBezTo>
                      <a:pt x="4629" y="30146"/>
                      <a:pt x="4631" y="30147"/>
                      <a:pt x="4633" y="30147"/>
                    </a:cubicBezTo>
                    <a:cubicBezTo>
                      <a:pt x="4634" y="30147"/>
                      <a:pt x="4634" y="30147"/>
                      <a:pt x="4636" y="30147"/>
                    </a:cubicBezTo>
                    <a:lnTo>
                      <a:pt x="4636" y="30147"/>
                    </a:lnTo>
                    <a:cubicBezTo>
                      <a:pt x="4635" y="30147"/>
                      <a:pt x="4635" y="30147"/>
                      <a:pt x="4635" y="30147"/>
                    </a:cubicBezTo>
                    <a:cubicBezTo>
                      <a:pt x="4632" y="30147"/>
                      <a:pt x="4630" y="30146"/>
                      <a:pt x="4628" y="30145"/>
                    </a:cubicBezTo>
                    <a:close/>
                    <a:moveTo>
                      <a:pt x="21530" y="0"/>
                    </a:moveTo>
                    <a:cubicBezTo>
                      <a:pt x="20130" y="0"/>
                      <a:pt x="18844" y="256"/>
                      <a:pt x="17738" y="602"/>
                    </a:cubicBezTo>
                    <a:cubicBezTo>
                      <a:pt x="16529" y="983"/>
                      <a:pt x="15368" y="1502"/>
                      <a:pt x="14279" y="2146"/>
                    </a:cubicBezTo>
                    <a:cubicBezTo>
                      <a:pt x="13369" y="2670"/>
                      <a:pt x="12713" y="3183"/>
                      <a:pt x="12258" y="3530"/>
                    </a:cubicBezTo>
                    <a:lnTo>
                      <a:pt x="11617" y="4068"/>
                    </a:lnTo>
                    <a:lnTo>
                      <a:pt x="12234" y="4813"/>
                    </a:lnTo>
                    <a:lnTo>
                      <a:pt x="12881" y="4279"/>
                    </a:lnTo>
                    <a:cubicBezTo>
                      <a:pt x="13297" y="3973"/>
                      <a:pt x="13912" y="3496"/>
                      <a:pt x="14779" y="3008"/>
                    </a:cubicBezTo>
                    <a:cubicBezTo>
                      <a:pt x="15808" y="2412"/>
                      <a:pt x="16902" y="1936"/>
                      <a:pt x="18039" y="1588"/>
                    </a:cubicBezTo>
                    <a:cubicBezTo>
                      <a:pt x="19049" y="1281"/>
                      <a:pt x="20205" y="1064"/>
                      <a:pt x="21437" y="1064"/>
                    </a:cubicBezTo>
                    <a:cubicBezTo>
                      <a:pt x="21800" y="1064"/>
                      <a:pt x="22170" y="1083"/>
                      <a:pt x="22544" y="1124"/>
                    </a:cubicBezTo>
                    <a:cubicBezTo>
                      <a:pt x="23363" y="1198"/>
                      <a:pt x="24213" y="1442"/>
                      <a:pt x="24998" y="1782"/>
                    </a:cubicBezTo>
                    <a:cubicBezTo>
                      <a:pt x="25206" y="1883"/>
                      <a:pt x="25433" y="1981"/>
                      <a:pt x="25634" y="2089"/>
                    </a:cubicBezTo>
                    <a:lnTo>
                      <a:pt x="26183" y="2433"/>
                    </a:lnTo>
                    <a:cubicBezTo>
                      <a:pt x="26537" y="2694"/>
                      <a:pt x="26927" y="2962"/>
                      <a:pt x="27241" y="3305"/>
                    </a:cubicBezTo>
                    <a:cubicBezTo>
                      <a:pt x="28593" y="4597"/>
                      <a:pt x="29462" y="6522"/>
                      <a:pt x="29663" y="8571"/>
                    </a:cubicBezTo>
                    <a:cubicBezTo>
                      <a:pt x="29888" y="10637"/>
                      <a:pt x="29323" y="12791"/>
                      <a:pt x="28083" y="14598"/>
                    </a:cubicBezTo>
                    <a:cubicBezTo>
                      <a:pt x="26853" y="16415"/>
                      <a:pt x="25081" y="17897"/>
                      <a:pt x="23116" y="19029"/>
                    </a:cubicBezTo>
                    <a:cubicBezTo>
                      <a:pt x="21151" y="20168"/>
                      <a:pt x="18980" y="20987"/>
                      <a:pt x="16826" y="21708"/>
                    </a:cubicBezTo>
                    <a:cubicBezTo>
                      <a:pt x="14664" y="22423"/>
                      <a:pt x="12488" y="23024"/>
                      <a:pt x="10389" y="23666"/>
                    </a:cubicBezTo>
                    <a:cubicBezTo>
                      <a:pt x="8338" y="24314"/>
                      <a:pt x="6224" y="24716"/>
                      <a:pt x="4321" y="25624"/>
                    </a:cubicBezTo>
                    <a:cubicBezTo>
                      <a:pt x="3368" y="26069"/>
                      <a:pt x="2495" y="26677"/>
                      <a:pt x="1791" y="27395"/>
                    </a:cubicBezTo>
                    <a:cubicBezTo>
                      <a:pt x="1082" y="28106"/>
                      <a:pt x="508" y="28965"/>
                      <a:pt x="259" y="29935"/>
                    </a:cubicBezTo>
                    <a:cubicBezTo>
                      <a:pt x="0" y="30909"/>
                      <a:pt x="170" y="31941"/>
                      <a:pt x="694" y="32731"/>
                    </a:cubicBezTo>
                    <a:cubicBezTo>
                      <a:pt x="1235" y="33501"/>
                      <a:pt x="2023" y="33935"/>
                      <a:pt x="2782" y="34121"/>
                    </a:cubicBezTo>
                    <a:cubicBezTo>
                      <a:pt x="3070" y="34191"/>
                      <a:pt x="3358" y="34225"/>
                      <a:pt x="3638" y="34225"/>
                    </a:cubicBezTo>
                    <a:cubicBezTo>
                      <a:pt x="4106" y="34225"/>
                      <a:pt x="4553" y="34131"/>
                      <a:pt x="4946" y="33954"/>
                    </a:cubicBezTo>
                    <a:cubicBezTo>
                      <a:pt x="5250" y="33820"/>
                      <a:pt x="5523" y="33623"/>
                      <a:pt x="5748" y="33379"/>
                    </a:cubicBezTo>
                    <a:cubicBezTo>
                      <a:pt x="5965" y="33145"/>
                      <a:pt x="6087" y="32805"/>
                      <a:pt x="6138" y="32544"/>
                    </a:cubicBezTo>
                    <a:cubicBezTo>
                      <a:pt x="6332" y="31462"/>
                      <a:pt x="5963" y="30567"/>
                      <a:pt x="5465" y="30236"/>
                    </a:cubicBezTo>
                    <a:cubicBezTo>
                      <a:pt x="5261" y="30119"/>
                      <a:pt x="5087" y="30085"/>
                      <a:pt x="4953" y="30085"/>
                    </a:cubicBezTo>
                    <a:cubicBezTo>
                      <a:pt x="4777" y="30085"/>
                      <a:pt x="4666" y="30143"/>
                      <a:pt x="4636" y="30147"/>
                    </a:cubicBezTo>
                    <a:lnTo>
                      <a:pt x="4636" y="30147"/>
                    </a:lnTo>
                    <a:cubicBezTo>
                      <a:pt x="4659" y="30146"/>
                      <a:pt x="4725" y="30130"/>
                      <a:pt x="4819" y="30130"/>
                    </a:cubicBezTo>
                    <a:cubicBezTo>
                      <a:pt x="4961" y="30130"/>
                      <a:pt x="5166" y="30167"/>
                      <a:pt x="5381" y="30349"/>
                    </a:cubicBezTo>
                    <a:cubicBezTo>
                      <a:pt x="5760" y="30682"/>
                      <a:pt x="5968" y="31534"/>
                      <a:pt x="5719" y="32443"/>
                    </a:cubicBezTo>
                    <a:cubicBezTo>
                      <a:pt x="5587" y="33111"/>
                      <a:pt x="4764" y="33560"/>
                      <a:pt x="3860" y="33560"/>
                    </a:cubicBezTo>
                    <a:cubicBezTo>
                      <a:pt x="3569" y="33560"/>
                      <a:pt x="3269" y="33514"/>
                      <a:pt x="2980" y="33413"/>
                    </a:cubicBezTo>
                    <a:cubicBezTo>
                      <a:pt x="2382" y="33216"/>
                      <a:pt x="1798" y="32805"/>
                      <a:pt x="1458" y="32235"/>
                    </a:cubicBezTo>
                    <a:cubicBezTo>
                      <a:pt x="1125" y="31682"/>
                      <a:pt x="1044" y="30904"/>
                      <a:pt x="1252" y="30198"/>
                    </a:cubicBezTo>
                    <a:cubicBezTo>
                      <a:pt x="1688" y="28745"/>
                      <a:pt x="3091" y="27381"/>
                      <a:pt x="4783" y="26591"/>
                    </a:cubicBezTo>
                    <a:cubicBezTo>
                      <a:pt x="6511" y="25758"/>
                      <a:pt x="8589" y="25356"/>
                      <a:pt x="10703" y="24695"/>
                    </a:cubicBezTo>
                    <a:cubicBezTo>
                      <a:pt x="12785" y="24061"/>
                      <a:pt x="14968" y="23460"/>
                      <a:pt x="17166" y="22734"/>
                    </a:cubicBezTo>
                    <a:cubicBezTo>
                      <a:pt x="19361" y="22002"/>
                      <a:pt x="21587" y="21171"/>
                      <a:pt x="23662" y="19972"/>
                    </a:cubicBezTo>
                    <a:cubicBezTo>
                      <a:pt x="25730" y="18782"/>
                      <a:pt x="27636" y="17205"/>
                      <a:pt x="28990" y="15211"/>
                    </a:cubicBezTo>
                    <a:cubicBezTo>
                      <a:pt x="30357" y="13236"/>
                      <a:pt x="31015" y="10761"/>
                      <a:pt x="30757" y="8468"/>
                    </a:cubicBezTo>
                    <a:cubicBezTo>
                      <a:pt x="30537" y="6175"/>
                      <a:pt x="29567" y="4006"/>
                      <a:pt x="28016" y="2517"/>
                    </a:cubicBezTo>
                    <a:cubicBezTo>
                      <a:pt x="27652" y="2122"/>
                      <a:pt x="27221" y="1818"/>
                      <a:pt x="26791" y="1507"/>
                    </a:cubicBezTo>
                    <a:lnTo>
                      <a:pt x="26108" y="1091"/>
                    </a:lnTo>
                    <a:cubicBezTo>
                      <a:pt x="25888" y="976"/>
                      <a:pt x="25673" y="887"/>
                      <a:pt x="25457" y="787"/>
                    </a:cubicBezTo>
                    <a:cubicBezTo>
                      <a:pt x="24512" y="384"/>
                      <a:pt x="23585" y="138"/>
                      <a:pt x="22659" y="56"/>
                    </a:cubicBezTo>
                    <a:cubicBezTo>
                      <a:pt x="22276" y="18"/>
                      <a:pt x="21899" y="0"/>
                      <a:pt x="21530" y="0"/>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9477;p96">
                <a:extLst>
                  <a:ext uri="{FF2B5EF4-FFF2-40B4-BE49-F238E27FC236}">
                    <a16:creationId xmlns:a16="http://schemas.microsoft.com/office/drawing/2014/main" id="{5CB4DBC1-24EF-4FD3-8E6D-7509E953531D}"/>
                  </a:ext>
                </a:extLst>
              </p:cNvPr>
              <p:cNvSpPr/>
              <p:nvPr/>
            </p:nvSpPr>
            <p:spPr>
              <a:xfrm>
                <a:off x="2957425" y="254350"/>
                <a:ext cx="842900" cy="896500"/>
              </a:xfrm>
              <a:custGeom>
                <a:avLst/>
                <a:gdLst/>
                <a:ahLst/>
                <a:cxnLst/>
                <a:rect l="l" t="t" r="r" b="b"/>
                <a:pathLst>
                  <a:path w="33716" h="35860" extrusionOk="0">
                    <a:moveTo>
                      <a:pt x="10613" y="1"/>
                    </a:moveTo>
                    <a:cubicBezTo>
                      <a:pt x="10145" y="1"/>
                      <a:pt x="9663" y="27"/>
                      <a:pt x="9169" y="83"/>
                    </a:cubicBezTo>
                    <a:cubicBezTo>
                      <a:pt x="8120" y="196"/>
                      <a:pt x="7110" y="471"/>
                      <a:pt x="5987" y="969"/>
                    </a:cubicBezTo>
                    <a:cubicBezTo>
                      <a:pt x="5769" y="1077"/>
                      <a:pt x="5573" y="1158"/>
                      <a:pt x="5329" y="1288"/>
                    </a:cubicBezTo>
                    <a:cubicBezTo>
                      <a:pt x="5054" y="1453"/>
                      <a:pt x="4776" y="1623"/>
                      <a:pt x="4501" y="1805"/>
                    </a:cubicBezTo>
                    <a:cubicBezTo>
                      <a:pt x="4211" y="1982"/>
                      <a:pt x="4020" y="2180"/>
                      <a:pt x="3773" y="2374"/>
                    </a:cubicBezTo>
                    <a:cubicBezTo>
                      <a:pt x="3531" y="2561"/>
                      <a:pt x="3306" y="2769"/>
                      <a:pt x="3103" y="2997"/>
                    </a:cubicBezTo>
                    <a:cubicBezTo>
                      <a:pt x="1353" y="4746"/>
                      <a:pt x="305" y="7222"/>
                      <a:pt x="101" y="9807"/>
                    </a:cubicBezTo>
                    <a:cubicBezTo>
                      <a:pt x="1" y="11104"/>
                      <a:pt x="108" y="12445"/>
                      <a:pt x="477" y="13744"/>
                    </a:cubicBezTo>
                    <a:cubicBezTo>
                      <a:pt x="669" y="14393"/>
                      <a:pt x="896" y="15037"/>
                      <a:pt x="1207" y="15655"/>
                    </a:cubicBezTo>
                    <a:lnTo>
                      <a:pt x="1317" y="15887"/>
                    </a:lnTo>
                    <a:lnTo>
                      <a:pt x="1399" y="16050"/>
                    </a:lnTo>
                    <a:lnTo>
                      <a:pt x="1454" y="16143"/>
                    </a:lnTo>
                    <a:lnTo>
                      <a:pt x="1664" y="16514"/>
                    </a:lnTo>
                    <a:cubicBezTo>
                      <a:pt x="1815" y="16768"/>
                      <a:pt x="2038" y="17112"/>
                      <a:pt x="2227" y="17383"/>
                    </a:cubicBezTo>
                    <a:cubicBezTo>
                      <a:pt x="3768" y="19563"/>
                      <a:pt x="5870" y="21234"/>
                      <a:pt x="8101" y="22431"/>
                    </a:cubicBezTo>
                    <a:cubicBezTo>
                      <a:pt x="10346" y="23652"/>
                      <a:pt x="12661" y="24439"/>
                      <a:pt x="14923" y="25131"/>
                    </a:cubicBezTo>
                    <a:cubicBezTo>
                      <a:pt x="17183" y="25811"/>
                      <a:pt x="19387" y="26354"/>
                      <a:pt x="21465" y="26929"/>
                    </a:cubicBezTo>
                    <a:cubicBezTo>
                      <a:pt x="23674" y="27549"/>
                      <a:pt x="25714" y="27901"/>
                      <a:pt x="27263" y="28605"/>
                    </a:cubicBezTo>
                    <a:cubicBezTo>
                      <a:pt x="28737" y="29208"/>
                      <a:pt x="29912" y="30443"/>
                      <a:pt x="30235" y="31324"/>
                    </a:cubicBezTo>
                    <a:cubicBezTo>
                      <a:pt x="30314" y="31544"/>
                      <a:pt x="30372" y="31738"/>
                      <a:pt x="30372" y="31934"/>
                    </a:cubicBezTo>
                    <a:cubicBezTo>
                      <a:pt x="30382" y="32118"/>
                      <a:pt x="30362" y="32303"/>
                      <a:pt x="30319" y="32482"/>
                    </a:cubicBezTo>
                    <a:cubicBezTo>
                      <a:pt x="30221" y="32825"/>
                      <a:pt x="29876" y="33215"/>
                      <a:pt x="29470" y="33423"/>
                    </a:cubicBezTo>
                    <a:cubicBezTo>
                      <a:pt x="29168" y="33604"/>
                      <a:pt x="28826" y="33680"/>
                      <a:pt x="28510" y="33680"/>
                    </a:cubicBezTo>
                    <a:cubicBezTo>
                      <a:pt x="27991" y="33680"/>
                      <a:pt x="27541" y="33476"/>
                      <a:pt x="27447" y="33203"/>
                    </a:cubicBezTo>
                    <a:cubicBezTo>
                      <a:pt x="27102" y="32509"/>
                      <a:pt x="27119" y="31700"/>
                      <a:pt x="27356" y="31364"/>
                    </a:cubicBezTo>
                    <a:cubicBezTo>
                      <a:pt x="27607" y="30981"/>
                      <a:pt x="28028" y="31037"/>
                      <a:pt x="28000" y="31010"/>
                    </a:cubicBezTo>
                    <a:lnTo>
                      <a:pt x="27789" y="30922"/>
                    </a:lnTo>
                    <a:cubicBezTo>
                      <a:pt x="27724" y="30901"/>
                      <a:pt x="27634" y="30882"/>
                      <a:pt x="27526" y="30882"/>
                    </a:cubicBezTo>
                    <a:cubicBezTo>
                      <a:pt x="27395" y="30882"/>
                      <a:pt x="27238" y="30910"/>
                      <a:pt x="27064" y="30996"/>
                    </a:cubicBezTo>
                    <a:cubicBezTo>
                      <a:pt x="26741" y="31144"/>
                      <a:pt x="26465" y="31501"/>
                      <a:pt x="26279" y="31937"/>
                    </a:cubicBezTo>
                    <a:cubicBezTo>
                      <a:pt x="26087" y="32379"/>
                      <a:pt x="25975" y="32913"/>
                      <a:pt x="26056" y="33576"/>
                    </a:cubicBezTo>
                    <a:cubicBezTo>
                      <a:pt x="26082" y="33875"/>
                      <a:pt x="26274" y="34392"/>
                      <a:pt x="26544" y="34692"/>
                    </a:cubicBezTo>
                    <a:cubicBezTo>
                      <a:pt x="26815" y="35010"/>
                      <a:pt x="27150" y="35269"/>
                      <a:pt x="27526" y="35453"/>
                    </a:cubicBezTo>
                    <a:cubicBezTo>
                      <a:pt x="28058" y="35717"/>
                      <a:pt x="28661" y="35859"/>
                      <a:pt x="29301" y="35859"/>
                    </a:cubicBezTo>
                    <a:cubicBezTo>
                      <a:pt x="29589" y="35859"/>
                      <a:pt x="29884" y="35831"/>
                      <a:pt x="30183" y="35771"/>
                    </a:cubicBezTo>
                    <a:cubicBezTo>
                      <a:pt x="31126" y="35568"/>
                      <a:pt x="32134" y="35087"/>
                      <a:pt x="32885" y="34067"/>
                    </a:cubicBezTo>
                    <a:cubicBezTo>
                      <a:pt x="33287" y="33485"/>
                      <a:pt x="33484" y="32951"/>
                      <a:pt x="33596" y="32308"/>
                    </a:cubicBezTo>
                    <a:cubicBezTo>
                      <a:pt x="33716" y="31673"/>
                      <a:pt x="33670" y="30998"/>
                      <a:pt x="33510" y="30381"/>
                    </a:cubicBezTo>
                    <a:cubicBezTo>
                      <a:pt x="33194" y="29124"/>
                      <a:pt x="32462" y="28123"/>
                      <a:pt x="31638" y="27317"/>
                    </a:cubicBezTo>
                    <a:cubicBezTo>
                      <a:pt x="30822" y="26508"/>
                      <a:pt x="29793" y="25825"/>
                      <a:pt x="28723" y="25349"/>
                    </a:cubicBezTo>
                    <a:cubicBezTo>
                      <a:pt x="26604" y="24389"/>
                      <a:pt x="24436" y="24025"/>
                      <a:pt x="22451" y="23427"/>
                    </a:cubicBezTo>
                    <a:cubicBezTo>
                      <a:pt x="20318" y="22812"/>
                      <a:pt x="18143" y="22249"/>
                      <a:pt x="16012" y="21581"/>
                    </a:cubicBezTo>
                    <a:cubicBezTo>
                      <a:pt x="13894" y="20914"/>
                      <a:pt x="11778" y="20148"/>
                      <a:pt x="9935" y="19113"/>
                    </a:cubicBezTo>
                    <a:cubicBezTo>
                      <a:pt x="8084" y="18075"/>
                      <a:pt x="6442" y="16765"/>
                      <a:pt x="5315" y="15193"/>
                    </a:cubicBezTo>
                    <a:cubicBezTo>
                      <a:pt x="5178" y="14991"/>
                      <a:pt x="5082" y="14862"/>
                      <a:pt x="4939" y="14625"/>
                    </a:cubicBezTo>
                    <a:lnTo>
                      <a:pt x="4723" y="14254"/>
                    </a:lnTo>
                    <a:lnTo>
                      <a:pt x="4679" y="14181"/>
                    </a:lnTo>
                    <a:lnTo>
                      <a:pt x="4679" y="14181"/>
                    </a:lnTo>
                    <a:cubicBezTo>
                      <a:pt x="4682" y="14186"/>
                      <a:pt x="4684" y="14188"/>
                      <a:pt x="4684" y="14188"/>
                    </a:cubicBezTo>
                    <a:cubicBezTo>
                      <a:pt x="4687" y="14188"/>
                      <a:pt x="4659" y="14132"/>
                      <a:pt x="4659" y="14132"/>
                    </a:cubicBezTo>
                    <a:lnTo>
                      <a:pt x="4587" y="13979"/>
                    </a:lnTo>
                    <a:cubicBezTo>
                      <a:pt x="4379" y="13582"/>
                      <a:pt x="4228" y="13156"/>
                      <a:pt x="4096" y="12727"/>
                    </a:cubicBezTo>
                    <a:cubicBezTo>
                      <a:pt x="3838" y="11865"/>
                      <a:pt x="3761" y="10953"/>
                      <a:pt x="3823" y="10072"/>
                    </a:cubicBezTo>
                    <a:cubicBezTo>
                      <a:pt x="3948" y="8311"/>
                      <a:pt x="4649" y="6654"/>
                      <a:pt x="5743" y="5558"/>
                    </a:cubicBezTo>
                    <a:cubicBezTo>
                      <a:pt x="5987" y="5268"/>
                      <a:pt x="6325" y="5029"/>
                      <a:pt x="6586" y="4823"/>
                    </a:cubicBezTo>
                    <a:cubicBezTo>
                      <a:pt x="6720" y="4737"/>
                      <a:pt x="6847" y="4646"/>
                      <a:pt x="6971" y="4550"/>
                    </a:cubicBezTo>
                    <a:cubicBezTo>
                      <a:pt x="7148" y="4447"/>
                      <a:pt x="7388" y="4335"/>
                      <a:pt x="7589" y="4229"/>
                    </a:cubicBezTo>
                    <a:cubicBezTo>
                      <a:pt x="8180" y="3952"/>
                      <a:pt x="8936" y="3693"/>
                      <a:pt x="9631" y="3614"/>
                    </a:cubicBezTo>
                    <a:cubicBezTo>
                      <a:pt x="10052" y="3554"/>
                      <a:pt x="10473" y="3527"/>
                      <a:pt x="10888" y="3527"/>
                    </a:cubicBezTo>
                    <a:cubicBezTo>
                      <a:pt x="11865" y="3527"/>
                      <a:pt x="12809" y="3678"/>
                      <a:pt x="13654" y="3909"/>
                    </a:cubicBezTo>
                    <a:cubicBezTo>
                      <a:pt x="14866" y="4232"/>
                      <a:pt x="15888" y="4699"/>
                      <a:pt x="16704" y="5120"/>
                    </a:cubicBezTo>
                    <a:cubicBezTo>
                      <a:pt x="17532" y="5546"/>
                      <a:pt x="18111" y="5960"/>
                      <a:pt x="18492" y="6214"/>
                    </a:cubicBezTo>
                    <a:lnTo>
                      <a:pt x="19157" y="6721"/>
                    </a:lnTo>
                    <a:lnTo>
                      <a:pt x="21151" y="4222"/>
                    </a:lnTo>
                    <a:lnTo>
                      <a:pt x="20507" y="3686"/>
                    </a:lnTo>
                    <a:cubicBezTo>
                      <a:pt x="19998" y="3303"/>
                      <a:pt x="19287" y="2757"/>
                      <a:pt x="18322" y="2207"/>
                    </a:cubicBezTo>
                    <a:cubicBezTo>
                      <a:pt x="17144" y="1527"/>
                      <a:pt x="15892" y="986"/>
                      <a:pt x="14590" y="598"/>
                    </a:cubicBezTo>
                    <a:cubicBezTo>
                      <a:pt x="13435" y="258"/>
                      <a:pt x="12094" y="1"/>
                      <a:pt x="1061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9478;p96">
                <a:extLst>
                  <a:ext uri="{FF2B5EF4-FFF2-40B4-BE49-F238E27FC236}">
                    <a16:creationId xmlns:a16="http://schemas.microsoft.com/office/drawing/2014/main" id="{78F9A210-2F32-4284-B8D8-E03217A61A6E}"/>
                  </a:ext>
                </a:extLst>
              </p:cNvPr>
              <p:cNvSpPr/>
              <p:nvPr/>
            </p:nvSpPr>
            <p:spPr>
              <a:xfrm>
                <a:off x="2987525" y="285250"/>
                <a:ext cx="786050" cy="845950"/>
              </a:xfrm>
              <a:custGeom>
                <a:avLst/>
                <a:gdLst/>
                <a:ahLst/>
                <a:cxnLst/>
                <a:rect l="l" t="t" r="r" b="b"/>
                <a:pathLst>
                  <a:path w="31442" h="33838" extrusionOk="0">
                    <a:moveTo>
                      <a:pt x="26798" y="29774"/>
                    </a:moveTo>
                    <a:cubicBezTo>
                      <a:pt x="26799" y="29776"/>
                      <a:pt x="26799" y="29778"/>
                      <a:pt x="26798" y="29779"/>
                    </a:cubicBezTo>
                    <a:lnTo>
                      <a:pt x="26798" y="29779"/>
                    </a:lnTo>
                    <a:cubicBezTo>
                      <a:pt x="26799" y="29778"/>
                      <a:pt x="26799" y="29776"/>
                      <a:pt x="26798" y="29774"/>
                    </a:cubicBezTo>
                    <a:close/>
                    <a:moveTo>
                      <a:pt x="26798" y="29779"/>
                    </a:moveTo>
                    <a:cubicBezTo>
                      <a:pt x="26797" y="29780"/>
                      <a:pt x="26795" y="29780"/>
                      <a:pt x="26791" y="29780"/>
                    </a:cubicBezTo>
                    <a:lnTo>
                      <a:pt x="26791" y="29780"/>
                    </a:lnTo>
                    <a:cubicBezTo>
                      <a:pt x="26792" y="29780"/>
                      <a:pt x="26793" y="29781"/>
                      <a:pt x="26793" y="29781"/>
                    </a:cubicBezTo>
                    <a:cubicBezTo>
                      <a:pt x="26796" y="29781"/>
                      <a:pt x="26797" y="29780"/>
                      <a:pt x="26798" y="29779"/>
                    </a:cubicBezTo>
                    <a:close/>
                    <a:moveTo>
                      <a:pt x="9497" y="0"/>
                    </a:moveTo>
                    <a:cubicBezTo>
                      <a:pt x="9051" y="0"/>
                      <a:pt x="8593" y="26"/>
                      <a:pt x="8125" y="83"/>
                    </a:cubicBezTo>
                    <a:cubicBezTo>
                      <a:pt x="7203" y="183"/>
                      <a:pt x="6279" y="451"/>
                      <a:pt x="5343" y="873"/>
                    </a:cubicBezTo>
                    <a:cubicBezTo>
                      <a:pt x="5130" y="978"/>
                      <a:pt x="4920" y="1071"/>
                      <a:pt x="4700" y="1191"/>
                    </a:cubicBezTo>
                    <a:lnTo>
                      <a:pt x="4025" y="1622"/>
                    </a:lnTo>
                    <a:cubicBezTo>
                      <a:pt x="3603" y="1940"/>
                      <a:pt x="3180" y="2256"/>
                      <a:pt x="2823" y="2658"/>
                    </a:cubicBezTo>
                    <a:cubicBezTo>
                      <a:pt x="1305" y="4178"/>
                      <a:pt x="381" y="6369"/>
                      <a:pt x="209" y="8664"/>
                    </a:cubicBezTo>
                    <a:cubicBezTo>
                      <a:pt x="1" y="10964"/>
                      <a:pt x="712" y="13423"/>
                      <a:pt x="2122" y="15371"/>
                    </a:cubicBezTo>
                    <a:cubicBezTo>
                      <a:pt x="3517" y="17334"/>
                      <a:pt x="5458" y="18868"/>
                      <a:pt x="7550" y="20015"/>
                    </a:cubicBezTo>
                    <a:cubicBezTo>
                      <a:pt x="9652" y="21171"/>
                      <a:pt x="11895" y="21954"/>
                      <a:pt x="14104" y="22639"/>
                    </a:cubicBezTo>
                    <a:cubicBezTo>
                      <a:pt x="16319" y="23316"/>
                      <a:pt x="18511" y="23869"/>
                      <a:pt x="20608" y="24460"/>
                    </a:cubicBezTo>
                    <a:cubicBezTo>
                      <a:pt x="22736" y="25075"/>
                      <a:pt x="24821" y="25434"/>
                      <a:pt x="26568" y="26229"/>
                    </a:cubicBezTo>
                    <a:cubicBezTo>
                      <a:pt x="28277" y="26981"/>
                      <a:pt x="29709" y="28316"/>
                      <a:pt x="30176" y="29760"/>
                    </a:cubicBezTo>
                    <a:cubicBezTo>
                      <a:pt x="30396" y="30464"/>
                      <a:pt x="30331" y="31242"/>
                      <a:pt x="30011" y="31802"/>
                    </a:cubicBezTo>
                    <a:cubicBezTo>
                      <a:pt x="29683" y="32379"/>
                      <a:pt x="29110" y="32802"/>
                      <a:pt x="28514" y="33010"/>
                    </a:cubicBezTo>
                    <a:cubicBezTo>
                      <a:pt x="28209" y="33125"/>
                      <a:pt x="27890" y="33178"/>
                      <a:pt x="27580" y="33178"/>
                    </a:cubicBezTo>
                    <a:cubicBezTo>
                      <a:pt x="26699" y="33178"/>
                      <a:pt x="25900" y="32750"/>
                      <a:pt x="25757" y="32098"/>
                    </a:cubicBezTo>
                    <a:cubicBezTo>
                      <a:pt x="25486" y="31196"/>
                      <a:pt x="25678" y="30341"/>
                      <a:pt x="26051" y="29999"/>
                    </a:cubicBezTo>
                    <a:cubicBezTo>
                      <a:pt x="26270" y="29804"/>
                      <a:pt x="26483" y="29768"/>
                      <a:pt x="26625" y="29768"/>
                    </a:cubicBezTo>
                    <a:cubicBezTo>
                      <a:pt x="26708" y="29768"/>
                      <a:pt x="26768" y="29780"/>
                      <a:pt x="26790" y="29780"/>
                    </a:cubicBezTo>
                    <a:cubicBezTo>
                      <a:pt x="26790" y="29780"/>
                      <a:pt x="26791" y="29780"/>
                      <a:pt x="26791" y="29780"/>
                    </a:cubicBezTo>
                    <a:lnTo>
                      <a:pt x="26791" y="29780"/>
                    </a:lnTo>
                    <a:cubicBezTo>
                      <a:pt x="26764" y="29777"/>
                      <a:pt x="26659" y="29726"/>
                      <a:pt x="26493" y="29726"/>
                    </a:cubicBezTo>
                    <a:cubicBezTo>
                      <a:pt x="26356" y="29726"/>
                      <a:pt x="26177" y="29761"/>
                      <a:pt x="25965" y="29889"/>
                    </a:cubicBezTo>
                    <a:cubicBezTo>
                      <a:pt x="25477" y="30229"/>
                      <a:pt x="25127" y="31131"/>
                      <a:pt x="25343" y="32211"/>
                    </a:cubicBezTo>
                    <a:cubicBezTo>
                      <a:pt x="25398" y="32470"/>
                      <a:pt x="25527" y="32807"/>
                      <a:pt x="25750" y="33037"/>
                    </a:cubicBezTo>
                    <a:cubicBezTo>
                      <a:pt x="25980" y="33276"/>
                      <a:pt x="26257" y="33465"/>
                      <a:pt x="26564" y="33592"/>
                    </a:cubicBezTo>
                    <a:cubicBezTo>
                      <a:pt x="26941" y="33753"/>
                      <a:pt x="27364" y="33838"/>
                      <a:pt x="27807" y="33838"/>
                    </a:cubicBezTo>
                    <a:cubicBezTo>
                      <a:pt x="28109" y="33838"/>
                      <a:pt x="28419" y="33798"/>
                      <a:pt x="28730" y="33717"/>
                    </a:cubicBezTo>
                    <a:cubicBezTo>
                      <a:pt x="29486" y="33511"/>
                      <a:pt x="30264" y="33063"/>
                      <a:pt x="30788" y="32280"/>
                    </a:cubicBezTo>
                    <a:cubicBezTo>
                      <a:pt x="31296" y="31481"/>
                      <a:pt x="31442" y="30442"/>
                      <a:pt x="31162" y="29475"/>
                    </a:cubicBezTo>
                    <a:cubicBezTo>
                      <a:pt x="30894" y="28510"/>
                      <a:pt x="30303" y="27665"/>
                      <a:pt x="29577" y="26969"/>
                    </a:cubicBezTo>
                    <a:cubicBezTo>
                      <a:pt x="28859" y="26267"/>
                      <a:pt x="27971" y="25679"/>
                      <a:pt x="27009" y="25255"/>
                    </a:cubicBezTo>
                    <a:cubicBezTo>
                      <a:pt x="25089" y="24386"/>
                      <a:pt x="22966" y="24029"/>
                      <a:pt x="20900" y="23426"/>
                    </a:cubicBezTo>
                    <a:cubicBezTo>
                      <a:pt x="18789" y="22828"/>
                      <a:pt x="16601" y="22272"/>
                      <a:pt x="14423" y="21604"/>
                    </a:cubicBezTo>
                    <a:cubicBezTo>
                      <a:pt x="12254" y="20932"/>
                      <a:pt x="10066" y="20159"/>
                      <a:pt x="8077" y="19060"/>
                    </a:cubicBezTo>
                    <a:cubicBezTo>
                      <a:pt x="6090" y="17971"/>
                      <a:pt x="4285" y="16527"/>
                      <a:pt x="3014" y="14737"/>
                    </a:cubicBezTo>
                    <a:cubicBezTo>
                      <a:pt x="1739" y="12956"/>
                      <a:pt x="1128" y="10816"/>
                      <a:pt x="1310" y="8743"/>
                    </a:cubicBezTo>
                    <a:cubicBezTo>
                      <a:pt x="1466" y="6692"/>
                      <a:pt x="2291" y="4750"/>
                      <a:pt x="3618" y="3429"/>
                    </a:cubicBezTo>
                    <a:cubicBezTo>
                      <a:pt x="3924" y="3080"/>
                      <a:pt x="4309" y="2802"/>
                      <a:pt x="4656" y="2536"/>
                    </a:cubicBezTo>
                    <a:lnTo>
                      <a:pt x="5197" y="2177"/>
                    </a:lnTo>
                    <a:cubicBezTo>
                      <a:pt x="5396" y="2065"/>
                      <a:pt x="5621" y="1962"/>
                      <a:pt x="5829" y="1856"/>
                    </a:cubicBezTo>
                    <a:cubicBezTo>
                      <a:pt x="6605" y="1502"/>
                      <a:pt x="7450" y="1236"/>
                      <a:pt x="8266" y="1145"/>
                    </a:cubicBezTo>
                    <a:cubicBezTo>
                      <a:pt x="8716" y="1086"/>
                      <a:pt x="9160" y="1060"/>
                      <a:pt x="9594" y="1060"/>
                    </a:cubicBezTo>
                    <a:cubicBezTo>
                      <a:pt x="10744" y="1060"/>
                      <a:pt x="11825" y="1247"/>
                      <a:pt x="12781" y="1514"/>
                    </a:cubicBezTo>
                    <a:cubicBezTo>
                      <a:pt x="13922" y="1837"/>
                      <a:pt x="15026" y="2290"/>
                      <a:pt x="16067" y="2864"/>
                    </a:cubicBezTo>
                    <a:cubicBezTo>
                      <a:pt x="16943" y="3333"/>
                      <a:pt x="17570" y="3795"/>
                      <a:pt x="17992" y="4094"/>
                    </a:cubicBezTo>
                    <a:lnTo>
                      <a:pt x="18650" y="4614"/>
                    </a:lnTo>
                    <a:lnTo>
                      <a:pt x="19253" y="3858"/>
                    </a:lnTo>
                    <a:lnTo>
                      <a:pt x="18600" y="3333"/>
                    </a:lnTo>
                    <a:cubicBezTo>
                      <a:pt x="18135" y="2996"/>
                      <a:pt x="17470" y="2498"/>
                      <a:pt x="16551" y="1993"/>
                    </a:cubicBezTo>
                    <a:cubicBezTo>
                      <a:pt x="15445" y="1373"/>
                      <a:pt x="14274" y="880"/>
                      <a:pt x="13058" y="523"/>
                    </a:cubicBezTo>
                    <a:cubicBezTo>
                      <a:pt x="12009" y="220"/>
                      <a:pt x="10803" y="0"/>
                      <a:pt x="9497" y="0"/>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9479;p96">
                <a:extLst>
                  <a:ext uri="{FF2B5EF4-FFF2-40B4-BE49-F238E27FC236}">
                    <a16:creationId xmlns:a16="http://schemas.microsoft.com/office/drawing/2014/main" id="{7C8B6184-05FB-4385-B410-98805A4BDA3F}"/>
                  </a:ext>
                </a:extLst>
              </p:cNvPr>
              <p:cNvSpPr/>
              <p:nvPr/>
            </p:nvSpPr>
            <p:spPr>
              <a:xfrm>
                <a:off x="3368550" y="238100"/>
                <a:ext cx="1089150" cy="1354050"/>
              </a:xfrm>
              <a:custGeom>
                <a:avLst/>
                <a:gdLst/>
                <a:ahLst/>
                <a:cxnLst/>
                <a:rect l="l" t="t" r="r" b="b"/>
                <a:pathLst>
                  <a:path w="43566" h="54162" extrusionOk="0">
                    <a:moveTo>
                      <a:pt x="40538" y="1"/>
                    </a:moveTo>
                    <a:cubicBezTo>
                      <a:pt x="40536" y="1"/>
                      <a:pt x="40535" y="1"/>
                      <a:pt x="40533" y="1"/>
                    </a:cubicBezTo>
                    <a:lnTo>
                      <a:pt x="23581" y="183"/>
                    </a:lnTo>
                    <a:lnTo>
                      <a:pt x="19703" y="224"/>
                    </a:lnTo>
                    <a:lnTo>
                      <a:pt x="2751" y="406"/>
                    </a:lnTo>
                    <a:cubicBezTo>
                      <a:pt x="2416" y="408"/>
                      <a:pt x="2128" y="645"/>
                      <a:pt x="2061" y="973"/>
                    </a:cubicBezTo>
                    <a:cubicBezTo>
                      <a:pt x="1530" y="3469"/>
                      <a:pt x="0" y="13846"/>
                      <a:pt x="8783" y="22600"/>
                    </a:cubicBezTo>
                    <a:cubicBezTo>
                      <a:pt x="18846" y="32630"/>
                      <a:pt x="19789" y="34399"/>
                      <a:pt x="18887" y="42942"/>
                    </a:cubicBezTo>
                    <a:cubicBezTo>
                      <a:pt x="17982" y="51485"/>
                      <a:pt x="13855" y="54161"/>
                      <a:pt x="13855" y="54161"/>
                    </a:cubicBezTo>
                    <a:lnTo>
                      <a:pt x="22106" y="54072"/>
                    </a:lnTo>
                    <a:lnTo>
                      <a:pt x="22326" y="54070"/>
                    </a:lnTo>
                    <a:lnTo>
                      <a:pt x="30577" y="53982"/>
                    </a:lnTo>
                    <a:cubicBezTo>
                      <a:pt x="30577" y="53982"/>
                      <a:pt x="26396" y="51394"/>
                      <a:pt x="25309" y="42870"/>
                    </a:cubicBezTo>
                    <a:cubicBezTo>
                      <a:pt x="24222" y="34348"/>
                      <a:pt x="25127" y="32560"/>
                      <a:pt x="34972" y="22320"/>
                    </a:cubicBezTo>
                    <a:cubicBezTo>
                      <a:pt x="43566" y="13379"/>
                      <a:pt x="41816" y="3039"/>
                      <a:pt x="41232" y="554"/>
                    </a:cubicBezTo>
                    <a:cubicBezTo>
                      <a:pt x="41158" y="228"/>
                      <a:pt x="40869" y="1"/>
                      <a:pt x="4053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9480;p96">
                <a:extLst>
                  <a:ext uri="{FF2B5EF4-FFF2-40B4-BE49-F238E27FC236}">
                    <a16:creationId xmlns:a16="http://schemas.microsoft.com/office/drawing/2014/main" id="{EF9BAF5A-B23B-446A-B5CB-676F274DD8C4}"/>
                  </a:ext>
                </a:extLst>
              </p:cNvPr>
              <p:cNvSpPr/>
              <p:nvPr/>
            </p:nvSpPr>
            <p:spPr>
              <a:xfrm>
                <a:off x="3588225" y="1559325"/>
                <a:ext cx="673800" cy="265125"/>
              </a:xfrm>
              <a:custGeom>
                <a:avLst/>
                <a:gdLst/>
                <a:ahLst/>
                <a:cxnLst/>
                <a:rect l="l" t="t" r="r" b="b"/>
                <a:pathLst>
                  <a:path w="26952" h="10605" extrusionOk="0">
                    <a:moveTo>
                      <a:pt x="26784" y="0"/>
                    </a:moveTo>
                    <a:lnTo>
                      <a:pt x="58" y="285"/>
                    </a:lnTo>
                    <a:cubicBezTo>
                      <a:pt x="27" y="285"/>
                      <a:pt x="1" y="311"/>
                      <a:pt x="1" y="343"/>
                    </a:cubicBezTo>
                    <a:lnTo>
                      <a:pt x="111" y="10604"/>
                    </a:lnTo>
                    <a:lnTo>
                      <a:pt x="26951" y="10320"/>
                    </a:lnTo>
                    <a:lnTo>
                      <a:pt x="26841" y="58"/>
                    </a:lnTo>
                    <a:cubicBezTo>
                      <a:pt x="26841" y="27"/>
                      <a:pt x="26815" y="0"/>
                      <a:pt x="26784"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9481;p96">
                <a:extLst>
                  <a:ext uri="{FF2B5EF4-FFF2-40B4-BE49-F238E27FC236}">
                    <a16:creationId xmlns:a16="http://schemas.microsoft.com/office/drawing/2014/main" id="{8B41E6CA-FF33-4C0E-A628-A1ED083C39C2}"/>
                  </a:ext>
                </a:extLst>
              </p:cNvPr>
              <p:cNvSpPr/>
              <p:nvPr/>
            </p:nvSpPr>
            <p:spPr>
              <a:xfrm>
                <a:off x="3513850" y="1774875"/>
                <a:ext cx="825300" cy="92000"/>
              </a:xfrm>
              <a:custGeom>
                <a:avLst/>
                <a:gdLst/>
                <a:ahLst/>
                <a:cxnLst/>
                <a:rect l="l" t="t" r="r" b="b"/>
                <a:pathLst>
                  <a:path w="33012" h="3680" extrusionOk="0">
                    <a:moveTo>
                      <a:pt x="32921" y="0"/>
                    </a:moveTo>
                    <a:lnTo>
                      <a:pt x="58" y="350"/>
                    </a:lnTo>
                    <a:cubicBezTo>
                      <a:pt x="27" y="350"/>
                      <a:pt x="0" y="376"/>
                      <a:pt x="0" y="410"/>
                    </a:cubicBezTo>
                    <a:lnTo>
                      <a:pt x="36" y="3680"/>
                    </a:lnTo>
                    <a:lnTo>
                      <a:pt x="33012" y="3328"/>
                    </a:lnTo>
                    <a:lnTo>
                      <a:pt x="32978" y="58"/>
                    </a:lnTo>
                    <a:cubicBezTo>
                      <a:pt x="32978" y="27"/>
                      <a:pt x="32952" y="0"/>
                      <a:pt x="32921" y="0"/>
                    </a:cubicBezTo>
                    <a:close/>
                  </a:path>
                </a:pathLst>
              </a:custGeom>
              <a:solidFill>
                <a:srgbClr val="E7EC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9482;p96">
                <a:extLst>
                  <a:ext uri="{FF2B5EF4-FFF2-40B4-BE49-F238E27FC236}">
                    <a16:creationId xmlns:a16="http://schemas.microsoft.com/office/drawing/2014/main" id="{E2FA466F-3129-44F0-AA61-F5F17991EE22}"/>
                  </a:ext>
                </a:extLst>
              </p:cNvPr>
              <p:cNvSpPr/>
              <p:nvPr/>
            </p:nvSpPr>
            <p:spPr>
              <a:xfrm>
                <a:off x="3466550" y="322000"/>
                <a:ext cx="893500" cy="458025"/>
              </a:xfrm>
              <a:custGeom>
                <a:avLst/>
                <a:gdLst/>
                <a:ahLst/>
                <a:cxnLst/>
                <a:rect l="l" t="t" r="r" b="b"/>
                <a:pathLst>
                  <a:path w="35740" h="18321" extrusionOk="0">
                    <a:moveTo>
                      <a:pt x="34103" y="1"/>
                    </a:moveTo>
                    <a:cubicBezTo>
                      <a:pt x="34097" y="1"/>
                      <a:pt x="34091" y="1"/>
                      <a:pt x="34085" y="1"/>
                    </a:cubicBezTo>
                    <a:lnTo>
                      <a:pt x="18162" y="171"/>
                    </a:lnTo>
                    <a:lnTo>
                      <a:pt x="17351" y="181"/>
                    </a:lnTo>
                    <a:lnTo>
                      <a:pt x="1428" y="350"/>
                    </a:lnTo>
                    <a:cubicBezTo>
                      <a:pt x="834" y="353"/>
                      <a:pt x="348" y="820"/>
                      <a:pt x="320" y="1413"/>
                    </a:cubicBezTo>
                    <a:cubicBezTo>
                      <a:pt x="315" y="1492"/>
                      <a:pt x="312" y="1578"/>
                      <a:pt x="310" y="1667"/>
                    </a:cubicBezTo>
                    <a:cubicBezTo>
                      <a:pt x="1" y="10807"/>
                      <a:pt x="7459" y="18321"/>
                      <a:pt x="16585" y="18321"/>
                    </a:cubicBezTo>
                    <a:cubicBezTo>
                      <a:pt x="16644" y="18321"/>
                      <a:pt x="16703" y="18321"/>
                      <a:pt x="16762" y="18320"/>
                    </a:cubicBezTo>
                    <a:lnTo>
                      <a:pt x="17545" y="18310"/>
                    </a:lnTo>
                    <a:lnTo>
                      <a:pt x="18354" y="18303"/>
                    </a:lnTo>
                    <a:lnTo>
                      <a:pt x="19136" y="18294"/>
                    </a:lnTo>
                    <a:cubicBezTo>
                      <a:pt x="28343" y="18196"/>
                      <a:pt x="35739" y="10485"/>
                      <a:pt x="35229" y="1294"/>
                    </a:cubicBezTo>
                    <a:cubicBezTo>
                      <a:pt x="35225" y="1203"/>
                      <a:pt x="35220" y="1119"/>
                      <a:pt x="35215" y="1040"/>
                    </a:cubicBezTo>
                    <a:cubicBezTo>
                      <a:pt x="35175" y="455"/>
                      <a:pt x="34689" y="1"/>
                      <a:pt x="34103" y="1"/>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9483;p96">
                <a:extLst>
                  <a:ext uri="{FF2B5EF4-FFF2-40B4-BE49-F238E27FC236}">
                    <a16:creationId xmlns:a16="http://schemas.microsoft.com/office/drawing/2014/main" id="{2E7CECCA-3F9D-4223-9DEC-C1EC43ECF350}"/>
                  </a:ext>
                </a:extLst>
              </p:cNvPr>
              <p:cNvSpPr/>
              <p:nvPr/>
            </p:nvSpPr>
            <p:spPr>
              <a:xfrm>
                <a:off x="3472850" y="260850"/>
                <a:ext cx="874375" cy="56650"/>
              </a:xfrm>
              <a:custGeom>
                <a:avLst/>
                <a:gdLst/>
                <a:ahLst/>
                <a:cxnLst/>
                <a:rect l="l" t="t" r="r" b="b"/>
                <a:pathLst>
                  <a:path w="34975" h="2266" extrusionOk="0">
                    <a:moveTo>
                      <a:pt x="34014" y="1"/>
                    </a:moveTo>
                    <a:cubicBezTo>
                      <a:pt x="34011" y="1"/>
                      <a:pt x="34008" y="1"/>
                      <a:pt x="34005" y="1"/>
                    </a:cubicBezTo>
                    <a:lnTo>
                      <a:pt x="953" y="355"/>
                    </a:lnTo>
                    <a:cubicBezTo>
                      <a:pt x="424" y="360"/>
                      <a:pt x="1" y="791"/>
                      <a:pt x="8" y="1320"/>
                    </a:cubicBezTo>
                    <a:cubicBezTo>
                      <a:pt x="13" y="1843"/>
                      <a:pt x="441" y="2265"/>
                      <a:pt x="964" y="2265"/>
                    </a:cubicBezTo>
                    <a:cubicBezTo>
                      <a:pt x="967" y="2265"/>
                      <a:pt x="969" y="2265"/>
                      <a:pt x="972" y="2265"/>
                    </a:cubicBezTo>
                    <a:lnTo>
                      <a:pt x="34022" y="1913"/>
                    </a:lnTo>
                    <a:cubicBezTo>
                      <a:pt x="34551" y="1906"/>
                      <a:pt x="34975" y="1473"/>
                      <a:pt x="34968" y="946"/>
                    </a:cubicBezTo>
                    <a:cubicBezTo>
                      <a:pt x="34963" y="422"/>
                      <a:pt x="34537" y="1"/>
                      <a:pt x="34014" y="1"/>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9484;p96">
                <a:extLst>
                  <a:ext uri="{FF2B5EF4-FFF2-40B4-BE49-F238E27FC236}">
                    <a16:creationId xmlns:a16="http://schemas.microsoft.com/office/drawing/2014/main" id="{D1CD41D3-FB78-4A66-9C9D-9CA5C5F54518}"/>
                  </a:ext>
                </a:extLst>
              </p:cNvPr>
              <p:cNvSpPr/>
              <p:nvPr/>
            </p:nvSpPr>
            <p:spPr>
              <a:xfrm>
                <a:off x="3746150" y="421050"/>
                <a:ext cx="332625" cy="316350"/>
              </a:xfrm>
              <a:custGeom>
                <a:avLst/>
                <a:gdLst/>
                <a:ahLst/>
                <a:cxnLst/>
                <a:rect l="l" t="t" r="r" b="b"/>
                <a:pathLst>
                  <a:path w="13305" h="12654" extrusionOk="0">
                    <a:moveTo>
                      <a:pt x="6653" y="1"/>
                    </a:moveTo>
                    <a:lnTo>
                      <a:pt x="4597" y="4166"/>
                    </a:lnTo>
                    <a:lnTo>
                      <a:pt x="1" y="4833"/>
                    </a:lnTo>
                    <a:lnTo>
                      <a:pt x="3325" y="8075"/>
                    </a:lnTo>
                    <a:lnTo>
                      <a:pt x="2540" y="12654"/>
                    </a:lnTo>
                    <a:lnTo>
                      <a:pt x="6653" y="10492"/>
                    </a:lnTo>
                    <a:lnTo>
                      <a:pt x="10765" y="12654"/>
                    </a:lnTo>
                    <a:lnTo>
                      <a:pt x="9978" y="8075"/>
                    </a:lnTo>
                    <a:lnTo>
                      <a:pt x="13305" y="4833"/>
                    </a:lnTo>
                    <a:lnTo>
                      <a:pt x="8709" y="4166"/>
                    </a:lnTo>
                    <a:lnTo>
                      <a:pt x="6653" y="1"/>
                    </a:lnTo>
                    <a:close/>
                    <a:moveTo>
                      <a:pt x="2540" y="12654"/>
                    </a:moveTo>
                    <a:lnTo>
                      <a:pt x="2540" y="12654"/>
                    </a:lnTo>
                    <a:lnTo>
                      <a:pt x="2540" y="12654"/>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extLst>
      <p:ext uri="{BB962C8B-B14F-4D97-AF65-F5344CB8AC3E}">
        <p14:creationId xmlns:p14="http://schemas.microsoft.com/office/powerpoint/2010/main" val="283530144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64" name="Google Shape;4985;p84">
            <a:extLst>
              <a:ext uri="{FF2B5EF4-FFF2-40B4-BE49-F238E27FC236}">
                <a16:creationId xmlns:a16="http://schemas.microsoft.com/office/drawing/2014/main" id="{ED011C6E-AC16-4235-B186-AFBAE28702C0}"/>
              </a:ext>
            </a:extLst>
          </p:cNvPr>
          <p:cNvSpPr/>
          <p:nvPr/>
        </p:nvSpPr>
        <p:spPr>
          <a:xfrm>
            <a:off x="6272163" y="344517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 name="Rectangle 3">
            <a:extLst>
              <a:ext uri="{FF2B5EF4-FFF2-40B4-BE49-F238E27FC236}">
                <a16:creationId xmlns:a16="http://schemas.microsoft.com/office/drawing/2014/main" id="{D9817C00-FCFE-4171-A713-685BA9E24EEA}"/>
              </a:ext>
            </a:extLst>
          </p:cNvPr>
          <p:cNvSpPr/>
          <p:nvPr/>
        </p:nvSpPr>
        <p:spPr>
          <a:xfrm rot="20672775">
            <a:off x="7268297" y="2037726"/>
            <a:ext cx="2869888" cy="923330"/>
          </a:xfrm>
          <a:prstGeom prst="rect">
            <a:avLst/>
          </a:prstGeom>
          <a:noFill/>
          <a:effectLst/>
        </p:spPr>
        <p:txBody>
          <a:bodyPr wrap="none" lIns="91440" tIns="45720" rIns="91440" bIns="45720">
            <a:spAutoFit/>
          </a:bodyPr>
          <a:lstStyle/>
          <a:p>
            <a:pPr algn="ctr"/>
            <a:r>
              <a:rPr lang="en-US" sz="5400" b="1" cap="none" spc="0" dirty="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rPr>
              <a:t>Provision</a:t>
            </a:r>
          </a:p>
        </p:txBody>
      </p:sp>
      <p:sp>
        <p:nvSpPr>
          <p:cNvPr id="2" name="Title 1">
            <a:extLst>
              <a:ext uri="{FF2B5EF4-FFF2-40B4-BE49-F238E27FC236}">
                <a16:creationId xmlns:a16="http://schemas.microsoft.com/office/drawing/2014/main" id="{89E281AF-2A0B-41B6-A4AC-8FAA57424E36}"/>
              </a:ext>
            </a:extLst>
          </p:cNvPr>
          <p:cNvSpPr>
            <a:spLocks noGrp="1"/>
          </p:cNvSpPr>
          <p:nvPr>
            <p:ph type="ctrTitle"/>
          </p:nvPr>
        </p:nvSpPr>
        <p:spPr/>
        <p:txBody>
          <a:bodyPr/>
          <a:lstStyle/>
          <a:p>
            <a:r>
              <a:rPr lang="en-US" dirty="0"/>
              <a:t>SDLC &amp; DEV-OPS for R&amp;D</a:t>
            </a:r>
          </a:p>
        </p:txBody>
      </p:sp>
      <p:sp>
        <p:nvSpPr>
          <p:cNvPr id="3" name="Subtitle 2">
            <a:extLst>
              <a:ext uri="{FF2B5EF4-FFF2-40B4-BE49-F238E27FC236}">
                <a16:creationId xmlns:a16="http://schemas.microsoft.com/office/drawing/2014/main" id="{F10A9910-0FD7-4101-84BD-CA9BF928E664}"/>
              </a:ext>
            </a:extLst>
          </p:cNvPr>
          <p:cNvSpPr>
            <a:spLocks noGrp="1"/>
          </p:cNvSpPr>
          <p:nvPr>
            <p:ph type="subTitle" idx="1"/>
          </p:nvPr>
        </p:nvSpPr>
        <p:spPr>
          <a:xfrm>
            <a:off x="1876423" y="3602038"/>
            <a:ext cx="9780575" cy="1655762"/>
          </a:xfrm>
        </p:spPr>
        <p:txBody>
          <a:bodyPr>
            <a:noAutofit/>
          </a:bodyPr>
          <a:lstStyle/>
          <a:p>
            <a:pPr marL="342900" indent="-342900">
              <a:buFont typeface="Arial" panose="020B0604020202020204" pitchFamily="34" charset="0"/>
              <a:buChar char="•"/>
            </a:pPr>
            <a:r>
              <a:rPr lang="en-US" dirty="0">
                <a:latin typeface="Arial" panose="020B0604020202020204" pitchFamily="34" charset="0"/>
                <a:cs typeface="Arial" panose="020B0604020202020204" pitchFamily="34" charset="0"/>
              </a:rPr>
              <a:t>Hardware infrastructure </a:t>
            </a:r>
            <a:r>
              <a:rPr lang="en-US" sz="1800" dirty="0">
                <a:latin typeface="Arial" panose="020B0604020202020204" pitchFamily="34" charset="0"/>
                <a:cs typeface="Arial" panose="020B0604020202020204" pitchFamily="34" charset="0"/>
              </a:rPr>
              <a:t>(</a:t>
            </a:r>
            <a:r>
              <a:rPr lang="en-US" sz="1800" i="1" dirty="0">
                <a:latin typeface="Arial" panose="020B0604020202020204" pitchFamily="34" charset="0"/>
                <a:cs typeface="Arial" panose="020B0604020202020204" pitchFamily="34" charset="0"/>
              </a:rPr>
              <a:t>Dedicated Servers + Database storage</a:t>
            </a:r>
            <a:r>
              <a:rPr lang="en-US" sz="1800" dirty="0">
                <a:latin typeface="Arial" panose="020B0604020202020204" pitchFamily="34" charset="0"/>
                <a:cs typeface="Arial" panose="020B0604020202020204" pitchFamily="34" charset="0"/>
              </a:rPr>
              <a:t>)</a:t>
            </a:r>
            <a:endParaRPr lang="en-US"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dirty="0">
                <a:latin typeface="Arial" panose="020B0604020202020204" pitchFamily="34" charset="0"/>
                <a:cs typeface="Arial" panose="020B0604020202020204" pitchFamily="34" charset="0"/>
              </a:rPr>
              <a:t>Software lifecycle</a:t>
            </a:r>
          </a:p>
          <a:p>
            <a:pPr marL="342900" indent="-342900">
              <a:buFont typeface="Arial" panose="020B0604020202020204" pitchFamily="34" charset="0"/>
              <a:buChar char="•"/>
            </a:pPr>
            <a:r>
              <a:rPr lang="en-US" dirty="0">
                <a:latin typeface="Arial" panose="020B0604020202020204" pitchFamily="34" charset="0"/>
                <a:cs typeface="Arial" panose="020B0604020202020204" pitchFamily="34" charset="0"/>
              </a:rPr>
              <a:t>automation</a:t>
            </a:r>
          </a:p>
          <a:p>
            <a:pPr marL="342900" indent="-342900">
              <a:buFont typeface="Arial" panose="020B0604020202020204" pitchFamily="34" charset="0"/>
              <a:buChar char="•"/>
            </a:pPr>
            <a:r>
              <a:rPr lang="en-US" dirty="0">
                <a:latin typeface="Arial" panose="020B0604020202020204" pitchFamily="34" charset="0"/>
                <a:cs typeface="Arial" panose="020B0604020202020204" pitchFamily="34" charset="0"/>
              </a:rPr>
              <a:t>iteration</a:t>
            </a:r>
          </a:p>
        </p:txBody>
      </p:sp>
      <p:grpSp>
        <p:nvGrpSpPr>
          <p:cNvPr id="5" name="Group 4">
            <a:extLst>
              <a:ext uri="{FF2B5EF4-FFF2-40B4-BE49-F238E27FC236}">
                <a16:creationId xmlns:a16="http://schemas.microsoft.com/office/drawing/2014/main" id="{CD564E96-7C31-4CE8-92EE-60B334A508F3}"/>
              </a:ext>
            </a:extLst>
          </p:cNvPr>
          <p:cNvGrpSpPr/>
          <p:nvPr/>
        </p:nvGrpSpPr>
        <p:grpSpPr>
          <a:xfrm>
            <a:off x="5433821" y="5139990"/>
            <a:ext cx="1187582" cy="1104265"/>
            <a:chOff x="9379963" y="4497336"/>
            <a:chExt cx="1187582" cy="1104265"/>
          </a:xfrm>
        </p:grpSpPr>
        <p:grpSp>
          <p:nvGrpSpPr>
            <p:cNvPr id="6" name="Google Shape;802;p51">
              <a:extLst>
                <a:ext uri="{FF2B5EF4-FFF2-40B4-BE49-F238E27FC236}">
                  <a16:creationId xmlns:a16="http://schemas.microsoft.com/office/drawing/2014/main" id="{D3F7DED6-E437-4F54-B885-AB87A4F4FB49}"/>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3" name="Google Shape;803;p51">
                <a:extLst>
                  <a:ext uri="{FF2B5EF4-FFF2-40B4-BE49-F238E27FC236}">
                    <a16:creationId xmlns:a16="http://schemas.microsoft.com/office/drawing/2014/main" id="{EF11208B-684B-4075-BDF0-512B441B34FD}"/>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804;p51">
                <a:extLst>
                  <a:ext uri="{FF2B5EF4-FFF2-40B4-BE49-F238E27FC236}">
                    <a16:creationId xmlns:a16="http://schemas.microsoft.com/office/drawing/2014/main" id="{2565608A-727E-47D4-9E5A-A4FBD33DD58D}"/>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Google Shape;805;p51">
                <a:extLst>
                  <a:ext uri="{FF2B5EF4-FFF2-40B4-BE49-F238E27FC236}">
                    <a16:creationId xmlns:a16="http://schemas.microsoft.com/office/drawing/2014/main" id="{5CBF0675-64BB-4290-934E-FB6E81EB163C}"/>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Google Shape;806;p51">
                <a:extLst>
                  <a:ext uri="{FF2B5EF4-FFF2-40B4-BE49-F238E27FC236}">
                    <a16:creationId xmlns:a16="http://schemas.microsoft.com/office/drawing/2014/main" id="{60A567A8-DB3D-412F-9B44-F7A0CCB74D35}"/>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807;p51">
                <a:extLst>
                  <a:ext uri="{FF2B5EF4-FFF2-40B4-BE49-F238E27FC236}">
                    <a16:creationId xmlns:a16="http://schemas.microsoft.com/office/drawing/2014/main" id="{340E8DBA-5F2B-42BC-9195-AB233F219C24}"/>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8;p51">
                <a:extLst>
                  <a:ext uri="{FF2B5EF4-FFF2-40B4-BE49-F238E27FC236}">
                    <a16:creationId xmlns:a16="http://schemas.microsoft.com/office/drawing/2014/main" id="{F6123C75-3C3B-4568-9452-6AF707ED1A76}"/>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9;p51">
                <a:extLst>
                  <a:ext uri="{FF2B5EF4-FFF2-40B4-BE49-F238E27FC236}">
                    <a16:creationId xmlns:a16="http://schemas.microsoft.com/office/drawing/2014/main" id="{534611DE-C0D9-40E9-BE5A-7B7AB46E19A8}"/>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10;p51">
                <a:extLst>
                  <a:ext uri="{FF2B5EF4-FFF2-40B4-BE49-F238E27FC236}">
                    <a16:creationId xmlns:a16="http://schemas.microsoft.com/office/drawing/2014/main" id="{FB3D59E9-8EBC-4254-870F-FC2D89BF7750}"/>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11;p51">
                <a:extLst>
                  <a:ext uri="{FF2B5EF4-FFF2-40B4-BE49-F238E27FC236}">
                    <a16:creationId xmlns:a16="http://schemas.microsoft.com/office/drawing/2014/main" id="{515C3F49-8EFC-4329-AD4E-876DD8DFA97A}"/>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12;p51">
                <a:extLst>
                  <a:ext uri="{FF2B5EF4-FFF2-40B4-BE49-F238E27FC236}">
                    <a16:creationId xmlns:a16="http://schemas.microsoft.com/office/drawing/2014/main" id="{4E25F3F2-0B44-46D9-B39D-7AD7F3A6591D}"/>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13;p51">
                <a:extLst>
                  <a:ext uri="{FF2B5EF4-FFF2-40B4-BE49-F238E27FC236}">
                    <a16:creationId xmlns:a16="http://schemas.microsoft.com/office/drawing/2014/main" id="{1F45DF1E-8BBA-4796-AD05-6A9783D6F68B}"/>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4;p51">
                <a:extLst>
                  <a:ext uri="{FF2B5EF4-FFF2-40B4-BE49-F238E27FC236}">
                    <a16:creationId xmlns:a16="http://schemas.microsoft.com/office/drawing/2014/main" id="{74447624-2ED6-4308-AE24-F4A79DE44B45}"/>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5;p51">
                <a:extLst>
                  <a:ext uri="{FF2B5EF4-FFF2-40B4-BE49-F238E27FC236}">
                    <a16:creationId xmlns:a16="http://schemas.microsoft.com/office/drawing/2014/main" id="{13AA01F3-F92A-4820-924D-773909DDD1C9}"/>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6;p51">
                <a:extLst>
                  <a:ext uri="{FF2B5EF4-FFF2-40B4-BE49-F238E27FC236}">
                    <a16:creationId xmlns:a16="http://schemas.microsoft.com/office/drawing/2014/main" id="{67E9625C-0331-4DDF-9CDF-B75D7065A838}"/>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7;p51">
                <a:extLst>
                  <a:ext uri="{FF2B5EF4-FFF2-40B4-BE49-F238E27FC236}">
                    <a16:creationId xmlns:a16="http://schemas.microsoft.com/office/drawing/2014/main" id="{9250603D-BE14-48DA-95D8-B22339907987}"/>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8;p51">
                <a:extLst>
                  <a:ext uri="{FF2B5EF4-FFF2-40B4-BE49-F238E27FC236}">
                    <a16:creationId xmlns:a16="http://schemas.microsoft.com/office/drawing/2014/main" id="{5ED84016-600C-4ABE-9B12-98EB90779E9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9;p51">
                <a:extLst>
                  <a:ext uri="{FF2B5EF4-FFF2-40B4-BE49-F238E27FC236}">
                    <a16:creationId xmlns:a16="http://schemas.microsoft.com/office/drawing/2014/main" id="{EF2EC8F6-9E6C-4BC5-994E-A3D617A933BF}"/>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20;p51">
                <a:extLst>
                  <a:ext uri="{FF2B5EF4-FFF2-40B4-BE49-F238E27FC236}">
                    <a16:creationId xmlns:a16="http://schemas.microsoft.com/office/drawing/2014/main" id="{DE8069BC-28F0-43FE-B306-DFE44142B27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21;p51">
                <a:extLst>
                  <a:ext uri="{FF2B5EF4-FFF2-40B4-BE49-F238E27FC236}">
                    <a16:creationId xmlns:a16="http://schemas.microsoft.com/office/drawing/2014/main" id="{419C81C9-8393-4C7B-896A-1783E8519712}"/>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22;p51">
                <a:extLst>
                  <a:ext uri="{FF2B5EF4-FFF2-40B4-BE49-F238E27FC236}">
                    <a16:creationId xmlns:a16="http://schemas.microsoft.com/office/drawing/2014/main" id="{03EC1EE0-9CB9-426C-B9E2-6B1C95CE40A6}"/>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23;p51">
                <a:extLst>
                  <a:ext uri="{FF2B5EF4-FFF2-40B4-BE49-F238E27FC236}">
                    <a16:creationId xmlns:a16="http://schemas.microsoft.com/office/drawing/2014/main" id="{63E36C56-4205-48B9-8621-1376658D8612}"/>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4;p51">
                <a:extLst>
                  <a:ext uri="{FF2B5EF4-FFF2-40B4-BE49-F238E27FC236}">
                    <a16:creationId xmlns:a16="http://schemas.microsoft.com/office/drawing/2014/main" id="{0DFFB174-9378-4551-9D68-3C724110F9BA}"/>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5;p51">
                <a:extLst>
                  <a:ext uri="{FF2B5EF4-FFF2-40B4-BE49-F238E27FC236}">
                    <a16:creationId xmlns:a16="http://schemas.microsoft.com/office/drawing/2014/main" id="{09554442-C3DC-455C-B264-5E936CCDD9B6}"/>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6;p51">
                <a:extLst>
                  <a:ext uri="{FF2B5EF4-FFF2-40B4-BE49-F238E27FC236}">
                    <a16:creationId xmlns:a16="http://schemas.microsoft.com/office/drawing/2014/main" id="{C7358C50-F401-4BAB-9A38-F8A46CABFC39}"/>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7;p51">
                <a:extLst>
                  <a:ext uri="{FF2B5EF4-FFF2-40B4-BE49-F238E27FC236}">
                    <a16:creationId xmlns:a16="http://schemas.microsoft.com/office/drawing/2014/main" id="{26E67CB4-3EF1-45E3-9F72-72CF0E6D2623}"/>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7" name="Group 6">
              <a:extLst>
                <a:ext uri="{FF2B5EF4-FFF2-40B4-BE49-F238E27FC236}">
                  <a16:creationId xmlns:a16="http://schemas.microsoft.com/office/drawing/2014/main" id="{B3C158E4-8BA3-4748-8D9F-46F42BF6FBD2}"/>
                </a:ext>
              </a:extLst>
            </p:cNvPr>
            <p:cNvGrpSpPr/>
            <p:nvPr/>
          </p:nvGrpSpPr>
          <p:grpSpPr>
            <a:xfrm>
              <a:off x="9459173" y="4651735"/>
              <a:ext cx="965465" cy="814701"/>
              <a:chOff x="2122052" y="4430998"/>
              <a:chExt cx="516998" cy="436265"/>
            </a:xfrm>
          </p:grpSpPr>
          <p:sp>
            <p:nvSpPr>
              <p:cNvPr id="8" name="Google Shape;663;p48">
                <a:extLst>
                  <a:ext uri="{FF2B5EF4-FFF2-40B4-BE49-F238E27FC236}">
                    <a16:creationId xmlns:a16="http://schemas.microsoft.com/office/drawing/2014/main" id="{57751401-1721-4370-BB59-AE4788054F5E}"/>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664;p48">
                <a:extLst>
                  <a:ext uri="{FF2B5EF4-FFF2-40B4-BE49-F238E27FC236}">
                    <a16:creationId xmlns:a16="http://schemas.microsoft.com/office/drawing/2014/main" id="{FFCAA996-E247-413D-9A6E-5900124C1976}"/>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665;p48">
                <a:extLst>
                  <a:ext uri="{FF2B5EF4-FFF2-40B4-BE49-F238E27FC236}">
                    <a16:creationId xmlns:a16="http://schemas.microsoft.com/office/drawing/2014/main" id="{515D0FCE-DA9D-43BC-9D93-E0F1C88EB5C2}"/>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6;p48">
                <a:extLst>
                  <a:ext uri="{FF2B5EF4-FFF2-40B4-BE49-F238E27FC236}">
                    <a16:creationId xmlns:a16="http://schemas.microsoft.com/office/drawing/2014/main" id="{7449150D-DFD2-45E8-B6CA-BB6377A70C74}"/>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7;p48">
                <a:extLst>
                  <a:ext uri="{FF2B5EF4-FFF2-40B4-BE49-F238E27FC236}">
                    <a16:creationId xmlns:a16="http://schemas.microsoft.com/office/drawing/2014/main" id="{C817E634-5243-4460-9DAF-BFBFE98E4F13}"/>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68;p48">
                <a:extLst>
                  <a:ext uri="{FF2B5EF4-FFF2-40B4-BE49-F238E27FC236}">
                    <a16:creationId xmlns:a16="http://schemas.microsoft.com/office/drawing/2014/main" id="{C935D973-28F7-42C4-806D-D4D40B15B188}"/>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 name="Google Shape;669;p48">
                <a:extLst>
                  <a:ext uri="{FF2B5EF4-FFF2-40B4-BE49-F238E27FC236}">
                    <a16:creationId xmlns:a16="http://schemas.microsoft.com/office/drawing/2014/main" id="{D51A4C8B-BD07-4764-BEB1-FE2C24B90851}"/>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70;p48">
                <a:extLst>
                  <a:ext uri="{FF2B5EF4-FFF2-40B4-BE49-F238E27FC236}">
                    <a16:creationId xmlns:a16="http://schemas.microsoft.com/office/drawing/2014/main" id="{DBCF0439-ED16-4C4C-8AA2-5D011A3D33D9}"/>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71;p48">
                <a:extLst>
                  <a:ext uri="{FF2B5EF4-FFF2-40B4-BE49-F238E27FC236}">
                    <a16:creationId xmlns:a16="http://schemas.microsoft.com/office/drawing/2014/main" id="{CCD6414A-BB5C-4126-8927-06483356ADF6}"/>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72;p48">
                <a:extLst>
                  <a:ext uri="{FF2B5EF4-FFF2-40B4-BE49-F238E27FC236}">
                    <a16:creationId xmlns:a16="http://schemas.microsoft.com/office/drawing/2014/main" id="{6CA994B1-3CDE-4FDC-9B8B-38767D7F47AE}"/>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73;p48">
                <a:extLst>
                  <a:ext uri="{FF2B5EF4-FFF2-40B4-BE49-F238E27FC236}">
                    <a16:creationId xmlns:a16="http://schemas.microsoft.com/office/drawing/2014/main" id="{BC0C9E71-DDED-4397-B055-4284E5126EA5}"/>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4;p48">
                <a:extLst>
                  <a:ext uri="{FF2B5EF4-FFF2-40B4-BE49-F238E27FC236}">
                    <a16:creationId xmlns:a16="http://schemas.microsoft.com/office/drawing/2014/main" id="{2FB9C37C-6867-4159-B461-0F66168AE94A}"/>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5;p48">
                <a:extLst>
                  <a:ext uri="{FF2B5EF4-FFF2-40B4-BE49-F238E27FC236}">
                    <a16:creationId xmlns:a16="http://schemas.microsoft.com/office/drawing/2014/main" id="{92674989-D997-432F-A6C9-237CA846305B}"/>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6;p48">
                <a:extLst>
                  <a:ext uri="{FF2B5EF4-FFF2-40B4-BE49-F238E27FC236}">
                    <a16:creationId xmlns:a16="http://schemas.microsoft.com/office/drawing/2014/main" id="{42AD4C1D-F767-43D8-AB7D-CD1FB7D8B4A6}"/>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7;p48">
                <a:extLst>
                  <a:ext uri="{FF2B5EF4-FFF2-40B4-BE49-F238E27FC236}">
                    <a16:creationId xmlns:a16="http://schemas.microsoft.com/office/drawing/2014/main" id="{CDB0AA2C-FCDA-4C8A-9C58-8AE4FF3897F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8;p48">
                <a:extLst>
                  <a:ext uri="{FF2B5EF4-FFF2-40B4-BE49-F238E27FC236}">
                    <a16:creationId xmlns:a16="http://schemas.microsoft.com/office/drawing/2014/main" id="{DA759E78-189A-4846-B53F-6557863EDE6C}"/>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9;p48">
                <a:extLst>
                  <a:ext uri="{FF2B5EF4-FFF2-40B4-BE49-F238E27FC236}">
                    <a16:creationId xmlns:a16="http://schemas.microsoft.com/office/drawing/2014/main" id="{04999950-06BD-42DD-96C1-12B466B983E1}"/>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80;p48">
                <a:extLst>
                  <a:ext uri="{FF2B5EF4-FFF2-40B4-BE49-F238E27FC236}">
                    <a16:creationId xmlns:a16="http://schemas.microsoft.com/office/drawing/2014/main" id="{D378C8C3-69C1-47AA-A8CE-B96B247E7EE7}"/>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81;p48">
                <a:extLst>
                  <a:ext uri="{FF2B5EF4-FFF2-40B4-BE49-F238E27FC236}">
                    <a16:creationId xmlns:a16="http://schemas.microsoft.com/office/drawing/2014/main" id="{C7A47FEC-0035-4023-BB5F-775E70209004}"/>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82;p48">
                <a:extLst>
                  <a:ext uri="{FF2B5EF4-FFF2-40B4-BE49-F238E27FC236}">
                    <a16:creationId xmlns:a16="http://schemas.microsoft.com/office/drawing/2014/main" id="{E2F0615D-A5FD-496A-A842-9EC3E566CFFC}"/>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83;p48">
                <a:extLst>
                  <a:ext uri="{FF2B5EF4-FFF2-40B4-BE49-F238E27FC236}">
                    <a16:creationId xmlns:a16="http://schemas.microsoft.com/office/drawing/2014/main" id="{D7F8BF9B-8577-4D42-8536-5F6A1EE99435}"/>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9" name="Google Shape;684;p48">
                <a:extLst>
                  <a:ext uri="{FF2B5EF4-FFF2-40B4-BE49-F238E27FC236}">
                    <a16:creationId xmlns:a16="http://schemas.microsoft.com/office/drawing/2014/main" id="{4CDA0AC3-6E06-4327-888D-030D7D268F14}"/>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5;p48">
                <a:extLst>
                  <a:ext uri="{FF2B5EF4-FFF2-40B4-BE49-F238E27FC236}">
                    <a16:creationId xmlns:a16="http://schemas.microsoft.com/office/drawing/2014/main" id="{634DE487-C1B3-46BE-927D-0B03D7DE73CC}"/>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6;p48">
                <a:extLst>
                  <a:ext uri="{FF2B5EF4-FFF2-40B4-BE49-F238E27FC236}">
                    <a16:creationId xmlns:a16="http://schemas.microsoft.com/office/drawing/2014/main" id="{D17F89D8-090E-462C-B0DB-4C565A518601}"/>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7;p48">
                <a:extLst>
                  <a:ext uri="{FF2B5EF4-FFF2-40B4-BE49-F238E27FC236}">
                    <a16:creationId xmlns:a16="http://schemas.microsoft.com/office/drawing/2014/main" id="{C1FF14BA-D6C6-4409-A2E9-493D5BEC9013}"/>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9" name="Google Shape;4980;p84">
            <a:extLst>
              <a:ext uri="{FF2B5EF4-FFF2-40B4-BE49-F238E27FC236}">
                <a16:creationId xmlns:a16="http://schemas.microsoft.com/office/drawing/2014/main" id="{A379D06A-1273-42F6-AC4F-65B67696E1D2}"/>
              </a:ext>
            </a:extLst>
          </p:cNvPr>
          <p:cNvSpPr/>
          <p:nvPr/>
        </p:nvSpPr>
        <p:spPr>
          <a:xfrm>
            <a:off x="4921828" y="274886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4982;p84">
            <a:extLst>
              <a:ext uri="{FF2B5EF4-FFF2-40B4-BE49-F238E27FC236}">
                <a16:creationId xmlns:a16="http://schemas.microsoft.com/office/drawing/2014/main" id="{C1EF0127-486A-47CD-9082-856D0B8AA126}"/>
              </a:ext>
            </a:extLst>
          </p:cNvPr>
          <p:cNvSpPr/>
          <p:nvPr/>
        </p:nvSpPr>
        <p:spPr>
          <a:xfrm rot="10800000" flipH="1">
            <a:off x="4390491" y="5657722"/>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4983;p84">
            <a:extLst>
              <a:ext uri="{FF2B5EF4-FFF2-40B4-BE49-F238E27FC236}">
                <a16:creationId xmlns:a16="http://schemas.microsoft.com/office/drawing/2014/main" id="{8FEC0313-23F4-481E-BB13-64FD089DC910}"/>
              </a:ext>
            </a:extLst>
          </p:cNvPr>
          <p:cNvSpPr/>
          <p:nvPr/>
        </p:nvSpPr>
        <p:spPr>
          <a:xfrm>
            <a:off x="8980853" y="316505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4984;p84">
            <a:extLst>
              <a:ext uri="{FF2B5EF4-FFF2-40B4-BE49-F238E27FC236}">
                <a16:creationId xmlns:a16="http://schemas.microsoft.com/office/drawing/2014/main" id="{8DAABECD-FB49-4BDF-9915-5A73B97BBD92}"/>
              </a:ext>
            </a:extLst>
          </p:cNvPr>
          <p:cNvSpPr/>
          <p:nvPr/>
        </p:nvSpPr>
        <p:spPr>
          <a:xfrm>
            <a:off x="9578553" y="96929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4986;p84">
            <a:extLst>
              <a:ext uri="{FF2B5EF4-FFF2-40B4-BE49-F238E27FC236}">
                <a16:creationId xmlns:a16="http://schemas.microsoft.com/office/drawing/2014/main" id="{822C1C19-C385-469A-B54E-94FF5A5737D4}"/>
              </a:ext>
            </a:extLst>
          </p:cNvPr>
          <p:cNvSpPr/>
          <p:nvPr/>
        </p:nvSpPr>
        <p:spPr>
          <a:xfrm>
            <a:off x="1590579" y="34290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6" name="Google Shape;4987;p84">
            <a:extLst>
              <a:ext uri="{FF2B5EF4-FFF2-40B4-BE49-F238E27FC236}">
                <a16:creationId xmlns:a16="http://schemas.microsoft.com/office/drawing/2014/main" id="{1F9A7913-233C-4E45-A8A6-C3972DDA85FB}"/>
              </a:ext>
            </a:extLst>
          </p:cNvPr>
          <p:cNvGrpSpPr/>
          <p:nvPr/>
        </p:nvGrpSpPr>
        <p:grpSpPr>
          <a:xfrm rot="7681689">
            <a:off x="2345784" y="1612502"/>
            <a:ext cx="161701" cy="641985"/>
            <a:chOff x="7004550" y="3676293"/>
            <a:chExt cx="161700" cy="641982"/>
          </a:xfrm>
        </p:grpSpPr>
        <p:sp>
          <p:nvSpPr>
            <p:cNvPr id="67" name="Google Shape;4988;p84">
              <a:extLst>
                <a:ext uri="{FF2B5EF4-FFF2-40B4-BE49-F238E27FC236}">
                  <a16:creationId xmlns:a16="http://schemas.microsoft.com/office/drawing/2014/main" id="{CB2EB34A-6C34-4F42-A4BA-F843AB8ED1DF}"/>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4989;p84">
              <a:extLst>
                <a:ext uri="{FF2B5EF4-FFF2-40B4-BE49-F238E27FC236}">
                  <a16:creationId xmlns:a16="http://schemas.microsoft.com/office/drawing/2014/main" id="{235CF691-58B2-46F3-8DDF-EE930C6C4553}"/>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4990;p84">
              <a:extLst>
                <a:ext uri="{FF2B5EF4-FFF2-40B4-BE49-F238E27FC236}">
                  <a16:creationId xmlns:a16="http://schemas.microsoft.com/office/drawing/2014/main" id="{171FBB27-AD25-44B9-A781-8AC364EF75B5}"/>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4991;p84">
              <a:extLst>
                <a:ext uri="{FF2B5EF4-FFF2-40B4-BE49-F238E27FC236}">
                  <a16:creationId xmlns:a16="http://schemas.microsoft.com/office/drawing/2014/main" id="{070DDD68-6EDC-4349-A6B3-708F4F658A0F}"/>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1" name="Google Shape;12;p2">
            <a:extLst>
              <a:ext uri="{FF2B5EF4-FFF2-40B4-BE49-F238E27FC236}">
                <a16:creationId xmlns:a16="http://schemas.microsoft.com/office/drawing/2014/main" id="{1393BAF1-61A1-481A-9398-DB4C2062644E}"/>
              </a:ext>
            </a:extLst>
          </p:cNvPr>
          <p:cNvSpPr/>
          <p:nvPr/>
        </p:nvSpPr>
        <p:spPr>
          <a:xfrm rot="19377330" flipH="1">
            <a:off x="4559245" y="-265857"/>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2;p2">
            <a:extLst>
              <a:ext uri="{FF2B5EF4-FFF2-40B4-BE49-F238E27FC236}">
                <a16:creationId xmlns:a16="http://schemas.microsoft.com/office/drawing/2014/main" id="{A6C941EA-D397-4736-97A7-B4E4B829074C}"/>
              </a:ext>
            </a:extLst>
          </p:cNvPr>
          <p:cNvSpPr/>
          <p:nvPr/>
        </p:nvSpPr>
        <p:spPr>
          <a:xfrm rot="1370670" flipH="1">
            <a:off x="10648905" y="2972263"/>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93070112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188A9289-D7EA-479E-8591-700CE31904F6}"/>
              </a:ext>
            </a:extLst>
          </p:cNvPr>
          <p:cNvSpPr txBox="1">
            <a:spLocks/>
          </p:cNvSpPr>
          <p:nvPr/>
        </p:nvSpPr>
        <p:spPr>
          <a:xfrm>
            <a:off x="4229244" y="604766"/>
            <a:ext cx="3835256" cy="928759"/>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r>
              <a:rPr lang="en-US" b="1" dirty="0">
                <a:latin typeface="Saira SemiCondensed" panose="00000506000000000000" pitchFamily="2" charset="0"/>
              </a:rPr>
              <a:t>SAF   Framework</a:t>
            </a:r>
          </a:p>
        </p:txBody>
      </p:sp>
      <p:sp>
        <p:nvSpPr>
          <p:cNvPr id="16" name="Google Shape;4980;p84">
            <a:extLst>
              <a:ext uri="{FF2B5EF4-FFF2-40B4-BE49-F238E27FC236}">
                <a16:creationId xmlns:a16="http://schemas.microsoft.com/office/drawing/2014/main" id="{AD74E618-4719-493F-A044-618517851899}"/>
              </a:ext>
            </a:extLst>
          </p:cNvPr>
          <p:cNvSpPr/>
          <p:nvPr/>
        </p:nvSpPr>
        <p:spPr>
          <a:xfrm>
            <a:off x="4781704" y="288822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4982;p84">
            <a:extLst>
              <a:ext uri="{FF2B5EF4-FFF2-40B4-BE49-F238E27FC236}">
                <a16:creationId xmlns:a16="http://schemas.microsoft.com/office/drawing/2014/main" id="{F29F7DC1-BBF5-4FDD-969A-600167DBD08E}"/>
              </a:ext>
            </a:extLst>
          </p:cNvPr>
          <p:cNvSpPr/>
          <p:nvPr/>
        </p:nvSpPr>
        <p:spPr>
          <a:xfrm rot="10800000" flipH="1">
            <a:off x="5837867" y="521059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4983;p84">
            <a:extLst>
              <a:ext uri="{FF2B5EF4-FFF2-40B4-BE49-F238E27FC236}">
                <a16:creationId xmlns:a16="http://schemas.microsoft.com/office/drawing/2014/main" id="{7C2CBA0A-69A0-4361-85AF-3AEB3E5615E0}"/>
              </a:ext>
            </a:extLst>
          </p:cNvPr>
          <p:cNvSpPr/>
          <p:nvPr/>
        </p:nvSpPr>
        <p:spPr>
          <a:xfrm>
            <a:off x="2753571" y="43167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984;p84">
            <a:extLst>
              <a:ext uri="{FF2B5EF4-FFF2-40B4-BE49-F238E27FC236}">
                <a16:creationId xmlns:a16="http://schemas.microsoft.com/office/drawing/2014/main" id="{9F8DA0D3-20E4-43DB-9754-CDF5B46AD627}"/>
              </a:ext>
            </a:extLst>
          </p:cNvPr>
          <p:cNvSpPr/>
          <p:nvPr/>
        </p:nvSpPr>
        <p:spPr>
          <a:xfrm>
            <a:off x="9438429" y="110864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4985;p84">
            <a:extLst>
              <a:ext uri="{FF2B5EF4-FFF2-40B4-BE49-F238E27FC236}">
                <a16:creationId xmlns:a16="http://schemas.microsoft.com/office/drawing/2014/main" id="{DDA1A04B-DBC5-419F-B518-BB13F23FD132}"/>
              </a:ext>
            </a:extLst>
          </p:cNvPr>
          <p:cNvSpPr/>
          <p:nvPr/>
        </p:nvSpPr>
        <p:spPr>
          <a:xfrm>
            <a:off x="6203304" y="382740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986;p84">
            <a:extLst>
              <a:ext uri="{FF2B5EF4-FFF2-40B4-BE49-F238E27FC236}">
                <a16:creationId xmlns:a16="http://schemas.microsoft.com/office/drawing/2014/main" id="{91A934DA-176F-495F-BFEA-FF812E91B234}"/>
              </a:ext>
            </a:extLst>
          </p:cNvPr>
          <p:cNvSpPr/>
          <p:nvPr/>
        </p:nvSpPr>
        <p:spPr>
          <a:xfrm>
            <a:off x="1237299" y="47877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3" name="Google Shape;4987;p84">
            <a:extLst>
              <a:ext uri="{FF2B5EF4-FFF2-40B4-BE49-F238E27FC236}">
                <a16:creationId xmlns:a16="http://schemas.microsoft.com/office/drawing/2014/main" id="{2FD6A861-F6F3-4567-9C3E-B7C328759F9E}"/>
              </a:ext>
            </a:extLst>
          </p:cNvPr>
          <p:cNvGrpSpPr/>
          <p:nvPr/>
        </p:nvGrpSpPr>
        <p:grpSpPr>
          <a:xfrm rot="18007841">
            <a:off x="10557050" y="5529332"/>
            <a:ext cx="161701" cy="641985"/>
            <a:chOff x="7004550" y="3676293"/>
            <a:chExt cx="161700" cy="641982"/>
          </a:xfrm>
        </p:grpSpPr>
        <p:sp>
          <p:nvSpPr>
            <p:cNvPr id="24" name="Google Shape;4988;p84">
              <a:extLst>
                <a:ext uri="{FF2B5EF4-FFF2-40B4-BE49-F238E27FC236}">
                  <a16:creationId xmlns:a16="http://schemas.microsoft.com/office/drawing/2014/main" id="{351C91C1-1FD5-4BD2-B695-895D2D4D6F7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4989;p84">
              <a:extLst>
                <a:ext uri="{FF2B5EF4-FFF2-40B4-BE49-F238E27FC236}">
                  <a16:creationId xmlns:a16="http://schemas.microsoft.com/office/drawing/2014/main" id="{0146F513-A559-4096-887A-ECACFC00D1B1}"/>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4990;p84">
              <a:extLst>
                <a:ext uri="{FF2B5EF4-FFF2-40B4-BE49-F238E27FC236}">
                  <a16:creationId xmlns:a16="http://schemas.microsoft.com/office/drawing/2014/main" id="{C6186286-4030-413B-B0F4-95F76E2623C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4991;p84">
              <a:extLst>
                <a:ext uri="{FF2B5EF4-FFF2-40B4-BE49-F238E27FC236}">
                  <a16:creationId xmlns:a16="http://schemas.microsoft.com/office/drawing/2014/main" id="{76DDFBDC-D4FE-4AD7-BFA5-3FFC5C34C6FA}"/>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8" name="Group 27">
            <a:extLst>
              <a:ext uri="{FF2B5EF4-FFF2-40B4-BE49-F238E27FC236}">
                <a16:creationId xmlns:a16="http://schemas.microsoft.com/office/drawing/2014/main" id="{D6BB60C4-42D3-42C7-BD29-9113B95C8353}"/>
              </a:ext>
            </a:extLst>
          </p:cNvPr>
          <p:cNvGrpSpPr/>
          <p:nvPr/>
        </p:nvGrpSpPr>
        <p:grpSpPr>
          <a:xfrm>
            <a:off x="4044711" y="5210595"/>
            <a:ext cx="1187582" cy="1104265"/>
            <a:chOff x="9379963" y="4497336"/>
            <a:chExt cx="1187582" cy="1104265"/>
          </a:xfrm>
        </p:grpSpPr>
        <p:grpSp>
          <p:nvGrpSpPr>
            <p:cNvPr id="29" name="Google Shape;802;p51">
              <a:extLst>
                <a:ext uri="{FF2B5EF4-FFF2-40B4-BE49-F238E27FC236}">
                  <a16:creationId xmlns:a16="http://schemas.microsoft.com/office/drawing/2014/main" id="{00C2F88E-94CC-4AEA-96C5-BE6F574A64CD}"/>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56" name="Google Shape;803;p51">
                <a:extLst>
                  <a:ext uri="{FF2B5EF4-FFF2-40B4-BE49-F238E27FC236}">
                    <a16:creationId xmlns:a16="http://schemas.microsoft.com/office/drawing/2014/main" id="{7C9B3D53-5B08-4892-8E24-93DF146E3173}"/>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04;p51">
                <a:extLst>
                  <a:ext uri="{FF2B5EF4-FFF2-40B4-BE49-F238E27FC236}">
                    <a16:creationId xmlns:a16="http://schemas.microsoft.com/office/drawing/2014/main" id="{A6D34B75-58D9-4A55-ACBD-67DADB29C905}"/>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05;p51">
                <a:extLst>
                  <a:ext uri="{FF2B5EF4-FFF2-40B4-BE49-F238E27FC236}">
                    <a16:creationId xmlns:a16="http://schemas.microsoft.com/office/drawing/2014/main" id="{2D618D6F-B72D-4FCD-9FFE-54520C457E5D}"/>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06;p51">
                <a:extLst>
                  <a:ext uri="{FF2B5EF4-FFF2-40B4-BE49-F238E27FC236}">
                    <a16:creationId xmlns:a16="http://schemas.microsoft.com/office/drawing/2014/main" id="{E31B1ED5-E2FE-469A-B5AD-CE9BD65E01C7}"/>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07;p51">
                <a:extLst>
                  <a:ext uri="{FF2B5EF4-FFF2-40B4-BE49-F238E27FC236}">
                    <a16:creationId xmlns:a16="http://schemas.microsoft.com/office/drawing/2014/main" id="{AE5105AA-8A58-4E37-9AF1-98F00333D6F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08;p51">
                <a:extLst>
                  <a:ext uri="{FF2B5EF4-FFF2-40B4-BE49-F238E27FC236}">
                    <a16:creationId xmlns:a16="http://schemas.microsoft.com/office/drawing/2014/main" id="{044402FE-381B-4C12-827B-DB3E2C951131}"/>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09;p51">
                <a:extLst>
                  <a:ext uri="{FF2B5EF4-FFF2-40B4-BE49-F238E27FC236}">
                    <a16:creationId xmlns:a16="http://schemas.microsoft.com/office/drawing/2014/main" id="{D8CCDF09-585B-4C09-9DCE-A115F49E4792}"/>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10;p51">
                <a:extLst>
                  <a:ext uri="{FF2B5EF4-FFF2-40B4-BE49-F238E27FC236}">
                    <a16:creationId xmlns:a16="http://schemas.microsoft.com/office/drawing/2014/main" id="{66E76F5E-344A-424A-8221-C18BC20A95D3}"/>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11;p51">
                <a:extLst>
                  <a:ext uri="{FF2B5EF4-FFF2-40B4-BE49-F238E27FC236}">
                    <a16:creationId xmlns:a16="http://schemas.microsoft.com/office/drawing/2014/main" id="{C1BAA892-948E-4CF6-BEE6-35281C29B45F}"/>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12;p51">
                <a:extLst>
                  <a:ext uri="{FF2B5EF4-FFF2-40B4-BE49-F238E27FC236}">
                    <a16:creationId xmlns:a16="http://schemas.microsoft.com/office/drawing/2014/main" id="{6DBED306-B111-4439-A33B-8F47D5ECD661}"/>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13;p51">
                <a:extLst>
                  <a:ext uri="{FF2B5EF4-FFF2-40B4-BE49-F238E27FC236}">
                    <a16:creationId xmlns:a16="http://schemas.microsoft.com/office/drawing/2014/main" id="{FD0E437C-31F8-4575-A9C2-368B494C90E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14;p51">
                <a:extLst>
                  <a:ext uri="{FF2B5EF4-FFF2-40B4-BE49-F238E27FC236}">
                    <a16:creationId xmlns:a16="http://schemas.microsoft.com/office/drawing/2014/main" id="{3ECB6710-70EB-4083-A476-43B7B007BA95}"/>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15;p51">
                <a:extLst>
                  <a:ext uri="{FF2B5EF4-FFF2-40B4-BE49-F238E27FC236}">
                    <a16:creationId xmlns:a16="http://schemas.microsoft.com/office/drawing/2014/main" id="{C8FB387C-C5C3-4714-9122-86EB3EE09C3B}"/>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16;p51">
                <a:extLst>
                  <a:ext uri="{FF2B5EF4-FFF2-40B4-BE49-F238E27FC236}">
                    <a16:creationId xmlns:a16="http://schemas.microsoft.com/office/drawing/2014/main" id="{28C143EA-C3B9-4A04-8F21-8E9047D04B5F}"/>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17;p51">
                <a:extLst>
                  <a:ext uri="{FF2B5EF4-FFF2-40B4-BE49-F238E27FC236}">
                    <a16:creationId xmlns:a16="http://schemas.microsoft.com/office/drawing/2014/main" id="{A673A90A-F6F6-48AE-8378-8876D3F41E2D}"/>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1" name="Google Shape;818;p51">
                <a:extLst>
                  <a:ext uri="{FF2B5EF4-FFF2-40B4-BE49-F238E27FC236}">
                    <a16:creationId xmlns:a16="http://schemas.microsoft.com/office/drawing/2014/main" id="{8C9FBCDE-0840-4E0C-A853-96D41F6E19A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2" name="Google Shape;819;p51">
                <a:extLst>
                  <a:ext uri="{FF2B5EF4-FFF2-40B4-BE49-F238E27FC236}">
                    <a16:creationId xmlns:a16="http://schemas.microsoft.com/office/drawing/2014/main" id="{F2DC324D-200C-4327-A639-3253180AC7B7}"/>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3" name="Google Shape;820;p51">
                <a:extLst>
                  <a:ext uri="{FF2B5EF4-FFF2-40B4-BE49-F238E27FC236}">
                    <a16:creationId xmlns:a16="http://schemas.microsoft.com/office/drawing/2014/main" id="{ACB7A4B5-01DD-42FB-9E33-894644438732}"/>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4" name="Google Shape;821;p51">
                <a:extLst>
                  <a:ext uri="{FF2B5EF4-FFF2-40B4-BE49-F238E27FC236}">
                    <a16:creationId xmlns:a16="http://schemas.microsoft.com/office/drawing/2014/main" id="{B9EEA87F-C90C-4DEF-B1D2-DF7F894E3238}"/>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5" name="Google Shape;822;p51">
                <a:extLst>
                  <a:ext uri="{FF2B5EF4-FFF2-40B4-BE49-F238E27FC236}">
                    <a16:creationId xmlns:a16="http://schemas.microsoft.com/office/drawing/2014/main" id="{B33F8DC0-3026-46E0-87CC-2ED910004A76}"/>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6" name="Google Shape;823;p51">
                <a:extLst>
                  <a:ext uri="{FF2B5EF4-FFF2-40B4-BE49-F238E27FC236}">
                    <a16:creationId xmlns:a16="http://schemas.microsoft.com/office/drawing/2014/main" id="{31A5987E-B983-4D20-A39E-3492DB70A86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7" name="Google Shape;824;p51">
                <a:extLst>
                  <a:ext uri="{FF2B5EF4-FFF2-40B4-BE49-F238E27FC236}">
                    <a16:creationId xmlns:a16="http://schemas.microsoft.com/office/drawing/2014/main" id="{11E2FC99-0574-4800-B62C-DD474487B142}"/>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8" name="Google Shape;825;p51">
                <a:extLst>
                  <a:ext uri="{FF2B5EF4-FFF2-40B4-BE49-F238E27FC236}">
                    <a16:creationId xmlns:a16="http://schemas.microsoft.com/office/drawing/2014/main" id="{42C2A55A-F702-4579-8920-019302616837}"/>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9" name="Google Shape;826;p51">
                <a:extLst>
                  <a:ext uri="{FF2B5EF4-FFF2-40B4-BE49-F238E27FC236}">
                    <a16:creationId xmlns:a16="http://schemas.microsoft.com/office/drawing/2014/main" id="{12518788-3225-4429-9223-F2EF957E9C23}"/>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80" name="Google Shape;827;p51">
                <a:extLst>
                  <a:ext uri="{FF2B5EF4-FFF2-40B4-BE49-F238E27FC236}">
                    <a16:creationId xmlns:a16="http://schemas.microsoft.com/office/drawing/2014/main" id="{8421917F-907A-4198-8FCB-305E766B957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30" name="Group 29">
              <a:extLst>
                <a:ext uri="{FF2B5EF4-FFF2-40B4-BE49-F238E27FC236}">
                  <a16:creationId xmlns:a16="http://schemas.microsoft.com/office/drawing/2014/main" id="{41A8550D-E020-4D55-ACDB-76E78A82CCF3}"/>
                </a:ext>
              </a:extLst>
            </p:cNvPr>
            <p:cNvGrpSpPr/>
            <p:nvPr/>
          </p:nvGrpSpPr>
          <p:grpSpPr>
            <a:xfrm>
              <a:off x="9459173" y="4651735"/>
              <a:ext cx="965465" cy="814701"/>
              <a:chOff x="2122052" y="4430998"/>
              <a:chExt cx="516998" cy="436265"/>
            </a:xfrm>
          </p:grpSpPr>
          <p:sp>
            <p:nvSpPr>
              <p:cNvPr id="31" name="Google Shape;663;p48">
                <a:extLst>
                  <a:ext uri="{FF2B5EF4-FFF2-40B4-BE49-F238E27FC236}">
                    <a16:creationId xmlns:a16="http://schemas.microsoft.com/office/drawing/2014/main" id="{E7853989-9BF0-4BBF-BA27-E68B2C624961}"/>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64;p48">
                <a:extLst>
                  <a:ext uri="{FF2B5EF4-FFF2-40B4-BE49-F238E27FC236}">
                    <a16:creationId xmlns:a16="http://schemas.microsoft.com/office/drawing/2014/main" id="{AC531536-0D29-412C-8A1C-2931C7C8AFC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65;p48">
                <a:extLst>
                  <a:ext uri="{FF2B5EF4-FFF2-40B4-BE49-F238E27FC236}">
                    <a16:creationId xmlns:a16="http://schemas.microsoft.com/office/drawing/2014/main" id="{44A50919-E09C-430B-928D-3EBA80815FAE}"/>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66;p48">
                <a:extLst>
                  <a:ext uri="{FF2B5EF4-FFF2-40B4-BE49-F238E27FC236}">
                    <a16:creationId xmlns:a16="http://schemas.microsoft.com/office/drawing/2014/main" id="{22B9956F-865D-4CB9-822F-14403B44B4A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67;p48">
                <a:extLst>
                  <a:ext uri="{FF2B5EF4-FFF2-40B4-BE49-F238E27FC236}">
                    <a16:creationId xmlns:a16="http://schemas.microsoft.com/office/drawing/2014/main" id="{C2A7BE82-D3BC-4D2F-8330-E38188AAB484}"/>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68;p48">
                <a:extLst>
                  <a:ext uri="{FF2B5EF4-FFF2-40B4-BE49-F238E27FC236}">
                    <a16:creationId xmlns:a16="http://schemas.microsoft.com/office/drawing/2014/main" id="{A7661E8C-57ED-4811-B30C-D4540ECCF11E}"/>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7" name="Google Shape;669;p48">
                <a:extLst>
                  <a:ext uri="{FF2B5EF4-FFF2-40B4-BE49-F238E27FC236}">
                    <a16:creationId xmlns:a16="http://schemas.microsoft.com/office/drawing/2014/main" id="{B60D9556-6B67-4B44-BF15-F39FF68A444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70;p48">
                <a:extLst>
                  <a:ext uri="{FF2B5EF4-FFF2-40B4-BE49-F238E27FC236}">
                    <a16:creationId xmlns:a16="http://schemas.microsoft.com/office/drawing/2014/main" id="{7ACDF1F9-D327-4F8C-91BA-AD9D5E7C903B}"/>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71;p48">
                <a:extLst>
                  <a:ext uri="{FF2B5EF4-FFF2-40B4-BE49-F238E27FC236}">
                    <a16:creationId xmlns:a16="http://schemas.microsoft.com/office/drawing/2014/main" id="{747EED64-8756-4108-A2C0-A1291C19CBB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72;p48">
                <a:extLst>
                  <a:ext uri="{FF2B5EF4-FFF2-40B4-BE49-F238E27FC236}">
                    <a16:creationId xmlns:a16="http://schemas.microsoft.com/office/drawing/2014/main" id="{8AD31057-A9D0-4A76-B2F8-7B334A28D0E3}"/>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73;p48">
                <a:extLst>
                  <a:ext uri="{FF2B5EF4-FFF2-40B4-BE49-F238E27FC236}">
                    <a16:creationId xmlns:a16="http://schemas.microsoft.com/office/drawing/2014/main" id="{17D073C7-3C38-4F36-BD82-D2BC9E234566}"/>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674;p48">
                <a:extLst>
                  <a:ext uri="{FF2B5EF4-FFF2-40B4-BE49-F238E27FC236}">
                    <a16:creationId xmlns:a16="http://schemas.microsoft.com/office/drawing/2014/main" id="{E5DE3F40-0F33-4E4C-9E9F-638AA382BD60}"/>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75;p48">
                <a:extLst>
                  <a:ext uri="{FF2B5EF4-FFF2-40B4-BE49-F238E27FC236}">
                    <a16:creationId xmlns:a16="http://schemas.microsoft.com/office/drawing/2014/main" id="{B01A65D6-86BE-4ED1-9F07-19F218E48CB7}"/>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76;p48">
                <a:extLst>
                  <a:ext uri="{FF2B5EF4-FFF2-40B4-BE49-F238E27FC236}">
                    <a16:creationId xmlns:a16="http://schemas.microsoft.com/office/drawing/2014/main" id="{09736EE0-3D23-4B80-AF26-CF999DE6ED71}"/>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77;p48">
                <a:extLst>
                  <a:ext uri="{FF2B5EF4-FFF2-40B4-BE49-F238E27FC236}">
                    <a16:creationId xmlns:a16="http://schemas.microsoft.com/office/drawing/2014/main" id="{C5FC0603-F84C-43CB-9B4D-C30B6E7CDBD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78;p48">
                <a:extLst>
                  <a:ext uri="{FF2B5EF4-FFF2-40B4-BE49-F238E27FC236}">
                    <a16:creationId xmlns:a16="http://schemas.microsoft.com/office/drawing/2014/main" id="{1F17FF9D-1B86-4657-A44B-D4E43C55D94C}"/>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679;p48">
                <a:extLst>
                  <a:ext uri="{FF2B5EF4-FFF2-40B4-BE49-F238E27FC236}">
                    <a16:creationId xmlns:a16="http://schemas.microsoft.com/office/drawing/2014/main" id="{F053D177-33FB-485F-B7C6-9653CAD6184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680;p48">
                <a:extLst>
                  <a:ext uri="{FF2B5EF4-FFF2-40B4-BE49-F238E27FC236}">
                    <a16:creationId xmlns:a16="http://schemas.microsoft.com/office/drawing/2014/main" id="{27A96BF9-1422-4667-B09B-96CE191B06B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81;p48">
                <a:extLst>
                  <a:ext uri="{FF2B5EF4-FFF2-40B4-BE49-F238E27FC236}">
                    <a16:creationId xmlns:a16="http://schemas.microsoft.com/office/drawing/2014/main" id="{46E3748E-C0BC-459A-AC3A-5A2E24ADD44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82;p48">
                <a:extLst>
                  <a:ext uri="{FF2B5EF4-FFF2-40B4-BE49-F238E27FC236}">
                    <a16:creationId xmlns:a16="http://schemas.microsoft.com/office/drawing/2014/main" id="{3FFA107E-F52F-4E2A-BFAE-DFF0423A015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683;p48">
                <a:extLst>
                  <a:ext uri="{FF2B5EF4-FFF2-40B4-BE49-F238E27FC236}">
                    <a16:creationId xmlns:a16="http://schemas.microsoft.com/office/drawing/2014/main" id="{923CC7B2-1F29-4644-9BBB-EB69D697F995}"/>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2" name="Google Shape;684;p48">
                <a:extLst>
                  <a:ext uri="{FF2B5EF4-FFF2-40B4-BE49-F238E27FC236}">
                    <a16:creationId xmlns:a16="http://schemas.microsoft.com/office/drawing/2014/main" id="{B940DEA5-28BB-4884-BBCF-EB7F89C85B38}"/>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685;p48">
                <a:extLst>
                  <a:ext uri="{FF2B5EF4-FFF2-40B4-BE49-F238E27FC236}">
                    <a16:creationId xmlns:a16="http://schemas.microsoft.com/office/drawing/2014/main" id="{15D37EB4-4ED4-4761-BFD6-C8E1CAEA62FB}"/>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686;p48">
                <a:extLst>
                  <a:ext uri="{FF2B5EF4-FFF2-40B4-BE49-F238E27FC236}">
                    <a16:creationId xmlns:a16="http://schemas.microsoft.com/office/drawing/2014/main" id="{BA692EC1-C5DD-4009-B3A7-C0E6FC9F4912}"/>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687;p48">
                <a:extLst>
                  <a:ext uri="{FF2B5EF4-FFF2-40B4-BE49-F238E27FC236}">
                    <a16:creationId xmlns:a16="http://schemas.microsoft.com/office/drawing/2014/main" id="{FCB38CE7-B231-4D8A-9B1C-C121B1E1F12E}"/>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83" name="Google Shape;12;p2">
            <a:extLst>
              <a:ext uri="{FF2B5EF4-FFF2-40B4-BE49-F238E27FC236}">
                <a16:creationId xmlns:a16="http://schemas.microsoft.com/office/drawing/2014/main" id="{96DB5083-23F9-4B24-937B-8C571ACA74A0}"/>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2;p2">
            <a:extLst>
              <a:ext uri="{FF2B5EF4-FFF2-40B4-BE49-F238E27FC236}">
                <a16:creationId xmlns:a16="http://schemas.microsoft.com/office/drawing/2014/main" id="{EC4D2283-830C-49CC-8E45-D7CB514F4178}"/>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3074" name="Picture 2">
            <a:extLst>
              <a:ext uri="{FF2B5EF4-FFF2-40B4-BE49-F238E27FC236}">
                <a16:creationId xmlns:a16="http://schemas.microsoft.com/office/drawing/2014/main" id="{2771EC4C-84E3-4708-BCD6-2958E2AEA36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0053" y="1606100"/>
            <a:ext cx="10715625" cy="3790950"/>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37BC4F5F-B59F-4AFE-83A6-AB6B285752F4}"/>
              </a:ext>
            </a:extLst>
          </p:cNvPr>
          <p:cNvSpPr txBox="1"/>
          <p:nvPr/>
        </p:nvSpPr>
        <p:spPr>
          <a:xfrm>
            <a:off x="4972984" y="541217"/>
            <a:ext cx="415498" cy="646331"/>
          </a:xfrm>
          <a:prstGeom prst="rect">
            <a:avLst/>
          </a:prstGeom>
          <a:noFill/>
        </p:spPr>
        <p:txBody>
          <a:bodyPr wrap="none" rtlCol="0">
            <a:spAutoFit/>
          </a:bodyPr>
          <a:lstStyle/>
          <a:p>
            <a:r>
              <a:rPr lang="en-US" sz="3600" dirty="0"/>
              <a:t>e</a:t>
            </a:r>
          </a:p>
        </p:txBody>
      </p:sp>
    </p:spTree>
    <p:extLst>
      <p:ext uri="{BB962C8B-B14F-4D97-AF65-F5344CB8AC3E}">
        <p14:creationId xmlns:p14="http://schemas.microsoft.com/office/powerpoint/2010/main" val="219453447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1026" name="Picture 2" descr="SDLC phases">
            <a:hlinkClick r:id="rId3"/>
            <a:extLst>
              <a:ext uri="{FF2B5EF4-FFF2-40B4-BE49-F238E27FC236}">
                <a16:creationId xmlns:a16="http://schemas.microsoft.com/office/drawing/2014/main" id="{BAC3ADC2-3752-4A4D-93FB-33C5648B1CE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70031" y="452257"/>
            <a:ext cx="6651938" cy="5953485"/>
          </a:xfrm>
          <a:prstGeom prst="rect">
            <a:avLst/>
          </a:prstGeom>
          <a:noFill/>
          <a:extLst>
            <a:ext uri="{909E8E84-426E-40DD-AFC4-6F175D3DCCD1}">
              <a14:hiddenFill xmlns:a14="http://schemas.microsoft.com/office/drawing/2010/main">
                <a:solidFill>
                  <a:srgbClr val="FFFFFF"/>
                </a:solidFill>
              </a14:hiddenFill>
            </a:ext>
          </a:extLst>
        </p:spPr>
      </p:pic>
      <p:sp>
        <p:nvSpPr>
          <p:cNvPr id="11" name="Google Shape;4980;p84">
            <a:extLst>
              <a:ext uri="{FF2B5EF4-FFF2-40B4-BE49-F238E27FC236}">
                <a16:creationId xmlns:a16="http://schemas.microsoft.com/office/drawing/2014/main" id="{6E4B1FDC-EE78-4918-9E1B-F4FCA23D2275}"/>
              </a:ext>
            </a:extLst>
          </p:cNvPr>
          <p:cNvSpPr/>
          <p:nvPr/>
        </p:nvSpPr>
        <p:spPr>
          <a:xfrm>
            <a:off x="5231013" y="2851877"/>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4982;p84">
            <a:extLst>
              <a:ext uri="{FF2B5EF4-FFF2-40B4-BE49-F238E27FC236}">
                <a16:creationId xmlns:a16="http://schemas.microsoft.com/office/drawing/2014/main" id="{25A1DFD0-2FAB-4388-8B03-EFE506EA4D36}"/>
              </a:ext>
            </a:extLst>
          </p:cNvPr>
          <p:cNvSpPr/>
          <p:nvPr/>
        </p:nvSpPr>
        <p:spPr>
          <a:xfrm rot="10800000" flipH="1">
            <a:off x="8690038" y="89291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4983;p84">
            <a:extLst>
              <a:ext uri="{FF2B5EF4-FFF2-40B4-BE49-F238E27FC236}">
                <a16:creationId xmlns:a16="http://schemas.microsoft.com/office/drawing/2014/main" id="{1ED0C98B-5742-4E3A-A61D-E796FDE2B744}"/>
              </a:ext>
            </a:extLst>
          </p:cNvPr>
          <p:cNvSpPr/>
          <p:nvPr/>
        </p:nvSpPr>
        <p:spPr>
          <a:xfrm>
            <a:off x="9051300" y="3482527"/>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4984;p84">
            <a:extLst>
              <a:ext uri="{FF2B5EF4-FFF2-40B4-BE49-F238E27FC236}">
                <a16:creationId xmlns:a16="http://schemas.microsoft.com/office/drawing/2014/main" id="{9776695B-E5BB-4404-9286-8D11D2453270}"/>
              </a:ext>
            </a:extLst>
          </p:cNvPr>
          <p:cNvSpPr/>
          <p:nvPr/>
        </p:nvSpPr>
        <p:spPr>
          <a:xfrm>
            <a:off x="9649000" y="128676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4985;p84">
            <a:extLst>
              <a:ext uri="{FF2B5EF4-FFF2-40B4-BE49-F238E27FC236}">
                <a16:creationId xmlns:a16="http://schemas.microsoft.com/office/drawing/2014/main" id="{F89A6A13-D277-444B-BC45-D07A6C014305}"/>
              </a:ext>
            </a:extLst>
          </p:cNvPr>
          <p:cNvSpPr/>
          <p:nvPr/>
        </p:nvSpPr>
        <p:spPr>
          <a:xfrm>
            <a:off x="3276975" y="4716727"/>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4986;p84">
            <a:extLst>
              <a:ext uri="{FF2B5EF4-FFF2-40B4-BE49-F238E27FC236}">
                <a16:creationId xmlns:a16="http://schemas.microsoft.com/office/drawing/2014/main" id="{A86C113D-C577-4BF1-8AD7-5A0C7D547AD1}"/>
              </a:ext>
            </a:extLst>
          </p:cNvPr>
          <p:cNvSpPr/>
          <p:nvPr/>
        </p:nvSpPr>
        <p:spPr>
          <a:xfrm>
            <a:off x="2053125" y="412051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 name="Google Shape;4987;p84">
            <a:extLst>
              <a:ext uri="{FF2B5EF4-FFF2-40B4-BE49-F238E27FC236}">
                <a16:creationId xmlns:a16="http://schemas.microsoft.com/office/drawing/2014/main" id="{2C4DFD9A-7BED-4C04-8D0F-43B268F262D5}"/>
              </a:ext>
            </a:extLst>
          </p:cNvPr>
          <p:cNvGrpSpPr/>
          <p:nvPr/>
        </p:nvGrpSpPr>
        <p:grpSpPr>
          <a:xfrm rot="14053952">
            <a:off x="9875858" y="2215720"/>
            <a:ext cx="161701" cy="641985"/>
            <a:chOff x="7004550" y="3676293"/>
            <a:chExt cx="161700" cy="641982"/>
          </a:xfrm>
        </p:grpSpPr>
        <p:sp>
          <p:nvSpPr>
            <p:cNvPr id="19" name="Google Shape;4988;p84">
              <a:extLst>
                <a:ext uri="{FF2B5EF4-FFF2-40B4-BE49-F238E27FC236}">
                  <a16:creationId xmlns:a16="http://schemas.microsoft.com/office/drawing/2014/main" id="{59C2A31F-4680-4D24-B050-61895DA1C5A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989;p84">
              <a:extLst>
                <a:ext uri="{FF2B5EF4-FFF2-40B4-BE49-F238E27FC236}">
                  <a16:creationId xmlns:a16="http://schemas.microsoft.com/office/drawing/2014/main" id="{9A21D92D-DD6F-484F-86D4-44570E0A1E2B}"/>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4990;p84">
              <a:extLst>
                <a:ext uri="{FF2B5EF4-FFF2-40B4-BE49-F238E27FC236}">
                  <a16:creationId xmlns:a16="http://schemas.microsoft.com/office/drawing/2014/main" id="{C3BB4207-CC4E-4C25-A81E-57551990C9FC}"/>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991;p84">
              <a:extLst>
                <a:ext uri="{FF2B5EF4-FFF2-40B4-BE49-F238E27FC236}">
                  <a16:creationId xmlns:a16="http://schemas.microsoft.com/office/drawing/2014/main" id="{C45F5CB3-4EC3-4CCB-9A1C-E78871554460}"/>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3" name="Group 22">
            <a:extLst>
              <a:ext uri="{FF2B5EF4-FFF2-40B4-BE49-F238E27FC236}">
                <a16:creationId xmlns:a16="http://schemas.microsoft.com/office/drawing/2014/main" id="{672EAE56-DE3B-4424-8B47-A855DF842532}"/>
              </a:ext>
            </a:extLst>
          </p:cNvPr>
          <p:cNvGrpSpPr/>
          <p:nvPr/>
        </p:nvGrpSpPr>
        <p:grpSpPr>
          <a:xfrm>
            <a:off x="671408" y="2237801"/>
            <a:ext cx="1187582" cy="1104265"/>
            <a:chOff x="9379963" y="4497336"/>
            <a:chExt cx="1187582" cy="1104265"/>
          </a:xfrm>
        </p:grpSpPr>
        <p:grpSp>
          <p:nvGrpSpPr>
            <p:cNvPr id="24" name="Google Shape;802;p51">
              <a:extLst>
                <a:ext uri="{FF2B5EF4-FFF2-40B4-BE49-F238E27FC236}">
                  <a16:creationId xmlns:a16="http://schemas.microsoft.com/office/drawing/2014/main" id="{1D678655-F429-47A7-B152-C13168922EA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51" name="Google Shape;803;p51">
                <a:extLst>
                  <a:ext uri="{FF2B5EF4-FFF2-40B4-BE49-F238E27FC236}">
                    <a16:creationId xmlns:a16="http://schemas.microsoft.com/office/drawing/2014/main" id="{C9B519E0-2D9F-4009-A273-DA60D830EFB6}"/>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04;p51">
                <a:extLst>
                  <a:ext uri="{FF2B5EF4-FFF2-40B4-BE49-F238E27FC236}">
                    <a16:creationId xmlns:a16="http://schemas.microsoft.com/office/drawing/2014/main" id="{EBC9005F-86F4-4431-B450-D666D38ED264}"/>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05;p51">
                <a:extLst>
                  <a:ext uri="{FF2B5EF4-FFF2-40B4-BE49-F238E27FC236}">
                    <a16:creationId xmlns:a16="http://schemas.microsoft.com/office/drawing/2014/main" id="{CD972077-76A5-416D-A61B-F7A6B55FB3A6}"/>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06;p51">
                <a:extLst>
                  <a:ext uri="{FF2B5EF4-FFF2-40B4-BE49-F238E27FC236}">
                    <a16:creationId xmlns:a16="http://schemas.microsoft.com/office/drawing/2014/main" id="{6598C81A-EAD2-461B-9651-D410D906C209}"/>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07;p51">
                <a:extLst>
                  <a:ext uri="{FF2B5EF4-FFF2-40B4-BE49-F238E27FC236}">
                    <a16:creationId xmlns:a16="http://schemas.microsoft.com/office/drawing/2014/main" id="{590735A4-BDB2-4A00-84B3-CB9BAFD53E1B}"/>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08;p51">
                <a:extLst>
                  <a:ext uri="{FF2B5EF4-FFF2-40B4-BE49-F238E27FC236}">
                    <a16:creationId xmlns:a16="http://schemas.microsoft.com/office/drawing/2014/main" id="{E762829C-EF98-4A88-95BC-4163150FAE7C}"/>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09;p51">
                <a:extLst>
                  <a:ext uri="{FF2B5EF4-FFF2-40B4-BE49-F238E27FC236}">
                    <a16:creationId xmlns:a16="http://schemas.microsoft.com/office/drawing/2014/main" id="{A5DC2B2F-9356-4841-A294-03EEA385464F}"/>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0;p51">
                <a:extLst>
                  <a:ext uri="{FF2B5EF4-FFF2-40B4-BE49-F238E27FC236}">
                    <a16:creationId xmlns:a16="http://schemas.microsoft.com/office/drawing/2014/main" id="{C05993F2-048B-42B8-8790-F586B99D1E44}"/>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11;p51">
                <a:extLst>
                  <a:ext uri="{FF2B5EF4-FFF2-40B4-BE49-F238E27FC236}">
                    <a16:creationId xmlns:a16="http://schemas.microsoft.com/office/drawing/2014/main" id="{55B0D0BF-B270-482F-B7FC-ABA09672B558}"/>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12;p51">
                <a:extLst>
                  <a:ext uri="{FF2B5EF4-FFF2-40B4-BE49-F238E27FC236}">
                    <a16:creationId xmlns:a16="http://schemas.microsoft.com/office/drawing/2014/main" id="{D32F1705-58B7-429F-8AAF-13C49AC237B8}"/>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13;p51">
                <a:extLst>
                  <a:ext uri="{FF2B5EF4-FFF2-40B4-BE49-F238E27FC236}">
                    <a16:creationId xmlns:a16="http://schemas.microsoft.com/office/drawing/2014/main" id="{5C0310E5-2FD4-4F6C-A29E-7521460E56CD}"/>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14;p51">
                <a:extLst>
                  <a:ext uri="{FF2B5EF4-FFF2-40B4-BE49-F238E27FC236}">
                    <a16:creationId xmlns:a16="http://schemas.microsoft.com/office/drawing/2014/main" id="{A9C4CDA6-EBD3-428A-A9EF-78DE42E025CD}"/>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15;p51">
                <a:extLst>
                  <a:ext uri="{FF2B5EF4-FFF2-40B4-BE49-F238E27FC236}">
                    <a16:creationId xmlns:a16="http://schemas.microsoft.com/office/drawing/2014/main" id="{9C169AF3-2D28-4D24-95DB-1BC0CC0F6D38}"/>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16;p51">
                <a:extLst>
                  <a:ext uri="{FF2B5EF4-FFF2-40B4-BE49-F238E27FC236}">
                    <a16:creationId xmlns:a16="http://schemas.microsoft.com/office/drawing/2014/main" id="{DA2A91FE-28EC-493E-B415-B9197226EE8C}"/>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17;p51">
                <a:extLst>
                  <a:ext uri="{FF2B5EF4-FFF2-40B4-BE49-F238E27FC236}">
                    <a16:creationId xmlns:a16="http://schemas.microsoft.com/office/drawing/2014/main" id="{99B683DE-D7E9-460E-B18A-9E700EF65C4E}"/>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18;p51">
                <a:extLst>
                  <a:ext uri="{FF2B5EF4-FFF2-40B4-BE49-F238E27FC236}">
                    <a16:creationId xmlns:a16="http://schemas.microsoft.com/office/drawing/2014/main" id="{DF314D6F-6AE1-4A87-AE2D-22B3C8EE289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19;p51">
                <a:extLst>
                  <a:ext uri="{FF2B5EF4-FFF2-40B4-BE49-F238E27FC236}">
                    <a16:creationId xmlns:a16="http://schemas.microsoft.com/office/drawing/2014/main" id="{66E02E89-E8DD-4E4E-9159-01ADDB1AB0A0}"/>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20;p51">
                <a:extLst>
                  <a:ext uri="{FF2B5EF4-FFF2-40B4-BE49-F238E27FC236}">
                    <a16:creationId xmlns:a16="http://schemas.microsoft.com/office/drawing/2014/main" id="{5EFDE0D5-12C8-46E6-B1C3-E9347073A83F}"/>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21;p51">
                <a:extLst>
                  <a:ext uri="{FF2B5EF4-FFF2-40B4-BE49-F238E27FC236}">
                    <a16:creationId xmlns:a16="http://schemas.microsoft.com/office/drawing/2014/main" id="{7BB711CB-FB37-4A6E-9658-3E1933CBDD28}"/>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22;p51">
                <a:extLst>
                  <a:ext uri="{FF2B5EF4-FFF2-40B4-BE49-F238E27FC236}">
                    <a16:creationId xmlns:a16="http://schemas.microsoft.com/office/drawing/2014/main" id="{EDD460FC-C853-4522-84CA-070DD4FC3A22}"/>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1" name="Google Shape;823;p51">
                <a:extLst>
                  <a:ext uri="{FF2B5EF4-FFF2-40B4-BE49-F238E27FC236}">
                    <a16:creationId xmlns:a16="http://schemas.microsoft.com/office/drawing/2014/main" id="{A0E329AC-6731-42F4-AD2F-3E8563A7339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2" name="Google Shape;824;p51">
                <a:extLst>
                  <a:ext uri="{FF2B5EF4-FFF2-40B4-BE49-F238E27FC236}">
                    <a16:creationId xmlns:a16="http://schemas.microsoft.com/office/drawing/2014/main" id="{CDAC756B-FF97-4BA8-9806-AC4269C6A755}"/>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3" name="Google Shape;825;p51">
                <a:extLst>
                  <a:ext uri="{FF2B5EF4-FFF2-40B4-BE49-F238E27FC236}">
                    <a16:creationId xmlns:a16="http://schemas.microsoft.com/office/drawing/2014/main" id="{F8C5D1C2-8D19-429D-AEA6-7AFFF7BA4D82}"/>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4" name="Google Shape;826;p51">
                <a:extLst>
                  <a:ext uri="{FF2B5EF4-FFF2-40B4-BE49-F238E27FC236}">
                    <a16:creationId xmlns:a16="http://schemas.microsoft.com/office/drawing/2014/main" id="{F5543F50-E6C3-440B-8582-413829C340B5}"/>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5" name="Google Shape;827;p51">
                <a:extLst>
                  <a:ext uri="{FF2B5EF4-FFF2-40B4-BE49-F238E27FC236}">
                    <a16:creationId xmlns:a16="http://schemas.microsoft.com/office/drawing/2014/main" id="{6294A954-515D-4ED2-A7E5-74F1478E4047}"/>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25" name="Group 24">
              <a:extLst>
                <a:ext uri="{FF2B5EF4-FFF2-40B4-BE49-F238E27FC236}">
                  <a16:creationId xmlns:a16="http://schemas.microsoft.com/office/drawing/2014/main" id="{BB7B5181-E26C-4FFC-A1CA-4307CB75EEB2}"/>
                </a:ext>
              </a:extLst>
            </p:cNvPr>
            <p:cNvGrpSpPr/>
            <p:nvPr/>
          </p:nvGrpSpPr>
          <p:grpSpPr>
            <a:xfrm>
              <a:off x="9459173" y="4651735"/>
              <a:ext cx="965465" cy="814701"/>
              <a:chOff x="2122052" y="4430998"/>
              <a:chExt cx="516998" cy="436265"/>
            </a:xfrm>
          </p:grpSpPr>
          <p:sp>
            <p:nvSpPr>
              <p:cNvPr id="26" name="Google Shape;663;p48">
                <a:extLst>
                  <a:ext uri="{FF2B5EF4-FFF2-40B4-BE49-F238E27FC236}">
                    <a16:creationId xmlns:a16="http://schemas.microsoft.com/office/drawing/2014/main" id="{2508E3C7-A32D-4B3D-BF3B-677BEC6BC8D7}"/>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64;p48">
                <a:extLst>
                  <a:ext uri="{FF2B5EF4-FFF2-40B4-BE49-F238E27FC236}">
                    <a16:creationId xmlns:a16="http://schemas.microsoft.com/office/drawing/2014/main" id="{3F103864-F1F7-47A3-81CA-660D0D561363}"/>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65;p48">
                <a:extLst>
                  <a:ext uri="{FF2B5EF4-FFF2-40B4-BE49-F238E27FC236}">
                    <a16:creationId xmlns:a16="http://schemas.microsoft.com/office/drawing/2014/main" id="{DF52A82A-6FB9-4059-B841-18B9C5FC58AB}"/>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66;p48">
                <a:extLst>
                  <a:ext uri="{FF2B5EF4-FFF2-40B4-BE49-F238E27FC236}">
                    <a16:creationId xmlns:a16="http://schemas.microsoft.com/office/drawing/2014/main" id="{A26504E0-EF2E-4819-A70D-D9F011DB71EB}"/>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67;p48">
                <a:extLst>
                  <a:ext uri="{FF2B5EF4-FFF2-40B4-BE49-F238E27FC236}">
                    <a16:creationId xmlns:a16="http://schemas.microsoft.com/office/drawing/2014/main" id="{45319EF4-7E09-4BF2-A8A7-8BA4AC3A87D3}"/>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68;p48">
                <a:extLst>
                  <a:ext uri="{FF2B5EF4-FFF2-40B4-BE49-F238E27FC236}">
                    <a16:creationId xmlns:a16="http://schemas.microsoft.com/office/drawing/2014/main" id="{A84CB7E4-95C0-4923-A977-ABD686C943E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2" name="Google Shape;669;p48">
                <a:extLst>
                  <a:ext uri="{FF2B5EF4-FFF2-40B4-BE49-F238E27FC236}">
                    <a16:creationId xmlns:a16="http://schemas.microsoft.com/office/drawing/2014/main" id="{0B0F9EA5-15ED-4D5E-AD9E-77A97950A3F3}"/>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0;p48">
                <a:extLst>
                  <a:ext uri="{FF2B5EF4-FFF2-40B4-BE49-F238E27FC236}">
                    <a16:creationId xmlns:a16="http://schemas.microsoft.com/office/drawing/2014/main" id="{4DCB540D-0748-4E29-8C2F-5573F0463D1C}"/>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1;p48">
                <a:extLst>
                  <a:ext uri="{FF2B5EF4-FFF2-40B4-BE49-F238E27FC236}">
                    <a16:creationId xmlns:a16="http://schemas.microsoft.com/office/drawing/2014/main" id="{A8F23B6F-E8E1-4A1E-B9E6-D4FD73E962E9}"/>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2;p48">
                <a:extLst>
                  <a:ext uri="{FF2B5EF4-FFF2-40B4-BE49-F238E27FC236}">
                    <a16:creationId xmlns:a16="http://schemas.microsoft.com/office/drawing/2014/main" id="{3EBA7603-67E9-493F-AB15-036A4E6C5CD2}"/>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3;p48">
                <a:extLst>
                  <a:ext uri="{FF2B5EF4-FFF2-40B4-BE49-F238E27FC236}">
                    <a16:creationId xmlns:a16="http://schemas.microsoft.com/office/drawing/2014/main" id="{E92FA4E6-F890-4F7D-89D1-22191A5BE43A}"/>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74;p48">
                <a:extLst>
                  <a:ext uri="{FF2B5EF4-FFF2-40B4-BE49-F238E27FC236}">
                    <a16:creationId xmlns:a16="http://schemas.microsoft.com/office/drawing/2014/main" id="{C0899765-B682-42D4-B159-4C369C5D88D0}"/>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75;p48">
                <a:extLst>
                  <a:ext uri="{FF2B5EF4-FFF2-40B4-BE49-F238E27FC236}">
                    <a16:creationId xmlns:a16="http://schemas.microsoft.com/office/drawing/2014/main" id="{04DB711C-1C7F-4E0E-A420-617952C5C290}"/>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76;p48">
                <a:extLst>
                  <a:ext uri="{FF2B5EF4-FFF2-40B4-BE49-F238E27FC236}">
                    <a16:creationId xmlns:a16="http://schemas.microsoft.com/office/drawing/2014/main" id="{86ADAD31-A2D1-4567-B995-6641E0B3A89A}"/>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77;p48">
                <a:extLst>
                  <a:ext uri="{FF2B5EF4-FFF2-40B4-BE49-F238E27FC236}">
                    <a16:creationId xmlns:a16="http://schemas.microsoft.com/office/drawing/2014/main" id="{47DBC976-BE54-4A44-BDA3-BB5EFFCAE145}"/>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78;p48">
                <a:extLst>
                  <a:ext uri="{FF2B5EF4-FFF2-40B4-BE49-F238E27FC236}">
                    <a16:creationId xmlns:a16="http://schemas.microsoft.com/office/drawing/2014/main" id="{564D87CF-A8BE-4BF1-9A6B-2BB2E4E4332E}"/>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679;p48">
                <a:extLst>
                  <a:ext uri="{FF2B5EF4-FFF2-40B4-BE49-F238E27FC236}">
                    <a16:creationId xmlns:a16="http://schemas.microsoft.com/office/drawing/2014/main" id="{6EEF4051-94A7-4207-B9D5-A66703B59029}"/>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0;p48">
                <a:extLst>
                  <a:ext uri="{FF2B5EF4-FFF2-40B4-BE49-F238E27FC236}">
                    <a16:creationId xmlns:a16="http://schemas.microsoft.com/office/drawing/2014/main" id="{8E262370-CD7F-4A6B-9177-134CC4B4B336}"/>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1;p48">
                <a:extLst>
                  <a:ext uri="{FF2B5EF4-FFF2-40B4-BE49-F238E27FC236}">
                    <a16:creationId xmlns:a16="http://schemas.microsoft.com/office/drawing/2014/main" id="{186F8DC8-B39B-4B1D-8D88-B878D0E32C4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82;p48">
                <a:extLst>
                  <a:ext uri="{FF2B5EF4-FFF2-40B4-BE49-F238E27FC236}">
                    <a16:creationId xmlns:a16="http://schemas.microsoft.com/office/drawing/2014/main" id="{24926A41-D726-4635-BB74-AE492E9F2355}"/>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83;p48">
                <a:extLst>
                  <a:ext uri="{FF2B5EF4-FFF2-40B4-BE49-F238E27FC236}">
                    <a16:creationId xmlns:a16="http://schemas.microsoft.com/office/drawing/2014/main" id="{3718D3BC-37E8-4A1D-8899-D8A8354D02E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7" name="Google Shape;684;p48">
                <a:extLst>
                  <a:ext uri="{FF2B5EF4-FFF2-40B4-BE49-F238E27FC236}">
                    <a16:creationId xmlns:a16="http://schemas.microsoft.com/office/drawing/2014/main" id="{6584A401-B74B-49B9-BBD8-8CA9C7BE9671}"/>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685;p48">
                <a:extLst>
                  <a:ext uri="{FF2B5EF4-FFF2-40B4-BE49-F238E27FC236}">
                    <a16:creationId xmlns:a16="http://schemas.microsoft.com/office/drawing/2014/main" id="{DE101009-77C1-4B3A-8286-4E168D9AF310}"/>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86;p48">
                <a:extLst>
                  <a:ext uri="{FF2B5EF4-FFF2-40B4-BE49-F238E27FC236}">
                    <a16:creationId xmlns:a16="http://schemas.microsoft.com/office/drawing/2014/main" id="{0157FED4-E1FA-4DDD-A196-697810EEB675}"/>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87;p48">
                <a:extLst>
                  <a:ext uri="{FF2B5EF4-FFF2-40B4-BE49-F238E27FC236}">
                    <a16:creationId xmlns:a16="http://schemas.microsoft.com/office/drawing/2014/main" id="{61D4BC71-C880-47C6-87F8-33BF63347ACC}"/>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6" name="Google Shape;12;p2">
            <a:extLst>
              <a:ext uri="{FF2B5EF4-FFF2-40B4-BE49-F238E27FC236}">
                <a16:creationId xmlns:a16="http://schemas.microsoft.com/office/drawing/2014/main" id="{C5A66B12-A514-4BE6-841B-2E3E156AE106}"/>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12;p2">
            <a:extLst>
              <a:ext uri="{FF2B5EF4-FFF2-40B4-BE49-F238E27FC236}">
                <a16:creationId xmlns:a16="http://schemas.microsoft.com/office/drawing/2014/main" id="{B5EC612A-B815-46F9-B9A7-A4602697660B}"/>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16644266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CC39DA0-CD8B-4CC2-9692-4354AE6C71B4}"/>
              </a:ext>
            </a:extLst>
          </p:cNvPr>
          <p:cNvPicPr>
            <a:picLocks noChangeAspect="1"/>
          </p:cNvPicPr>
          <p:nvPr/>
        </p:nvPicPr>
        <p:blipFill>
          <a:blip r:embed="rId3"/>
          <a:stretch>
            <a:fillRect/>
          </a:stretch>
        </p:blipFill>
        <p:spPr>
          <a:xfrm>
            <a:off x="5508639" y="1929000"/>
            <a:ext cx="5304762" cy="3000000"/>
          </a:xfrm>
          <a:prstGeom prst="rect">
            <a:avLst/>
          </a:prstGeom>
        </p:spPr>
      </p:pic>
      <p:pic>
        <p:nvPicPr>
          <p:cNvPr id="8" name="Picture 7">
            <a:extLst>
              <a:ext uri="{FF2B5EF4-FFF2-40B4-BE49-F238E27FC236}">
                <a16:creationId xmlns:a16="http://schemas.microsoft.com/office/drawing/2014/main" id="{F2869548-5143-42CE-AB8C-D661045A7BC8}"/>
              </a:ext>
            </a:extLst>
          </p:cNvPr>
          <p:cNvPicPr>
            <a:picLocks noChangeAspect="1"/>
          </p:cNvPicPr>
          <p:nvPr/>
        </p:nvPicPr>
        <p:blipFill>
          <a:blip r:embed="rId4"/>
          <a:stretch>
            <a:fillRect/>
          </a:stretch>
        </p:blipFill>
        <p:spPr>
          <a:xfrm>
            <a:off x="430530" y="776619"/>
            <a:ext cx="5304762" cy="5304762"/>
          </a:xfrm>
          <a:prstGeom prst="rect">
            <a:avLst/>
          </a:prstGeom>
        </p:spPr>
      </p:pic>
      <p:sp>
        <p:nvSpPr>
          <p:cNvPr id="9" name="Arrow: Left-Right 8">
            <a:extLst>
              <a:ext uri="{FF2B5EF4-FFF2-40B4-BE49-F238E27FC236}">
                <a16:creationId xmlns:a16="http://schemas.microsoft.com/office/drawing/2014/main" id="{F6B2C401-C591-404D-927F-F365186DC16C}"/>
              </a:ext>
            </a:extLst>
          </p:cNvPr>
          <p:cNvSpPr/>
          <p:nvPr/>
        </p:nvSpPr>
        <p:spPr>
          <a:xfrm>
            <a:off x="4762500" y="3248025"/>
            <a:ext cx="641364" cy="361950"/>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1">
            <a:extLst>
              <a:ext uri="{FF2B5EF4-FFF2-40B4-BE49-F238E27FC236}">
                <a16:creationId xmlns:a16="http://schemas.microsoft.com/office/drawing/2014/main" id="{188A9289-D7EA-479E-8591-700CE31904F6}"/>
              </a:ext>
            </a:extLst>
          </p:cNvPr>
          <p:cNvSpPr txBox="1">
            <a:spLocks/>
          </p:cNvSpPr>
          <p:nvPr/>
        </p:nvSpPr>
        <p:spPr>
          <a:xfrm>
            <a:off x="4229244" y="604766"/>
            <a:ext cx="3733512" cy="928759"/>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r>
              <a:rPr lang="en-US" b="1" dirty="0">
                <a:latin typeface="Saira SemiCondensed" panose="00000506000000000000" pitchFamily="2" charset="0"/>
              </a:rPr>
              <a:t>Agile &amp; </a:t>
            </a:r>
            <a:r>
              <a:rPr lang="en-US" b="1" dirty="0" err="1">
                <a:latin typeface="Saira SemiCondensed" panose="00000506000000000000" pitchFamily="2" charset="0"/>
              </a:rPr>
              <a:t>Devops</a:t>
            </a:r>
            <a:r>
              <a:rPr lang="en-US" b="1" dirty="0">
                <a:latin typeface="Saira SemiCondensed" panose="00000506000000000000" pitchFamily="2" charset="0"/>
              </a:rPr>
              <a:t> Converge</a:t>
            </a:r>
          </a:p>
        </p:txBody>
      </p:sp>
      <p:sp>
        <p:nvSpPr>
          <p:cNvPr id="16" name="Google Shape;4980;p84">
            <a:extLst>
              <a:ext uri="{FF2B5EF4-FFF2-40B4-BE49-F238E27FC236}">
                <a16:creationId xmlns:a16="http://schemas.microsoft.com/office/drawing/2014/main" id="{AD74E618-4719-493F-A044-618517851899}"/>
              </a:ext>
            </a:extLst>
          </p:cNvPr>
          <p:cNvSpPr/>
          <p:nvPr/>
        </p:nvSpPr>
        <p:spPr>
          <a:xfrm>
            <a:off x="4781704" y="288822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4982;p84">
            <a:extLst>
              <a:ext uri="{FF2B5EF4-FFF2-40B4-BE49-F238E27FC236}">
                <a16:creationId xmlns:a16="http://schemas.microsoft.com/office/drawing/2014/main" id="{F29F7DC1-BBF5-4FDD-969A-600167DBD08E}"/>
              </a:ext>
            </a:extLst>
          </p:cNvPr>
          <p:cNvSpPr/>
          <p:nvPr/>
        </p:nvSpPr>
        <p:spPr>
          <a:xfrm rot="10800000" flipH="1">
            <a:off x="5837867" y="521059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4983;p84">
            <a:extLst>
              <a:ext uri="{FF2B5EF4-FFF2-40B4-BE49-F238E27FC236}">
                <a16:creationId xmlns:a16="http://schemas.microsoft.com/office/drawing/2014/main" id="{7C2CBA0A-69A0-4361-85AF-3AEB3E5615E0}"/>
              </a:ext>
            </a:extLst>
          </p:cNvPr>
          <p:cNvSpPr/>
          <p:nvPr/>
        </p:nvSpPr>
        <p:spPr>
          <a:xfrm>
            <a:off x="2753571" y="43167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984;p84">
            <a:extLst>
              <a:ext uri="{FF2B5EF4-FFF2-40B4-BE49-F238E27FC236}">
                <a16:creationId xmlns:a16="http://schemas.microsoft.com/office/drawing/2014/main" id="{9F8DA0D3-20E4-43DB-9754-CDF5B46AD627}"/>
              </a:ext>
            </a:extLst>
          </p:cNvPr>
          <p:cNvSpPr/>
          <p:nvPr/>
        </p:nvSpPr>
        <p:spPr>
          <a:xfrm>
            <a:off x="9438429" y="110864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4985;p84">
            <a:extLst>
              <a:ext uri="{FF2B5EF4-FFF2-40B4-BE49-F238E27FC236}">
                <a16:creationId xmlns:a16="http://schemas.microsoft.com/office/drawing/2014/main" id="{DDA1A04B-DBC5-419F-B518-BB13F23FD132}"/>
              </a:ext>
            </a:extLst>
          </p:cNvPr>
          <p:cNvSpPr/>
          <p:nvPr/>
        </p:nvSpPr>
        <p:spPr>
          <a:xfrm>
            <a:off x="6203304" y="382740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986;p84">
            <a:extLst>
              <a:ext uri="{FF2B5EF4-FFF2-40B4-BE49-F238E27FC236}">
                <a16:creationId xmlns:a16="http://schemas.microsoft.com/office/drawing/2014/main" id="{91A934DA-176F-495F-BFEA-FF812E91B234}"/>
              </a:ext>
            </a:extLst>
          </p:cNvPr>
          <p:cNvSpPr/>
          <p:nvPr/>
        </p:nvSpPr>
        <p:spPr>
          <a:xfrm>
            <a:off x="1237299" y="47877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3" name="Google Shape;4987;p84">
            <a:extLst>
              <a:ext uri="{FF2B5EF4-FFF2-40B4-BE49-F238E27FC236}">
                <a16:creationId xmlns:a16="http://schemas.microsoft.com/office/drawing/2014/main" id="{2FD6A861-F6F3-4567-9C3E-B7C328759F9E}"/>
              </a:ext>
            </a:extLst>
          </p:cNvPr>
          <p:cNvGrpSpPr/>
          <p:nvPr/>
        </p:nvGrpSpPr>
        <p:grpSpPr>
          <a:xfrm rot="18007841">
            <a:off x="10557050" y="5529332"/>
            <a:ext cx="161701" cy="641985"/>
            <a:chOff x="7004550" y="3676293"/>
            <a:chExt cx="161700" cy="641982"/>
          </a:xfrm>
        </p:grpSpPr>
        <p:sp>
          <p:nvSpPr>
            <p:cNvPr id="24" name="Google Shape;4988;p84">
              <a:extLst>
                <a:ext uri="{FF2B5EF4-FFF2-40B4-BE49-F238E27FC236}">
                  <a16:creationId xmlns:a16="http://schemas.microsoft.com/office/drawing/2014/main" id="{351C91C1-1FD5-4BD2-B695-895D2D4D6F7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4989;p84">
              <a:extLst>
                <a:ext uri="{FF2B5EF4-FFF2-40B4-BE49-F238E27FC236}">
                  <a16:creationId xmlns:a16="http://schemas.microsoft.com/office/drawing/2014/main" id="{0146F513-A559-4096-887A-ECACFC00D1B1}"/>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4990;p84">
              <a:extLst>
                <a:ext uri="{FF2B5EF4-FFF2-40B4-BE49-F238E27FC236}">
                  <a16:creationId xmlns:a16="http://schemas.microsoft.com/office/drawing/2014/main" id="{C6186286-4030-413B-B0F4-95F76E2623C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4991;p84">
              <a:extLst>
                <a:ext uri="{FF2B5EF4-FFF2-40B4-BE49-F238E27FC236}">
                  <a16:creationId xmlns:a16="http://schemas.microsoft.com/office/drawing/2014/main" id="{76DDFBDC-D4FE-4AD7-BFA5-3FFC5C34C6FA}"/>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8" name="Group 27">
            <a:extLst>
              <a:ext uri="{FF2B5EF4-FFF2-40B4-BE49-F238E27FC236}">
                <a16:creationId xmlns:a16="http://schemas.microsoft.com/office/drawing/2014/main" id="{D6BB60C4-42D3-42C7-BD29-9113B95C8353}"/>
              </a:ext>
            </a:extLst>
          </p:cNvPr>
          <p:cNvGrpSpPr/>
          <p:nvPr/>
        </p:nvGrpSpPr>
        <p:grpSpPr>
          <a:xfrm>
            <a:off x="4044711" y="5210595"/>
            <a:ext cx="1187582" cy="1104265"/>
            <a:chOff x="9379963" y="4497336"/>
            <a:chExt cx="1187582" cy="1104265"/>
          </a:xfrm>
        </p:grpSpPr>
        <p:grpSp>
          <p:nvGrpSpPr>
            <p:cNvPr id="29" name="Google Shape;802;p51">
              <a:extLst>
                <a:ext uri="{FF2B5EF4-FFF2-40B4-BE49-F238E27FC236}">
                  <a16:creationId xmlns:a16="http://schemas.microsoft.com/office/drawing/2014/main" id="{00C2F88E-94CC-4AEA-96C5-BE6F574A64CD}"/>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56" name="Google Shape;803;p51">
                <a:extLst>
                  <a:ext uri="{FF2B5EF4-FFF2-40B4-BE49-F238E27FC236}">
                    <a16:creationId xmlns:a16="http://schemas.microsoft.com/office/drawing/2014/main" id="{7C9B3D53-5B08-4892-8E24-93DF146E3173}"/>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04;p51">
                <a:extLst>
                  <a:ext uri="{FF2B5EF4-FFF2-40B4-BE49-F238E27FC236}">
                    <a16:creationId xmlns:a16="http://schemas.microsoft.com/office/drawing/2014/main" id="{A6D34B75-58D9-4A55-ACBD-67DADB29C905}"/>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05;p51">
                <a:extLst>
                  <a:ext uri="{FF2B5EF4-FFF2-40B4-BE49-F238E27FC236}">
                    <a16:creationId xmlns:a16="http://schemas.microsoft.com/office/drawing/2014/main" id="{2D618D6F-B72D-4FCD-9FFE-54520C457E5D}"/>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06;p51">
                <a:extLst>
                  <a:ext uri="{FF2B5EF4-FFF2-40B4-BE49-F238E27FC236}">
                    <a16:creationId xmlns:a16="http://schemas.microsoft.com/office/drawing/2014/main" id="{E31B1ED5-E2FE-469A-B5AD-CE9BD65E01C7}"/>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07;p51">
                <a:extLst>
                  <a:ext uri="{FF2B5EF4-FFF2-40B4-BE49-F238E27FC236}">
                    <a16:creationId xmlns:a16="http://schemas.microsoft.com/office/drawing/2014/main" id="{AE5105AA-8A58-4E37-9AF1-98F00333D6F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08;p51">
                <a:extLst>
                  <a:ext uri="{FF2B5EF4-FFF2-40B4-BE49-F238E27FC236}">
                    <a16:creationId xmlns:a16="http://schemas.microsoft.com/office/drawing/2014/main" id="{044402FE-381B-4C12-827B-DB3E2C951131}"/>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09;p51">
                <a:extLst>
                  <a:ext uri="{FF2B5EF4-FFF2-40B4-BE49-F238E27FC236}">
                    <a16:creationId xmlns:a16="http://schemas.microsoft.com/office/drawing/2014/main" id="{D8CCDF09-585B-4C09-9DCE-A115F49E4792}"/>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10;p51">
                <a:extLst>
                  <a:ext uri="{FF2B5EF4-FFF2-40B4-BE49-F238E27FC236}">
                    <a16:creationId xmlns:a16="http://schemas.microsoft.com/office/drawing/2014/main" id="{66E76F5E-344A-424A-8221-C18BC20A95D3}"/>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11;p51">
                <a:extLst>
                  <a:ext uri="{FF2B5EF4-FFF2-40B4-BE49-F238E27FC236}">
                    <a16:creationId xmlns:a16="http://schemas.microsoft.com/office/drawing/2014/main" id="{C1BAA892-948E-4CF6-BEE6-35281C29B45F}"/>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12;p51">
                <a:extLst>
                  <a:ext uri="{FF2B5EF4-FFF2-40B4-BE49-F238E27FC236}">
                    <a16:creationId xmlns:a16="http://schemas.microsoft.com/office/drawing/2014/main" id="{6DBED306-B111-4439-A33B-8F47D5ECD661}"/>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13;p51">
                <a:extLst>
                  <a:ext uri="{FF2B5EF4-FFF2-40B4-BE49-F238E27FC236}">
                    <a16:creationId xmlns:a16="http://schemas.microsoft.com/office/drawing/2014/main" id="{FD0E437C-31F8-4575-A9C2-368B494C90E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14;p51">
                <a:extLst>
                  <a:ext uri="{FF2B5EF4-FFF2-40B4-BE49-F238E27FC236}">
                    <a16:creationId xmlns:a16="http://schemas.microsoft.com/office/drawing/2014/main" id="{3ECB6710-70EB-4083-A476-43B7B007BA95}"/>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15;p51">
                <a:extLst>
                  <a:ext uri="{FF2B5EF4-FFF2-40B4-BE49-F238E27FC236}">
                    <a16:creationId xmlns:a16="http://schemas.microsoft.com/office/drawing/2014/main" id="{C8FB387C-C5C3-4714-9122-86EB3EE09C3B}"/>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16;p51">
                <a:extLst>
                  <a:ext uri="{FF2B5EF4-FFF2-40B4-BE49-F238E27FC236}">
                    <a16:creationId xmlns:a16="http://schemas.microsoft.com/office/drawing/2014/main" id="{28C143EA-C3B9-4A04-8F21-8E9047D04B5F}"/>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17;p51">
                <a:extLst>
                  <a:ext uri="{FF2B5EF4-FFF2-40B4-BE49-F238E27FC236}">
                    <a16:creationId xmlns:a16="http://schemas.microsoft.com/office/drawing/2014/main" id="{A673A90A-F6F6-48AE-8378-8876D3F41E2D}"/>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1" name="Google Shape;818;p51">
                <a:extLst>
                  <a:ext uri="{FF2B5EF4-FFF2-40B4-BE49-F238E27FC236}">
                    <a16:creationId xmlns:a16="http://schemas.microsoft.com/office/drawing/2014/main" id="{8C9FBCDE-0840-4E0C-A853-96D41F6E19A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2" name="Google Shape;819;p51">
                <a:extLst>
                  <a:ext uri="{FF2B5EF4-FFF2-40B4-BE49-F238E27FC236}">
                    <a16:creationId xmlns:a16="http://schemas.microsoft.com/office/drawing/2014/main" id="{F2DC324D-200C-4327-A639-3253180AC7B7}"/>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3" name="Google Shape;820;p51">
                <a:extLst>
                  <a:ext uri="{FF2B5EF4-FFF2-40B4-BE49-F238E27FC236}">
                    <a16:creationId xmlns:a16="http://schemas.microsoft.com/office/drawing/2014/main" id="{ACB7A4B5-01DD-42FB-9E33-894644438732}"/>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4" name="Google Shape;821;p51">
                <a:extLst>
                  <a:ext uri="{FF2B5EF4-FFF2-40B4-BE49-F238E27FC236}">
                    <a16:creationId xmlns:a16="http://schemas.microsoft.com/office/drawing/2014/main" id="{B9EEA87F-C90C-4DEF-B1D2-DF7F894E3238}"/>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5" name="Google Shape;822;p51">
                <a:extLst>
                  <a:ext uri="{FF2B5EF4-FFF2-40B4-BE49-F238E27FC236}">
                    <a16:creationId xmlns:a16="http://schemas.microsoft.com/office/drawing/2014/main" id="{B33F8DC0-3026-46E0-87CC-2ED910004A76}"/>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6" name="Google Shape;823;p51">
                <a:extLst>
                  <a:ext uri="{FF2B5EF4-FFF2-40B4-BE49-F238E27FC236}">
                    <a16:creationId xmlns:a16="http://schemas.microsoft.com/office/drawing/2014/main" id="{31A5987E-B983-4D20-A39E-3492DB70A86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7" name="Google Shape;824;p51">
                <a:extLst>
                  <a:ext uri="{FF2B5EF4-FFF2-40B4-BE49-F238E27FC236}">
                    <a16:creationId xmlns:a16="http://schemas.microsoft.com/office/drawing/2014/main" id="{11E2FC99-0574-4800-B62C-DD474487B142}"/>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8" name="Google Shape;825;p51">
                <a:extLst>
                  <a:ext uri="{FF2B5EF4-FFF2-40B4-BE49-F238E27FC236}">
                    <a16:creationId xmlns:a16="http://schemas.microsoft.com/office/drawing/2014/main" id="{42C2A55A-F702-4579-8920-019302616837}"/>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9" name="Google Shape;826;p51">
                <a:extLst>
                  <a:ext uri="{FF2B5EF4-FFF2-40B4-BE49-F238E27FC236}">
                    <a16:creationId xmlns:a16="http://schemas.microsoft.com/office/drawing/2014/main" id="{12518788-3225-4429-9223-F2EF957E9C23}"/>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80" name="Google Shape;827;p51">
                <a:extLst>
                  <a:ext uri="{FF2B5EF4-FFF2-40B4-BE49-F238E27FC236}">
                    <a16:creationId xmlns:a16="http://schemas.microsoft.com/office/drawing/2014/main" id="{8421917F-907A-4198-8FCB-305E766B957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30" name="Group 29">
              <a:extLst>
                <a:ext uri="{FF2B5EF4-FFF2-40B4-BE49-F238E27FC236}">
                  <a16:creationId xmlns:a16="http://schemas.microsoft.com/office/drawing/2014/main" id="{41A8550D-E020-4D55-ACDB-76E78A82CCF3}"/>
                </a:ext>
              </a:extLst>
            </p:cNvPr>
            <p:cNvGrpSpPr/>
            <p:nvPr/>
          </p:nvGrpSpPr>
          <p:grpSpPr>
            <a:xfrm>
              <a:off x="9459173" y="4651735"/>
              <a:ext cx="965465" cy="814701"/>
              <a:chOff x="2122052" y="4430998"/>
              <a:chExt cx="516998" cy="436265"/>
            </a:xfrm>
          </p:grpSpPr>
          <p:sp>
            <p:nvSpPr>
              <p:cNvPr id="31" name="Google Shape;663;p48">
                <a:extLst>
                  <a:ext uri="{FF2B5EF4-FFF2-40B4-BE49-F238E27FC236}">
                    <a16:creationId xmlns:a16="http://schemas.microsoft.com/office/drawing/2014/main" id="{E7853989-9BF0-4BBF-BA27-E68B2C624961}"/>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64;p48">
                <a:extLst>
                  <a:ext uri="{FF2B5EF4-FFF2-40B4-BE49-F238E27FC236}">
                    <a16:creationId xmlns:a16="http://schemas.microsoft.com/office/drawing/2014/main" id="{AC531536-0D29-412C-8A1C-2931C7C8AFC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65;p48">
                <a:extLst>
                  <a:ext uri="{FF2B5EF4-FFF2-40B4-BE49-F238E27FC236}">
                    <a16:creationId xmlns:a16="http://schemas.microsoft.com/office/drawing/2014/main" id="{44A50919-E09C-430B-928D-3EBA80815FAE}"/>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66;p48">
                <a:extLst>
                  <a:ext uri="{FF2B5EF4-FFF2-40B4-BE49-F238E27FC236}">
                    <a16:creationId xmlns:a16="http://schemas.microsoft.com/office/drawing/2014/main" id="{22B9956F-865D-4CB9-822F-14403B44B4A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67;p48">
                <a:extLst>
                  <a:ext uri="{FF2B5EF4-FFF2-40B4-BE49-F238E27FC236}">
                    <a16:creationId xmlns:a16="http://schemas.microsoft.com/office/drawing/2014/main" id="{C2A7BE82-D3BC-4D2F-8330-E38188AAB484}"/>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68;p48">
                <a:extLst>
                  <a:ext uri="{FF2B5EF4-FFF2-40B4-BE49-F238E27FC236}">
                    <a16:creationId xmlns:a16="http://schemas.microsoft.com/office/drawing/2014/main" id="{A7661E8C-57ED-4811-B30C-D4540ECCF11E}"/>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7" name="Google Shape;669;p48">
                <a:extLst>
                  <a:ext uri="{FF2B5EF4-FFF2-40B4-BE49-F238E27FC236}">
                    <a16:creationId xmlns:a16="http://schemas.microsoft.com/office/drawing/2014/main" id="{B60D9556-6B67-4B44-BF15-F39FF68A444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70;p48">
                <a:extLst>
                  <a:ext uri="{FF2B5EF4-FFF2-40B4-BE49-F238E27FC236}">
                    <a16:creationId xmlns:a16="http://schemas.microsoft.com/office/drawing/2014/main" id="{7ACDF1F9-D327-4F8C-91BA-AD9D5E7C903B}"/>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71;p48">
                <a:extLst>
                  <a:ext uri="{FF2B5EF4-FFF2-40B4-BE49-F238E27FC236}">
                    <a16:creationId xmlns:a16="http://schemas.microsoft.com/office/drawing/2014/main" id="{747EED64-8756-4108-A2C0-A1291C19CBB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72;p48">
                <a:extLst>
                  <a:ext uri="{FF2B5EF4-FFF2-40B4-BE49-F238E27FC236}">
                    <a16:creationId xmlns:a16="http://schemas.microsoft.com/office/drawing/2014/main" id="{8AD31057-A9D0-4A76-B2F8-7B334A28D0E3}"/>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73;p48">
                <a:extLst>
                  <a:ext uri="{FF2B5EF4-FFF2-40B4-BE49-F238E27FC236}">
                    <a16:creationId xmlns:a16="http://schemas.microsoft.com/office/drawing/2014/main" id="{17D073C7-3C38-4F36-BD82-D2BC9E234566}"/>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674;p48">
                <a:extLst>
                  <a:ext uri="{FF2B5EF4-FFF2-40B4-BE49-F238E27FC236}">
                    <a16:creationId xmlns:a16="http://schemas.microsoft.com/office/drawing/2014/main" id="{E5DE3F40-0F33-4E4C-9E9F-638AA382BD60}"/>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75;p48">
                <a:extLst>
                  <a:ext uri="{FF2B5EF4-FFF2-40B4-BE49-F238E27FC236}">
                    <a16:creationId xmlns:a16="http://schemas.microsoft.com/office/drawing/2014/main" id="{B01A65D6-86BE-4ED1-9F07-19F218E48CB7}"/>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76;p48">
                <a:extLst>
                  <a:ext uri="{FF2B5EF4-FFF2-40B4-BE49-F238E27FC236}">
                    <a16:creationId xmlns:a16="http://schemas.microsoft.com/office/drawing/2014/main" id="{09736EE0-3D23-4B80-AF26-CF999DE6ED71}"/>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77;p48">
                <a:extLst>
                  <a:ext uri="{FF2B5EF4-FFF2-40B4-BE49-F238E27FC236}">
                    <a16:creationId xmlns:a16="http://schemas.microsoft.com/office/drawing/2014/main" id="{C5FC0603-F84C-43CB-9B4D-C30B6E7CDBD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78;p48">
                <a:extLst>
                  <a:ext uri="{FF2B5EF4-FFF2-40B4-BE49-F238E27FC236}">
                    <a16:creationId xmlns:a16="http://schemas.microsoft.com/office/drawing/2014/main" id="{1F17FF9D-1B86-4657-A44B-D4E43C55D94C}"/>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679;p48">
                <a:extLst>
                  <a:ext uri="{FF2B5EF4-FFF2-40B4-BE49-F238E27FC236}">
                    <a16:creationId xmlns:a16="http://schemas.microsoft.com/office/drawing/2014/main" id="{F053D177-33FB-485F-B7C6-9653CAD6184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680;p48">
                <a:extLst>
                  <a:ext uri="{FF2B5EF4-FFF2-40B4-BE49-F238E27FC236}">
                    <a16:creationId xmlns:a16="http://schemas.microsoft.com/office/drawing/2014/main" id="{27A96BF9-1422-4667-B09B-96CE191B06B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81;p48">
                <a:extLst>
                  <a:ext uri="{FF2B5EF4-FFF2-40B4-BE49-F238E27FC236}">
                    <a16:creationId xmlns:a16="http://schemas.microsoft.com/office/drawing/2014/main" id="{46E3748E-C0BC-459A-AC3A-5A2E24ADD44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82;p48">
                <a:extLst>
                  <a:ext uri="{FF2B5EF4-FFF2-40B4-BE49-F238E27FC236}">
                    <a16:creationId xmlns:a16="http://schemas.microsoft.com/office/drawing/2014/main" id="{3FFA107E-F52F-4E2A-BFAE-DFF0423A015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683;p48">
                <a:extLst>
                  <a:ext uri="{FF2B5EF4-FFF2-40B4-BE49-F238E27FC236}">
                    <a16:creationId xmlns:a16="http://schemas.microsoft.com/office/drawing/2014/main" id="{923CC7B2-1F29-4644-9BBB-EB69D697F995}"/>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2" name="Google Shape;684;p48">
                <a:extLst>
                  <a:ext uri="{FF2B5EF4-FFF2-40B4-BE49-F238E27FC236}">
                    <a16:creationId xmlns:a16="http://schemas.microsoft.com/office/drawing/2014/main" id="{B940DEA5-28BB-4884-BBCF-EB7F89C85B38}"/>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685;p48">
                <a:extLst>
                  <a:ext uri="{FF2B5EF4-FFF2-40B4-BE49-F238E27FC236}">
                    <a16:creationId xmlns:a16="http://schemas.microsoft.com/office/drawing/2014/main" id="{15D37EB4-4ED4-4761-BFD6-C8E1CAEA62FB}"/>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686;p48">
                <a:extLst>
                  <a:ext uri="{FF2B5EF4-FFF2-40B4-BE49-F238E27FC236}">
                    <a16:creationId xmlns:a16="http://schemas.microsoft.com/office/drawing/2014/main" id="{BA692EC1-C5DD-4009-B3A7-C0E6FC9F4912}"/>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687;p48">
                <a:extLst>
                  <a:ext uri="{FF2B5EF4-FFF2-40B4-BE49-F238E27FC236}">
                    <a16:creationId xmlns:a16="http://schemas.microsoft.com/office/drawing/2014/main" id="{FCB38CE7-B231-4D8A-9B1C-C121B1E1F12E}"/>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10" name="Rectangle 9">
            <a:extLst>
              <a:ext uri="{FF2B5EF4-FFF2-40B4-BE49-F238E27FC236}">
                <a16:creationId xmlns:a16="http://schemas.microsoft.com/office/drawing/2014/main" id="{0DC8868A-6B07-4126-BF8E-7E05BF32F4E5}"/>
              </a:ext>
            </a:extLst>
          </p:cNvPr>
          <p:cNvSpPr/>
          <p:nvPr/>
        </p:nvSpPr>
        <p:spPr>
          <a:xfrm>
            <a:off x="5508639" y="5247986"/>
            <a:ext cx="5979522" cy="461665"/>
          </a:xfrm>
          <a:prstGeom prst="rect">
            <a:avLst/>
          </a:prstGeom>
          <a:noFill/>
        </p:spPr>
        <p:txBody>
          <a:bodyPr wrap="none" lIns="91440" tIns="45720" rIns="91440" bIns="45720">
            <a:spAutoFit/>
          </a:bodyPr>
          <a:lstStyle/>
          <a:p>
            <a:pPr algn="ctr"/>
            <a:r>
              <a:rPr lang="en-US" sz="2400" b="1" dirty="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latin typeface="Sora" pitchFamily="2" charset="0"/>
                <a:cs typeface="Sora" pitchFamily="2" charset="0"/>
              </a:rPr>
              <a:t>Common Standards &amp; Best Practices</a:t>
            </a:r>
          </a:p>
        </p:txBody>
      </p:sp>
      <p:sp>
        <p:nvSpPr>
          <p:cNvPr id="83" name="Google Shape;12;p2">
            <a:extLst>
              <a:ext uri="{FF2B5EF4-FFF2-40B4-BE49-F238E27FC236}">
                <a16:creationId xmlns:a16="http://schemas.microsoft.com/office/drawing/2014/main" id="{96DB5083-23F9-4B24-937B-8C571ACA74A0}"/>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2;p2">
            <a:extLst>
              <a:ext uri="{FF2B5EF4-FFF2-40B4-BE49-F238E27FC236}">
                <a16:creationId xmlns:a16="http://schemas.microsoft.com/office/drawing/2014/main" id="{EC4D2283-830C-49CC-8E45-D7CB514F4178}"/>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88717165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188A9289-D7EA-479E-8591-700CE31904F6}"/>
              </a:ext>
            </a:extLst>
          </p:cNvPr>
          <p:cNvSpPr txBox="1">
            <a:spLocks/>
          </p:cNvSpPr>
          <p:nvPr/>
        </p:nvSpPr>
        <p:spPr>
          <a:xfrm>
            <a:off x="4229244" y="604766"/>
            <a:ext cx="3733512" cy="928759"/>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r>
              <a:rPr lang="en-US" b="1" dirty="0">
                <a:latin typeface="Arial" panose="020B0604020202020204" pitchFamily="34" charset="0"/>
                <a:cs typeface="Arial" panose="020B0604020202020204" pitchFamily="34" charset="0"/>
              </a:rPr>
              <a:t>BIBLIOGRAPHY</a:t>
            </a:r>
          </a:p>
        </p:txBody>
      </p:sp>
      <p:sp>
        <p:nvSpPr>
          <p:cNvPr id="18" name="Google Shape;4982;p84">
            <a:extLst>
              <a:ext uri="{FF2B5EF4-FFF2-40B4-BE49-F238E27FC236}">
                <a16:creationId xmlns:a16="http://schemas.microsoft.com/office/drawing/2014/main" id="{F29F7DC1-BBF5-4FDD-969A-600167DBD08E}"/>
              </a:ext>
            </a:extLst>
          </p:cNvPr>
          <p:cNvSpPr/>
          <p:nvPr/>
        </p:nvSpPr>
        <p:spPr>
          <a:xfrm rot="10800000" flipH="1">
            <a:off x="6147554" y="503593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4983;p84">
            <a:extLst>
              <a:ext uri="{FF2B5EF4-FFF2-40B4-BE49-F238E27FC236}">
                <a16:creationId xmlns:a16="http://schemas.microsoft.com/office/drawing/2014/main" id="{7C2CBA0A-69A0-4361-85AF-3AEB3E5615E0}"/>
              </a:ext>
            </a:extLst>
          </p:cNvPr>
          <p:cNvSpPr/>
          <p:nvPr/>
        </p:nvSpPr>
        <p:spPr>
          <a:xfrm>
            <a:off x="2753571" y="43167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984;p84">
            <a:extLst>
              <a:ext uri="{FF2B5EF4-FFF2-40B4-BE49-F238E27FC236}">
                <a16:creationId xmlns:a16="http://schemas.microsoft.com/office/drawing/2014/main" id="{9F8DA0D3-20E4-43DB-9754-CDF5B46AD627}"/>
              </a:ext>
            </a:extLst>
          </p:cNvPr>
          <p:cNvSpPr/>
          <p:nvPr/>
        </p:nvSpPr>
        <p:spPr>
          <a:xfrm>
            <a:off x="9438429" y="110864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986;p84">
            <a:extLst>
              <a:ext uri="{FF2B5EF4-FFF2-40B4-BE49-F238E27FC236}">
                <a16:creationId xmlns:a16="http://schemas.microsoft.com/office/drawing/2014/main" id="{91A934DA-176F-495F-BFEA-FF812E91B234}"/>
              </a:ext>
            </a:extLst>
          </p:cNvPr>
          <p:cNvSpPr/>
          <p:nvPr/>
        </p:nvSpPr>
        <p:spPr>
          <a:xfrm>
            <a:off x="1062638" y="473007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12;p2">
            <a:extLst>
              <a:ext uri="{FF2B5EF4-FFF2-40B4-BE49-F238E27FC236}">
                <a16:creationId xmlns:a16="http://schemas.microsoft.com/office/drawing/2014/main" id="{96DB5083-23F9-4B24-937B-8C571ACA74A0}"/>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2;p2">
            <a:extLst>
              <a:ext uri="{FF2B5EF4-FFF2-40B4-BE49-F238E27FC236}">
                <a16:creationId xmlns:a16="http://schemas.microsoft.com/office/drawing/2014/main" id="{EC4D2283-830C-49CC-8E45-D7CB514F4178}"/>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TextBox 80">
            <a:extLst>
              <a:ext uri="{FF2B5EF4-FFF2-40B4-BE49-F238E27FC236}">
                <a16:creationId xmlns:a16="http://schemas.microsoft.com/office/drawing/2014/main" id="{DD203A8C-DF2D-4766-BD0A-1AF023DEFDC4}"/>
              </a:ext>
            </a:extLst>
          </p:cNvPr>
          <p:cNvSpPr txBox="1"/>
          <p:nvPr/>
        </p:nvSpPr>
        <p:spPr>
          <a:xfrm>
            <a:off x="822774" y="1108645"/>
            <a:ext cx="11003653" cy="5852884"/>
          </a:xfrm>
          <a:prstGeom prst="rect">
            <a:avLst/>
          </a:prstGeom>
          <a:noFill/>
        </p:spPr>
        <p:txBody>
          <a:bodyPr wrap="square">
            <a:spAutoFit/>
          </a:bodyPr>
          <a:lstStyle/>
          <a:p>
            <a:pPr marL="457200" marR="0" indent="-457200" algn="l">
              <a:lnSpc>
                <a:spcPct val="150000"/>
              </a:lnSpc>
              <a:spcBef>
                <a:spcPts val="0"/>
              </a:spcBef>
              <a:spcAft>
                <a:spcPts val="800"/>
              </a:spcAft>
            </a:pPr>
            <a:r>
              <a:rPr lang="en-US" dirty="0">
                <a:effectLst/>
                <a:latin typeface="Arial" panose="020B0604020202020204" pitchFamily="34" charset="0"/>
                <a:ea typeface="Calibri" panose="020F0502020204030204" pitchFamily="34" charset="0"/>
                <a:cs typeface="Times New Roman" panose="02020603050405020304" pitchFamily="18" charset="0"/>
              </a:rPr>
              <a:t>docs.unrealengine.com, n.d. </a:t>
            </a:r>
            <a:r>
              <a:rPr lang="en-US" i="1" dirty="0">
                <a:effectLst/>
                <a:latin typeface="Arial" panose="020B0604020202020204" pitchFamily="34" charset="0"/>
                <a:ea typeface="Calibri" panose="020F0502020204030204" pitchFamily="34" charset="0"/>
                <a:cs typeface="Times New Roman" panose="02020603050405020304" pitchFamily="18" charset="0"/>
              </a:rPr>
              <a:t>Multiplayer Programming Quick Start. </a:t>
            </a:r>
            <a:r>
              <a:rPr lang="en-US" dirty="0">
                <a:effectLst/>
                <a:latin typeface="Arial" panose="020B0604020202020204" pitchFamily="34" charset="0"/>
                <a:ea typeface="Calibri" panose="020F0502020204030204" pitchFamily="34" charset="0"/>
                <a:cs typeface="Times New Roman" panose="02020603050405020304" pitchFamily="18" charset="0"/>
              </a:rPr>
              <a:t>[Online] </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vailable at: </a:t>
            </a:r>
            <a:r>
              <a:rPr lang="en-US" u="sng" dirty="0">
                <a:effectLst/>
                <a:latin typeface="Arial" panose="020B0604020202020204" pitchFamily="34" charset="0"/>
                <a:ea typeface="Calibri" panose="020F0502020204030204" pitchFamily="34" charset="0"/>
                <a:cs typeface="Times New Roman" panose="02020603050405020304" pitchFamily="18" charset="0"/>
              </a:rPr>
              <a:t>https://docs.unrealengine.com/4.27/en-US/InteractiveExperiences/Networking/QuickStart/</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ccessed 01 April 2022].</a:t>
            </a:r>
          </a:p>
          <a:p>
            <a:pPr marL="457200" marR="0" indent="-457200" algn="l">
              <a:lnSpc>
                <a:spcPct val="150000"/>
              </a:lnSpc>
              <a:spcBef>
                <a:spcPts val="0"/>
              </a:spcBef>
              <a:spcAft>
                <a:spcPts val="800"/>
              </a:spcAft>
            </a:pPr>
            <a:r>
              <a:rPr lang="en-US" dirty="0">
                <a:effectLst/>
                <a:latin typeface="Arial" panose="020B0604020202020204" pitchFamily="34" charset="0"/>
                <a:ea typeface="Calibri" panose="020F0502020204030204" pitchFamily="34" charset="0"/>
                <a:cs typeface="Times New Roman" panose="02020603050405020304" pitchFamily="18" charset="0"/>
              </a:rPr>
              <a:t>docs.unrealengine.com, n.d. </a:t>
            </a:r>
            <a:r>
              <a:rPr lang="en-US" i="1" dirty="0">
                <a:effectLst/>
                <a:latin typeface="Arial" panose="020B0604020202020204" pitchFamily="34" charset="0"/>
                <a:ea typeface="Calibri" panose="020F0502020204030204" pitchFamily="34" charset="0"/>
                <a:cs typeface="Times New Roman" panose="02020603050405020304" pitchFamily="18" charset="0"/>
              </a:rPr>
              <a:t>Nanite Virtualized Geometry. </a:t>
            </a:r>
            <a:r>
              <a:rPr lang="en-US" dirty="0">
                <a:effectLst/>
                <a:latin typeface="Arial" panose="020B0604020202020204" pitchFamily="34" charset="0"/>
                <a:ea typeface="Calibri" panose="020F0502020204030204" pitchFamily="34" charset="0"/>
                <a:cs typeface="Times New Roman" panose="02020603050405020304" pitchFamily="18" charset="0"/>
              </a:rPr>
              <a:t>[Online] </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vailable at: </a:t>
            </a:r>
            <a:r>
              <a:rPr lang="en-US" u="sng" dirty="0">
                <a:effectLst/>
                <a:latin typeface="Arial" panose="020B0604020202020204" pitchFamily="34" charset="0"/>
                <a:ea typeface="Calibri" panose="020F0502020204030204" pitchFamily="34" charset="0"/>
                <a:cs typeface="Times New Roman" panose="02020603050405020304" pitchFamily="18" charset="0"/>
              </a:rPr>
              <a:t>https://docs.unrealengine.com/5.0/en-US/RenderingFeatures/Nanite/</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ccessed 01 April 2022].</a:t>
            </a:r>
          </a:p>
          <a:p>
            <a:pPr marL="457200" indent="-457200">
              <a:lnSpc>
                <a:spcPct val="150000"/>
              </a:lnSpc>
              <a:spcAft>
                <a:spcPts val="800"/>
              </a:spcAft>
            </a:pPr>
            <a:r>
              <a:rPr lang="en-US" dirty="0">
                <a:effectLst/>
                <a:latin typeface="Arial" panose="020B0604020202020204" pitchFamily="34" charset="0"/>
                <a:ea typeface="Calibri" panose="020F0502020204030204" pitchFamily="34" charset="0"/>
                <a:cs typeface="Times New Roman" panose="02020603050405020304" pitchFamily="18" charset="0"/>
              </a:rPr>
              <a:t>Wikipedia, C., 2019. </a:t>
            </a:r>
            <a:r>
              <a:rPr lang="en-US" i="1" dirty="0">
                <a:effectLst/>
                <a:latin typeface="Arial" panose="020B0604020202020204" pitchFamily="34" charset="0"/>
                <a:ea typeface="Calibri" panose="020F0502020204030204" pitchFamily="34" charset="0"/>
                <a:cs typeface="Times New Roman" panose="02020603050405020304" pitchFamily="18" charset="0"/>
              </a:rPr>
              <a:t>Blockchain. </a:t>
            </a:r>
            <a:r>
              <a:rPr lang="en-US" dirty="0">
                <a:effectLst/>
                <a:latin typeface="Arial" panose="020B0604020202020204" pitchFamily="34" charset="0"/>
                <a:ea typeface="Calibri" panose="020F0502020204030204" pitchFamily="34" charset="0"/>
                <a:cs typeface="Times New Roman" panose="02020603050405020304" pitchFamily="18" charset="0"/>
              </a:rPr>
              <a:t>[Online] </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vailable at: </a:t>
            </a:r>
            <a:r>
              <a:rPr lang="en-US" u="sng" dirty="0">
                <a:effectLst/>
                <a:latin typeface="Arial" panose="020B0604020202020204" pitchFamily="34" charset="0"/>
                <a:ea typeface="Calibri" panose="020F0502020204030204" pitchFamily="34" charset="0"/>
                <a:cs typeface="Times New Roman" panose="02020603050405020304" pitchFamily="18" charset="0"/>
              </a:rPr>
              <a:t>https://en.wikipedia.org/wiki/Blockchain</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ccessed 01 April 2022].</a:t>
            </a:r>
          </a:p>
          <a:p>
            <a:pPr marL="457200" indent="-457200">
              <a:lnSpc>
                <a:spcPct val="150000"/>
              </a:lnSpc>
              <a:spcAft>
                <a:spcPts val="800"/>
              </a:spcAft>
            </a:pPr>
            <a:r>
              <a:rPr lang="en-US" dirty="0">
                <a:effectLst/>
                <a:latin typeface="Arial" panose="020B0604020202020204" pitchFamily="34" charset="0"/>
                <a:ea typeface="Calibri" panose="020F0502020204030204" pitchFamily="34" charset="0"/>
                <a:cs typeface="Times New Roman" panose="02020603050405020304" pitchFamily="18" charset="0"/>
              </a:rPr>
              <a:t>Wikipedia, C., 2019. </a:t>
            </a:r>
            <a:r>
              <a:rPr lang="en-US" i="1" dirty="0">
                <a:effectLst/>
                <a:latin typeface="Arial" panose="020B0604020202020204" pitchFamily="34" charset="0"/>
                <a:ea typeface="Calibri" panose="020F0502020204030204" pitchFamily="34" charset="0"/>
                <a:cs typeface="Times New Roman" panose="02020603050405020304" pitchFamily="18" charset="0"/>
              </a:rPr>
              <a:t>Computer graphics. </a:t>
            </a:r>
            <a:r>
              <a:rPr lang="en-US" dirty="0">
                <a:effectLst/>
                <a:latin typeface="Arial" panose="020B0604020202020204" pitchFamily="34" charset="0"/>
                <a:ea typeface="Calibri" panose="020F0502020204030204" pitchFamily="34" charset="0"/>
                <a:cs typeface="Times New Roman" panose="02020603050405020304" pitchFamily="18" charset="0"/>
              </a:rPr>
              <a:t>[Online] </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vailable at: </a:t>
            </a:r>
            <a:r>
              <a:rPr lang="en-US" u="sng" dirty="0">
                <a:effectLst/>
                <a:latin typeface="Arial" panose="020B0604020202020204" pitchFamily="34" charset="0"/>
                <a:ea typeface="Calibri" panose="020F0502020204030204" pitchFamily="34" charset="0"/>
                <a:cs typeface="Times New Roman" panose="02020603050405020304" pitchFamily="18" charset="0"/>
              </a:rPr>
              <a:t>https://en.wikipedia.org/wiki/Computer_graphics</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ccessed 01 April 2022].</a:t>
            </a:r>
          </a:p>
          <a:p>
            <a:pPr marL="457200" marR="0" indent="-457200" algn="l">
              <a:lnSpc>
                <a:spcPct val="150000"/>
              </a:lnSpc>
              <a:spcBef>
                <a:spcPts val="0"/>
              </a:spcBef>
              <a:spcAft>
                <a:spcPts val="800"/>
              </a:spcAft>
            </a:pP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49027046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12" name="Google Shape;1713;p63">
            <a:extLst>
              <a:ext uri="{FF2B5EF4-FFF2-40B4-BE49-F238E27FC236}">
                <a16:creationId xmlns:a16="http://schemas.microsoft.com/office/drawing/2014/main" id="{998B47EF-D64B-45BE-AEA3-28182B4EB640}"/>
              </a:ext>
            </a:extLst>
          </p:cNvPr>
          <p:cNvSpPr txBox="1">
            <a:spLocks/>
          </p:cNvSpPr>
          <p:nvPr/>
        </p:nvSpPr>
        <p:spPr>
          <a:xfrm>
            <a:off x="1316735" y="94538"/>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Sneak Peek</a:t>
            </a:r>
          </a:p>
        </p:txBody>
      </p:sp>
      <p:pic>
        <p:nvPicPr>
          <p:cNvPr id="13" name="Picture 12">
            <a:extLst>
              <a:ext uri="{FF2B5EF4-FFF2-40B4-BE49-F238E27FC236}">
                <a16:creationId xmlns:a16="http://schemas.microsoft.com/office/drawing/2014/main" id="{62057ABF-91F5-4C63-8195-3AC8CB625D8B}"/>
              </a:ext>
            </a:extLst>
          </p:cNvPr>
          <p:cNvPicPr>
            <a:picLocks noChangeAspect="1"/>
          </p:cNvPicPr>
          <p:nvPr/>
        </p:nvPicPr>
        <p:blipFill>
          <a:blip r:embed="rId4"/>
          <a:stretch>
            <a:fillRect/>
          </a:stretch>
        </p:blipFill>
        <p:spPr>
          <a:xfrm>
            <a:off x="4222026" y="717616"/>
            <a:ext cx="1827365" cy="1027893"/>
          </a:xfrm>
          <a:prstGeom prst="rect">
            <a:avLst/>
          </a:prstGeom>
        </p:spPr>
      </p:pic>
      <p:sp>
        <p:nvSpPr>
          <p:cNvPr id="15" name="Rectangle 14">
            <a:extLst>
              <a:ext uri="{FF2B5EF4-FFF2-40B4-BE49-F238E27FC236}">
                <a16:creationId xmlns:a16="http://schemas.microsoft.com/office/drawing/2014/main" id="{C1B965E6-0804-44F8-820E-56A12F862D71}"/>
              </a:ext>
            </a:extLst>
          </p:cNvPr>
          <p:cNvSpPr/>
          <p:nvPr/>
        </p:nvSpPr>
        <p:spPr>
          <a:xfrm>
            <a:off x="8941832" y="5921743"/>
            <a:ext cx="1967468"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Progress</a:t>
            </a:r>
          </a:p>
        </p:txBody>
      </p:sp>
      <p:sp>
        <p:nvSpPr>
          <p:cNvPr id="4" name="Title 3">
            <a:extLst>
              <a:ext uri="{FF2B5EF4-FFF2-40B4-BE49-F238E27FC236}">
                <a16:creationId xmlns:a16="http://schemas.microsoft.com/office/drawing/2014/main" id="{D04950D8-8C6B-4FF6-86A4-752F8BA58AC3}"/>
              </a:ext>
            </a:extLst>
          </p:cNvPr>
          <p:cNvSpPr>
            <a:spLocks noGrp="1"/>
          </p:cNvSpPr>
          <p:nvPr>
            <p:ph type="title"/>
          </p:nvPr>
        </p:nvSpPr>
        <p:spPr>
          <a:xfrm>
            <a:off x="2689797" y="754499"/>
            <a:ext cx="9905998" cy="1478570"/>
          </a:xfrm>
        </p:spPr>
        <p:txBody>
          <a:bodyPr/>
          <a:lstStyle/>
          <a:p>
            <a:r>
              <a:rPr lang="en-US" dirty="0"/>
              <a:t>Gameplay mechanics – </a:t>
            </a:r>
            <a:r>
              <a:rPr lang="en-US" dirty="0">
                <a:solidFill>
                  <a:srgbClr val="DDC855"/>
                </a:solidFill>
              </a:rPr>
              <a:t>technical Videos</a:t>
            </a:r>
          </a:p>
        </p:txBody>
      </p:sp>
      <p:sp>
        <p:nvSpPr>
          <p:cNvPr id="6" name="Google Shape;1611;p62">
            <a:extLst>
              <a:ext uri="{FF2B5EF4-FFF2-40B4-BE49-F238E27FC236}">
                <a16:creationId xmlns:a16="http://schemas.microsoft.com/office/drawing/2014/main" id="{09000CCE-4557-44AE-9999-16CF1EC3ABDB}"/>
              </a:ext>
            </a:extLst>
          </p:cNvPr>
          <p:cNvSpPr txBox="1">
            <a:spLocks/>
          </p:cNvSpPr>
          <p:nvPr/>
        </p:nvSpPr>
        <p:spPr>
          <a:xfrm flipH="1">
            <a:off x="1316735" y="303084"/>
            <a:ext cx="1010705"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a:t>
            </a:r>
          </a:p>
        </p:txBody>
      </p:sp>
      <p:sp>
        <p:nvSpPr>
          <p:cNvPr id="8" name="Rectangle 7">
            <a:extLst>
              <a:ext uri="{FF2B5EF4-FFF2-40B4-BE49-F238E27FC236}">
                <a16:creationId xmlns:a16="http://schemas.microsoft.com/office/drawing/2014/main" id="{E82E26B0-7BCC-4CB4-B1D3-1E61B2B79C29}"/>
              </a:ext>
            </a:extLst>
          </p:cNvPr>
          <p:cNvSpPr/>
          <p:nvPr/>
        </p:nvSpPr>
        <p:spPr>
          <a:xfrm>
            <a:off x="1925011" y="59743"/>
            <a:ext cx="1529571" cy="1677382"/>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03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a:t>
            </a:r>
          </a:p>
        </p:txBody>
      </p:sp>
      <p:sp>
        <p:nvSpPr>
          <p:cNvPr id="16" name="Google Shape;11;p2">
            <a:extLst>
              <a:ext uri="{FF2B5EF4-FFF2-40B4-BE49-F238E27FC236}">
                <a16:creationId xmlns:a16="http://schemas.microsoft.com/office/drawing/2014/main" id="{B68E967B-107B-481C-8107-AF8F0A2E3C1C}"/>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86B91066-0CFA-48AC-BF4C-CD646875093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 name="Google Shape;1298;p55">
            <a:extLst>
              <a:ext uri="{FF2B5EF4-FFF2-40B4-BE49-F238E27FC236}">
                <a16:creationId xmlns:a16="http://schemas.microsoft.com/office/drawing/2014/main" id="{C2F8A015-6CE1-4D05-98D2-DFD3FB750053}"/>
              </a:ext>
            </a:extLst>
          </p:cNvPr>
          <p:cNvCxnSpPr>
            <a:cxnSpLocks/>
          </p:cNvCxnSpPr>
          <p:nvPr/>
        </p:nvCxnSpPr>
        <p:spPr>
          <a:xfrm flipH="1">
            <a:off x="-152400" y="1645777"/>
            <a:ext cx="11557505" cy="0"/>
          </a:xfrm>
          <a:prstGeom prst="straightConnector1">
            <a:avLst/>
          </a:prstGeom>
          <a:noFill/>
          <a:ln w="19050" cap="flat" cmpd="sng">
            <a:solidFill>
              <a:srgbClr val="C2F918"/>
            </a:solidFill>
            <a:prstDash val="solid"/>
            <a:round/>
            <a:headEnd type="none" w="med" len="med"/>
            <a:tailEnd type="none" w="med" len="med"/>
          </a:ln>
        </p:spPr>
      </p:cxnSp>
      <p:sp>
        <p:nvSpPr>
          <p:cNvPr id="2" name="TextBox 1">
            <a:extLst>
              <a:ext uri="{FF2B5EF4-FFF2-40B4-BE49-F238E27FC236}">
                <a16:creationId xmlns:a16="http://schemas.microsoft.com/office/drawing/2014/main" id="{82F33E76-7CFD-491E-8E91-023989791E67}"/>
              </a:ext>
            </a:extLst>
          </p:cNvPr>
          <p:cNvSpPr txBox="1"/>
          <p:nvPr/>
        </p:nvSpPr>
        <p:spPr>
          <a:xfrm>
            <a:off x="1193890" y="1933948"/>
            <a:ext cx="8844625" cy="2308324"/>
          </a:xfrm>
          <a:prstGeom prst="rect">
            <a:avLst/>
          </a:prstGeom>
          <a:noFill/>
        </p:spPr>
        <p:txBody>
          <a:bodyPr wrap="square" rtlCol="0">
            <a:spAutoFit/>
          </a:bodyPr>
          <a:lstStyle/>
          <a:p>
            <a:pPr marL="457200" indent="-457200">
              <a:buFont typeface="+mj-lt"/>
              <a:buAutoNum type="arabicPeriod"/>
            </a:pPr>
            <a:r>
              <a:rPr lang="en-US" sz="2400" b="0" i="0" dirty="0">
                <a:solidFill>
                  <a:srgbClr val="FFFFFF"/>
                </a:solidFill>
                <a:effectLst/>
                <a:latin typeface="Arial" panose="020B0604020202020204" pitchFamily="34" charset="0"/>
                <a:cs typeface="Arial" panose="020B0604020202020204" pitchFamily="34" charset="0"/>
                <a:hlinkClick r:id="rId5"/>
              </a:rPr>
              <a:t>Unreal Engine VoIP Voice Chat System for Multiplayer #2 Technical Explanation Overview</a:t>
            </a:r>
            <a:endParaRPr lang="en-US" sz="2400" b="0" i="0" dirty="0">
              <a:solidFill>
                <a:srgbClr val="FFFFFF"/>
              </a:solidFill>
              <a:effectLst/>
              <a:latin typeface="Arial" panose="020B0604020202020204" pitchFamily="34" charset="0"/>
              <a:cs typeface="Arial" panose="020B0604020202020204" pitchFamily="34" charset="0"/>
            </a:endParaRPr>
          </a:p>
          <a:p>
            <a:pPr marL="457200" indent="-457200">
              <a:buFont typeface="+mj-lt"/>
              <a:buAutoNum type="arabicPeriod"/>
            </a:pPr>
            <a:r>
              <a:rPr lang="en-US" sz="2400" b="0" i="0" dirty="0">
                <a:solidFill>
                  <a:srgbClr val="FFFFFF"/>
                </a:solidFill>
                <a:effectLst/>
                <a:latin typeface="Roboto" panose="02000000000000000000" pitchFamily="2" charset="0"/>
                <a:hlinkClick r:id="rId6"/>
              </a:rPr>
              <a:t>Unreal Engine VoIP Voice Chat System for Multiplayer #3 Blueprints: How it works?</a:t>
            </a:r>
            <a:endParaRPr lang="en-US" sz="2400" b="0" i="0" dirty="0">
              <a:solidFill>
                <a:srgbClr val="FFFFFF"/>
              </a:solidFill>
              <a:effectLst/>
              <a:latin typeface="Roboto" panose="02000000000000000000" pitchFamily="2" charset="0"/>
            </a:endParaRPr>
          </a:p>
          <a:p>
            <a:pPr marL="457200" indent="-457200">
              <a:buFont typeface="+mj-lt"/>
              <a:buAutoNum type="arabicPeriod"/>
            </a:pPr>
            <a:r>
              <a:rPr lang="en-US" sz="2400" b="0" i="0" dirty="0">
                <a:solidFill>
                  <a:srgbClr val="FFFFFF"/>
                </a:solidFill>
                <a:effectLst/>
                <a:latin typeface="Roboto" panose="02000000000000000000" pitchFamily="2" charset="0"/>
                <a:hlinkClick r:id="rId7"/>
              </a:rPr>
              <a:t>Gameplay Mechanics Technical Overview (alpha stage)</a:t>
            </a:r>
            <a:endParaRPr lang="en-US" sz="2400" b="0" i="0" dirty="0">
              <a:solidFill>
                <a:srgbClr val="FFFFFF"/>
              </a:solidFill>
              <a:effectLst/>
              <a:latin typeface="Roboto" panose="02000000000000000000" pitchFamily="2" charset="0"/>
            </a:endParaRPr>
          </a:p>
          <a:p>
            <a:pPr marL="457200" indent="-457200">
              <a:buFont typeface="+mj-lt"/>
              <a:buAutoNum type="arabicPeriod"/>
            </a:pPr>
            <a:r>
              <a:rPr lang="en-US" sz="2400" b="0" i="0" dirty="0">
                <a:solidFill>
                  <a:srgbClr val="FFFFFF"/>
                </a:solidFill>
                <a:effectLst/>
                <a:latin typeface="Roboto" panose="02000000000000000000" pitchFamily="2" charset="0"/>
                <a:hlinkClick r:id="rId8"/>
              </a:rPr>
              <a:t>Unreal Engine 5 (UE5) Horror Industrial Footage</a:t>
            </a:r>
            <a:endParaRPr lang="en-US" sz="2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882357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Google Shape;11;p2">
            <a:extLst>
              <a:ext uri="{FF2B5EF4-FFF2-40B4-BE49-F238E27FC236}">
                <a16:creationId xmlns:a16="http://schemas.microsoft.com/office/drawing/2014/main" id="{31C05538-AE5D-4775-BF6B-CFFA59D48304}"/>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EE1CF7AC-DA72-4353-94FE-C1DA59E626F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 name="Group 3">
            <a:extLst>
              <a:ext uri="{FF2B5EF4-FFF2-40B4-BE49-F238E27FC236}">
                <a16:creationId xmlns:a16="http://schemas.microsoft.com/office/drawing/2014/main" id="{22BC184D-9D37-441B-9503-F2120C12E489}"/>
              </a:ext>
            </a:extLst>
          </p:cNvPr>
          <p:cNvGrpSpPr/>
          <p:nvPr/>
        </p:nvGrpSpPr>
        <p:grpSpPr>
          <a:xfrm>
            <a:off x="8674305" y="5718019"/>
            <a:ext cx="977696" cy="909104"/>
            <a:chOff x="9379963" y="4497336"/>
            <a:chExt cx="1187582" cy="1104265"/>
          </a:xfrm>
        </p:grpSpPr>
        <p:grpSp>
          <p:nvGrpSpPr>
            <p:cNvPr id="5" name="Google Shape;802;p51">
              <a:extLst>
                <a:ext uri="{FF2B5EF4-FFF2-40B4-BE49-F238E27FC236}">
                  <a16:creationId xmlns:a16="http://schemas.microsoft.com/office/drawing/2014/main" id="{81CF2D89-B81C-4AF8-BE26-0BCAA3C5E7D8}"/>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2" name="Google Shape;803;p51">
                <a:extLst>
                  <a:ext uri="{FF2B5EF4-FFF2-40B4-BE49-F238E27FC236}">
                    <a16:creationId xmlns:a16="http://schemas.microsoft.com/office/drawing/2014/main" id="{115A95F7-DEA9-4FEC-A78B-D39A85D5EDDC}"/>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3" name="Google Shape;804;p51">
                <a:extLst>
                  <a:ext uri="{FF2B5EF4-FFF2-40B4-BE49-F238E27FC236}">
                    <a16:creationId xmlns:a16="http://schemas.microsoft.com/office/drawing/2014/main" id="{AEA1C605-B401-4136-BF27-28F129C9DE37}"/>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805;p51">
                <a:extLst>
                  <a:ext uri="{FF2B5EF4-FFF2-40B4-BE49-F238E27FC236}">
                    <a16:creationId xmlns:a16="http://schemas.microsoft.com/office/drawing/2014/main" id="{33884E3F-7438-4B61-9D05-11ABE53502B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Google Shape;806;p51">
                <a:extLst>
                  <a:ext uri="{FF2B5EF4-FFF2-40B4-BE49-F238E27FC236}">
                    <a16:creationId xmlns:a16="http://schemas.microsoft.com/office/drawing/2014/main" id="{466BE396-7AC5-4648-B074-5C149BB39BB1}"/>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Google Shape;807;p51">
                <a:extLst>
                  <a:ext uri="{FF2B5EF4-FFF2-40B4-BE49-F238E27FC236}">
                    <a16:creationId xmlns:a16="http://schemas.microsoft.com/office/drawing/2014/main" id="{025017AD-0292-4B7B-85E6-CCD61C814DE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808;p51">
                <a:extLst>
                  <a:ext uri="{FF2B5EF4-FFF2-40B4-BE49-F238E27FC236}">
                    <a16:creationId xmlns:a16="http://schemas.microsoft.com/office/drawing/2014/main" id="{E687F1AF-59FB-43A2-8CBA-598184431043}"/>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9;p51">
                <a:extLst>
                  <a:ext uri="{FF2B5EF4-FFF2-40B4-BE49-F238E27FC236}">
                    <a16:creationId xmlns:a16="http://schemas.microsoft.com/office/drawing/2014/main" id="{2D039AE3-84B6-4124-8B26-5F92AD4CE51A}"/>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10;p51">
                <a:extLst>
                  <a:ext uri="{FF2B5EF4-FFF2-40B4-BE49-F238E27FC236}">
                    <a16:creationId xmlns:a16="http://schemas.microsoft.com/office/drawing/2014/main" id="{38C10D8A-DCC0-41ED-BD6C-64C73D450CB6}"/>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11;p51">
                <a:extLst>
                  <a:ext uri="{FF2B5EF4-FFF2-40B4-BE49-F238E27FC236}">
                    <a16:creationId xmlns:a16="http://schemas.microsoft.com/office/drawing/2014/main" id="{F1F4C425-026F-4894-ADFB-EB067609D91E}"/>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12;p51">
                <a:extLst>
                  <a:ext uri="{FF2B5EF4-FFF2-40B4-BE49-F238E27FC236}">
                    <a16:creationId xmlns:a16="http://schemas.microsoft.com/office/drawing/2014/main" id="{4774673B-D980-46D7-A752-E28937B6C1BA}"/>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13;p51">
                <a:extLst>
                  <a:ext uri="{FF2B5EF4-FFF2-40B4-BE49-F238E27FC236}">
                    <a16:creationId xmlns:a16="http://schemas.microsoft.com/office/drawing/2014/main" id="{947FBCA6-12AA-4257-B831-A99930290DB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14;p51">
                <a:extLst>
                  <a:ext uri="{FF2B5EF4-FFF2-40B4-BE49-F238E27FC236}">
                    <a16:creationId xmlns:a16="http://schemas.microsoft.com/office/drawing/2014/main" id="{E396B2BB-1B8F-4C0F-AB93-BFD3C8E35B96}"/>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5;p51">
                <a:extLst>
                  <a:ext uri="{FF2B5EF4-FFF2-40B4-BE49-F238E27FC236}">
                    <a16:creationId xmlns:a16="http://schemas.microsoft.com/office/drawing/2014/main" id="{4DA93D07-C183-47C5-A757-B1A4C9229953}"/>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6;p51">
                <a:extLst>
                  <a:ext uri="{FF2B5EF4-FFF2-40B4-BE49-F238E27FC236}">
                    <a16:creationId xmlns:a16="http://schemas.microsoft.com/office/drawing/2014/main" id="{5398EEA4-8135-4899-A9B6-C3C0C1983730}"/>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7;p51">
                <a:extLst>
                  <a:ext uri="{FF2B5EF4-FFF2-40B4-BE49-F238E27FC236}">
                    <a16:creationId xmlns:a16="http://schemas.microsoft.com/office/drawing/2014/main" id="{2FDFEA3C-FC46-4DAB-95D3-0F47EB813F8B}"/>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8;p51">
                <a:extLst>
                  <a:ext uri="{FF2B5EF4-FFF2-40B4-BE49-F238E27FC236}">
                    <a16:creationId xmlns:a16="http://schemas.microsoft.com/office/drawing/2014/main" id="{787C4A06-2D4A-42B2-8C6C-46AD557DC2D3}"/>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9;p51">
                <a:extLst>
                  <a:ext uri="{FF2B5EF4-FFF2-40B4-BE49-F238E27FC236}">
                    <a16:creationId xmlns:a16="http://schemas.microsoft.com/office/drawing/2014/main" id="{1EA5916D-E833-4385-9C01-7CF35CC10871}"/>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20;p51">
                <a:extLst>
                  <a:ext uri="{FF2B5EF4-FFF2-40B4-BE49-F238E27FC236}">
                    <a16:creationId xmlns:a16="http://schemas.microsoft.com/office/drawing/2014/main" id="{75474011-6686-4D0A-B618-E4771563A4A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21;p51">
                <a:extLst>
                  <a:ext uri="{FF2B5EF4-FFF2-40B4-BE49-F238E27FC236}">
                    <a16:creationId xmlns:a16="http://schemas.microsoft.com/office/drawing/2014/main" id="{31D50C1D-0FD4-4C7E-948B-CF998A1E071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22;p51">
                <a:extLst>
                  <a:ext uri="{FF2B5EF4-FFF2-40B4-BE49-F238E27FC236}">
                    <a16:creationId xmlns:a16="http://schemas.microsoft.com/office/drawing/2014/main" id="{9F80804C-3261-419A-B317-01689EC8B22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23;p51">
                <a:extLst>
                  <a:ext uri="{FF2B5EF4-FFF2-40B4-BE49-F238E27FC236}">
                    <a16:creationId xmlns:a16="http://schemas.microsoft.com/office/drawing/2014/main" id="{25CE1E0A-D7C5-4828-B2C2-0BF1F41B0FA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24;p51">
                <a:extLst>
                  <a:ext uri="{FF2B5EF4-FFF2-40B4-BE49-F238E27FC236}">
                    <a16:creationId xmlns:a16="http://schemas.microsoft.com/office/drawing/2014/main" id="{545D06C5-D6C9-48C1-A966-2D87DE082FC5}"/>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5;p51">
                <a:extLst>
                  <a:ext uri="{FF2B5EF4-FFF2-40B4-BE49-F238E27FC236}">
                    <a16:creationId xmlns:a16="http://schemas.microsoft.com/office/drawing/2014/main" id="{C4868874-D5CD-4E2B-9381-DB3E72233B84}"/>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6;p51">
                <a:extLst>
                  <a:ext uri="{FF2B5EF4-FFF2-40B4-BE49-F238E27FC236}">
                    <a16:creationId xmlns:a16="http://schemas.microsoft.com/office/drawing/2014/main" id="{40E129C3-6181-4AA8-A691-98456CC3BCE0}"/>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7;p51">
                <a:extLst>
                  <a:ext uri="{FF2B5EF4-FFF2-40B4-BE49-F238E27FC236}">
                    <a16:creationId xmlns:a16="http://schemas.microsoft.com/office/drawing/2014/main" id="{FF490983-48B0-4D7D-A89F-7346C301C750}"/>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6" name="Group 5">
              <a:extLst>
                <a:ext uri="{FF2B5EF4-FFF2-40B4-BE49-F238E27FC236}">
                  <a16:creationId xmlns:a16="http://schemas.microsoft.com/office/drawing/2014/main" id="{D34E9EB2-D62D-450A-BF16-8648AD895791}"/>
                </a:ext>
              </a:extLst>
            </p:cNvPr>
            <p:cNvGrpSpPr/>
            <p:nvPr/>
          </p:nvGrpSpPr>
          <p:grpSpPr>
            <a:xfrm>
              <a:off x="9459173" y="4651735"/>
              <a:ext cx="965465" cy="814701"/>
              <a:chOff x="2122052" y="4430998"/>
              <a:chExt cx="516998" cy="436265"/>
            </a:xfrm>
          </p:grpSpPr>
          <p:sp>
            <p:nvSpPr>
              <p:cNvPr id="7" name="Google Shape;663;p48">
                <a:extLst>
                  <a:ext uri="{FF2B5EF4-FFF2-40B4-BE49-F238E27FC236}">
                    <a16:creationId xmlns:a16="http://schemas.microsoft.com/office/drawing/2014/main" id="{D4577CA8-5081-45AF-A9FC-B3B235B2F0ED}"/>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664;p48">
                <a:extLst>
                  <a:ext uri="{FF2B5EF4-FFF2-40B4-BE49-F238E27FC236}">
                    <a16:creationId xmlns:a16="http://schemas.microsoft.com/office/drawing/2014/main" id="{8F175621-4F96-4CF8-A793-026A40DB84C4}"/>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665;p48">
                <a:extLst>
                  <a:ext uri="{FF2B5EF4-FFF2-40B4-BE49-F238E27FC236}">
                    <a16:creationId xmlns:a16="http://schemas.microsoft.com/office/drawing/2014/main" id="{9E1BFC13-C604-4CA0-9121-A57FFA633FD5}"/>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666;p48">
                <a:extLst>
                  <a:ext uri="{FF2B5EF4-FFF2-40B4-BE49-F238E27FC236}">
                    <a16:creationId xmlns:a16="http://schemas.microsoft.com/office/drawing/2014/main" id="{B4F911B2-8C28-4B89-A8A4-E82100C03E1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7;p48">
                <a:extLst>
                  <a:ext uri="{FF2B5EF4-FFF2-40B4-BE49-F238E27FC236}">
                    <a16:creationId xmlns:a16="http://schemas.microsoft.com/office/drawing/2014/main" id="{ED2FF76B-D2FE-41FC-A080-FA891D6B760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8;p48">
                <a:extLst>
                  <a:ext uri="{FF2B5EF4-FFF2-40B4-BE49-F238E27FC236}">
                    <a16:creationId xmlns:a16="http://schemas.microsoft.com/office/drawing/2014/main" id="{2860597A-2698-423B-90D5-74B59AC8E2B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Google Shape;669;p48">
                <a:extLst>
                  <a:ext uri="{FF2B5EF4-FFF2-40B4-BE49-F238E27FC236}">
                    <a16:creationId xmlns:a16="http://schemas.microsoft.com/office/drawing/2014/main" id="{3B503236-C75C-4449-BEBC-ABF3BFBD039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70;p48">
                <a:extLst>
                  <a:ext uri="{FF2B5EF4-FFF2-40B4-BE49-F238E27FC236}">
                    <a16:creationId xmlns:a16="http://schemas.microsoft.com/office/drawing/2014/main" id="{652DCB1A-7349-471B-A095-965D1A56C5A0}"/>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71;p48">
                <a:extLst>
                  <a:ext uri="{FF2B5EF4-FFF2-40B4-BE49-F238E27FC236}">
                    <a16:creationId xmlns:a16="http://schemas.microsoft.com/office/drawing/2014/main" id="{0E4185C2-C483-410A-BA78-E5D1C5A4977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72;p48">
                <a:extLst>
                  <a:ext uri="{FF2B5EF4-FFF2-40B4-BE49-F238E27FC236}">
                    <a16:creationId xmlns:a16="http://schemas.microsoft.com/office/drawing/2014/main" id="{61298105-82C8-405D-A227-73D51625370F}"/>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73;p48">
                <a:extLst>
                  <a:ext uri="{FF2B5EF4-FFF2-40B4-BE49-F238E27FC236}">
                    <a16:creationId xmlns:a16="http://schemas.microsoft.com/office/drawing/2014/main" id="{94EEBA9F-41BC-4DE1-9E79-5B1E70437DEF}"/>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74;p48">
                <a:extLst>
                  <a:ext uri="{FF2B5EF4-FFF2-40B4-BE49-F238E27FC236}">
                    <a16:creationId xmlns:a16="http://schemas.microsoft.com/office/drawing/2014/main" id="{F5B73FBB-0AF1-4574-AEF9-976CBFB994AC}"/>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5;p48">
                <a:extLst>
                  <a:ext uri="{FF2B5EF4-FFF2-40B4-BE49-F238E27FC236}">
                    <a16:creationId xmlns:a16="http://schemas.microsoft.com/office/drawing/2014/main" id="{89519435-108B-4B21-9642-3B399139B97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6;p48">
                <a:extLst>
                  <a:ext uri="{FF2B5EF4-FFF2-40B4-BE49-F238E27FC236}">
                    <a16:creationId xmlns:a16="http://schemas.microsoft.com/office/drawing/2014/main" id="{A2101CA1-D138-4B54-AEB4-C26A05BE031D}"/>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7;p48">
                <a:extLst>
                  <a:ext uri="{FF2B5EF4-FFF2-40B4-BE49-F238E27FC236}">
                    <a16:creationId xmlns:a16="http://schemas.microsoft.com/office/drawing/2014/main" id="{883876A8-1852-4E19-974F-64BD01653492}"/>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8;p48">
                <a:extLst>
                  <a:ext uri="{FF2B5EF4-FFF2-40B4-BE49-F238E27FC236}">
                    <a16:creationId xmlns:a16="http://schemas.microsoft.com/office/drawing/2014/main" id="{271D9785-2499-4A8F-9CDC-44A391FAB3EF}"/>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9;p48">
                <a:extLst>
                  <a:ext uri="{FF2B5EF4-FFF2-40B4-BE49-F238E27FC236}">
                    <a16:creationId xmlns:a16="http://schemas.microsoft.com/office/drawing/2014/main" id="{56D14AAF-04A2-4675-95AC-342B3BB12B2E}"/>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80;p48">
                <a:extLst>
                  <a:ext uri="{FF2B5EF4-FFF2-40B4-BE49-F238E27FC236}">
                    <a16:creationId xmlns:a16="http://schemas.microsoft.com/office/drawing/2014/main" id="{4D8E73FB-B8ED-4D67-9AEC-554F814A6B0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81;p48">
                <a:extLst>
                  <a:ext uri="{FF2B5EF4-FFF2-40B4-BE49-F238E27FC236}">
                    <a16:creationId xmlns:a16="http://schemas.microsoft.com/office/drawing/2014/main" id="{CB62546D-2A59-4541-8D1A-66575A5B611D}"/>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82;p48">
                <a:extLst>
                  <a:ext uri="{FF2B5EF4-FFF2-40B4-BE49-F238E27FC236}">
                    <a16:creationId xmlns:a16="http://schemas.microsoft.com/office/drawing/2014/main" id="{F022AF75-FAA4-4024-8934-43955E801DA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83;p48">
                <a:extLst>
                  <a:ext uri="{FF2B5EF4-FFF2-40B4-BE49-F238E27FC236}">
                    <a16:creationId xmlns:a16="http://schemas.microsoft.com/office/drawing/2014/main" id="{E3859BEF-EF9B-47F5-8A12-304DA659F02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8" name="Google Shape;684;p48">
                <a:extLst>
                  <a:ext uri="{FF2B5EF4-FFF2-40B4-BE49-F238E27FC236}">
                    <a16:creationId xmlns:a16="http://schemas.microsoft.com/office/drawing/2014/main" id="{A28A49C4-8C4A-4EC8-A1D1-6E7E61C801EE}"/>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5;p48">
                <a:extLst>
                  <a:ext uri="{FF2B5EF4-FFF2-40B4-BE49-F238E27FC236}">
                    <a16:creationId xmlns:a16="http://schemas.microsoft.com/office/drawing/2014/main" id="{743B060B-B864-43E8-9CA8-3335902C1BC9}"/>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6;p48">
                <a:extLst>
                  <a:ext uri="{FF2B5EF4-FFF2-40B4-BE49-F238E27FC236}">
                    <a16:creationId xmlns:a16="http://schemas.microsoft.com/office/drawing/2014/main" id="{EE16F634-BAFE-4160-A87B-CE94465FEEE9}"/>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7;p48">
                <a:extLst>
                  <a:ext uri="{FF2B5EF4-FFF2-40B4-BE49-F238E27FC236}">
                    <a16:creationId xmlns:a16="http://schemas.microsoft.com/office/drawing/2014/main" id="{4FA1A788-5215-41EB-9AEC-34E56AD8FBB7}"/>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9" name="Google Shape;1373;p56">
            <a:extLst>
              <a:ext uri="{FF2B5EF4-FFF2-40B4-BE49-F238E27FC236}">
                <a16:creationId xmlns:a16="http://schemas.microsoft.com/office/drawing/2014/main" id="{4FEC6E06-4670-4611-91D6-3BC89D579628}"/>
              </a:ext>
            </a:extLst>
          </p:cNvPr>
          <p:cNvSpPr/>
          <p:nvPr/>
        </p:nvSpPr>
        <p:spPr>
          <a:xfrm>
            <a:off x="5149539" y="36462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374;p56">
            <a:extLst>
              <a:ext uri="{FF2B5EF4-FFF2-40B4-BE49-F238E27FC236}">
                <a16:creationId xmlns:a16="http://schemas.microsoft.com/office/drawing/2014/main" id="{DD20C082-FC67-4F58-89B3-EEAAB4C8B42D}"/>
              </a:ext>
            </a:extLst>
          </p:cNvPr>
          <p:cNvSpPr/>
          <p:nvPr/>
        </p:nvSpPr>
        <p:spPr>
          <a:xfrm>
            <a:off x="10043948" y="355769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375;p56">
            <a:extLst>
              <a:ext uri="{FF2B5EF4-FFF2-40B4-BE49-F238E27FC236}">
                <a16:creationId xmlns:a16="http://schemas.microsoft.com/office/drawing/2014/main" id="{82E81F3A-AF81-47DA-A27B-310A4D8F5A49}"/>
              </a:ext>
            </a:extLst>
          </p:cNvPr>
          <p:cNvSpPr/>
          <p:nvPr/>
        </p:nvSpPr>
        <p:spPr>
          <a:xfrm>
            <a:off x="777561" y="270665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62" name="Google Shape;1376;p56">
            <a:extLst>
              <a:ext uri="{FF2B5EF4-FFF2-40B4-BE49-F238E27FC236}">
                <a16:creationId xmlns:a16="http://schemas.microsoft.com/office/drawing/2014/main" id="{AB2F74ED-E83E-4498-A0CB-7C126C4390E8}"/>
              </a:ext>
            </a:extLst>
          </p:cNvPr>
          <p:cNvGrpSpPr/>
          <p:nvPr/>
        </p:nvGrpSpPr>
        <p:grpSpPr>
          <a:xfrm rot="18700354">
            <a:off x="11410793" y="2992135"/>
            <a:ext cx="245700" cy="975478"/>
            <a:chOff x="7004550" y="3676293"/>
            <a:chExt cx="161700" cy="641982"/>
          </a:xfrm>
        </p:grpSpPr>
        <p:sp>
          <p:nvSpPr>
            <p:cNvPr id="63" name="Google Shape;1377;p56">
              <a:extLst>
                <a:ext uri="{FF2B5EF4-FFF2-40B4-BE49-F238E27FC236}">
                  <a16:creationId xmlns:a16="http://schemas.microsoft.com/office/drawing/2014/main" id="{9424AB90-45CA-4FDE-8111-6FC72F94892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378;p56">
              <a:extLst>
                <a:ext uri="{FF2B5EF4-FFF2-40B4-BE49-F238E27FC236}">
                  <a16:creationId xmlns:a16="http://schemas.microsoft.com/office/drawing/2014/main" id="{08DDF313-9EB1-4FF9-B2F1-55C69723E45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379;p56">
              <a:extLst>
                <a:ext uri="{FF2B5EF4-FFF2-40B4-BE49-F238E27FC236}">
                  <a16:creationId xmlns:a16="http://schemas.microsoft.com/office/drawing/2014/main" id="{E99C92F2-1892-47AC-96AC-A2F00C5A5F19}"/>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380;p56">
              <a:extLst>
                <a:ext uri="{FF2B5EF4-FFF2-40B4-BE49-F238E27FC236}">
                  <a16:creationId xmlns:a16="http://schemas.microsoft.com/office/drawing/2014/main" id="{417DF105-C729-48F2-9171-19C0E09E167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7" name="Google Shape;5349;p86">
            <a:extLst>
              <a:ext uri="{FF2B5EF4-FFF2-40B4-BE49-F238E27FC236}">
                <a16:creationId xmlns:a16="http://schemas.microsoft.com/office/drawing/2014/main" id="{2AAC55E0-F371-4D4A-A25C-33F4CE08C311}"/>
              </a:ext>
            </a:extLst>
          </p:cNvPr>
          <p:cNvSpPr/>
          <p:nvPr/>
        </p:nvSpPr>
        <p:spPr>
          <a:xfrm>
            <a:off x="487198" y="3317718"/>
            <a:ext cx="479963" cy="479963"/>
          </a:xfrm>
          <a:custGeom>
            <a:avLst/>
            <a:gdLst/>
            <a:ahLst/>
            <a:cxnLst/>
            <a:rect l="l" t="t" r="r" b="b"/>
            <a:pathLst>
              <a:path w="209134" h="209134" extrusionOk="0">
                <a:moveTo>
                  <a:pt x="6127" y="0"/>
                </a:moveTo>
                <a:cubicBezTo>
                  <a:pt x="2745" y="0"/>
                  <a:pt x="0" y="2745"/>
                  <a:pt x="0" y="6127"/>
                </a:cubicBezTo>
                <a:lnTo>
                  <a:pt x="0" y="203006"/>
                </a:lnTo>
                <a:cubicBezTo>
                  <a:pt x="0" y="206388"/>
                  <a:pt x="2745" y="209133"/>
                  <a:pt x="6127" y="209133"/>
                </a:cubicBezTo>
                <a:lnTo>
                  <a:pt x="32033" y="209133"/>
                </a:lnTo>
                <a:lnTo>
                  <a:pt x="32033" y="38160"/>
                </a:lnTo>
                <a:cubicBezTo>
                  <a:pt x="32033" y="34778"/>
                  <a:pt x="34778" y="32033"/>
                  <a:pt x="38160" y="32033"/>
                </a:cubicBezTo>
                <a:cubicBezTo>
                  <a:pt x="41542" y="32033"/>
                  <a:pt x="44287" y="34778"/>
                  <a:pt x="44287" y="38160"/>
                </a:cubicBezTo>
                <a:lnTo>
                  <a:pt x="44287" y="120583"/>
                </a:lnTo>
                <a:lnTo>
                  <a:pt x="170998" y="120583"/>
                </a:lnTo>
                <a:cubicBezTo>
                  <a:pt x="174380" y="120583"/>
                  <a:pt x="177125" y="123328"/>
                  <a:pt x="177125" y="126710"/>
                </a:cubicBezTo>
                <a:cubicBezTo>
                  <a:pt x="177125" y="130093"/>
                  <a:pt x="174380" y="132838"/>
                  <a:pt x="170998" y="132838"/>
                </a:cubicBezTo>
                <a:lnTo>
                  <a:pt x="44287" y="132838"/>
                </a:lnTo>
                <a:lnTo>
                  <a:pt x="44287" y="209133"/>
                </a:lnTo>
                <a:lnTo>
                  <a:pt x="203006" y="209133"/>
                </a:lnTo>
                <a:cubicBezTo>
                  <a:pt x="206388" y="209133"/>
                  <a:pt x="209133" y="206388"/>
                  <a:pt x="209133" y="203006"/>
                </a:cubicBezTo>
                <a:lnTo>
                  <a:pt x="209133" y="177125"/>
                </a:lnTo>
                <a:lnTo>
                  <a:pt x="82423" y="177125"/>
                </a:lnTo>
                <a:cubicBezTo>
                  <a:pt x="79041" y="177125"/>
                  <a:pt x="76296" y="174380"/>
                  <a:pt x="76296" y="170998"/>
                </a:cubicBezTo>
                <a:cubicBezTo>
                  <a:pt x="76296" y="167615"/>
                  <a:pt x="79041" y="164871"/>
                  <a:pt x="82423" y="164871"/>
                </a:cubicBezTo>
                <a:lnTo>
                  <a:pt x="209133" y="164871"/>
                </a:lnTo>
                <a:lnTo>
                  <a:pt x="209133" y="44287"/>
                </a:lnTo>
                <a:lnTo>
                  <a:pt x="132838" y="44287"/>
                </a:lnTo>
                <a:lnTo>
                  <a:pt x="132838" y="76296"/>
                </a:lnTo>
                <a:lnTo>
                  <a:pt x="170998" y="76296"/>
                </a:lnTo>
                <a:cubicBezTo>
                  <a:pt x="174380" y="76296"/>
                  <a:pt x="177125" y="79041"/>
                  <a:pt x="177125" y="82423"/>
                </a:cubicBezTo>
                <a:cubicBezTo>
                  <a:pt x="177125" y="85805"/>
                  <a:pt x="174380" y="88550"/>
                  <a:pt x="170998" y="88550"/>
                </a:cubicBezTo>
                <a:lnTo>
                  <a:pt x="126710" y="88550"/>
                </a:lnTo>
                <a:cubicBezTo>
                  <a:pt x="123328" y="88550"/>
                  <a:pt x="120583" y="85805"/>
                  <a:pt x="120583" y="82423"/>
                </a:cubicBezTo>
                <a:lnTo>
                  <a:pt x="120583" y="38160"/>
                </a:lnTo>
                <a:cubicBezTo>
                  <a:pt x="120583" y="34778"/>
                  <a:pt x="123328" y="32033"/>
                  <a:pt x="126710" y="32033"/>
                </a:cubicBezTo>
                <a:lnTo>
                  <a:pt x="209133" y="32033"/>
                </a:lnTo>
                <a:lnTo>
                  <a:pt x="209133" y="6127"/>
                </a:lnTo>
                <a:cubicBezTo>
                  <a:pt x="209133" y="2745"/>
                  <a:pt x="206388" y="0"/>
                  <a:pt x="203006" y="0"/>
                </a:cubicBezTo>
                <a:lnTo>
                  <a:pt x="88550" y="0"/>
                </a:lnTo>
                <a:lnTo>
                  <a:pt x="88550" y="82423"/>
                </a:lnTo>
                <a:cubicBezTo>
                  <a:pt x="88550" y="85805"/>
                  <a:pt x="85805" y="88550"/>
                  <a:pt x="82423" y="88550"/>
                </a:cubicBezTo>
                <a:cubicBezTo>
                  <a:pt x="79041" y="88550"/>
                  <a:pt x="76296" y="85805"/>
                  <a:pt x="76296" y="82423"/>
                </a:cubicBezTo>
                <a:lnTo>
                  <a:pt x="7629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TextBox 67">
            <a:extLst>
              <a:ext uri="{FF2B5EF4-FFF2-40B4-BE49-F238E27FC236}">
                <a16:creationId xmlns:a16="http://schemas.microsoft.com/office/drawing/2014/main" id="{B5FE112D-CC73-47E8-8437-5D1084301FB2}"/>
              </a:ext>
            </a:extLst>
          </p:cNvPr>
          <p:cNvSpPr txBox="1"/>
          <p:nvPr/>
        </p:nvSpPr>
        <p:spPr>
          <a:xfrm>
            <a:off x="1126837" y="573315"/>
            <a:ext cx="8153616" cy="584775"/>
          </a:xfrm>
          <a:prstGeom prst="rect">
            <a:avLst/>
          </a:prstGeom>
          <a:noFill/>
        </p:spPr>
        <p:txBody>
          <a:bodyPr wrap="square" rtlCol="0">
            <a:spAutoFit/>
          </a:bodyPr>
          <a:lstStyle/>
          <a:p>
            <a:r>
              <a:rPr lang="el-GR" sz="3200" b="1" dirty="0">
                <a:latin typeface="Arial" panose="020B0604020202020204" pitchFamily="34" charset="0"/>
                <a:cs typeface="Arial" panose="020B0604020202020204" pitchFamily="34" charset="0"/>
              </a:rPr>
              <a:t>ΠΕΡΙΛΗΨΗ</a:t>
            </a:r>
            <a:endParaRPr lang="en-US" sz="2800" b="1" dirty="0">
              <a:latin typeface="Arial" panose="020B0604020202020204" pitchFamily="34" charset="0"/>
              <a:cs typeface="Arial" panose="020B0604020202020204" pitchFamily="34" charset="0"/>
            </a:endParaRPr>
          </a:p>
        </p:txBody>
      </p:sp>
      <p:sp>
        <p:nvSpPr>
          <p:cNvPr id="70" name="TextBox 69">
            <a:extLst>
              <a:ext uri="{FF2B5EF4-FFF2-40B4-BE49-F238E27FC236}">
                <a16:creationId xmlns:a16="http://schemas.microsoft.com/office/drawing/2014/main" id="{C42B04FE-55B8-415E-BB4B-205D89EBCBFA}"/>
              </a:ext>
            </a:extLst>
          </p:cNvPr>
          <p:cNvSpPr txBox="1"/>
          <p:nvPr/>
        </p:nvSpPr>
        <p:spPr>
          <a:xfrm>
            <a:off x="1126837" y="1307007"/>
            <a:ext cx="10812615" cy="4893647"/>
          </a:xfrm>
          <a:prstGeom prst="rect">
            <a:avLst/>
          </a:prstGeom>
          <a:noFill/>
        </p:spPr>
        <p:txBody>
          <a:bodyPr wrap="square" rtlCol="0">
            <a:spAutoFit/>
          </a:bodyPr>
          <a:lstStyle/>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Virtual World – Computer Generated (</a:t>
            </a:r>
            <a:r>
              <a:rPr lang="en-US" sz="2400" i="1" dirty="0">
                <a:latin typeface="Arial" panose="020B0604020202020204" pitchFamily="34" charset="0"/>
                <a:cs typeface="Arial" panose="020B0604020202020204" pitchFamily="34" charset="0"/>
              </a:rPr>
              <a:t>CGI</a:t>
            </a:r>
            <a:r>
              <a:rPr lang="en-US" sz="2400" dirty="0">
                <a:latin typeface="Arial" panose="020B0604020202020204" pitchFamily="34" charset="0"/>
                <a:cs typeface="Arial" panose="020B0604020202020204" pitchFamily="34" charset="0"/>
              </a:rPr>
              <a:t>)</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Technological Research &amp; Surveys </a:t>
            </a:r>
            <a:r>
              <a:rPr lang="el-GR" sz="2400" dirty="0">
                <a:latin typeface="Arial" panose="020B0604020202020204" pitchFamily="34" charset="0"/>
                <a:cs typeface="Arial" panose="020B0604020202020204" pitchFamily="34" charset="0"/>
              </a:rPr>
              <a:t>για κατεύθυνση ζητήσεις</a:t>
            </a:r>
            <a:r>
              <a:rPr lang="en-US" sz="2400" dirty="0">
                <a:latin typeface="Arial" panose="020B0604020202020204" pitchFamily="34" charset="0"/>
                <a:cs typeface="Arial" panose="020B0604020202020204" pitchFamily="34" charset="0"/>
              </a:rPr>
              <a:t> (</a:t>
            </a:r>
            <a:r>
              <a:rPr lang="el-GR" sz="2400" i="1" dirty="0">
                <a:latin typeface="Arial" panose="020B0604020202020204" pitchFamily="34" charset="0"/>
                <a:cs typeface="Arial" panose="020B0604020202020204" pitchFamily="34" charset="0"/>
              </a:rPr>
              <a:t>ποσοτική &amp; ποιοτική ανάλυση</a:t>
            </a:r>
            <a:r>
              <a:rPr lang="el-GR" sz="2400" dirty="0">
                <a:latin typeface="Arial" panose="020B0604020202020204" pitchFamily="34" charset="0"/>
                <a:cs typeface="Arial" panose="020B0604020202020204" pitchFamily="34" charset="0"/>
              </a:rPr>
              <a:t>)</a:t>
            </a:r>
            <a:endParaRPr lang="en-US"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Επιστημολογία &amp; Διεπιστημονικότητα</a:t>
            </a:r>
            <a:endParaRPr lang="en-US"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Player Retention</a:t>
            </a:r>
            <a:endParaRPr lang="el-GR"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Multiplayer Video Game Mechanics</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Virtual Immersion</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Real-time communications Voice over Internet Protocol (</a:t>
            </a:r>
            <a:r>
              <a:rPr lang="en-US" sz="2400" i="1" dirty="0">
                <a:latin typeface="Arial" panose="020B0604020202020204" pitchFamily="34" charset="0"/>
                <a:cs typeface="Arial" panose="020B0604020202020204" pitchFamily="34" charset="0"/>
              </a:rPr>
              <a:t>VoIP</a:t>
            </a:r>
            <a:r>
              <a:rPr lang="en-US" sz="2400" dirty="0">
                <a:latin typeface="Arial" panose="020B0604020202020204" pitchFamily="34" charset="0"/>
                <a:cs typeface="Arial" panose="020B0604020202020204" pitchFamily="34" charset="0"/>
              </a:rPr>
              <a:t>)</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Genre Driven experience</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3D modeling &amp; Architectural visualization</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Sound Effects (</a:t>
            </a:r>
            <a:r>
              <a:rPr lang="en-US" sz="2400" i="1" dirty="0">
                <a:latin typeface="Arial" panose="020B0604020202020204" pitchFamily="34" charset="0"/>
                <a:cs typeface="Arial" panose="020B0604020202020204" pitchFamily="34" charset="0"/>
              </a:rPr>
              <a:t>Signal modulation</a:t>
            </a:r>
            <a:r>
              <a:rPr lang="en-US" sz="2400" dirty="0">
                <a:latin typeface="Arial" panose="020B0604020202020204" pitchFamily="34" charset="0"/>
                <a:cs typeface="Arial" panose="020B0604020202020204" pitchFamily="34" charset="0"/>
              </a:rPr>
              <a:t>)</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Software Platform Architecture</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Layers of Abstraction</a:t>
            </a:r>
          </a:p>
        </p:txBody>
      </p:sp>
    </p:spTree>
    <p:extLst>
      <p:ext uri="{BB962C8B-B14F-4D97-AF65-F5344CB8AC3E}">
        <p14:creationId xmlns:p14="http://schemas.microsoft.com/office/powerpoint/2010/main" val="127234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6" name="TextBox 35">
            <a:extLst>
              <a:ext uri="{FF2B5EF4-FFF2-40B4-BE49-F238E27FC236}">
                <a16:creationId xmlns:a16="http://schemas.microsoft.com/office/drawing/2014/main" id="{10EC4ED6-9DE9-42E9-8255-61FE23492B2E}"/>
              </a:ext>
            </a:extLst>
          </p:cNvPr>
          <p:cNvSpPr txBox="1"/>
          <p:nvPr/>
        </p:nvSpPr>
        <p:spPr>
          <a:xfrm>
            <a:off x="1126837" y="573315"/>
            <a:ext cx="8153616" cy="523220"/>
          </a:xfrm>
          <a:prstGeom prst="rect">
            <a:avLst/>
          </a:prstGeom>
          <a:noFill/>
        </p:spPr>
        <p:txBody>
          <a:bodyPr wrap="square" rtlCol="0">
            <a:spAutoFit/>
          </a:bodyPr>
          <a:lstStyle/>
          <a:p>
            <a:r>
              <a:rPr lang="el-GR" sz="2800" b="1" dirty="0">
                <a:latin typeface="Arial" panose="020B0604020202020204" pitchFamily="34" charset="0"/>
                <a:cs typeface="Arial" panose="020B0604020202020204" pitchFamily="34" charset="0"/>
              </a:rPr>
              <a:t>Συνεπώς</a:t>
            </a:r>
            <a:r>
              <a:rPr lang="en-US" sz="2800" b="1" dirty="0">
                <a:latin typeface="Arial" panose="020B0604020202020204" pitchFamily="34" charset="0"/>
                <a:cs typeface="Arial" panose="020B0604020202020204" pitchFamily="34" charset="0"/>
              </a:rPr>
              <a:t> </a:t>
            </a:r>
            <a:r>
              <a:rPr lang="el-GR" sz="2800" b="1" dirty="0">
                <a:latin typeface="Arial" panose="020B0604020202020204" pitchFamily="34" charset="0"/>
                <a:cs typeface="Arial" panose="020B0604020202020204" pitchFamily="34" charset="0"/>
              </a:rPr>
              <a:t>η έρευνα εξετάζει</a:t>
            </a:r>
            <a:r>
              <a:rPr lang="en-US" sz="2800" b="1" dirty="0">
                <a:latin typeface="Arial" panose="020B0604020202020204" pitchFamily="34" charset="0"/>
                <a:cs typeface="Arial" panose="020B0604020202020204" pitchFamily="34" charset="0"/>
              </a:rPr>
              <a:t> (</a:t>
            </a:r>
            <a:r>
              <a:rPr lang="en-US" sz="2800" b="1" i="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Arial" panose="020B0604020202020204" pitchFamily="34" charset="0"/>
                <a:cs typeface="Arial" panose="020B0604020202020204" pitchFamily="34" charset="0"/>
              </a:rPr>
              <a:t>Project Mission</a:t>
            </a:r>
            <a:r>
              <a:rPr lang="en-US" sz="2800" b="1" dirty="0">
                <a:latin typeface="Arial" panose="020B0604020202020204" pitchFamily="34" charset="0"/>
                <a:cs typeface="Arial" panose="020B0604020202020204" pitchFamily="34" charset="0"/>
              </a:rPr>
              <a:t>)</a:t>
            </a:r>
            <a:r>
              <a:rPr lang="el-GR" sz="2800" b="1" dirty="0">
                <a:latin typeface="Arial" panose="020B0604020202020204" pitchFamily="34" charset="0"/>
                <a:cs typeface="Arial" panose="020B0604020202020204" pitchFamily="34" charset="0"/>
              </a:rPr>
              <a:t>:</a:t>
            </a:r>
            <a:endParaRPr lang="en-US" sz="2800" b="1" dirty="0">
              <a:latin typeface="Arial" panose="020B0604020202020204" pitchFamily="34" charset="0"/>
              <a:cs typeface="Arial" panose="020B0604020202020204" pitchFamily="34" charset="0"/>
            </a:endParaRPr>
          </a:p>
        </p:txBody>
      </p:sp>
      <p:sp>
        <p:nvSpPr>
          <p:cNvPr id="37" name="TextBox 36">
            <a:extLst>
              <a:ext uri="{FF2B5EF4-FFF2-40B4-BE49-F238E27FC236}">
                <a16:creationId xmlns:a16="http://schemas.microsoft.com/office/drawing/2014/main" id="{FBD6B799-D9DD-4098-91AF-03767CCD85B8}"/>
              </a:ext>
            </a:extLst>
          </p:cNvPr>
          <p:cNvSpPr txBox="1"/>
          <p:nvPr/>
        </p:nvSpPr>
        <p:spPr>
          <a:xfrm>
            <a:off x="1126837" y="1491673"/>
            <a:ext cx="10538294" cy="4524315"/>
          </a:xfrm>
          <a:prstGeom prst="rect">
            <a:avLst/>
          </a:prstGeom>
          <a:noFill/>
        </p:spPr>
        <p:txBody>
          <a:bodyPr wrap="square" rtlCol="0">
            <a:spAutoFit/>
          </a:bodyPr>
          <a:lstStyle/>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Εξόρυξη γνώσεις από τις πληροφορίες του κοινού μετά από </a:t>
            </a:r>
            <a:r>
              <a:rPr lang="en-US" sz="2400" dirty="0">
                <a:latin typeface="Arial" panose="020B0604020202020204" pitchFamily="34" charset="0"/>
                <a:cs typeface="Arial" panose="020B0604020202020204" pitchFamily="34" charset="0"/>
              </a:rPr>
              <a:t>survey/Questionnaires</a:t>
            </a:r>
            <a:r>
              <a:rPr lang="el-GR" sz="2400" dirty="0">
                <a:latin typeface="Arial" panose="020B0604020202020204" pitchFamily="34" charset="0"/>
                <a:cs typeface="Arial" panose="020B0604020202020204" pitchFamily="34" charset="0"/>
              </a:rPr>
              <a:t> </a:t>
            </a:r>
          </a:p>
          <a:p>
            <a:endParaRPr lang="el-GR" sz="2400" dirty="0">
              <a:latin typeface="Arial" panose="020B0604020202020204" pitchFamily="34" charset="0"/>
              <a:cs typeface="Arial" panose="020B0604020202020204" pitchFamily="34" charset="0"/>
            </a:endParaRPr>
          </a:p>
          <a:p>
            <a:pPr marL="342900" marR="0" indent="-342900" algn="just">
              <a:lnSpc>
                <a:spcPct val="150000"/>
              </a:lnSpc>
              <a:spcBef>
                <a:spcPts val="0"/>
              </a:spcBef>
              <a:spcAft>
                <a:spcPts val="0"/>
              </a:spcAft>
              <a:buFont typeface="Arial" panose="020B0604020202020204" pitchFamily="34" charset="0"/>
              <a:buChar char="•"/>
            </a:pPr>
            <a:r>
              <a:rPr lang="el-GR" sz="2400" dirty="0">
                <a:effectLst/>
                <a:latin typeface="Arial" panose="020B0604020202020204" pitchFamily="34" charset="0"/>
                <a:ea typeface="Calibri" panose="020F0502020204030204" pitchFamily="34" charset="0"/>
                <a:cs typeface="Arial" panose="020B0604020202020204" pitchFamily="34" charset="0"/>
              </a:rPr>
              <a:t>Παροχή </a:t>
            </a:r>
            <a:r>
              <a:rPr lang="el-GR" sz="2400" dirty="0" err="1">
                <a:effectLst/>
                <a:latin typeface="Arial" panose="020B0604020202020204" pitchFamily="34" charset="0"/>
                <a:ea typeface="Calibri" panose="020F0502020204030204" pitchFamily="34" charset="0"/>
                <a:cs typeface="Arial" panose="020B0604020202020204" pitchFamily="34" charset="0"/>
              </a:rPr>
              <a:t>online</a:t>
            </a:r>
            <a:r>
              <a:rPr lang="el-GR" sz="2400" dirty="0">
                <a:effectLst/>
                <a:latin typeface="Arial" panose="020B0604020202020204" pitchFamily="34" charset="0"/>
                <a:ea typeface="Calibri" panose="020F0502020204030204" pitchFamily="34" charset="0"/>
                <a:cs typeface="Arial" panose="020B0604020202020204" pitchFamily="34" charset="0"/>
              </a:rPr>
              <a:t> </a:t>
            </a:r>
            <a:r>
              <a:rPr lang="el-GR" sz="2400" dirty="0" err="1">
                <a:effectLst/>
                <a:latin typeface="Arial" panose="020B0604020202020204" pitchFamily="34" charset="0"/>
                <a:ea typeface="Calibri" panose="020F0502020204030204" pitchFamily="34" charset="0"/>
                <a:cs typeface="Arial" panose="020B0604020202020204" pitchFamily="34" charset="0"/>
              </a:rPr>
              <a:t>διαδραστικών</a:t>
            </a:r>
            <a:r>
              <a:rPr lang="el-GR" sz="2400" dirty="0">
                <a:effectLst/>
                <a:latin typeface="Arial" panose="020B0604020202020204" pitchFamily="34" charset="0"/>
                <a:ea typeface="Calibri" panose="020F0502020204030204" pitchFamily="34" charset="0"/>
                <a:cs typeface="Arial" panose="020B0604020202020204" pitchFamily="34" charset="0"/>
              </a:rPr>
              <a:t> μηχανισμών για ρεαλισμού </a:t>
            </a:r>
            <a:r>
              <a:rPr lang="el-GR" sz="2400" dirty="0" err="1">
                <a:effectLst/>
                <a:latin typeface="Arial" panose="020B0604020202020204" pitchFamily="34" charset="0"/>
                <a:ea typeface="Calibri" panose="020F0502020204030204" pitchFamily="34" charset="0"/>
                <a:cs typeface="Arial" panose="020B0604020202020204" pitchFamily="34" charset="0"/>
              </a:rPr>
              <a:t>game</a:t>
            </a:r>
            <a:r>
              <a:rPr lang="el-GR" sz="2400" dirty="0">
                <a:effectLst/>
                <a:latin typeface="Arial" panose="020B0604020202020204" pitchFamily="34" charset="0"/>
                <a:ea typeface="Calibri" panose="020F0502020204030204" pitchFamily="34" charset="0"/>
                <a:cs typeface="Arial" panose="020B0604020202020204" pitchFamily="34" charset="0"/>
              </a:rPr>
              <a:t> </a:t>
            </a:r>
            <a:r>
              <a:rPr lang="el-GR" sz="2400" dirty="0" err="1">
                <a:effectLst/>
                <a:latin typeface="Arial" panose="020B0604020202020204" pitchFamily="34" charset="0"/>
                <a:ea typeface="Calibri" panose="020F0502020204030204" pitchFamily="34" charset="0"/>
                <a:cs typeface="Arial" panose="020B0604020202020204" pitchFamily="34" charset="0"/>
              </a:rPr>
              <a:t>genre</a:t>
            </a:r>
            <a:endParaRPr lang="en-US" sz="2400" dirty="0">
              <a:effectLst/>
              <a:latin typeface="Arial" panose="020B0604020202020204" pitchFamily="34" charset="0"/>
              <a:ea typeface="Calibri" panose="020F0502020204030204" pitchFamily="34" charset="0"/>
              <a:cs typeface="Arial" panose="020B0604020202020204" pitchFamily="34" charset="0"/>
            </a:endParaRPr>
          </a:p>
          <a:p>
            <a:pPr marL="800100" lvl="1" indent="-342900" algn="just">
              <a:lnSpc>
                <a:spcPct val="150000"/>
              </a:lnSpc>
              <a:buFont typeface="Courier New" panose="02070309020205020404" pitchFamily="49" charset="0"/>
              <a:buChar char="o"/>
            </a:pPr>
            <a:r>
              <a:rPr lang="el-GR" sz="2400" dirty="0">
                <a:effectLst/>
                <a:latin typeface="Arial" panose="020B0604020202020204" pitchFamily="34" charset="0"/>
                <a:ea typeface="Calibri" panose="020F0502020204030204" pitchFamily="34" charset="0"/>
                <a:cs typeface="Arial" panose="020B0604020202020204" pitchFamily="34" charset="0"/>
              </a:rPr>
              <a:t>Υπηρεσίες φωνής για πραγματικού χρόνου μετάδοσης</a:t>
            </a:r>
            <a:endParaRPr lang="en-US" sz="2400" dirty="0">
              <a:effectLst/>
              <a:latin typeface="Arial" panose="020B0604020202020204" pitchFamily="34" charset="0"/>
              <a:ea typeface="Calibri" panose="020F0502020204030204" pitchFamily="34" charset="0"/>
              <a:cs typeface="Arial" panose="020B0604020202020204" pitchFamily="34" charset="0"/>
            </a:endParaRPr>
          </a:p>
          <a:p>
            <a:pPr marL="800100" lvl="1" indent="-342900" algn="just">
              <a:lnSpc>
                <a:spcPct val="150000"/>
              </a:lnSpc>
              <a:buFont typeface="Courier New" panose="02070309020205020404" pitchFamily="49" charset="0"/>
              <a:buChar char="o"/>
            </a:pPr>
            <a:r>
              <a:rPr lang="el-GR" sz="2400" dirty="0">
                <a:effectLst/>
                <a:latin typeface="Arial" panose="020B0604020202020204" pitchFamily="34" charset="0"/>
                <a:ea typeface="Calibri" panose="020F0502020204030204" pitchFamily="34" charset="0"/>
                <a:cs typeface="Arial" panose="020B0604020202020204" pitchFamily="34" charset="0"/>
              </a:rPr>
              <a:t>Επεξεργασία σήματος φωνής για προσομοιώσει εξασθένηση σήματος σε ειδικές περιοχές</a:t>
            </a:r>
            <a:endParaRPr lang="en-US" sz="2400" dirty="0">
              <a:effectLst/>
              <a:latin typeface="Arial" panose="020B0604020202020204" pitchFamily="34" charset="0"/>
              <a:ea typeface="Calibri" panose="020F0502020204030204" pitchFamily="34" charset="0"/>
              <a:cs typeface="Times New Roman" panose="02020603050405020304" pitchFamily="18" charset="0"/>
            </a:endParaRPr>
          </a:p>
          <a:p>
            <a:endParaRPr lang="el-GR"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Τα βήματα διαδικασίας για την δημιουργία των μηχανισμών</a:t>
            </a:r>
          </a:p>
          <a:p>
            <a:endParaRPr lang="en-US" sz="2400" dirty="0">
              <a:latin typeface="Arial" panose="020B0604020202020204" pitchFamily="34" charset="0"/>
              <a:cs typeface="Arial" panose="020B0604020202020204" pitchFamily="34" charset="0"/>
            </a:endParaRPr>
          </a:p>
        </p:txBody>
      </p:sp>
      <p:sp>
        <p:nvSpPr>
          <p:cNvPr id="40" name="TextBox 39">
            <a:extLst>
              <a:ext uri="{FF2B5EF4-FFF2-40B4-BE49-F238E27FC236}">
                <a16:creationId xmlns:a16="http://schemas.microsoft.com/office/drawing/2014/main" id="{0D86A5A9-0FCC-490C-8227-9B23EAEF15B4}"/>
              </a:ext>
            </a:extLst>
          </p:cNvPr>
          <p:cNvSpPr txBox="1"/>
          <p:nvPr/>
        </p:nvSpPr>
        <p:spPr>
          <a:xfrm>
            <a:off x="3445723" y="5930742"/>
            <a:ext cx="5300554" cy="707886"/>
          </a:xfrm>
          <a:prstGeom prst="rect">
            <a:avLst/>
          </a:prstGeom>
          <a:noFill/>
        </p:spPr>
        <p:txBody>
          <a:bodyPr wrap="none" rtlCol="0">
            <a:spAutoFit/>
          </a:bodyPr>
          <a:lstStyle/>
          <a:p>
            <a:r>
              <a:rPr lang="el-GR" sz="2000" dirty="0">
                <a:latin typeface="Arial" panose="020B0604020202020204" pitchFamily="34" charset="0"/>
                <a:cs typeface="Arial" panose="020B0604020202020204" pitchFamily="34" charset="0"/>
              </a:rPr>
              <a:t>Εχει χρησιμοποιηθεί</a:t>
            </a:r>
            <a:r>
              <a:rPr lang="en-US" sz="2000" dirty="0">
                <a:latin typeface="Arial" panose="020B0604020202020204" pitchFamily="34" charset="0"/>
                <a:cs typeface="Arial" panose="020B0604020202020204" pitchFamily="34" charset="0"/>
              </a:rPr>
              <a:t> </a:t>
            </a:r>
            <a:r>
              <a:rPr lang="el-GR" sz="2000" dirty="0">
                <a:latin typeface="Arial" panose="020B0604020202020204" pitchFamily="34" charset="0"/>
                <a:cs typeface="Arial" panose="020B0604020202020204" pitchFamily="34" charset="0"/>
              </a:rPr>
              <a:t>για </a:t>
            </a:r>
            <a:r>
              <a:rPr lang="en-US" sz="2000" dirty="0">
                <a:latin typeface="Arial" panose="020B0604020202020204" pitchFamily="34" charset="0"/>
                <a:cs typeface="Arial" panose="020B0604020202020204" pitchFamily="34" charset="0"/>
              </a:rPr>
              <a:t>project management</a:t>
            </a:r>
          </a:p>
          <a:p>
            <a:r>
              <a:rPr lang="en-US" sz="2000" dirty="0">
                <a:latin typeface="Arial" panose="020B0604020202020204" pitchFamily="34" charset="0"/>
                <a:cs typeface="Arial" panose="020B0604020202020204" pitchFamily="34" charset="0"/>
              </a:rPr>
              <a:t>agile development process (</a:t>
            </a:r>
            <a:r>
              <a:rPr lang="en-US" sz="2000" i="1" dirty="0">
                <a:latin typeface="Arial" panose="020B0604020202020204" pitchFamily="34" charset="0"/>
                <a:cs typeface="Arial" panose="020B0604020202020204" pitchFamily="34" charset="0"/>
              </a:rPr>
              <a:t>scrum</a:t>
            </a:r>
            <a:r>
              <a:rPr lang="en-US" sz="2000" dirty="0">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409865646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77D3D9EA-C7F9-41A5-B53E-06AB91EEE837}"/>
              </a:ext>
            </a:extLst>
          </p:cNvPr>
          <p:cNvSpPr txBox="1"/>
          <p:nvPr/>
        </p:nvSpPr>
        <p:spPr>
          <a:xfrm>
            <a:off x="1126837" y="1396981"/>
            <a:ext cx="10150647" cy="2431435"/>
          </a:xfrm>
          <a:prstGeom prst="rect">
            <a:avLst/>
          </a:prstGeom>
          <a:noFill/>
        </p:spPr>
        <p:txBody>
          <a:bodyPr wrap="square" rtlCol="0">
            <a:spAutoFit/>
          </a:bodyPr>
          <a:lstStyle/>
          <a:p>
            <a:r>
              <a:rPr lang="el-GR" sz="2400" dirty="0">
                <a:effectLst/>
                <a:latin typeface="Arial" panose="020B0604020202020204" pitchFamily="34" charset="0"/>
                <a:ea typeface="Calibri" panose="020F0502020204030204" pitchFamily="34" charset="0"/>
                <a:cs typeface="Arial" panose="020B0604020202020204" pitchFamily="34" charset="0"/>
              </a:rPr>
              <a:t>Η παρούσα εργασία συστημάτων παιχνιδιού εγκρίθηκε και δημοσιεύτηκε στην επίσημη πλατφόρμα της </a:t>
            </a:r>
            <a:r>
              <a:rPr lang="en-US" sz="2400" u="sng" dirty="0">
                <a:solidFill>
                  <a:srgbClr val="0563C1"/>
                </a:solidFill>
                <a:effectLst/>
                <a:latin typeface="Arial" panose="020B0604020202020204" pitchFamily="34" charset="0"/>
                <a:ea typeface="Calibri" panose="020F0502020204030204" pitchFamily="34" charset="0"/>
                <a:cs typeface="Arial" panose="020B0604020202020204" pitchFamily="34" charset="0"/>
                <a:hlinkClick r:id="rId3"/>
              </a:rPr>
              <a:t>Unreal Engine Marketplace</a:t>
            </a:r>
            <a:r>
              <a:rPr lang="el-GR" sz="2400" dirty="0">
                <a:effectLst/>
                <a:latin typeface="Arial" panose="020B0604020202020204" pitchFamily="34" charset="0"/>
                <a:ea typeface="Calibri" panose="020F0502020204030204" pitchFamily="34" charset="0"/>
                <a:cs typeface="Arial" panose="020B0604020202020204" pitchFamily="34" charset="0"/>
              </a:rPr>
              <a:t> καθώς </a:t>
            </a:r>
          </a:p>
          <a:p>
            <a:r>
              <a:rPr lang="el-GR" sz="2400" dirty="0">
                <a:effectLst/>
                <a:latin typeface="Arial" panose="020B0604020202020204" pitchFamily="34" charset="0"/>
                <a:ea typeface="Calibri" panose="020F0502020204030204" pitchFamily="34" charset="0"/>
                <a:cs typeface="Arial" panose="020B0604020202020204" pitchFamily="34" charset="0"/>
              </a:rPr>
              <a:t>έλαβε τα σωστά βήματα/</a:t>
            </a:r>
            <a:r>
              <a:rPr lang="en-US" sz="2400" dirty="0">
                <a:effectLst/>
                <a:latin typeface="Arial" panose="020B0604020202020204" pitchFamily="34" charset="0"/>
                <a:ea typeface="Calibri" panose="020F0502020204030204" pitchFamily="34" charset="0"/>
                <a:cs typeface="Arial" panose="020B0604020202020204" pitchFamily="34" charset="0"/>
              </a:rPr>
              <a:t>Guidelines</a:t>
            </a:r>
            <a:r>
              <a:rPr lang="el-GR" sz="2400" dirty="0">
                <a:effectLst/>
                <a:latin typeface="Arial" panose="020B0604020202020204" pitchFamily="34" charset="0"/>
                <a:ea typeface="Calibri" panose="020F0502020204030204" pitchFamily="34" charset="0"/>
                <a:cs typeface="Arial" panose="020B0604020202020204" pitchFamily="34" charset="0"/>
              </a:rPr>
              <a:t> που θα συνοψίσουμε παρακάτω για να έρθει εις πέρας ένα </a:t>
            </a:r>
            <a:r>
              <a:rPr lang="en-US" sz="2400" dirty="0">
                <a:effectLst/>
                <a:latin typeface="Arial" panose="020B0604020202020204" pitchFamily="34" charset="0"/>
                <a:ea typeface="Calibri" panose="020F0502020204030204" pitchFamily="34" charset="0"/>
                <a:cs typeface="Arial" panose="020B0604020202020204" pitchFamily="34" charset="0"/>
              </a:rPr>
              <a:t>project </a:t>
            </a:r>
            <a:r>
              <a:rPr lang="el-GR" sz="2400" dirty="0">
                <a:effectLst/>
                <a:latin typeface="Arial" panose="020B0604020202020204" pitchFamily="34" charset="0"/>
                <a:ea typeface="Calibri" panose="020F0502020204030204" pitchFamily="34" charset="0"/>
                <a:cs typeface="Arial" panose="020B0604020202020204" pitchFamily="34" charset="0"/>
              </a:rPr>
              <a:t>κομμάτι </a:t>
            </a:r>
            <a:r>
              <a:rPr lang="en-US" sz="2400" dirty="0">
                <a:effectLst/>
                <a:latin typeface="Arial" panose="020B0604020202020204" pitchFamily="34" charset="0"/>
                <a:ea typeface="Calibri" panose="020F0502020204030204" pitchFamily="34" charset="0"/>
                <a:cs typeface="Arial" panose="020B0604020202020204" pitchFamily="34" charset="0"/>
              </a:rPr>
              <a:t>video</a:t>
            </a:r>
            <a:r>
              <a:rPr lang="el-GR" sz="2400" dirty="0">
                <a:effectLst/>
                <a:latin typeface="Arial" panose="020B0604020202020204" pitchFamily="34" charset="0"/>
                <a:ea typeface="Calibri" panose="020F0502020204030204" pitchFamily="34" charset="0"/>
                <a:cs typeface="Arial" panose="020B0604020202020204" pitchFamily="34" charset="0"/>
              </a:rPr>
              <a:t>-</a:t>
            </a:r>
            <a:r>
              <a:rPr lang="en-US" sz="2400" dirty="0">
                <a:effectLst/>
                <a:latin typeface="Arial" panose="020B0604020202020204" pitchFamily="34" charset="0"/>
                <a:ea typeface="Calibri" panose="020F0502020204030204" pitchFamily="34" charset="0"/>
                <a:cs typeface="Arial" panose="020B0604020202020204" pitchFamily="34" charset="0"/>
              </a:rPr>
              <a:t>game</a:t>
            </a:r>
            <a:r>
              <a:rPr lang="el-GR" sz="2400" dirty="0">
                <a:effectLst/>
                <a:latin typeface="Arial" panose="020B0604020202020204" pitchFamily="34" charset="0"/>
                <a:ea typeface="Calibri" panose="020F0502020204030204" pitchFamily="34" charset="0"/>
                <a:cs typeface="Arial" panose="020B0604020202020204" pitchFamily="34" charset="0"/>
              </a:rPr>
              <a:t> με σωστή ροή από ιδέα -&gt; υλοποίηση.</a:t>
            </a:r>
            <a:endParaRPr lang="en-US" sz="2400" dirty="0">
              <a:effectLst/>
              <a:latin typeface="Arial" panose="020B0604020202020204" pitchFamily="34" charset="0"/>
              <a:ea typeface="Calibri" panose="020F0502020204030204" pitchFamily="34" charset="0"/>
              <a:cs typeface="Times New Roman" panose="02020603050405020304" pitchFamily="18" charset="0"/>
            </a:endParaRPr>
          </a:p>
          <a:p>
            <a:r>
              <a:rPr lang="el-GR" sz="3200" dirty="0">
                <a:latin typeface="Arial" panose="020B0604020202020204" pitchFamily="34" charset="0"/>
                <a:cs typeface="Arial" panose="020B0604020202020204" pitchFamily="34" charset="0"/>
              </a:rPr>
              <a:t> </a:t>
            </a:r>
            <a:endParaRPr lang="en-US" sz="3200" dirty="0">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7DAF0503-70F9-4A41-B053-4A471CF8A630}"/>
              </a:ext>
            </a:extLst>
          </p:cNvPr>
          <p:cNvSpPr txBox="1"/>
          <p:nvPr/>
        </p:nvSpPr>
        <p:spPr>
          <a:xfrm>
            <a:off x="1126837" y="573315"/>
            <a:ext cx="8153616" cy="523220"/>
          </a:xfrm>
          <a:prstGeom prst="rect">
            <a:avLst/>
          </a:prstGeom>
          <a:noFill/>
        </p:spPr>
        <p:txBody>
          <a:bodyPr wrap="square" rtlCol="0">
            <a:spAutoFit/>
          </a:bodyPr>
          <a:lstStyle/>
          <a:p>
            <a:r>
              <a:rPr lang="el-GR" sz="2800" b="1" dirty="0">
                <a:latin typeface="Arial" panose="020B0604020202020204" pitchFamily="34" charset="0"/>
                <a:cs typeface="Arial" panose="020B0604020202020204" pitchFamily="34" charset="0"/>
              </a:rPr>
              <a:t>Η τρέχουσα υλοποίηση του έργου</a:t>
            </a:r>
            <a:endParaRPr lang="en-US" sz="2800" b="1" dirty="0">
              <a:latin typeface="Arial" panose="020B0604020202020204" pitchFamily="34" charset="0"/>
              <a:cs typeface="Arial" panose="020B0604020202020204" pitchFamily="34" charset="0"/>
            </a:endParaRPr>
          </a:p>
        </p:txBody>
      </p:sp>
      <p:pic>
        <p:nvPicPr>
          <p:cNvPr id="4" name="Picture 3">
            <a:extLst>
              <a:ext uri="{FF2B5EF4-FFF2-40B4-BE49-F238E27FC236}">
                <a16:creationId xmlns:a16="http://schemas.microsoft.com/office/drawing/2014/main" id="{D5C06F6F-3981-4F1D-96E6-8110C5A2D00A}"/>
              </a:ext>
            </a:extLst>
          </p:cNvPr>
          <p:cNvPicPr>
            <a:picLocks noChangeAspect="1"/>
          </p:cNvPicPr>
          <p:nvPr/>
        </p:nvPicPr>
        <p:blipFill>
          <a:blip r:embed="rId4"/>
          <a:stretch>
            <a:fillRect/>
          </a:stretch>
        </p:blipFill>
        <p:spPr>
          <a:xfrm>
            <a:off x="3188027" y="3292462"/>
            <a:ext cx="5815945" cy="3348935"/>
          </a:xfrm>
          <a:prstGeom prst="rect">
            <a:avLst/>
          </a:prstGeom>
        </p:spPr>
      </p:pic>
    </p:spTree>
    <p:extLst>
      <p:ext uri="{BB962C8B-B14F-4D97-AF65-F5344CB8AC3E}">
        <p14:creationId xmlns:p14="http://schemas.microsoft.com/office/powerpoint/2010/main" val="304093910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72" name="Group 71">
            <a:extLst>
              <a:ext uri="{FF2B5EF4-FFF2-40B4-BE49-F238E27FC236}">
                <a16:creationId xmlns:a16="http://schemas.microsoft.com/office/drawing/2014/main" id="{5A3B45A3-8312-4074-8D4E-020F01379F16}"/>
              </a:ext>
            </a:extLst>
          </p:cNvPr>
          <p:cNvGrpSpPr/>
          <p:nvPr/>
        </p:nvGrpSpPr>
        <p:grpSpPr>
          <a:xfrm>
            <a:off x="9547068" y="1913220"/>
            <a:ext cx="1146959" cy="954053"/>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3" name="Group 72">
              <a:extLst>
                <a:ext uri="{FF2B5EF4-FFF2-40B4-BE49-F238E27FC236}">
                  <a16:creationId xmlns:a16="http://schemas.microsoft.com/office/drawing/2014/main" id="{D0C00A9F-6CD1-4D04-85DA-2A446A2E2221}"/>
                </a:ext>
              </a:extLst>
            </p:cNvPr>
            <p:cNvGrpSpPr/>
            <p:nvPr/>
          </p:nvGrpSpPr>
          <p:grpSpPr>
            <a:xfrm>
              <a:off x="5241585" y="4198069"/>
              <a:ext cx="411449" cy="357382"/>
              <a:chOff x="5241585" y="4198069"/>
              <a:chExt cx="411449" cy="357382"/>
            </a:xfrm>
          </p:grpSpPr>
          <p:sp>
            <p:nvSpPr>
              <p:cNvPr id="75" name="Google Shape;658;p48">
                <a:extLst>
                  <a:ext uri="{FF2B5EF4-FFF2-40B4-BE49-F238E27FC236}">
                    <a16:creationId xmlns:a16="http://schemas.microsoft.com/office/drawing/2014/main" id="{1A7BA4C1-911B-4968-91CC-86D9FF20EF29}"/>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659;p48">
                <a:extLst>
                  <a:ext uri="{FF2B5EF4-FFF2-40B4-BE49-F238E27FC236}">
                    <a16:creationId xmlns:a16="http://schemas.microsoft.com/office/drawing/2014/main" id="{70AB00A4-A800-46C2-B29D-A66E597E9C05}"/>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7" name="Google Shape;660;p48">
                <a:extLst>
                  <a:ext uri="{FF2B5EF4-FFF2-40B4-BE49-F238E27FC236}">
                    <a16:creationId xmlns:a16="http://schemas.microsoft.com/office/drawing/2014/main" id="{3CFAE2F8-AD7F-4280-9B68-ACB6A6CE5196}"/>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4" name="Google Shape;661;p48">
              <a:extLst>
                <a:ext uri="{FF2B5EF4-FFF2-40B4-BE49-F238E27FC236}">
                  <a16:creationId xmlns:a16="http://schemas.microsoft.com/office/drawing/2014/main" id="{E1F852DD-B807-48F4-853D-BFBBCAC4A076}"/>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 name="Title 1">
            <a:extLst>
              <a:ext uri="{FF2B5EF4-FFF2-40B4-BE49-F238E27FC236}">
                <a16:creationId xmlns:a16="http://schemas.microsoft.com/office/drawing/2014/main" id="{EAE1F391-D916-4830-8E0E-3EDC61FD2F9B}"/>
              </a:ext>
            </a:extLst>
          </p:cNvPr>
          <p:cNvSpPr>
            <a:spLocks noGrp="1"/>
          </p:cNvSpPr>
          <p:nvPr>
            <p:ph type="title"/>
          </p:nvPr>
        </p:nvSpPr>
        <p:spPr>
          <a:xfrm>
            <a:off x="1141413" y="618518"/>
            <a:ext cx="9905998" cy="818396"/>
          </a:xfrm>
        </p:spPr>
        <p:txBody>
          <a:bodyPr/>
          <a:lstStyle/>
          <a:p>
            <a:r>
              <a:rPr lang="en-US" b="1" dirty="0">
                <a:latin typeface="Saira SemiCondensed ExtraBold" panose="00000906000000000000" charset="0"/>
              </a:rPr>
              <a:t>Table of contents | Agenda</a:t>
            </a:r>
          </a:p>
        </p:txBody>
      </p:sp>
      <p:sp>
        <p:nvSpPr>
          <p:cNvPr id="4" name="Google Shape;12;p2">
            <a:extLst>
              <a:ext uri="{FF2B5EF4-FFF2-40B4-BE49-F238E27FC236}">
                <a16:creationId xmlns:a16="http://schemas.microsoft.com/office/drawing/2014/main" id="{3417C127-2529-48A4-A6FA-F73B90C7BD1D}"/>
              </a:ext>
            </a:extLst>
          </p:cNvPr>
          <p:cNvSpPr/>
          <p:nvPr/>
        </p:nvSpPr>
        <p:spPr>
          <a:xfrm rot="2535377" flipH="1">
            <a:off x="9881864" y="-982886"/>
            <a:ext cx="2331093" cy="3202808"/>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726;p49">
            <a:extLst>
              <a:ext uri="{FF2B5EF4-FFF2-40B4-BE49-F238E27FC236}">
                <a16:creationId xmlns:a16="http://schemas.microsoft.com/office/drawing/2014/main" id="{B91FF6A3-8EF9-421F-9363-6C721FBE1879}"/>
              </a:ext>
            </a:extLst>
          </p:cNvPr>
          <p:cNvSpPr/>
          <p:nvPr/>
        </p:nvSpPr>
        <p:spPr>
          <a:xfrm>
            <a:off x="8596387" y="2101213"/>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727;p49">
            <a:extLst>
              <a:ext uri="{FF2B5EF4-FFF2-40B4-BE49-F238E27FC236}">
                <a16:creationId xmlns:a16="http://schemas.microsoft.com/office/drawing/2014/main" id="{D0B89849-11B6-4982-BC17-BF683C1E636B}"/>
              </a:ext>
            </a:extLst>
          </p:cNvPr>
          <p:cNvSpPr/>
          <p:nvPr/>
        </p:nvSpPr>
        <p:spPr>
          <a:xfrm>
            <a:off x="9942973" y="591744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728;p49">
            <a:extLst>
              <a:ext uri="{FF2B5EF4-FFF2-40B4-BE49-F238E27FC236}">
                <a16:creationId xmlns:a16="http://schemas.microsoft.com/office/drawing/2014/main" id="{78F25530-B2FD-4970-B1E8-37903F73E42F}"/>
              </a:ext>
            </a:extLst>
          </p:cNvPr>
          <p:cNvSpPr/>
          <p:nvPr/>
        </p:nvSpPr>
        <p:spPr>
          <a:xfrm>
            <a:off x="11304548" y="403241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37" name="Group 236">
            <a:extLst>
              <a:ext uri="{FF2B5EF4-FFF2-40B4-BE49-F238E27FC236}">
                <a16:creationId xmlns:a16="http://schemas.microsoft.com/office/drawing/2014/main" id="{679B6E61-0711-4888-88D6-DB7FA5517545}"/>
              </a:ext>
            </a:extLst>
          </p:cNvPr>
          <p:cNvGrpSpPr/>
          <p:nvPr/>
        </p:nvGrpSpPr>
        <p:grpSpPr>
          <a:xfrm>
            <a:off x="10007295" y="4813175"/>
            <a:ext cx="1187582" cy="1104265"/>
            <a:chOff x="9379963" y="4497336"/>
            <a:chExt cx="1187582" cy="1104265"/>
          </a:xfrm>
        </p:grpSpPr>
        <p:grpSp>
          <p:nvGrpSpPr>
            <p:cNvPr id="199" name="Google Shape;802;p51">
              <a:extLst>
                <a:ext uri="{FF2B5EF4-FFF2-40B4-BE49-F238E27FC236}">
                  <a16:creationId xmlns:a16="http://schemas.microsoft.com/office/drawing/2014/main" id="{9A82A80D-3FE3-4B7E-A752-D08A2C84E04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208" name="Google Shape;803;p51">
                <a:extLst>
                  <a:ext uri="{FF2B5EF4-FFF2-40B4-BE49-F238E27FC236}">
                    <a16:creationId xmlns:a16="http://schemas.microsoft.com/office/drawing/2014/main" id="{14D1BB29-BEA9-4895-AE9A-27FF5B3B1FE8}"/>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9" name="Google Shape;804;p51">
                <a:extLst>
                  <a:ext uri="{FF2B5EF4-FFF2-40B4-BE49-F238E27FC236}">
                    <a16:creationId xmlns:a16="http://schemas.microsoft.com/office/drawing/2014/main" id="{F449D03B-D5AE-46BC-9210-5451D17B6303}"/>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0" name="Google Shape;805;p51">
                <a:extLst>
                  <a:ext uri="{FF2B5EF4-FFF2-40B4-BE49-F238E27FC236}">
                    <a16:creationId xmlns:a16="http://schemas.microsoft.com/office/drawing/2014/main" id="{ABE71DCA-11B0-4C2B-85F2-533D14499AA5}"/>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1" name="Google Shape;806;p51">
                <a:extLst>
                  <a:ext uri="{FF2B5EF4-FFF2-40B4-BE49-F238E27FC236}">
                    <a16:creationId xmlns:a16="http://schemas.microsoft.com/office/drawing/2014/main" id="{2BB4A1CA-90E5-4DFA-B99C-94E905E95DC0}"/>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2" name="Google Shape;807;p51">
                <a:extLst>
                  <a:ext uri="{FF2B5EF4-FFF2-40B4-BE49-F238E27FC236}">
                    <a16:creationId xmlns:a16="http://schemas.microsoft.com/office/drawing/2014/main" id="{C2624088-5F12-416A-BBBC-52DC2B6E3B77}"/>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3" name="Google Shape;808;p51">
                <a:extLst>
                  <a:ext uri="{FF2B5EF4-FFF2-40B4-BE49-F238E27FC236}">
                    <a16:creationId xmlns:a16="http://schemas.microsoft.com/office/drawing/2014/main" id="{CA1DCC84-1DFB-450C-81C8-4DA987AB2360}"/>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4" name="Google Shape;809;p51">
                <a:extLst>
                  <a:ext uri="{FF2B5EF4-FFF2-40B4-BE49-F238E27FC236}">
                    <a16:creationId xmlns:a16="http://schemas.microsoft.com/office/drawing/2014/main" id="{2A7D488C-429B-4C91-B262-D7162333D195}"/>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5" name="Google Shape;810;p51">
                <a:extLst>
                  <a:ext uri="{FF2B5EF4-FFF2-40B4-BE49-F238E27FC236}">
                    <a16:creationId xmlns:a16="http://schemas.microsoft.com/office/drawing/2014/main" id="{E1A2FA00-382B-4DB2-8047-C1C8B870F6B7}"/>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6" name="Google Shape;811;p51">
                <a:extLst>
                  <a:ext uri="{FF2B5EF4-FFF2-40B4-BE49-F238E27FC236}">
                    <a16:creationId xmlns:a16="http://schemas.microsoft.com/office/drawing/2014/main" id="{10FA077E-CDB1-4BC7-A3F6-684F9C48E650}"/>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7" name="Google Shape;812;p51">
                <a:extLst>
                  <a:ext uri="{FF2B5EF4-FFF2-40B4-BE49-F238E27FC236}">
                    <a16:creationId xmlns:a16="http://schemas.microsoft.com/office/drawing/2014/main" id="{E7F638B4-9582-4A46-ADDE-EBF3B8A76642}"/>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8" name="Google Shape;813;p51">
                <a:extLst>
                  <a:ext uri="{FF2B5EF4-FFF2-40B4-BE49-F238E27FC236}">
                    <a16:creationId xmlns:a16="http://schemas.microsoft.com/office/drawing/2014/main" id="{C8391765-9248-455A-A148-472909664220}"/>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9" name="Google Shape;814;p51">
                <a:extLst>
                  <a:ext uri="{FF2B5EF4-FFF2-40B4-BE49-F238E27FC236}">
                    <a16:creationId xmlns:a16="http://schemas.microsoft.com/office/drawing/2014/main" id="{B491D9DB-9B29-4ED4-9380-26A45C88CD3B}"/>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0" name="Google Shape;815;p51">
                <a:extLst>
                  <a:ext uri="{FF2B5EF4-FFF2-40B4-BE49-F238E27FC236}">
                    <a16:creationId xmlns:a16="http://schemas.microsoft.com/office/drawing/2014/main" id="{DB8F31F2-EE10-4EDB-9FF2-8BE80DC99AD4}"/>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1" name="Google Shape;816;p51">
                <a:extLst>
                  <a:ext uri="{FF2B5EF4-FFF2-40B4-BE49-F238E27FC236}">
                    <a16:creationId xmlns:a16="http://schemas.microsoft.com/office/drawing/2014/main" id="{E0E06B48-E575-4E2B-B3F6-7B6FFCD542A7}"/>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2" name="Google Shape;817;p51">
                <a:extLst>
                  <a:ext uri="{FF2B5EF4-FFF2-40B4-BE49-F238E27FC236}">
                    <a16:creationId xmlns:a16="http://schemas.microsoft.com/office/drawing/2014/main" id="{017ADDA2-22BE-418E-8405-AC1D655507C9}"/>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3" name="Google Shape;818;p51">
                <a:extLst>
                  <a:ext uri="{FF2B5EF4-FFF2-40B4-BE49-F238E27FC236}">
                    <a16:creationId xmlns:a16="http://schemas.microsoft.com/office/drawing/2014/main" id="{8CA839D7-2DA4-44D2-9673-1927670B8915}"/>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4" name="Google Shape;819;p51">
                <a:extLst>
                  <a:ext uri="{FF2B5EF4-FFF2-40B4-BE49-F238E27FC236}">
                    <a16:creationId xmlns:a16="http://schemas.microsoft.com/office/drawing/2014/main" id="{9E1DF516-B0A5-4B08-9550-8DDA4A826DDC}"/>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5" name="Google Shape;820;p51">
                <a:extLst>
                  <a:ext uri="{FF2B5EF4-FFF2-40B4-BE49-F238E27FC236}">
                    <a16:creationId xmlns:a16="http://schemas.microsoft.com/office/drawing/2014/main" id="{C0C89776-593F-4A70-8D5F-ECE830E53F46}"/>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6" name="Google Shape;821;p51">
                <a:extLst>
                  <a:ext uri="{FF2B5EF4-FFF2-40B4-BE49-F238E27FC236}">
                    <a16:creationId xmlns:a16="http://schemas.microsoft.com/office/drawing/2014/main" id="{886D6B29-7610-422D-AC4B-7800A87355E1}"/>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7" name="Google Shape;822;p51">
                <a:extLst>
                  <a:ext uri="{FF2B5EF4-FFF2-40B4-BE49-F238E27FC236}">
                    <a16:creationId xmlns:a16="http://schemas.microsoft.com/office/drawing/2014/main" id="{FFA34F7A-FE6D-4891-A3A6-1419D0BC5E9F}"/>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8" name="Google Shape;823;p51">
                <a:extLst>
                  <a:ext uri="{FF2B5EF4-FFF2-40B4-BE49-F238E27FC236}">
                    <a16:creationId xmlns:a16="http://schemas.microsoft.com/office/drawing/2014/main" id="{01BC8C56-AFEA-4027-9BC2-761192883D8F}"/>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9" name="Google Shape;824;p51">
                <a:extLst>
                  <a:ext uri="{FF2B5EF4-FFF2-40B4-BE49-F238E27FC236}">
                    <a16:creationId xmlns:a16="http://schemas.microsoft.com/office/drawing/2014/main" id="{D95FD00D-538A-485C-AD48-2514F505092D}"/>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30" name="Google Shape;825;p51">
                <a:extLst>
                  <a:ext uri="{FF2B5EF4-FFF2-40B4-BE49-F238E27FC236}">
                    <a16:creationId xmlns:a16="http://schemas.microsoft.com/office/drawing/2014/main" id="{E8B4DB8C-E7F6-4A9B-9A3C-6999CC945A09}"/>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31" name="Google Shape;826;p51">
                <a:extLst>
                  <a:ext uri="{FF2B5EF4-FFF2-40B4-BE49-F238E27FC236}">
                    <a16:creationId xmlns:a16="http://schemas.microsoft.com/office/drawing/2014/main" id="{CC56D6D3-BC4E-4204-AC24-4B1717A2F188}"/>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32" name="Google Shape;827;p51">
                <a:extLst>
                  <a:ext uri="{FF2B5EF4-FFF2-40B4-BE49-F238E27FC236}">
                    <a16:creationId xmlns:a16="http://schemas.microsoft.com/office/drawing/2014/main" id="{9A569249-63A0-46B8-A2E7-34E86F0C0C8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41" name="Group 40">
              <a:extLst>
                <a:ext uri="{FF2B5EF4-FFF2-40B4-BE49-F238E27FC236}">
                  <a16:creationId xmlns:a16="http://schemas.microsoft.com/office/drawing/2014/main" id="{E845B152-7A9C-47CC-8108-01F6CE435F41}"/>
                </a:ext>
              </a:extLst>
            </p:cNvPr>
            <p:cNvGrpSpPr/>
            <p:nvPr/>
          </p:nvGrpSpPr>
          <p:grpSpPr>
            <a:xfrm>
              <a:off x="9459173" y="4651735"/>
              <a:ext cx="965465" cy="814701"/>
              <a:chOff x="2122052" y="4430998"/>
              <a:chExt cx="516998" cy="436265"/>
            </a:xfrm>
          </p:grpSpPr>
          <p:sp>
            <p:nvSpPr>
              <p:cNvPr id="42" name="Google Shape;663;p48">
                <a:extLst>
                  <a:ext uri="{FF2B5EF4-FFF2-40B4-BE49-F238E27FC236}">
                    <a16:creationId xmlns:a16="http://schemas.microsoft.com/office/drawing/2014/main" id="{E4DF6B59-83D7-44E5-9321-1CBFC5D4C40F}"/>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64;p48">
                <a:extLst>
                  <a:ext uri="{FF2B5EF4-FFF2-40B4-BE49-F238E27FC236}">
                    <a16:creationId xmlns:a16="http://schemas.microsoft.com/office/drawing/2014/main" id="{331A4A0C-40A8-4933-990C-49FDEFCE4DC0}"/>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65;p48">
                <a:extLst>
                  <a:ext uri="{FF2B5EF4-FFF2-40B4-BE49-F238E27FC236}">
                    <a16:creationId xmlns:a16="http://schemas.microsoft.com/office/drawing/2014/main" id="{BE7B27DC-9370-4A95-A274-6B54E604C164}"/>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66;p48">
                <a:extLst>
                  <a:ext uri="{FF2B5EF4-FFF2-40B4-BE49-F238E27FC236}">
                    <a16:creationId xmlns:a16="http://schemas.microsoft.com/office/drawing/2014/main" id="{C4FEAE79-B836-4AFA-956E-45574946DB46}"/>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67;p48">
                <a:extLst>
                  <a:ext uri="{FF2B5EF4-FFF2-40B4-BE49-F238E27FC236}">
                    <a16:creationId xmlns:a16="http://schemas.microsoft.com/office/drawing/2014/main" id="{4EF5C876-60F7-4DFA-A9F7-0F6981531956}"/>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668;p48">
                <a:extLst>
                  <a:ext uri="{FF2B5EF4-FFF2-40B4-BE49-F238E27FC236}">
                    <a16:creationId xmlns:a16="http://schemas.microsoft.com/office/drawing/2014/main" id="{BDB1E6AB-2A91-4DE9-BA18-66293A82213C}"/>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8" name="Google Shape;669;p48">
                <a:extLst>
                  <a:ext uri="{FF2B5EF4-FFF2-40B4-BE49-F238E27FC236}">
                    <a16:creationId xmlns:a16="http://schemas.microsoft.com/office/drawing/2014/main" id="{39034831-F0FC-4A36-A408-F0C003DC0C7D}"/>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70;p48">
                <a:extLst>
                  <a:ext uri="{FF2B5EF4-FFF2-40B4-BE49-F238E27FC236}">
                    <a16:creationId xmlns:a16="http://schemas.microsoft.com/office/drawing/2014/main" id="{CA555B6D-5079-4AAC-A44E-A00E464DC8B4}"/>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71;p48">
                <a:extLst>
                  <a:ext uri="{FF2B5EF4-FFF2-40B4-BE49-F238E27FC236}">
                    <a16:creationId xmlns:a16="http://schemas.microsoft.com/office/drawing/2014/main" id="{BD9FB926-AEE1-40C9-87FF-D5FFABCE82FB}"/>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672;p48">
                <a:extLst>
                  <a:ext uri="{FF2B5EF4-FFF2-40B4-BE49-F238E27FC236}">
                    <a16:creationId xmlns:a16="http://schemas.microsoft.com/office/drawing/2014/main" id="{26C95C5F-B2E1-4097-A15D-DC03FD6A354C}"/>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673;p48">
                <a:extLst>
                  <a:ext uri="{FF2B5EF4-FFF2-40B4-BE49-F238E27FC236}">
                    <a16:creationId xmlns:a16="http://schemas.microsoft.com/office/drawing/2014/main" id="{73DF952E-A5FB-4812-ADDE-E5C990B910D1}"/>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674;p48">
                <a:extLst>
                  <a:ext uri="{FF2B5EF4-FFF2-40B4-BE49-F238E27FC236}">
                    <a16:creationId xmlns:a16="http://schemas.microsoft.com/office/drawing/2014/main" id="{9505BEEF-4B4F-4536-8F6C-65D06F256EB5}"/>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675;p48">
                <a:extLst>
                  <a:ext uri="{FF2B5EF4-FFF2-40B4-BE49-F238E27FC236}">
                    <a16:creationId xmlns:a16="http://schemas.microsoft.com/office/drawing/2014/main" id="{CECB23DD-9AB5-4EB5-9AB8-5EE3BEC76594}"/>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676;p48">
                <a:extLst>
                  <a:ext uri="{FF2B5EF4-FFF2-40B4-BE49-F238E27FC236}">
                    <a16:creationId xmlns:a16="http://schemas.microsoft.com/office/drawing/2014/main" id="{77BD35B1-AC77-4710-BBDA-3E85E9F63458}"/>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677;p48">
                <a:extLst>
                  <a:ext uri="{FF2B5EF4-FFF2-40B4-BE49-F238E27FC236}">
                    <a16:creationId xmlns:a16="http://schemas.microsoft.com/office/drawing/2014/main" id="{27814F7B-4057-4D1F-A6E2-D456374BDC63}"/>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678;p48">
                <a:extLst>
                  <a:ext uri="{FF2B5EF4-FFF2-40B4-BE49-F238E27FC236}">
                    <a16:creationId xmlns:a16="http://schemas.microsoft.com/office/drawing/2014/main" id="{20FC8F96-1BD4-465C-A31C-533F248920F6}"/>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679;p48">
                <a:extLst>
                  <a:ext uri="{FF2B5EF4-FFF2-40B4-BE49-F238E27FC236}">
                    <a16:creationId xmlns:a16="http://schemas.microsoft.com/office/drawing/2014/main" id="{9A9912BF-1954-4AE6-9520-C1588741C0F8}"/>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680;p48">
                <a:extLst>
                  <a:ext uri="{FF2B5EF4-FFF2-40B4-BE49-F238E27FC236}">
                    <a16:creationId xmlns:a16="http://schemas.microsoft.com/office/drawing/2014/main" id="{AE770F42-57A2-432F-BF9E-77DAD2BAB08C}"/>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681;p48">
                <a:extLst>
                  <a:ext uri="{FF2B5EF4-FFF2-40B4-BE49-F238E27FC236}">
                    <a16:creationId xmlns:a16="http://schemas.microsoft.com/office/drawing/2014/main" id="{3D1E4847-7936-4A45-A36C-CB40050AD944}"/>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682;p48">
                <a:extLst>
                  <a:ext uri="{FF2B5EF4-FFF2-40B4-BE49-F238E27FC236}">
                    <a16:creationId xmlns:a16="http://schemas.microsoft.com/office/drawing/2014/main" id="{B06BEC38-5ED4-4CCC-8157-9362036210C3}"/>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683;p48">
                <a:extLst>
                  <a:ext uri="{FF2B5EF4-FFF2-40B4-BE49-F238E27FC236}">
                    <a16:creationId xmlns:a16="http://schemas.microsoft.com/office/drawing/2014/main" id="{C2CBAEFE-B7FC-47AA-8C85-1C89E3BBBDCF}"/>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3" name="Google Shape;684;p48">
                <a:extLst>
                  <a:ext uri="{FF2B5EF4-FFF2-40B4-BE49-F238E27FC236}">
                    <a16:creationId xmlns:a16="http://schemas.microsoft.com/office/drawing/2014/main" id="{5E60BCEB-60A6-41A0-959C-96DF3DF5CAF9}"/>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685;p48">
                <a:extLst>
                  <a:ext uri="{FF2B5EF4-FFF2-40B4-BE49-F238E27FC236}">
                    <a16:creationId xmlns:a16="http://schemas.microsoft.com/office/drawing/2014/main" id="{E7A5ECC6-6843-4356-89F0-0BA2C3A1CBB8}"/>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686;p48">
                <a:extLst>
                  <a:ext uri="{FF2B5EF4-FFF2-40B4-BE49-F238E27FC236}">
                    <a16:creationId xmlns:a16="http://schemas.microsoft.com/office/drawing/2014/main" id="{1B5DFBCC-392B-42EE-8075-99905FB08A92}"/>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687;p48">
                <a:extLst>
                  <a:ext uri="{FF2B5EF4-FFF2-40B4-BE49-F238E27FC236}">
                    <a16:creationId xmlns:a16="http://schemas.microsoft.com/office/drawing/2014/main" id="{41A3117F-E6FA-43A2-9E00-D27D3036B156}"/>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9" name="Google Shape;776;p51">
            <a:extLst>
              <a:ext uri="{FF2B5EF4-FFF2-40B4-BE49-F238E27FC236}">
                <a16:creationId xmlns:a16="http://schemas.microsoft.com/office/drawing/2014/main" id="{6E2FA04C-93C1-462E-8E7C-6D20C25A1F25}"/>
              </a:ext>
            </a:extLst>
          </p:cNvPr>
          <p:cNvSpPr/>
          <p:nvPr/>
        </p:nvSpPr>
        <p:spPr>
          <a:xfrm>
            <a:off x="1291267" y="1878151"/>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782;p51">
            <a:extLst>
              <a:ext uri="{FF2B5EF4-FFF2-40B4-BE49-F238E27FC236}">
                <a16:creationId xmlns:a16="http://schemas.microsoft.com/office/drawing/2014/main" id="{D74621CE-666A-468B-AE15-AA2287B0CD8C}"/>
              </a:ext>
            </a:extLst>
          </p:cNvPr>
          <p:cNvSpPr txBox="1">
            <a:spLocks/>
          </p:cNvSpPr>
          <p:nvPr/>
        </p:nvSpPr>
        <p:spPr>
          <a:xfrm>
            <a:off x="1261304" y="1878151"/>
            <a:ext cx="813900" cy="875400"/>
          </a:xfrm>
          <a:prstGeom prst="rect">
            <a:avLst/>
          </a:prstGeom>
          <a:effectLst>
            <a:glow>
              <a:schemeClr val="accent1">
                <a:satMod val="175000"/>
              </a:schemeClr>
            </a:glow>
          </a:effectLst>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1</a:t>
            </a:r>
          </a:p>
        </p:txBody>
      </p:sp>
      <p:sp>
        <p:nvSpPr>
          <p:cNvPr id="81" name="Google Shape;776;p51">
            <a:extLst>
              <a:ext uri="{FF2B5EF4-FFF2-40B4-BE49-F238E27FC236}">
                <a16:creationId xmlns:a16="http://schemas.microsoft.com/office/drawing/2014/main" id="{E8B6F9CD-39AB-4531-85A4-170A5C0BBF66}"/>
              </a:ext>
            </a:extLst>
          </p:cNvPr>
          <p:cNvSpPr/>
          <p:nvPr/>
        </p:nvSpPr>
        <p:spPr>
          <a:xfrm>
            <a:off x="1322851" y="3147193"/>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782;p51">
            <a:extLst>
              <a:ext uri="{FF2B5EF4-FFF2-40B4-BE49-F238E27FC236}">
                <a16:creationId xmlns:a16="http://schemas.microsoft.com/office/drawing/2014/main" id="{422BA151-349B-44BC-867C-357FA338BC96}"/>
              </a:ext>
            </a:extLst>
          </p:cNvPr>
          <p:cNvSpPr txBox="1">
            <a:spLocks/>
          </p:cNvSpPr>
          <p:nvPr/>
        </p:nvSpPr>
        <p:spPr>
          <a:xfrm>
            <a:off x="1292888" y="3147193"/>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2</a:t>
            </a:r>
          </a:p>
        </p:txBody>
      </p:sp>
      <p:sp>
        <p:nvSpPr>
          <p:cNvPr id="83" name="Google Shape;776;p51">
            <a:extLst>
              <a:ext uri="{FF2B5EF4-FFF2-40B4-BE49-F238E27FC236}">
                <a16:creationId xmlns:a16="http://schemas.microsoft.com/office/drawing/2014/main" id="{E4850C27-B530-4CC2-AC00-7133216F69CA}"/>
              </a:ext>
            </a:extLst>
          </p:cNvPr>
          <p:cNvSpPr/>
          <p:nvPr/>
        </p:nvSpPr>
        <p:spPr>
          <a:xfrm>
            <a:off x="1289690" y="5043886"/>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782;p51">
            <a:extLst>
              <a:ext uri="{FF2B5EF4-FFF2-40B4-BE49-F238E27FC236}">
                <a16:creationId xmlns:a16="http://schemas.microsoft.com/office/drawing/2014/main" id="{F12079F9-10B5-419B-BC83-AA939584D673}"/>
              </a:ext>
            </a:extLst>
          </p:cNvPr>
          <p:cNvSpPr txBox="1">
            <a:spLocks/>
          </p:cNvSpPr>
          <p:nvPr/>
        </p:nvSpPr>
        <p:spPr>
          <a:xfrm>
            <a:off x="1259727" y="5043886"/>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3</a:t>
            </a:r>
          </a:p>
        </p:txBody>
      </p:sp>
      <p:sp>
        <p:nvSpPr>
          <p:cNvPr id="101" name="Google Shape;776;p51">
            <a:extLst>
              <a:ext uri="{FF2B5EF4-FFF2-40B4-BE49-F238E27FC236}">
                <a16:creationId xmlns:a16="http://schemas.microsoft.com/office/drawing/2014/main" id="{6F2CC6D8-E8EE-4409-815A-B60FD8BAFE5F}"/>
              </a:ext>
            </a:extLst>
          </p:cNvPr>
          <p:cNvSpPr/>
          <p:nvPr/>
        </p:nvSpPr>
        <p:spPr>
          <a:xfrm>
            <a:off x="6039844" y="1834022"/>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782;p51">
            <a:extLst>
              <a:ext uri="{FF2B5EF4-FFF2-40B4-BE49-F238E27FC236}">
                <a16:creationId xmlns:a16="http://schemas.microsoft.com/office/drawing/2014/main" id="{33DDF72C-C537-4B01-8C01-1A1535D1C33B}"/>
              </a:ext>
            </a:extLst>
          </p:cNvPr>
          <p:cNvSpPr txBox="1">
            <a:spLocks/>
          </p:cNvSpPr>
          <p:nvPr/>
        </p:nvSpPr>
        <p:spPr>
          <a:xfrm>
            <a:off x="6009881" y="1834022"/>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a:t>
            </a:r>
            <a:r>
              <a:rPr lang="en-US" sz="30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a:t>
            </a:r>
          </a:p>
        </p:txBody>
      </p:sp>
      <p:sp>
        <p:nvSpPr>
          <p:cNvPr id="103" name="Google Shape;776;p51">
            <a:extLst>
              <a:ext uri="{FF2B5EF4-FFF2-40B4-BE49-F238E27FC236}">
                <a16:creationId xmlns:a16="http://schemas.microsoft.com/office/drawing/2014/main" id="{720F78DA-FA30-4207-BAB9-696491B1274D}"/>
              </a:ext>
            </a:extLst>
          </p:cNvPr>
          <p:cNvSpPr/>
          <p:nvPr/>
        </p:nvSpPr>
        <p:spPr>
          <a:xfrm>
            <a:off x="6054464" y="3077620"/>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4" name="Google Shape;782;p51">
            <a:extLst>
              <a:ext uri="{FF2B5EF4-FFF2-40B4-BE49-F238E27FC236}">
                <a16:creationId xmlns:a16="http://schemas.microsoft.com/office/drawing/2014/main" id="{BFF1F449-5DAF-47E0-B0EF-12C64978D54D}"/>
              </a:ext>
            </a:extLst>
          </p:cNvPr>
          <p:cNvSpPr txBox="1">
            <a:spLocks/>
          </p:cNvSpPr>
          <p:nvPr/>
        </p:nvSpPr>
        <p:spPr>
          <a:xfrm>
            <a:off x="6024501" y="3077620"/>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5</a:t>
            </a:r>
          </a:p>
        </p:txBody>
      </p:sp>
      <p:sp>
        <p:nvSpPr>
          <p:cNvPr id="105" name="Google Shape;776;p51">
            <a:extLst>
              <a:ext uri="{FF2B5EF4-FFF2-40B4-BE49-F238E27FC236}">
                <a16:creationId xmlns:a16="http://schemas.microsoft.com/office/drawing/2014/main" id="{480CD45E-BA9D-4A86-A20C-DAD3D66B554F}"/>
              </a:ext>
            </a:extLst>
          </p:cNvPr>
          <p:cNvSpPr/>
          <p:nvPr/>
        </p:nvSpPr>
        <p:spPr>
          <a:xfrm>
            <a:off x="6073947" y="5045611"/>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782;p51">
            <a:extLst>
              <a:ext uri="{FF2B5EF4-FFF2-40B4-BE49-F238E27FC236}">
                <a16:creationId xmlns:a16="http://schemas.microsoft.com/office/drawing/2014/main" id="{F3D350C7-F831-4D04-B669-CB308F57C329}"/>
              </a:ext>
            </a:extLst>
          </p:cNvPr>
          <p:cNvSpPr txBox="1">
            <a:spLocks/>
          </p:cNvSpPr>
          <p:nvPr/>
        </p:nvSpPr>
        <p:spPr>
          <a:xfrm>
            <a:off x="6043984" y="5045611"/>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6</a:t>
            </a:r>
          </a:p>
        </p:txBody>
      </p:sp>
      <p:sp>
        <p:nvSpPr>
          <p:cNvPr id="186" name="Google Shape;789;p51">
            <a:extLst>
              <a:ext uri="{FF2B5EF4-FFF2-40B4-BE49-F238E27FC236}">
                <a16:creationId xmlns:a16="http://schemas.microsoft.com/office/drawing/2014/main" id="{975EEAE4-8625-49DD-816B-0386513D2308}"/>
              </a:ext>
            </a:extLst>
          </p:cNvPr>
          <p:cNvSpPr txBox="1">
            <a:spLocks/>
          </p:cNvSpPr>
          <p:nvPr/>
        </p:nvSpPr>
        <p:spPr>
          <a:xfrm>
            <a:off x="2071451" y="2391790"/>
            <a:ext cx="3404953" cy="80407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l-GR" sz="2000" kern="0" dirty="0">
                <a:solidFill>
                  <a:srgbClr val="FFFFFF"/>
                </a:solidFill>
                <a:latin typeface="Arial" panose="020B0604020202020204" pitchFamily="34" charset="0"/>
                <a:cs typeface="Arial" panose="020B0604020202020204" pitchFamily="34" charset="0"/>
              </a:rPr>
              <a:t>Έρευνα για το </a:t>
            </a:r>
            <a:r>
              <a:rPr lang="en-US" sz="2000" kern="0" dirty="0">
                <a:solidFill>
                  <a:srgbClr val="FFFFFF"/>
                </a:solidFill>
                <a:latin typeface="Arial" panose="020B0604020202020204" pitchFamily="34" charset="0"/>
                <a:cs typeface="Arial" panose="020B0604020202020204" pitchFamily="34" charset="0"/>
              </a:rPr>
              <a:t>metaverse</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AV/VR </a:t>
            </a:r>
            <a:r>
              <a:rPr kumimoji="0" lang="el-GR"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στην κοινωνία</a:t>
            </a:r>
            <a:endPar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sz="2000" kern="0" dirty="0">
                <a:solidFill>
                  <a:srgbClr val="FFFFFF"/>
                </a:solidFill>
                <a:latin typeface="Arial" panose="020B0604020202020204" pitchFamily="34" charset="0"/>
                <a:cs typeface="Arial" panose="020B0604020202020204" pitchFamily="34" charset="0"/>
              </a:rPr>
              <a:t>Gameplay Mechanics</a:t>
            </a:r>
            <a:endPar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sp>
        <p:nvSpPr>
          <p:cNvPr id="187" name="Google Shape;790;p51">
            <a:extLst>
              <a:ext uri="{FF2B5EF4-FFF2-40B4-BE49-F238E27FC236}">
                <a16:creationId xmlns:a16="http://schemas.microsoft.com/office/drawing/2014/main" id="{2823E2E2-60F1-42F4-B073-E22565D9A7DB}"/>
              </a:ext>
            </a:extLst>
          </p:cNvPr>
          <p:cNvSpPr txBox="1">
            <a:spLocks/>
          </p:cNvSpPr>
          <p:nvPr/>
        </p:nvSpPr>
        <p:spPr>
          <a:xfrm>
            <a:off x="2071451" y="1938873"/>
            <a:ext cx="3240967" cy="340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Σχετικά με το </a:t>
            </a:r>
            <a:r>
              <a:rPr kumimoji="0" lang="en-US"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project</a:t>
            </a:r>
          </a:p>
        </p:txBody>
      </p:sp>
      <p:sp>
        <p:nvSpPr>
          <p:cNvPr id="188" name="Google Shape;791;p51">
            <a:extLst>
              <a:ext uri="{FF2B5EF4-FFF2-40B4-BE49-F238E27FC236}">
                <a16:creationId xmlns:a16="http://schemas.microsoft.com/office/drawing/2014/main" id="{5A105597-B427-4676-B293-68E4E654B16F}"/>
              </a:ext>
            </a:extLst>
          </p:cNvPr>
          <p:cNvSpPr txBox="1">
            <a:spLocks/>
          </p:cNvSpPr>
          <p:nvPr/>
        </p:nvSpPr>
        <p:spPr>
          <a:xfrm>
            <a:off x="2105020" y="3303424"/>
            <a:ext cx="3120300" cy="34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Βασικές απαιτήσεις</a:t>
            </a:r>
            <a:endParaRPr kumimoji="0" lang="en-US"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endParaRPr>
          </a:p>
        </p:txBody>
      </p:sp>
      <p:sp>
        <p:nvSpPr>
          <p:cNvPr id="189" name="Google Shape;792;p51">
            <a:extLst>
              <a:ext uri="{FF2B5EF4-FFF2-40B4-BE49-F238E27FC236}">
                <a16:creationId xmlns:a16="http://schemas.microsoft.com/office/drawing/2014/main" id="{59E58A75-071F-4E45-8DAD-6A6714B47A2E}"/>
              </a:ext>
            </a:extLst>
          </p:cNvPr>
          <p:cNvSpPr txBox="1">
            <a:spLocks/>
          </p:cNvSpPr>
          <p:nvPr/>
        </p:nvSpPr>
        <p:spPr>
          <a:xfrm>
            <a:off x="2103590" y="3738562"/>
            <a:ext cx="4025978" cy="135618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indent="-285750" defTabSz="914400">
              <a:buClr>
                <a:schemeClr val="tx1"/>
              </a:buClr>
              <a:buSzPts val="1100"/>
              <a:buFont typeface="Arial" panose="020B0604020202020204" pitchFamily="34" charset="0"/>
              <a:buChar char="•"/>
              <a:defRPr/>
            </a:pPr>
            <a:r>
              <a:rPr kumimoji="0" lang="el-GR"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έρευνα σε διαφορετικά χρονικά ορόσημα – χρήση τεχνολογίας</a:t>
            </a:r>
          </a:p>
          <a:p>
            <a:pPr marL="285750" indent="-285750" defTabSz="914400">
              <a:buClr>
                <a:schemeClr val="tx1"/>
              </a:buClr>
              <a:buSzPts val="1100"/>
              <a:buFont typeface="Arial" panose="020B0604020202020204" pitchFamily="34" charset="0"/>
              <a:buChar char="•"/>
              <a:defRPr/>
            </a:pPr>
            <a:r>
              <a:rPr kumimoji="0" lang="el-GR"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Συγκρίσεις προϊόντων</a:t>
            </a:r>
          </a:p>
          <a:p>
            <a:pPr marL="285750" indent="-285750" defTabSz="914400">
              <a:buClr>
                <a:schemeClr val="tx1"/>
              </a:buClr>
              <a:buSzPts val="1100"/>
              <a:buFont typeface="Arial" panose="020B0604020202020204" pitchFamily="34" charset="0"/>
              <a:buChar char="•"/>
              <a:defRPr/>
            </a:pPr>
            <a:r>
              <a:rPr kumimoji="0" lang="el-GR"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Αντίστροφη μηχανική προϊόντων</a:t>
            </a:r>
            <a:endPar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sp>
        <p:nvSpPr>
          <p:cNvPr id="190" name="Google Shape;793;p51">
            <a:extLst>
              <a:ext uri="{FF2B5EF4-FFF2-40B4-BE49-F238E27FC236}">
                <a16:creationId xmlns:a16="http://schemas.microsoft.com/office/drawing/2014/main" id="{64B2A6DC-BA91-4625-9ED4-1AA86A01B33D}"/>
              </a:ext>
            </a:extLst>
          </p:cNvPr>
          <p:cNvSpPr txBox="1">
            <a:spLocks/>
          </p:cNvSpPr>
          <p:nvPr/>
        </p:nvSpPr>
        <p:spPr>
          <a:xfrm>
            <a:off x="6822673" y="1893075"/>
            <a:ext cx="3120300" cy="340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Sneak peek</a:t>
            </a:r>
          </a:p>
        </p:txBody>
      </p:sp>
      <p:sp>
        <p:nvSpPr>
          <p:cNvPr id="191" name="Google Shape;794;p51">
            <a:extLst>
              <a:ext uri="{FF2B5EF4-FFF2-40B4-BE49-F238E27FC236}">
                <a16:creationId xmlns:a16="http://schemas.microsoft.com/office/drawing/2014/main" id="{C76CB409-D3EA-4C54-99A4-281C5A763DA0}"/>
              </a:ext>
            </a:extLst>
          </p:cNvPr>
          <p:cNvSpPr txBox="1">
            <a:spLocks/>
          </p:cNvSpPr>
          <p:nvPr/>
        </p:nvSpPr>
        <p:spPr>
          <a:xfrm>
            <a:off x="6816803" y="2164951"/>
            <a:ext cx="2521200" cy="588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What’s on the table</a:t>
            </a:r>
          </a:p>
        </p:txBody>
      </p:sp>
      <p:sp>
        <p:nvSpPr>
          <p:cNvPr id="192" name="Google Shape;795;p51">
            <a:extLst>
              <a:ext uri="{FF2B5EF4-FFF2-40B4-BE49-F238E27FC236}">
                <a16:creationId xmlns:a16="http://schemas.microsoft.com/office/drawing/2014/main" id="{4BD274A5-DC22-497E-BAE4-3D6280540354}"/>
              </a:ext>
            </a:extLst>
          </p:cNvPr>
          <p:cNvSpPr txBox="1">
            <a:spLocks/>
          </p:cNvSpPr>
          <p:nvPr/>
        </p:nvSpPr>
        <p:spPr>
          <a:xfrm>
            <a:off x="6839277" y="3235018"/>
            <a:ext cx="3120300" cy="34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Στάδια έργου</a:t>
            </a:r>
            <a:endParaRPr kumimoji="0" lang="en-US"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endParaRPr>
          </a:p>
        </p:txBody>
      </p:sp>
      <p:sp>
        <p:nvSpPr>
          <p:cNvPr id="193" name="Google Shape;796;p51">
            <a:extLst>
              <a:ext uri="{FF2B5EF4-FFF2-40B4-BE49-F238E27FC236}">
                <a16:creationId xmlns:a16="http://schemas.microsoft.com/office/drawing/2014/main" id="{F0F344DB-5CF1-4584-8713-FB4A1E617B93}"/>
              </a:ext>
            </a:extLst>
          </p:cNvPr>
          <p:cNvSpPr txBox="1">
            <a:spLocks/>
          </p:cNvSpPr>
          <p:nvPr/>
        </p:nvSpPr>
        <p:spPr>
          <a:xfrm>
            <a:off x="6839273" y="3619394"/>
            <a:ext cx="3911428" cy="1717176"/>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Αποκάλυψη των σταδίων κατασκευής</a:t>
            </a:r>
            <a:endPar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l-GR"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Έρευνα</a:t>
            </a:r>
            <a:endPar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l-GR" sz="2000" kern="0" dirty="0">
                <a:solidFill>
                  <a:srgbClr val="FFFFFF"/>
                </a:solidFill>
                <a:latin typeface="Arial" panose="020B0604020202020204" pitchFamily="34" charset="0"/>
                <a:cs typeface="Arial" panose="020B0604020202020204" pitchFamily="34" charset="0"/>
              </a:rPr>
              <a:t>Ανάπτυξη</a:t>
            </a:r>
            <a:endParaRPr lang="en-US" sz="2000" kern="0" dirty="0">
              <a:solidFill>
                <a:srgbClr val="FFFFFF"/>
              </a:solidFill>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l-GR"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Εξέλιξη</a:t>
            </a:r>
            <a:r>
              <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 Iteration Build</a:t>
            </a:r>
          </a:p>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lang="en-US" sz="1800" b="0" i="0" u="none" strike="noStrike" kern="0" cap="none" spc="0" normalizeH="0" baseline="0" noProof="0" dirty="0">
              <a:ln>
                <a:noFill/>
              </a:ln>
              <a:solidFill>
                <a:srgbClr val="FFFFFF"/>
              </a:solidFill>
              <a:effectLst/>
              <a:uLnTx/>
              <a:uFillTx/>
              <a:latin typeface="Sora"/>
              <a:cs typeface="Sora"/>
              <a:sym typeface="Sora"/>
            </a:endParaRPr>
          </a:p>
        </p:txBody>
      </p:sp>
      <p:sp>
        <p:nvSpPr>
          <p:cNvPr id="194" name="Google Shape;797;p51">
            <a:extLst>
              <a:ext uri="{FF2B5EF4-FFF2-40B4-BE49-F238E27FC236}">
                <a16:creationId xmlns:a16="http://schemas.microsoft.com/office/drawing/2014/main" id="{931325B2-B9C8-4B5C-8A93-21677918E3D3}"/>
              </a:ext>
            </a:extLst>
          </p:cNvPr>
          <p:cNvSpPr txBox="1">
            <a:spLocks/>
          </p:cNvSpPr>
          <p:nvPr/>
        </p:nvSpPr>
        <p:spPr>
          <a:xfrm>
            <a:off x="2071859" y="5212005"/>
            <a:ext cx="3120300" cy="342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Στόχοι του έργου</a:t>
            </a:r>
            <a:endParaRPr kumimoji="0" lang="en-US"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endParaRPr>
          </a:p>
        </p:txBody>
      </p:sp>
      <p:sp>
        <p:nvSpPr>
          <p:cNvPr id="195" name="Google Shape;798;p51">
            <a:extLst>
              <a:ext uri="{FF2B5EF4-FFF2-40B4-BE49-F238E27FC236}">
                <a16:creationId xmlns:a16="http://schemas.microsoft.com/office/drawing/2014/main" id="{33FCF000-970E-4493-8DF5-74F868A575D3}"/>
              </a:ext>
            </a:extLst>
          </p:cNvPr>
          <p:cNvSpPr txBox="1">
            <a:spLocks/>
          </p:cNvSpPr>
          <p:nvPr/>
        </p:nvSpPr>
        <p:spPr>
          <a:xfrm>
            <a:off x="2057760" y="5716913"/>
            <a:ext cx="3564467" cy="114975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indent="-285750" defTabSz="914400">
              <a:buClr>
                <a:schemeClr val="tx1"/>
              </a:buClr>
              <a:buSzPts val="1100"/>
              <a:buFont typeface="Arial" panose="020B0604020202020204" pitchFamily="34" charset="0"/>
              <a:buChar char="•"/>
            </a:pPr>
            <a:r>
              <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User-centric mind enabled</a:t>
            </a:r>
          </a:p>
          <a:p>
            <a:pPr marL="285750" indent="-285750" defTabSz="914400">
              <a:buClr>
                <a:schemeClr val="tx1"/>
              </a:buClr>
              <a:buSzPts val="1100"/>
              <a:buFont typeface="Arial" panose="020B0604020202020204" pitchFamily="34" charset="0"/>
              <a:buChar char="•"/>
            </a:pPr>
            <a:r>
              <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Interactive Genre Gameplay</a:t>
            </a:r>
            <a:r>
              <a:rPr lang="en-US" sz="2000" kern="0" dirty="0">
                <a:solidFill>
                  <a:srgbClr val="FFFFFF"/>
                </a:solidFill>
                <a:latin typeface="Arial" panose="020B0604020202020204" pitchFamily="34" charset="0"/>
                <a:cs typeface="Arial" panose="020B0604020202020204" pitchFamily="34" charset="0"/>
              </a:rPr>
              <a:t> Mechanics</a:t>
            </a:r>
            <a:endParaRPr kumimoji="0" lang="en-US" sz="1800" b="0" i="0" u="none" strike="noStrike" kern="0" cap="none" spc="0" normalizeH="0" baseline="0" noProof="0" dirty="0">
              <a:ln>
                <a:noFill/>
              </a:ln>
              <a:solidFill>
                <a:srgbClr val="FFFFFF"/>
              </a:solidFill>
              <a:effectLst/>
              <a:uLnTx/>
              <a:uFillTx/>
              <a:latin typeface="Sora"/>
              <a:cs typeface="Sora"/>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endParaRPr kumimoji="0" lang="en-US" sz="1600" b="0" i="0" u="none" strike="noStrike" kern="0" cap="none" spc="0" normalizeH="0" baseline="0" noProof="0" dirty="0">
              <a:ln>
                <a:noFill/>
              </a:ln>
              <a:solidFill>
                <a:srgbClr val="FFFFFF"/>
              </a:solidFill>
              <a:effectLst/>
              <a:uLnTx/>
              <a:uFillTx/>
              <a:latin typeface="Sora"/>
              <a:cs typeface="Sora"/>
              <a:sym typeface="Sora"/>
            </a:endParaRPr>
          </a:p>
        </p:txBody>
      </p:sp>
      <p:sp>
        <p:nvSpPr>
          <p:cNvPr id="196" name="Google Shape;799;p51">
            <a:extLst>
              <a:ext uri="{FF2B5EF4-FFF2-40B4-BE49-F238E27FC236}">
                <a16:creationId xmlns:a16="http://schemas.microsoft.com/office/drawing/2014/main" id="{72E52ECA-C3A3-4317-8D7E-4FCA78C26CFB}"/>
              </a:ext>
            </a:extLst>
          </p:cNvPr>
          <p:cNvSpPr txBox="1">
            <a:spLocks/>
          </p:cNvSpPr>
          <p:nvPr/>
        </p:nvSpPr>
        <p:spPr>
          <a:xfrm>
            <a:off x="6858757" y="5217750"/>
            <a:ext cx="3120300" cy="342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n-US" kern="0" dirty="0">
                <a:solidFill>
                  <a:srgbClr val="F7743C"/>
                </a:solidFill>
              </a:rPr>
              <a:t>Enter the</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197" name="Google Shape;800;p51">
            <a:extLst>
              <a:ext uri="{FF2B5EF4-FFF2-40B4-BE49-F238E27FC236}">
                <a16:creationId xmlns:a16="http://schemas.microsoft.com/office/drawing/2014/main" id="{3139B118-FA8D-4DEA-910C-D2D89D151DB7}"/>
              </a:ext>
            </a:extLst>
          </p:cNvPr>
          <p:cNvSpPr txBox="1">
            <a:spLocks/>
          </p:cNvSpPr>
          <p:nvPr/>
        </p:nvSpPr>
        <p:spPr>
          <a:xfrm>
            <a:off x="6877719" y="5493662"/>
            <a:ext cx="2521200" cy="588600"/>
          </a:xfrm>
          <a:prstGeom prst="rect">
            <a:avLst/>
          </a:prstGeom>
          <a:noFill/>
          <a:ln>
            <a:noFill/>
          </a:ln>
          <a:effectLst>
            <a:glow rad="101600">
              <a:schemeClr val="accent1">
                <a:lumMod val="40000"/>
                <a:lumOff val="60000"/>
                <a:alpha val="40000"/>
              </a:schemeClr>
            </a:glow>
          </a:effectLst>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20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ora"/>
              </a:rPr>
              <a:t>Said enough!</a:t>
            </a:r>
          </a:p>
        </p:txBody>
      </p:sp>
      <p:grpSp>
        <p:nvGrpSpPr>
          <p:cNvPr id="203" name="Google Shape;831;p51">
            <a:extLst>
              <a:ext uri="{FF2B5EF4-FFF2-40B4-BE49-F238E27FC236}">
                <a16:creationId xmlns:a16="http://schemas.microsoft.com/office/drawing/2014/main" id="{CD7E1590-D195-4A40-96D3-32DDEAFA66EC}"/>
              </a:ext>
            </a:extLst>
          </p:cNvPr>
          <p:cNvGrpSpPr/>
          <p:nvPr/>
        </p:nvGrpSpPr>
        <p:grpSpPr>
          <a:xfrm rot="14053952">
            <a:off x="10370173" y="2426510"/>
            <a:ext cx="161701" cy="641985"/>
            <a:chOff x="7004550" y="3676293"/>
            <a:chExt cx="161700" cy="641982"/>
          </a:xfrm>
        </p:grpSpPr>
        <p:sp>
          <p:nvSpPr>
            <p:cNvPr id="204" name="Google Shape;832;p51">
              <a:extLst>
                <a:ext uri="{FF2B5EF4-FFF2-40B4-BE49-F238E27FC236}">
                  <a16:creationId xmlns:a16="http://schemas.microsoft.com/office/drawing/2014/main" id="{7FDABA01-165A-4E8F-994A-45FC0FA80D21}"/>
                </a:ext>
              </a:extLst>
            </p:cNvPr>
            <p:cNvSpPr/>
            <p:nvPr/>
          </p:nvSpPr>
          <p:spPr>
            <a:xfrm>
              <a:off x="7004550" y="4178475"/>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5" name="Google Shape;833;p51">
              <a:extLst>
                <a:ext uri="{FF2B5EF4-FFF2-40B4-BE49-F238E27FC236}">
                  <a16:creationId xmlns:a16="http://schemas.microsoft.com/office/drawing/2014/main" id="{712F556F-9CB1-476B-8EDC-BBC208BD1332}"/>
                </a:ext>
              </a:extLst>
            </p:cNvPr>
            <p:cNvSpPr/>
            <p:nvPr/>
          </p:nvSpPr>
          <p:spPr>
            <a:xfrm>
              <a:off x="7004550" y="4011081"/>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6" name="Google Shape;834;p51">
              <a:extLst>
                <a:ext uri="{FF2B5EF4-FFF2-40B4-BE49-F238E27FC236}">
                  <a16:creationId xmlns:a16="http://schemas.microsoft.com/office/drawing/2014/main" id="{F14970BA-B3C0-42E8-AF8E-7E42B16D5E83}"/>
                </a:ext>
              </a:extLst>
            </p:cNvPr>
            <p:cNvSpPr/>
            <p:nvPr/>
          </p:nvSpPr>
          <p:spPr>
            <a:xfrm>
              <a:off x="7004550" y="3843687"/>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7" name="Google Shape;835;p51">
              <a:extLst>
                <a:ext uri="{FF2B5EF4-FFF2-40B4-BE49-F238E27FC236}">
                  <a16:creationId xmlns:a16="http://schemas.microsoft.com/office/drawing/2014/main" id="{2D826B7B-D5D1-4621-AFF2-4D9F8C11FC8D}"/>
                </a:ext>
              </a:extLst>
            </p:cNvPr>
            <p:cNvSpPr/>
            <p:nvPr/>
          </p:nvSpPr>
          <p:spPr>
            <a:xfrm>
              <a:off x="7004550" y="3676293"/>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sp>
        <p:nvSpPr>
          <p:cNvPr id="234" name="Rectangle 233">
            <a:extLst>
              <a:ext uri="{FF2B5EF4-FFF2-40B4-BE49-F238E27FC236}">
                <a16:creationId xmlns:a16="http://schemas.microsoft.com/office/drawing/2014/main" id="{7F90E6C1-ADC4-4E20-9273-CAD2D1C32E49}"/>
              </a:ext>
            </a:extLst>
          </p:cNvPr>
          <p:cNvSpPr/>
          <p:nvPr/>
        </p:nvSpPr>
        <p:spPr>
          <a:xfrm>
            <a:off x="8125474" y="5130473"/>
            <a:ext cx="1091966" cy="461665"/>
          </a:xfrm>
          <a:prstGeom prst="rect">
            <a:avLst/>
          </a:prstGeom>
          <a:noFill/>
          <a:ln>
            <a:noFill/>
          </a:ln>
          <a:effectLst>
            <a:glow>
              <a:schemeClr val="accent1">
                <a:alpha val="41000"/>
              </a:schemeClr>
            </a:glow>
          </a:effectLst>
        </p:spPr>
        <p:txBody>
          <a:bodyPr wrap="none" lIns="91440" tIns="45720" rIns="91440" bIns="45720">
            <a:spAutoFit/>
          </a:bodyPr>
          <a:lstStyle/>
          <a:p>
            <a:pPr algn="ctr"/>
            <a:r>
              <a:rPr lang="en-US" sz="24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Arial" panose="020B0604020202020204" pitchFamily="34" charset="0"/>
                <a:cs typeface="Arial" panose="020B0604020202020204" pitchFamily="34" charset="0"/>
              </a:rPr>
              <a:t>Matrix</a:t>
            </a:r>
          </a:p>
        </p:txBody>
      </p:sp>
      <p:sp>
        <p:nvSpPr>
          <p:cNvPr id="96" name="Google Shape;790;p51">
            <a:extLst>
              <a:ext uri="{FF2B5EF4-FFF2-40B4-BE49-F238E27FC236}">
                <a16:creationId xmlns:a16="http://schemas.microsoft.com/office/drawing/2014/main" id="{289309BD-42B4-4FAD-BD05-4E5CF88F6A72}"/>
              </a:ext>
            </a:extLst>
          </p:cNvPr>
          <p:cNvSpPr txBox="1">
            <a:spLocks/>
          </p:cNvSpPr>
          <p:nvPr/>
        </p:nvSpPr>
        <p:spPr>
          <a:xfrm>
            <a:off x="2077188" y="1664948"/>
            <a:ext cx="3240967" cy="340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2400" b="1"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rPr>
              <a:t>Εισαγωγή</a:t>
            </a:r>
            <a:endParaRPr kumimoji="0" lang="en-US" sz="2400" b="1"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endParaRPr>
          </a:p>
        </p:txBody>
      </p:sp>
    </p:spTree>
    <p:extLst>
      <p:ext uri="{BB962C8B-B14F-4D97-AF65-F5344CB8AC3E}">
        <p14:creationId xmlns:p14="http://schemas.microsoft.com/office/powerpoint/2010/main" val="36721706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CC75B185_1EA8_4CAD_8B5B_26A39F50748F&quot;,&quot;SourceFullName&quot;:&quot;https://www.youtube.com/embed/2QcsIlXXc1M?feature=oembed&quot;,&quot;LastUpdate&quot;:&quot;2022-04-19 12:51 PM&quot;,&quot;UpdatedBy&quot;:&quot;backt&quot;,&quot;IsLinked&quot;:false,&quot;IsBrokenLink&quot;:false,&quot;Type&quot;:2}"/>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Circuit">
  <a:themeElements>
    <a:clrScheme name="Circuit">
      <a:dk1>
        <a:sysClr val="windowText" lastClr="000000"/>
      </a:dk1>
      <a:lt1>
        <a:sysClr val="window" lastClr="FFFFFF"/>
      </a:lt1>
      <a:dk2>
        <a:srgbClr val="2B5F27"/>
      </a:dk2>
      <a:lt2>
        <a:srgbClr val="D8FC68"/>
      </a:lt2>
      <a:accent1>
        <a:srgbClr val="DDC855"/>
      </a:accent1>
      <a:accent2>
        <a:srgbClr val="FCA03D"/>
      </a:accent2>
      <a:accent3>
        <a:srgbClr val="E36439"/>
      </a:accent3>
      <a:accent4>
        <a:srgbClr val="C2935B"/>
      </a:accent4>
      <a:accent5>
        <a:srgbClr val="88C25C"/>
      </a:accent5>
      <a:accent6>
        <a:srgbClr val="BFCC86"/>
      </a:accent6>
      <a:hlink>
        <a:srgbClr val="FFCE23"/>
      </a:hlink>
      <a:folHlink>
        <a:srgbClr val="FDEB86"/>
      </a:folHlink>
    </a:clrScheme>
    <a:fontScheme name="Circuit">
      <a:majorFont>
        <a:latin typeface="Tw Cen MT" panose="020B0602020104020603"/>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Tw Cen MT" panose="020B0602020104020603"/>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ircuit">
      <a:fillStyleLst>
        <a:solidFill>
          <a:schemeClr val="phClr"/>
        </a:solidFill>
        <a:gradFill rotWithShape="1">
          <a:gsLst>
            <a:gs pos="0">
              <a:schemeClr val="phClr">
                <a:tint val="58000"/>
                <a:satMod val="108000"/>
                <a:lumMod val="110000"/>
              </a:schemeClr>
            </a:gs>
            <a:gs pos="100000">
              <a:schemeClr val="phClr">
                <a:tint val="81000"/>
                <a:satMod val="109000"/>
                <a:lumMod val="105000"/>
              </a:schemeClr>
            </a:gs>
          </a:gsLst>
          <a:lin ang="5040000" scaled="0"/>
        </a:gradFill>
        <a:gradFill rotWithShape="1">
          <a:gsLst>
            <a:gs pos="0">
              <a:schemeClr val="phClr">
                <a:tint val="94000"/>
                <a:satMod val="105000"/>
                <a:lumMod val="102000"/>
              </a:schemeClr>
            </a:gs>
            <a:gs pos="100000">
              <a:schemeClr val="phClr">
                <a:shade val="74000"/>
                <a:satMod val="128000"/>
                <a:lumMod val="100000"/>
              </a:schemeClr>
            </a:gs>
          </a:gsLst>
          <a:lin ang="5400000" scaled="0"/>
        </a:gradFill>
      </a:fillStyleLst>
      <a:lnStyleLst>
        <a:ln w="9525" cap="flat" cmpd="sng" algn="ctr">
          <a:solidFill>
            <a:schemeClr val="ph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98000"/>
                <a:hueMod val="88000"/>
                <a:satMod val="148000"/>
                <a:lumMod val="150000"/>
              </a:schemeClr>
            </a:gs>
            <a:gs pos="100000">
              <a:schemeClr val="phClr">
                <a:shade val="92000"/>
                <a:hueMod val="104000"/>
                <a:satMod val="140000"/>
                <a:lumMod val="68000"/>
              </a:schemeClr>
            </a:gs>
          </a:gsLst>
          <a:lin ang="5040000" scaled="0"/>
        </a:gradFill>
        <a:blipFill>
          <a:blip xmlns:r="http://schemas.openxmlformats.org/officeDocument/2006/relationships" r:embed="rId1">
            <a:duotone>
              <a:schemeClr val="phClr">
                <a:shade val="88000"/>
                <a:hueMod val="106000"/>
                <a:satMod val="140000"/>
                <a:lumMod val="54000"/>
              </a:schemeClr>
              <a:schemeClr val="phClr">
                <a:tint val="98000"/>
                <a:hueMod val="82000"/>
                <a:satMod val="150000"/>
                <a:lumMod val="160000"/>
              </a:schemeClr>
            </a:duotone>
          </a:blip>
          <a:stretch/>
        </a:blipFill>
      </a:bgFillStyleLst>
    </a:fmtScheme>
  </a:themeElements>
  <a:objectDefaults/>
  <a:extraClrSchemeLst/>
  <a:extLst>
    <a:ext uri="{05A4C25C-085E-4340-85A3-A5531E510DB2}">
      <thm15:themeFamily xmlns:thm15="http://schemas.microsoft.com/office/thememl/2012/main" name="Circuit" id="{0AC2F7E7-15F5-431C-B2A2-456FE929F56C}" vid="{97ECCC31-8429-4523-BE8D-8F09B7A4D46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Control xmlns="http://schemas.microsoft.com/VisualStudio/2011/storyboarding/control">
  <Id Name="System.Storyboarding.Backgrounds.DesktopTaskbar" Revision="1" Stencil="System.Storyboarding.Backgrounds" StencilVersion="0.1"/>
</Control>
</file>

<file path=customXml/itemProps1.xml><?xml version="1.0" encoding="utf-8"?>
<ds:datastoreItem xmlns:ds="http://schemas.openxmlformats.org/officeDocument/2006/customXml" ds:itemID="{E040FBE2-E3A9-4B9A-B6CD-6E858D1D407F}">
  <ds:schemaRefs>
    <ds:schemaRef ds:uri="http://schemas.microsoft.com/VisualStudio/2011/storyboarding/control"/>
  </ds:schemaRefs>
</ds:datastoreItem>
</file>

<file path=docProps/app.xml><?xml version="1.0" encoding="utf-8"?>
<Properties xmlns="http://schemas.openxmlformats.org/officeDocument/2006/extended-properties" xmlns:vt="http://schemas.openxmlformats.org/officeDocument/2006/docPropsVTypes">
  <Template>TM04033919[[fn=Circuit]]</Template>
  <TotalTime>10566</TotalTime>
  <Words>4864</Words>
  <Application>Microsoft Office PowerPoint</Application>
  <PresentationFormat>Widescreen</PresentationFormat>
  <Paragraphs>561</Paragraphs>
  <Slides>46</Slides>
  <Notes>45</Notes>
  <HiddenSlides>0</HiddenSlides>
  <MMClips>1</MMClips>
  <ScaleCrop>false</ScaleCrop>
  <HeadingPairs>
    <vt:vector size="6" baseType="variant">
      <vt:variant>
        <vt:lpstr>Fonts Used</vt:lpstr>
      </vt:variant>
      <vt:variant>
        <vt:i4>12</vt:i4>
      </vt:variant>
      <vt:variant>
        <vt:lpstr>Theme</vt:lpstr>
      </vt:variant>
      <vt:variant>
        <vt:i4>1</vt:i4>
      </vt:variant>
      <vt:variant>
        <vt:lpstr>Slide Titles</vt:lpstr>
      </vt:variant>
      <vt:variant>
        <vt:i4>46</vt:i4>
      </vt:variant>
    </vt:vector>
  </HeadingPairs>
  <TitlesOfParts>
    <vt:vector size="59" baseType="lpstr">
      <vt:lpstr>Arial</vt:lpstr>
      <vt:lpstr>Arial</vt:lpstr>
      <vt:lpstr>Arimo</vt:lpstr>
      <vt:lpstr>Calibri</vt:lpstr>
      <vt:lpstr>Cambria Math</vt:lpstr>
      <vt:lpstr>charter</vt:lpstr>
      <vt:lpstr>Courier New</vt:lpstr>
      <vt:lpstr>Roboto</vt:lpstr>
      <vt:lpstr>Saira SemiCondensed</vt:lpstr>
      <vt:lpstr>Saira SemiCondensed ExtraBold</vt:lpstr>
      <vt:lpstr>Sora</vt:lpstr>
      <vt:lpstr>Tw Cen MT</vt:lpstr>
      <vt:lpstr>Circuit</vt:lpstr>
      <vt:lpstr>Advanced Gameplay Mechanics</vt:lpstr>
      <vt:lpstr>PowerPoint Presentation</vt:lpstr>
      <vt:lpstr>PowerPoint Presentation</vt:lpstr>
      <vt:lpstr>Gameplay mechanics – VoIP Showcase</vt:lpstr>
      <vt:lpstr>Gameplay mechanics – technical Videos</vt:lpstr>
      <vt:lpstr>PowerPoint Presentation</vt:lpstr>
      <vt:lpstr>PowerPoint Presentation</vt:lpstr>
      <vt:lpstr>PowerPoint Presentation</vt:lpstr>
      <vt:lpstr>Table of contents | Agenda</vt:lpstr>
      <vt:lpstr>PowerPoint Presentation</vt:lpstr>
      <vt:lpstr>PowerPoint Presentation</vt:lpstr>
      <vt:lpstr>PowerPoint Presentation</vt:lpstr>
      <vt:lpstr>PowerPoint Presentation</vt:lpstr>
      <vt:lpstr>PowerPoint Presentation</vt:lpstr>
      <vt:lpstr>Gaming industry ris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etaverse concept (1)</vt:lpstr>
      <vt:lpstr>Metaverse concept (2)</vt:lpstr>
      <vt:lpstr>The metaverse is already here — it’s called Fortnite </vt:lpstr>
      <vt:lpstr>PowerPoint Presentation</vt:lpstr>
      <vt:lpstr>PowerPoint Presentation</vt:lpstr>
      <vt:lpstr>PowerPoint Presentation</vt:lpstr>
      <vt:lpstr>PowerPoint Presentation</vt:lpstr>
      <vt:lpstr>PowerPoint Presentation</vt:lpstr>
      <vt:lpstr>PowerPoint Presentation</vt:lpstr>
      <vt:lpstr>ΕΜΠΕΙΡΙΑ ΧΡΗΣΤΗ</vt:lpstr>
      <vt:lpstr>PowerPoint Presentation</vt:lpstr>
      <vt:lpstr>PowerPoint Presentation</vt:lpstr>
      <vt:lpstr>PowerPoint Presentation</vt:lpstr>
      <vt:lpstr>SDLC &amp; DEV-OPS for R&amp;D</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hail M</dc:creator>
  <cp:lastModifiedBy>Michail M</cp:lastModifiedBy>
  <cp:revision>882</cp:revision>
  <dcterms:created xsi:type="dcterms:W3CDTF">2021-12-20T17:41:23Z</dcterms:created>
  <dcterms:modified xsi:type="dcterms:W3CDTF">2022-05-07T15:32: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fs.IsStoryboard">
    <vt:bool>true</vt:bool>
  </property>
</Properties>
</file>